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notesSlides/notesSlide2.xml" ContentType="application/vnd.openxmlformats-officedocument.presentationml.notesSlide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tags/tag1010.xml" ContentType="application/vnd.openxmlformats-officedocument.presentationml.tags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tags/tag1018.xml" ContentType="application/vnd.openxmlformats-officedocument.presentationml.tags+xml"/>
  <Override PartName="/ppt/tags/tag1019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tags/tag1023.xml" ContentType="application/vnd.openxmlformats-officedocument.presentationml.tags+xml"/>
  <Override PartName="/ppt/tags/tag1024.xml" ContentType="application/vnd.openxmlformats-officedocument.presentationml.tags+xml"/>
  <Override PartName="/ppt/tags/tag1025.xml" ContentType="application/vnd.openxmlformats-officedocument.presentationml.tags+xml"/>
  <Override PartName="/ppt/tags/tag1026.xml" ContentType="application/vnd.openxmlformats-officedocument.presentationml.tags+xml"/>
  <Override PartName="/ppt/tags/tag1027.xml" ContentType="application/vnd.openxmlformats-officedocument.presentationml.tags+xml"/>
  <Override PartName="/ppt/tags/tag1028.xml" ContentType="application/vnd.openxmlformats-officedocument.presentationml.tags+xml"/>
  <Override PartName="/ppt/tags/tag1029.xml" ContentType="application/vnd.openxmlformats-officedocument.presentationml.tags+xml"/>
  <Override PartName="/ppt/tags/tag1030.xml" ContentType="application/vnd.openxmlformats-officedocument.presentationml.tags+xml"/>
  <Override PartName="/ppt/tags/tag1031.xml" ContentType="application/vnd.openxmlformats-officedocument.presentationml.tags+xml"/>
  <Override PartName="/ppt/tags/tag1032.xml" ContentType="application/vnd.openxmlformats-officedocument.presentationml.tags+xml"/>
  <Override PartName="/ppt/tags/tag1033.xml" ContentType="application/vnd.openxmlformats-officedocument.presentationml.tags+xml"/>
  <Override PartName="/ppt/tags/tag1034.xml" ContentType="application/vnd.openxmlformats-officedocument.presentationml.tags+xml"/>
  <Override PartName="/ppt/tags/tag1035.xml" ContentType="application/vnd.openxmlformats-officedocument.presentationml.tags+xml"/>
  <Override PartName="/ppt/tags/tag1036.xml" ContentType="application/vnd.openxmlformats-officedocument.presentationml.tags+xml"/>
  <Override PartName="/ppt/tags/tag1037.xml" ContentType="application/vnd.openxmlformats-officedocument.presentationml.tags+xml"/>
  <Override PartName="/ppt/tags/tag1038.xml" ContentType="application/vnd.openxmlformats-officedocument.presentationml.tags+xml"/>
  <Override PartName="/ppt/tags/tag1039.xml" ContentType="application/vnd.openxmlformats-officedocument.presentationml.tags+xml"/>
  <Override PartName="/ppt/tags/tag1040.xml" ContentType="application/vnd.openxmlformats-officedocument.presentationml.tags+xml"/>
  <Override PartName="/ppt/tags/tag1041.xml" ContentType="application/vnd.openxmlformats-officedocument.presentationml.tags+xml"/>
  <Override PartName="/ppt/tags/tag1042.xml" ContentType="application/vnd.openxmlformats-officedocument.presentationml.tags+xml"/>
  <Override PartName="/ppt/tags/tag1043.xml" ContentType="application/vnd.openxmlformats-officedocument.presentationml.tags+xml"/>
  <Override PartName="/ppt/tags/tag1044.xml" ContentType="application/vnd.openxmlformats-officedocument.presentationml.tags+xml"/>
  <Override PartName="/ppt/tags/tag1045.xml" ContentType="application/vnd.openxmlformats-officedocument.presentationml.tags+xml"/>
  <Override PartName="/ppt/tags/tag1046.xml" ContentType="application/vnd.openxmlformats-officedocument.presentationml.tags+xml"/>
  <Override PartName="/ppt/tags/tag1047.xml" ContentType="application/vnd.openxmlformats-officedocument.presentationml.tags+xml"/>
  <Override PartName="/ppt/tags/tag1048.xml" ContentType="application/vnd.openxmlformats-officedocument.presentationml.tags+xml"/>
  <Override PartName="/ppt/tags/tag1049.xml" ContentType="application/vnd.openxmlformats-officedocument.presentationml.tags+xml"/>
  <Override PartName="/ppt/tags/tag1050.xml" ContentType="application/vnd.openxmlformats-officedocument.presentationml.tags+xml"/>
  <Override PartName="/ppt/tags/tag1051.xml" ContentType="application/vnd.openxmlformats-officedocument.presentationml.tags+xml"/>
  <Override PartName="/ppt/tags/tag1052.xml" ContentType="application/vnd.openxmlformats-officedocument.presentationml.tags+xml"/>
  <Override PartName="/ppt/tags/tag1053.xml" ContentType="application/vnd.openxmlformats-officedocument.presentationml.tags+xml"/>
  <Override PartName="/ppt/tags/tag1054.xml" ContentType="application/vnd.openxmlformats-officedocument.presentationml.tags+xml"/>
  <Override PartName="/ppt/tags/tag1055.xml" ContentType="application/vnd.openxmlformats-officedocument.presentationml.tags+xml"/>
  <Override PartName="/ppt/tags/tag1056.xml" ContentType="application/vnd.openxmlformats-officedocument.presentationml.tags+xml"/>
  <Override PartName="/ppt/tags/tag1057.xml" ContentType="application/vnd.openxmlformats-officedocument.presentationml.tags+xml"/>
  <Override PartName="/ppt/tags/tag1058.xml" ContentType="application/vnd.openxmlformats-officedocument.presentationml.tags+xml"/>
  <Override PartName="/ppt/tags/tag1059.xml" ContentType="application/vnd.openxmlformats-officedocument.presentationml.tags+xml"/>
  <Override PartName="/ppt/tags/tag1060.xml" ContentType="application/vnd.openxmlformats-officedocument.presentationml.tags+xml"/>
  <Override PartName="/ppt/tags/tag1061.xml" ContentType="application/vnd.openxmlformats-officedocument.presentationml.tags+xml"/>
  <Override PartName="/ppt/tags/tag1062.xml" ContentType="application/vnd.openxmlformats-officedocument.presentationml.tags+xml"/>
  <Override PartName="/ppt/tags/tag1063.xml" ContentType="application/vnd.openxmlformats-officedocument.presentationml.tags+xml"/>
  <Override PartName="/ppt/tags/tag1064.xml" ContentType="application/vnd.openxmlformats-officedocument.presentationml.tags+xml"/>
  <Override PartName="/ppt/tags/tag1065.xml" ContentType="application/vnd.openxmlformats-officedocument.presentationml.tags+xml"/>
  <Override PartName="/ppt/tags/tag1066.xml" ContentType="application/vnd.openxmlformats-officedocument.presentationml.tags+xml"/>
  <Override PartName="/ppt/tags/tag1067.xml" ContentType="application/vnd.openxmlformats-officedocument.presentationml.tags+xml"/>
  <Override PartName="/ppt/tags/tag1068.xml" ContentType="application/vnd.openxmlformats-officedocument.presentationml.tags+xml"/>
  <Override PartName="/ppt/tags/tag1069.xml" ContentType="application/vnd.openxmlformats-officedocument.presentationml.tags+xml"/>
  <Override PartName="/ppt/tags/tag1070.xml" ContentType="application/vnd.openxmlformats-officedocument.presentationml.tags+xml"/>
  <Override PartName="/ppt/tags/tag1071.xml" ContentType="application/vnd.openxmlformats-officedocument.presentationml.tags+xml"/>
  <Override PartName="/ppt/tags/tag1072.xml" ContentType="application/vnd.openxmlformats-officedocument.presentationml.tags+xml"/>
  <Override PartName="/ppt/tags/tag1073.xml" ContentType="application/vnd.openxmlformats-officedocument.presentationml.tags+xml"/>
  <Override PartName="/ppt/tags/tag1074.xml" ContentType="application/vnd.openxmlformats-officedocument.presentationml.tags+xml"/>
  <Override PartName="/ppt/tags/tag1075.xml" ContentType="application/vnd.openxmlformats-officedocument.presentationml.tags+xml"/>
  <Override PartName="/ppt/tags/tag1076.xml" ContentType="application/vnd.openxmlformats-officedocument.presentationml.tags+xml"/>
  <Override PartName="/ppt/tags/tag1077.xml" ContentType="application/vnd.openxmlformats-officedocument.presentationml.tags+xml"/>
  <Override PartName="/ppt/tags/tag1078.xml" ContentType="application/vnd.openxmlformats-officedocument.presentationml.tags+xml"/>
  <Override PartName="/ppt/tags/tag1079.xml" ContentType="application/vnd.openxmlformats-officedocument.presentationml.tags+xml"/>
  <Override PartName="/ppt/tags/tag1080.xml" ContentType="application/vnd.openxmlformats-officedocument.presentationml.tags+xml"/>
  <Override PartName="/ppt/tags/tag1081.xml" ContentType="application/vnd.openxmlformats-officedocument.presentationml.tags+xml"/>
  <Override PartName="/ppt/tags/tag1082.xml" ContentType="application/vnd.openxmlformats-officedocument.presentationml.tags+xml"/>
  <Override PartName="/ppt/tags/tag1083.xml" ContentType="application/vnd.openxmlformats-officedocument.presentationml.tags+xml"/>
  <Override PartName="/ppt/tags/tag1084.xml" ContentType="application/vnd.openxmlformats-officedocument.presentationml.tags+xml"/>
  <Override PartName="/ppt/tags/tag1085.xml" ContentType="application/vnd.openxmlformats-officedocument.presentationml.tags+xml"/>
  <Override PartName="/ppt/tags/tag1086.xml" ContentType="application/vnd.openxmlformats-officedocument.presentationml.tags+xml"/>
  <Override PartName="/ppt/tags/tag1087.xml" ContentType="application/vnd.openxmlformats-officedocument.presentationml.tags+xml"/>
  <Override PartName="/ppt/tags/tag1088.xml" ContentType="application/vnd.openxmlformats-officedocument.presentationml.tags+xml"/>
  <Override PartName="/ppt/tags/tag1089.xml" ContentType="application/vnd.openxmlformats-officedocument.presentationml.tags+xml"/>
  <Override PartName="/ppt/tags/tag1090.xml" ContentType="application/vnd.openxmlformats-officedocument.presentationml.tags+xml"/>
  <Override PartName="/ppt/tags/tag1091.xml" ContentType="application/vnd.openxmlformats-officedocument.presentationml.tags+xml"/>
  <Override PartName="/ppt/tags/tag1092.xml" ContentType="application/vnd.openxmlformats-officedocument.presentationml.tags+xml"/>
  <Override PartName="/ppt/tags/tag1093.xml" ContentType="application/vnd.openxmlformats-officedocument.presentationml.tags+xml"/>
  <Override PartName="/ppt/tags/tag1094.xml" ContentType="application/vnd.openxmlformats-officedocument.presentationml.tags+xml"/>
  <Override PartName="/ppt/tags/tag1095.xml" ContentType="application/vnd.openxmlformats-officedocument.presentationml.tags+xml"/>
  <Override PartName="/ppt/tags/tag1096.xml" ContentType="application/vnd.openxmlformats-officedocument.presentationml.tags+xml"/>
  <Override PartName="/ppt/tags/tag1097.xml" ContentType="application/vnd.openxmlformats-officedocument.presentationml.tags+xml"/>
  <Override PartName="/ppt/tags/tag1098.xml" ContentType="application/vnd.openxmlformats-officedocument.presentationml.tags+xml"/>
  <Override PartName="/ppt/tags/tag1099.xml" ContentType="application/vnd.openxmlformats-officedocument.presentationml.tags+xml"/>
  <Override PartName="/ppt/tags/tag1100.xml" ContentType="application/vnd.openxmlformats-officedocument.presentationml.tags+xml"/>
  <Override PartName="/ppt/tags/tag1101.xml" ContentType="application/vnd.openxmlformats-officedocument.presentationml.tags+xml"/>
  <Override PartName="/ppt/tags/tag1102.xml" ContentType="application/vnd.openxmlformats-officedocument.presentationml.tags+xml"/>
  <Override PartName="/ppt/tags/tag1103.xml" ContentType="application/vnd.openxmlformats-officedocument.presentationml.tags+xml"/>
  <Override PartName="/ppt/tags/tag1104.xml" ContentType="application/vnd.openxmlformats-officedocument.presentationml.tags+xml"/>
  <Override PartName="/ppt/tags/tag1105.xml" ContentType="application/vnd.openxmlformats-officedocument.presentationml.tags+xml"/>
  <Override PartName="/ppt/tags/tag1106.xml" ContentType="application/vnd.openxmlformats-officedocument.presentationml.tags+xml"/>
  <Override PartName="/ppt/tags/tag1107.xml" ContentType="application/vnd.openxmlformats-officedocument.presentationml.tags+xml"/>
  <Override PartName="/ppt/tags/tag1108.xml" ContentType="application/vnd.openxmlformats-officedocument.presentationml.tags+xml"/>
  <Override PartName="/ppt/tags/tag1109.xml" ContentType="application/vnd.openxmlformats-officedocument.presentationml.tags+xml"/>
  <Override PartName="/ppt/tags/tag1110.xml" ContentType="application/vnd.openxmlformats-officedocument.presentationml.tags+xml"/>
  <Override PartName="/ppt/tags/tag1111.xml" ContentType="application/vnd.openxmlformats-officedocument.presentationml.tags+xml"/>
  <Override PartName="/ppt/tags/tag1112.xml" ContentType="application/vnd.openxmlformats-officedocument.presentationml.tags+xml"/>
  <Override PartName="/ppt/tags/tag1113.xml" ContentType="application/vnd.openxmlformats-officedocument.presentationml.tags+xml"/>
  <Override PartName="/ppt/tags/tag1114.xml" ContentType="application/vnd.openxmlformats-officedocument.presentationml.tags+xml"/>
  <Override PartName="/ppt/tags/tag1115.xml" ContentType="application/vnd.openxmlformats-officedocument.presentationml.tags+xml"/>
  <Override PartName="/ppt/tags/tag1116.xml" ContentType="application/vnd.openxmlformats-officedocument.presentationml.tags+xml"/>
  <Override PartName="/ppt/tags/tag1117.xml" ContentType="application/vnd.openxmlformats-officedocument.presentationml.tags+xml"/>
  <Override PartName="/ppt/tags/tag1118.xml" ContentType="application/vnd.openxmlformats-officedocument.presentationml.tags+xml"/>
  <Override PartName="/ppt/tags/tag1119.xml" ContentType="application/vnd.openxmlformats-officedocument.presentationml.tags+xml"/>
  <Override PartName="/ppt/tags/tag1120.xml" ContentType="application/vnd.openxmlformats-officedocument.presentationml.tags+xml"/>
  <Override PartName="/ppt/tags/tag1121.xml" ContentType="application/vnd.openxmlformats-officedocument.presentationml.tags+xml"/>
  <Override PartName="/ppt/tags/tag1122.xml" ContentType="application/vnd.openxmlformats-officedocument.presentationml.tags+xml"/>
  <Override PartName="/ppt/tags/tag1123.xml" ContentType="application/vnd.openxmlformats-officedocument.presentationml.tags+xml"/>
  <Override PartName="/ppt/tags/tag1124.xml" ContentType="application/vnd.openxmlformats-officedocument.presentationml.tags+xml"/>
  <Override PartName="/ppt/tags/tag1125.xml" ContentType="application/vnd.openxmlformats-officedocument.presentationml.tags+xml"/>
  <Override PartName="/ppt/tags/tag1126.xml" ContentType="application/vnd.openxmlformats-officedocument.presentationml.tags+xml"/>
  <Override PartName="/ppt/tags/tag1127.xml" ContentType="application/vnd.openxmlformats-officedocument.presentationml.tags+xml"/>
  <Override PartName="/ppt/tags/tag1128.xml" ContentType="application/vnd.openxmlformats-officedocument.presentationml.tags+xml"/>
  <Override PartName="/ppt/tags/tag1129.xml" ContentType="application/vnd.openxmlformats-officedocument.presentationml.tags+xml"/>
  <Override PartName="/ppt/tags/tag1130.xml" ContentType="application/vnd.openxmlformats-officedocument.presentationml.tags+xml"/>
  <Override PartName="/ppt/tags/tag1131.xml" ContentType="application/vnd.openxmlformats-officedocument.presentationml.tags+xml"/>
  <Override PartName="/ppt/tags/tag1132.xml" ContentType="application/vnd.openxmlformats-officedocument.presentationml.tags+xml"/>
  <Override PartName="/ppt/tags/tag1133.xml" ContentType="application/vnd.openxmlformats-officedocument.presentationml.tags+xml"/>
  <Override PartName="/ppt/tags/tag1134.xml" ContentType="application/vnd.openxmlformats-officedocument.presentationml.tags+xml"/>
  <Override PartName="/ppt/tags/tag1135.xml" ContentType="application/vnd.openxmlformats-officedocument.presentationml.tags+xml"/>
  <Override PartName="/ppt/tags/tag1136.xml" ContentType="application/vnd.openxmlformats-officedocument.presentationml.tags+xml"/>
  <Override PartName="/ppt/tags/tag1137.xml" ContentType="application/vnd.openxmlformats-officedocument.presentationml.tags+xml"/>
  <Override PartName="/ppt/tags/tag1138.xml" ContentType="application/vnd.openxmlformats-officedocument.presentationml.tags+xml"/>
  <Override PartName="/ppt/tags/tag1139.xml" ContentType="application/vnd.openxmlformats-officedocument.presentationml.tags+xml"/>
  <Override PartName="/ppt/tags/tag1140.xml" ContentType="application/vnd.openxmlformats-officedocument.presentationml.tags+xml"/>
  <Override PartName="/ppt/tags/tag1141.xml" ContentType="application/vnd.openxmlformats-officedocument.presentationml.tags+xml"/>
  <Override PartName="/ppt/tags/tag1142.xml" ContentType="application/vnd.openxmlformats-officedocument.presentationml.tags+xml"/>
  <Override PartName="/ppt/tags/tag1143.xml" ContentType="application/vnd.openxmlformats-officedocument.presentationml.tags+xml"/>
  <Override PartName="/ppt/notesSlides/notesSlide3.xml" ContentType="application/vnd.openxmlformats-officedocument.presentationml.notesSlide+xml"/>
  <Override PartName="/ppt/tags/tag1144.xml" ContentType="application/vnd.openxmlformats-officedocument.presentationml.tags+xml"/>
  <Override PartName="/ppt/tags/tag1145.xml" ContentType="application/vnd.openxmlformats-officedocument.presentationml.tags+xml"/>
  <Override PartName="/ppt/tags/tag1146.xml" ContentType="application/vnd.openxmlformats-officedocument.presentationml.tags+xml"/>
  <Override PartName="/ppt/tags/tag1147.xml" ContentType="application/vnd.openxmlformats-officedocument.presentationml.tags+xml"/>
  <Override PartName="/ppt/tags/tag1148.xml" ContentType="application/vnd.openxmlformats-officedocument.presentationml.tags+xml"/>
  <Override PartName="/ppt/tags/tag1149.xml" ContentType="application/vnd.openxmlformats-officedocument.presentationml.tags+xml"/>
  <Override PartName="/ppt/tags/tag1150.xml" ContentType="application/vnd.openxmlformats-officedocument.presentationml.tags+xml"/>
  <Override PartName="/ppt/tags/tag1151.xml" ContentType="application/vnd.openxmlformats-officedocument.presentationml.tags+xml"/>
  <Override PartName="/ppt/tags/tag1152.xml" ContentType="application/vnd.openxmlformats-officedocument.presentationml.tags+xml"/>
  <Override PartName="/ppt/tags/tag1153.xml" ContentType="application/vnd.openxmlformats-officedocument.presentationml.tags+xml"/>
  <Override PartName="/ppt/tags/tag1154.xml" ContentType="application/vnd.openxmlformats-officedocument.presentationml.tags+xml"/>
  <Override PartName="/ppt/tags/tag1155.xml" ContentType="application/vnd.openxmlformats-officedocument.presentationml.tags+xml"/>
  <Override PartName="/ppt/tags/tag1156.xml" ContentType="application/vnd.openxmlformats-officedocument.presentationml.tags+xml"/>
  <Override PartName="/ppt/tags/tag1157.xml" ContentType="application/vnd.openxmlformats-officedocument.presentationml.tags+xml"/>
  <Override PartName="/ppt/tags/tag1158.xml" ContentType="application/vnd.openxmlformats-officedocument.presentationml.tags+xml"/>
  <Override PartName="/ppt/tags/tag1159.xml" ContentType="application/vnd.openxmlformats-officedocument.presentationml.tags+xml"/>
  <Override PartName="/ppt/tags/tag1160.xml" ContentType="application/vnd.openxmlformats-officedocument.presentationml.tags+xml"/>
  <Override PartName="/ppt/tags/tag1161.xml" ContentType="application/vnd.openxmlformats-officedocument.presentationml.tags+xml"/>
  <Override PartName="/ppt/tags/tag1162.xml" ContentType="application/vnd.openxmlformats-officedocument.presentationml.tags+xml"/>
  <Override PartName="/ppt/tags/tag1163.xml" ContentType="application/vnd.openxmlformats-officedocument.presentationml.tags+xml"/>
  <Override PartName="/ppt/tags/tag1164.xml" ContentType="application/vnd.openxmlformats-officedocument.presentationml.tags+xml"/>
  <Override PartName="/ppt/tags/tag1165.xml" ContentType="application/vnd.openxmlformats-officedocument.presentationml.tags+xml"/>
  <Override PartName="/ppt/tags/tag1166.xml" ContentType="application/vnd.openxmlformats-officedocument.presentationml.tags+xml"/>
  <Override PartName="/ppt/tags/tag1167.xml" ContentType="application/vnd.openxmlformats-officedocument.presentationml.tags+xml"/>
  <Override PartName="/ppt/tags/tag1168.xml" ContentType="application/vnd.openxmlformats-officedocument.presentationml.tags+xml"/>
  <Override PartName="/ppt/tags/tag1169.xml" ContentType="application/vnd.openxmlformats-officedocument.presentationml.tags+xml"/>
  <Override PartName="/ppt/tags/tag1170.xml" ContentType="application/vnd.openxmlformats-officedocument.presentationml.tags+xml"/>
  <Override PartName="/ppt/tags/tag1171.xml" ContentType="application/vnd.openxmlformats-officedocument.presentationml.tags+xml"/>
  <Override PartName="/ppt/tags/tag1172.xml" ContentType="application/vnd.openxmlformats-officedocument.presentationml.tags+xml"/>
  <Override PartName="/ppt/tags/tag1173.xml" ContentType="application/vnd.openxmlformats-officedocument.presentationml.tags+xml"/>
  <Override PartName="/ppt/tags/tag1174.xml" ContentType="application/vnd.openxmlformats-officedocument.presentationml.tags+xml"/>
  <Override PartName="/ppt/tags/tag1175.xml" ContentType="application/vnd.openxmlformats-officedocument.presentationml.tags+xml"/>
  <Override PartName="/ppt/tags/tag1176.xml" ContentType="application/vnd.openxmlformats-officedocument.presentationml.tags+xml"/>
  <Override PartName="/ppt/tags/tag1177.xml" ContentType="application/vnd.openxmlformats-officedocument.presentationml.tags+xml"/>
  <Override PartName="/ppt/tags/tag1178.xml" ContentType="application/vnd.openxmlformats-officedocument.presentationml.tags+xml"/>
  <Override PartName="/ppt/tags/tag1179.xml" ContentType="application/vnd.openxmlformats-officedocument.presentationml.tags+xml"/>
  <Override PartName="/ppt/tags/tag1180.xml" ContentType="application/vnd.openxmlformats-officedocument.presentationml.tags+xml"/>
  <Override PartName="/ppt/tags/tag1181.xml" ContentType="application/vnd.openxmlformats-officedocument.presentationml.tags+xml"/>
  <Override PartName="/ppt/tags/tag1182.xml" ContentType="application/vnd.openxmlformats-officedocument.presentationml.tags+xml"/>
  <Override PartName="/ppt/tags/tag1183.xml" ContentType="application/vnd.openxmlformats-officedocument.presentationml.tags+xml"/>
  <Override PartName="/ppt/tags/tag1184.xml" ContentType="application/vnd.openxmlformats-officedocument.presentationml.tags+xml"/>
  <Override PartName="/ppt/tags/tag1185.xml" ContentType="application/vnd.openxmlformats-officedocument.presentationml.tags+xml"/>
  <Override PartName="/ppt/tags/tag1186.xml" ContentType="application/vnd.openxmlformats-officedocument.presentationml.tags+xml"/>
  <Override PartName="/ppt/tags/tag1187.xml" ContentType="application/vnd.openxmlformats-officedocument.presentationml.tags+xml"/>
  <Override PartName="/ppt/tags/tag1188.xml" ContentType="application/vnd.openxmlformats-officedocument.presentationml.tags+xml"/>
  <Override PartName="/ppt/tags/tag1189.xml" ContentType="application/vnd.openxmlformats-officedocument.presentationml.tags+xml"/>
  <Override PartName="/ppt/tags/tag1190.xml" ContentType="application/vnd.openxmlformats-officedocument.presentationml.tags+xml"/>
  <Override PartName="/ppt/tags/tag1191.xml" ContentType="application/vnd.openxmlformats-officedocument.presentationml.tags+xml"/>
  <Override PartName="/ppt/tags/tag1192.xml" ContentType="application/vnd.openxmlformats-officedocument.presentationml.tags+xml"/>
  <Override PartName="/ppt/tags/tag1193.xml" ContentType="application/vnd.openxmlformats-officedocument.presentationml.tags+xml"/>
  <Override PartName="/ppt/tags/tag1194.xml" ContentType="application/vnd.openxmlformats-officedocument.presentationml.tags+xml"/>
  <Override PartName="/ppt/tags/tag1195.xml" ContentType="application/vnd.openxmlformats-officedocument.presentationml.tags+xml"/>
  <Override PartName="/ppt/tags/tag1196.xml" ContentType="application/vnd.openxmlformats-officedocument.presentationml.tags+xml"/>
  <Override PartName="/ppt/tags/tag1197.xml" ContentType="application/vnd.openxmlformats-officedocument.presentationml.tags+xml"/>
  <Override PartName="/ppt/tags/tag1198.xml" ContentType="application/vnd.openxmlformats-officedocument.presentationml.tags+xml"/>
  <Override PartName="/ppt/tags/tag1199.xml" ContentType="application/vnd.openxmlformats-officedocument.presentationml.tags+xml"/>
  <Override PartName="/ppt/tags/tag1200.xml" ContentType="application/vnd.openxmlformats-officedocument.presentationml.tags+xml"/>
  <Override PartName="/ppt/tags/tag1201.xml" ContentType="application/vnd.openxmlformats-officedocument.presentationml.tags+xml"/>
  <Override PartName="/ppt/tags/tag1202.xml" ContentType="application/vnd.openxmlformats-officedocument.presentationml.tags+xml"/>
  <Override PartName="/ppt/tags/tag1203.xml" ContentType="application/vnd.openxmlformats-officedocument.presentationml.tags+xml"/>
  <Override PartName="/ppt/tags/tag1204.xml" ContentType="application/vnd.openxmlformats-officedocument.presentationml.tags+xml"/>
  <Override PartName="/ppt/tags/tag1205.xml" ContentType="application/vnd.openxmlformats-officedocument.presentationml.tags+xml"/>
  <Override PartName="/ppt/tags/tag1206.xml" ContentType="application/vnd.openxmlformats-officedocument.presentationml.tags+xml"/>
  <Override PartName="/ppt/tags/tag1207.xml" ContentType="application/vnd.openxmlformats-officedocument.presentationml.tags+xml"/>
  <Override PartName="/ppt/tags/tag1208.xml" ContentType="application/vnd.openxmlformats-officedocument.presentationml.tags+xml"/>
  <Override PartName="/ppt/tags/tag1209.xml" ContentType="application/vnd.openxmlformats-officedocument.presentationml.tags+xml"/>
  <Override PartName="/ppt/tags/tag1210.xml" ContentType="application/vnd.openxmlformats-officedocument.presentationml.tags+xml"/>
  <Override PartName="/ppt/tags/tag1211.xml" ContentType="application/vnd.openxmlformats-officedocument.presentationml.tags+xml"/>
  <Override PartName="/ppt/tags/tag1212.xml" ContentType="application/vnd.openxmlformats-officedocument.presentationml.tags+xml"/>
  <Override PartName="/ppt/tags/tag1213.xml" ContentType="application/vnd.openxmlformats-officedocument.presentationml.tags+xml"/>
  <Override PartName="/ppt/tags/tag1214.xml" ContentType="application/vnd.openxmlformats-officedocument.presentationml.tags+xml"/>
  <Override PartName="/ppt/tags/tag1215.xml" ContentType="application/vnd.openxmlformats-officedocument.presentationml.tags+xml"/>
  <Override PartName="/ppt/tags/tag1216.xml" ContentType="application/vnd.openxmlformats-officedocument.presentationml.tags+xml"/>
  <Override PartName="/ppt/tags/tag1217.xml" ContentType="application/vnd.openxmlformats-officedocument.presentationml.tags+xml"/>
  <Override PartName="/ppt/tags/tag1218.xml" ContentType="application/vnd.openxmlformats-officedocument.presentationml.tags+xml"/>
  <Override PartName="/ppt/tags/tag1219.xml" ContentType="application/vnd.openxmlformats-officedocument.presentationml.tags+xml"/>
  <Override PartName="/ppt/tags/tag1220.xml" ContentType="application/vnd.openxmlformats-officedocument.presentationml.tags+xml"/>
  <Override PartName="/ppt/tags/tag1221.xml" ContentType="application/vnd.openxmlformats-officedocument.presentationml.tags+xml"/>
  <Override PartName="/ppt/tags/tag1222.xml" ContentType="application/vnd.openxmlformats-officedocument.presentationml.tags+xml"/>
  <Override PartName="/ppt/tags/tag1223.xml" ContentType="application/vnd.openxmlformats-officedocument.presentationml.tags+xml"/>
  <Override PartName="/ppt/tags/tag1224.xml" ContentType="application/vnd.openxmlformats-officedocument.presentationml.tags+xml"/>
  <Override PartName="/ppt/tags/tag1225.xml" ContentType="application/vnd.openxmlformats-officedocument.presentationml.tags+xml"/>
  <Override PartName="/ppt/tags/tag1226.xml" ContentType="application/vnd.openxmlformats-officedocument.presentationml.tags+xml"/>
  <Override PartName="/ppt/tags/tag1227.xml" ContentType="application/vnd.openxmlformats-officedocument.presentationml.tags+xml"/>
  <Override PartName="/ppt/tags/tag1228.xml" ContentType="application/vnd.openxmlformats-officedocument.presentationml.tags+xml"/>
  <Override PartName="/ppt/tags/tag1229.xml" ContentType="application/vnd.openxmlformats-officedocument.presentationml.tags+xml"/>
  <Override PartName="/ppt/tags/tag1230.xml" ContentType="application/vnd.openxmlformats-officedocument.presentationml.tags+xml"/>
  <Override PartName="/ppt/tags/tag1231.xml" ContentType="application/vnd.openxmlformats-officedocument.presentationml.tags+xml"/>
  <Override PartName="/ppt/tags/tag1232.xml" ContentType="application/vnd.openxmlformats-officedocument.presentationml.tags+xml"/>
  <Override PartName="/ppt/tags/tag1233.xml" ContentType="application/vnd.openxmlformats-officedocument.presentationml.tags+xml"/>
  <Override PartName="/ppt/tags/tag1234.xml" ContentType="application/vnd.openxmlformats-officedocument.presentationml.tags+xml"/>
  <Override PartName="/ppt/tags/tag1235.xml" ContentType="application/vnd.openxmlformats-officedocument.presentationml.tags+xml"/>
  <Override PartName="/ppt/tags/tag1236.xml" ContentType="application/vnd.openxmlformats-officedocument.presentationml.tags+xml"/>
  <Override PartName="/ppt/tags/tag1237.xml" ContentType="application/vnd.openxmlformats-officedocument.presentationml.tags+xml"/>
  <Override PartName="/ppt/tags/tag1238.xml" ContentType="application/vnd.openxmlformats-officedocument.presentationml.tags+xml"/>
  <Override PartName="/ppt/tags/tag1239.xml" ContentType="application/vnd.openxmlformats-officedocument.presentationml.tags+xml"/>
  <Override PartName="/ppt/tags/tag1240.xml" ContentType="application/vnd.openxmlformats-officedocument.presentationml.tags+xml"/>
  <Override PartName="/ppt/tags/tag1241.xml" ContentType="application/vnd.openxmlformats-officedocument.presentationml.tags+xml"/>
  <Override PartName="/ppt/tags/tag1242.xml" ContentType="application/vnd.openxmlformats-officedocument.presentationml.tags+xml"/>
  <Override PartName="/ppt/tags/tag1243.xml" ContentType="application/vnd.openxmlformats-officedocument.presentationml.tags+xml"/>
  <Override PartName="/ppt/tags/tag1244.xml" ContentType="application/vnd.openxmlformats-officedocument.presentationml.tags+xml"/>
  <Override PartName="/ppt/tags/tag1245.xml" ContentType="application/vnd.openxmlformats-officedocument.presentationml.tags+xml"/>
  <Override PartName="/ppt/tags/tag1246.xml" ContentType="application/vnd.openxmlformats-officedocument.presentationml.tags+xml"/>
  <Override PartName="/ppt/tags/tag1247.xml" ContentType="application/vnd.openxmlformats-officedocument.presentationml.tags+xml"/>
  <Override PartName="/ppt/tags/tag1248.xml" ContentType="application/vnd.openxmlformats-officedocument.presentationml.tags+xml"/>
  <Override PartName="/ppt/tags/tag1249.xml" ContentType="application/vnd.openxmlformats-officedocument.presentationml.tags+xml"/>
  <Override PartName="/ppt/tags/tag1250.xml" ContentType="application/vnd.openxmlformats-officedocument.presentationml.tags+xml"/>
  <Override PartName="/ppt/tags/tag1251.xml" ContentType="application/vnd.openxmlformats-officedocument.presentationml.tags+xml"/>
  <Override PartName="/ppt/tags/tag1252.xml" ContentType="application/vnd.openxmlformats-officedocument.presentationml.tags+xml"/>
  <Override PartName="/ppt/tags/tag1253.xml" ContentType="application/vnd.openxmlformats-officedocument.presentationml.tags+xml"/>
  <Override PartName="/ppt/tags/tag1254.xml" ContentType="application/vnd.openxmlformats-officedocument.presentationml.tags+xml"/>
  <Override PartName="/ppt/tags/tag1255.xml" ContentType="application/vnd.openxmlformats-officedocument.presentationml.tags+xml"/>
  <Override PartName="/ppt/tags/tag1256.xml" ContentType="application/vnd.openxmlformats-officedocument.presentationml.tags+xml"/>
  <Override PartName="/ppt/tags/tag1257.xml" ContentType="application/vnd.openxmlformats-officedocument.presentationml.tags+xml"/>
  <Override PartName="/ppt/tags/tag1258.xml" ContentType="application/vnd.openxmlformats-officedocument.presentationml.tags+xml"/>
  <Override PartName="/ppt/tags/tag1259.xml" ContentType="application/vnd.openxmlformats-officedocument.presentationml.tags+xml"/>
  <Override PartName="/ppt/tags/tag1260.xml" ContentType="application/vnd.openxmlformats-officedocument.presentationml.tags+xml"/>
  <Override PartName="/ppt/tags/tag1261.xml" ContentType="application/vnd.openxmlformats-officedocument.presentationml.tags+xml"/>
  <Override PartName="/ppt/tags/tag1262.xml" ContentType="application/vnd.openxmlformats-officedocument.presentationml.tags+xml"/>
  <Override PartName="/ppt/tags/tag1263.xml" ContentType="application/vnd.openxmlformats-officedocument.presentationml.tags+xml"/>
  <Override PartName="/ppt/tags/tag1264.xml" ContentType="application/vnd.openxmlformats-officedocument.presentationml.tags+xml"/>
  <Override PartName="/ppt/tags/tag1265.xml" ContentType="application/vnd.openxmlformats-officedocument.presentationml.tags+xml"/>
  <Override PartName="/ppt/tags/tag1266.xml" ContentType="application/vnd.openxmlformats-officedocument.presentationml.tags+xml"/>
  <Override PartName="/ppt/tags/tag1267.xml" ContentType="application/vnd.openxmlformats-officedocument.presentationml.tags+xml"/>
  <Override PartName="/ppt/tags/tag1268.xml" ContentType="application/vnd.openxmlformats-officedocument.presentationml.tags+xml"/>
  <Override PartName="/ppt/tags/tag1269.xml" ContentType="application/vnd.openxmlformats-officedocument.presentationml.tags+xml"/>
  <Override PartName="/ppt/tags/tag1270.xml" ContentType="application/vnd.openxmlformats-officedocument.presentationml.tags+xml"/>
  <Override PartName="/ppt/tags/tag1271.xml" ContentType="application/vnd.openxmlformats-officedocument.presentationml.tags+xml"/>
  <Override PartName="/ppt/tags/tag1272.xml" ContentType="application/vnd.openxmlformats-officedocument.presentationml.tags+xml"/>
  <Override PartName="/ppt/tags/tag1273.xml" ContentType="application/vnd.openxmlformats-officedocument.presentationml.tags+xml"/>
  <Override PartName="/ppt/tags/tag1274.xml" ContentType="application/vnd.openxmlformats-officedocument.presentationml.tags+xml"/>
  <Override PartName="/ppt/tags/tag1275.xml" ContentType="application/vnd.openxmlformats-officedocument.presentationml.tags+xml"/>
  <Override PartName="/ppt/tags/tag1276.xml" ContentType="application/vnd.openxmlformats-officedocument.presentationml.tags+xml"/>
  <Override PartName="/ppt/tags/tag1277.xml" ContentType="application/vnd.openxmlformats-officedocument.presentationml.tags+xml"/>
  <Override PartName="/ppt/tags/tag1278.xml" ContentType="application/vnd.openxmlformats-officedocument.presentationml.tags+xml"/>
  <Override PartName="/ppt/tags/tag1279.xml" ContentType="application/vnd.openxmlformats-officedocument.presentationml.tags+xml"/>
  <Override PartName="/ppt/tags/tag1280.xml" ContentType="application/vnd.openxmlformats-officedocument.presentationml.tags+xml"/>
  <Override PartName="/ppt/tags/tag1281.xml" ContentType="application/vnd.openxmlformats-officedocument.presentationml.tags+xml"/>
  <Override PartName="/ppt/tags/tag1282.xml" ContentType="application/vnd.openxmlformats-officedocument.presentationml.tags+xml"/>
  <Override PartName="/ppt/tags/tag1283.xml" ContentType="application/vnd.openxmlformats-officedocument.presentationml.tags+xml"/>
  <Override PartName="/ppt/tags/tag1284.xml" ContentType="application/vnd.openxmlformats-officedocument.presentationml.tags+xml"/>
  <Override PartName="/ppt/tags/tag1285.xml" ContentType="application/vnd.openxmlformats-officedocument.presentationml.tags+xml"/>
  <Override PartName="/ppt/tags/tag1286.xml" ContentType="application/vnd.openxmlformats-officedocument.presentationml.tags+xml"/>
  <Override PartName="/ppt/tags/tag1287.xml" ContentType="application/vnd.openxmlformats-officedocument.presentationml.tags+xml"/>
  <Override PartName="/ppt/tags/tag1288.xml" ContentType="application/vnd.openxmlformats-officedocument.presentationml.tags+xml"/>
  <Override PartName="/ppt/tags/tag1289.xml" ContentType="application/vnd.openxmlformats-officedocument.presentationml.tags+xml"/>
  <Override PartName="/ppt/tags/tag1290.xml" ContentType="application/vnd.openxmlformats-officedocument.presentationml.tags+xml"/>
  <Override PartName="/ppt/tags/tag1291.xml" ContentType="application/vnd.openxmlformats-officedocument.presentationml.tags+xml"/>
  <Override PartName="/ppt/tags/tag1292.xml" ContentType="application/vnd.openxmlformats-officedocument.presentationml.tags+xml"/>
  <Override PartName="/ppt/tags/tag1293.xml" ContentType="application/vnd.openxmlformats-officedocument.presentationml.tags+xml"/>
  <Override PartName="/ppt/tags/tag1294.xml" ContentType="application/vnd.openxmlformats-officedocument.presentationml.tags+xml"/>
  <Override PartName="/ppt/tags/tag1295.xml" ContentType="application/vnd.openxmlformats-officedocument.presentationml.tags+xml"/>
  <Override PartName="/ppt/tags/tag1296.xml" ContentType="application/vnd.openxmlformats-officedocument.presentationml.tags+xml"/>
  <Override PartName="/ppt/tags/tag1297.xml" ContentType="application/vnd.openxmlformats-officedocument.presentationml.tags+xml"/>
  <Override PartName="/ppt/tags/tag1298.xml" ContentType="application/vnd.openxmlformats-officedocument.presentationml.tags+xml"/>
  <Override PartName="/ppt/tags/tag1299.xml" ContentType="application/vnd.openxmlformats-officedocument.presentationml.tags+xml"/>
  <Override PartName="/ppt/tags/tag1300.xml" ContentType="application/vnd.openxmlformats-officedocument.presentationml.tags+xml"/>
  <Override PartName="/ppt/tags/tag1301.xml" ContentType="application/vnd.openxmlformats-officedocument.presentationml.tags+xml"/>
  <Override PartName="/ppt/tags/tag1302.xml" ContentType="application/vnd.openxmlformats-officedocument.presentationml.tags+xml"/>
  <Override PartName="/ppt/tags/tag1303.xml" ContentType="application/vnd.openxmlformats-officedocument.presentationml.tags+xml"/>
  <Override PartName="/ppt/tags/tag1304.xml" ContentType="application/vnd.openxmlformats-officedocument.presentationml.tags+xml"/>
  <Override PartName="/ppt/tags/tag1305.xml" ContentType="application/vnd.openxmlformats-officedocument.presentationml.tags+xml"/>
  <Override PartName="/ppt/tags/tag1306.xml" ContentType="application/vnd.openxmlformats-officedocument.presentationml.tags+xml"/>
  <Override PartName="/ppt/tags/tag1307.xml" ContentType="application/vnd.openxmlformats-officedocument.presentationml.tags+xml"/>
  <Override PartName="/ppt/tags/tag1308.xml" ContentType="application/vnd.openxmlformats-officedocument.presentationml.tags+xml"/>
  <Override PartName="/ppt/tags/tag1309.xml" ContentType="application/vnd.openxmlformats-officedocument.presentationml.tags+xml"/>
  <Override PartName="/ppt/tags/tag1310.xml" ContentType="application/vnd.openxmlformats-officedocument.presentationml.tags+xml"/>
  <Override PartName="/ppt/tags/tag1311.xml" ContentType="application/vnd.openxmlformats-officedocument.presentationml.tags+xml"/>
  <Override PartName="/ppt/tags/tag1312.xml" ContentType="application/vnd.openxmlformats-officedocument.presentationml.tags+xml"/>
  <Override PartName="/ppt/tags/tag1313.xml" ContentType="application/vnd.openxmlformats-officedocument.presentationml.tags+xml"/>
  <Override PartName="/ppt/tags/tag1314.xml" ContentType="application/vnd.openxmlformats-officedocument.presentationml.tags+xml"/>
  <Override PartName="/ppt/tags/tag1315.xml" ContentType="application/vnd.openxmlformats-officedocument.presentationml.tags+xml"/>
  <Override PartName="/ppt/tags/tag1316.xml" ContentType="application/vnd.openxmlformats-officedocument.presentationml.tags+xml"/>
  <Override PartName="/ppt/tags/tag1317.xml" ContentType="application/vnd.openxmlformats-officedocument.presentationml.tags+xml"/>
  <Override PartName="/ppt/tags/tag1318.xml" ContentType="application/vnd.openxmlformats-officedocument.presentationml.tags+xml"/>
  <Override PartName="/ppt/tags/tag1319.xml" ContentType="application/vnd.openxmlformats-officedocument.presentationml.tags+xml"/>
  <Override PartName="/ppt/tags/tag1320.xml" ContentType="application/vnd.openxmlformats-officedocument.presentationml.tags+xml"/>
  <Override PartName="/ppt/tags/tag1321.xml" ContentType="application/vnd.openxmlformats-officedocument.presentationml.tags+xml"/>
  <Override PartName="/ppt/tags/tag1322.xml" ContentType="application/vnd.openxmlformats-officedocument.presentationml.tags+xml"/>
  <Override PartName="/ppt/tags/tag1323.xml" ContentType="application/vnd.openxmlformats-officedocument.presentationml.tags+xml"/>
  <Override PartName="/ppt/tags/tag1324.xml" ContentType="application/vnd.openxmlformats-officedocument.presentationml.tags+xml"/>
  <Override PartName="/ppt/tags/tag1325.xml" ContentType="application/vnd.openxmlformats-officedocument.presentationml.tags+xml"/>
  <Override PartName="/ppt/tags/tag1326.xml" ContentType="application/vnd.openxmlformats-officedocument.presentationml.tags+xml"/>
  <Override PartName="/ppt/tags/tag1327.xml" ContentType="application/vnd.openxmlformats-officedocument.presentationml.tags+xml"/>
  <Override PartName="/ppt/tags/tag1328.xml" ContentType="application/vnd.openxmlformats-officedocument.presentationml.tags+xml"/>
  <Override PartName="/ppt/tags/tag1329.xml" ContentType="application/vnd.openxmlformats-officedocument.presentationml.tags+xml"/>
  <Override PartName="/ppt/tags/tag1330.xml" ContentType="application/vnd.openxmlformats-officedocument.presentationml.tags+xml"/>
  <Override PartName="/ppt/tags/tag1331.xml" ContentType="application/vnd.openxmlformats-officedocument.presentationml.tags+xml"/>
  <Override PartName="/ppt/tags/tag1332.xml" ContentType="application/vnd.openxmlformats-officedocument.presentationml.tags+xml"/>
  <Override PartName="/ppt/tags/tag1333.xml" ContentType="application/vnd.openxmlformats-officedocument.presentationml.tags+xml"/>
  <Override PartName="/ppt/tags/tag1334.xml" ContentType="application/vnd.openxmlformats-officedocument.presentationml.tags+xml"/>
  <Override PartName="/ppt/tags/tag1335.xml" ContentType="application/vnd.openxmlformats-officedocument.presentationml.tags+xml"/>
  <Override PartName="/ppt/tags/tag1336.xml" ContentType="application/vnd.openxmlformats-officedocument.presentationml.tags+xml"/>
  <Override PartName="/ppt/tags/tag1337.xml" ContentType="application/vnd.openxmlformats-officedocument.presentationml.tags+xml"/>
  <Override PartName="/ppt/tags/tag1338.xml" ContentType="application/vnd.openxmlformats-officedocument.presentationml.tags+xml"/>
  <Override PartName="/ppt/tags/tag1339.xml" ContentType="application/vnd.openxmlformats-officedocument.presentationml.tags+xml"/>
  <Override PartName="/ppt/tags/tag1340.xml" ContentType="application/vnd.openxmlformats-officedocument.presentationml.tags+xml"/>
  <Override PartName="/ppt/tags/tag1341.xml" ContentType="application/vnd.openxmlformats-officedocument.presentationml.tags+xml"/>
  <Override PartName="/ppt/tags/tag1342.xml" ContentType="application/vnd.openxmlformats-officedocument.presentationml.tags+xml"/>
  <Override PartName="/ppt/tags/tag1343.xml" ContentType="application/vnd.openxmlformats-officedocument.presentationml.tags+xml"/>
  <Override PartName="/ppt/tags/tag1344.xml" ContentType="application/vnd.openxmlformats-officedocument.presentationml.tags+xml"/>
  <Override PartName="/ppt/tags/tag1345.xml" ContentType="application/vnd.openxmlformats-officedocument.presentationml.tags+xml"/>
  <Override PartName="/ppt/tags/tag1346.xml" ContentType="application/vnd.openxmlformats-officedocument.presentationml.tags+xml"/>
  <Override PartName="/ppt/tags/tag1347.xml" ContentType="application/vnd.openxmlformats-officedocument.presentationml.tags+xml"/>
  <Override PartName="/ppt/tags/tag1348.xml" ContentType="application/vnd.openxmlformats-officedocument.presentationml.tags+xml"/>
  <Override PartName="/ppt/tags/tag1349.xml" ContentType="application/vnd.openxmlformats-officedocument.presentationml.tags+xml"/>
  <Override PartName="/ppt/tags/tag1350.xml" ContentType="application/vnd.openxmlformats-officedocument.presentationml.tags+xml"/>
  <Override PartName="/ppt/tags/tag1351.xml" ContentType="application/vnd.openxmlformats-officedocument.presentationml.tags+xml"/>
  <Override PartName="/ppt/tags/tag1352.xml" ContentType="application/vnd.openxmlformats-officedocument.presentationml.tags+xml"/>
  <Override PartName="/ppt/tags/tag1353.xml" ContentType="application/vnd.openxmlformats-officedocument.presentationml.tags+xml"/>
  <Override PartName="/ppt/tags/tag1354.xml" ContentType="application/vnd.openxmlformats-officedocument.presentationml.tags+xml"/>
  <Override PartName="/ppt/tags/tag1355.xml" ContentType="application/vnd.openxmlformats-officedocument.presentationml.tags+xml"/>
  <Override PartName="/ppt/tags/tag1356.xml" ContentType="application/vnd.openxmlformats-officedocument.presentationml.tags+xml"/>
  <Override PartName="/ppt/tags/tag1357.xml" ContentType="application/vnd.openxmlformats-officedocument.presentationml.tags+xml"/>
  <Override PartName="/ppt/tags/tag1358.xml" ContentType="application/vnd.openxmlformats-officedocument.presentationml.tags+xml"/>
  <Override PartName="/ppt/tags/tag1359.xml" ContentType="application/vnd.openxmlformats-officedocument.presentationml.tags+xml"/>
  <Override PartName="/ppt/tags/tag1360.xml" ContentType="application/vnd.openxmlformats-officedocument.presentationml.tags+xml"/>
  <Override PartName="/ppt/tags/tag1361.xml" ContentType="application/vnd.openxmlformats-officedocument.presentationml.tags+xml"/>
  <Override PartName="/ppt/tags/tag1362.xml" ContentType="application/vnd.openxmlformats-officedocument.presentationml.tags+xml"/>
  <Override PartName="/ppt/tags/tag1363.xml" ContentType="application/vnd.openxmlformats-officedocument.presentationml.tags+xml"/>
  <Override PartName="/ppt/tags/tag1364.xml" ContentType="application/vnd.openxmlformats-officedocument.presentationml.tags+xml"/>
  <Override PartName="/ppt/tags/tag1365.xml" ContentType="application/vnd.openxmlformats-officedocument.presentationml.tags+xml"/>
  <Override PartName="/ppt/tags/tag1366.xml" ContentType="application/vnd.openxmlformats-officedocument.presentationml.tags+xml"/>
  <Override PartName="/ppt/tags/tag1367.xml" ContentType="application/vnd.openxmlformats-officedocument.presentationml.tags+xml"/>
  <Override PartName="/ppt/tags/tag1368.xml" ContentType="application/vnd.openxmlformats-officedocument.presentationml.tags+xml"/>
  <Override PartName="/ppt/tags/tag1369.xml" ContentType="application/vnd.openxmlformats-officedocument.presentationml.tags+xml"/>
  <Override PartName="/ppt/tags/tag1370.xml" ContentType="application/vnd.openxmlformats-officedocument.presentationml.tags+xml"/>
  <Override PartName="/ppt/tags/tag1371.xml" ContentType="application/vnd.openxmlformats-officedocument.presentationml.tags+xml"/>
  <Override PartName="/ppt/tags/tag1372.xml" ContentType="application/vnd.openxmlformats-officedocument.presentationml.tags+xml"/>
  <Override PartName="/ppt/tags/tag1373.xml" ContentType="application/vnd.openxmlformats-officedocument.presentationml.tags+xml"/>
  <Override PartName="/ppt/tags/tag1374.xml" ContentType="application/vnd.openxmlformats-officedocument.presentationml.tags+xml"/>
  <Override PartName="/ppt/tags/tag1375.xml" ContentType="application/vnd.openxmlformats-officedocument.presentationml.tags+xml"/>
  <Override PartName="/ppt/tags/tag1376.xml" ContentType="application/vnd.openxmlformats-officedocument.presentationml.tags+xml"/>
  <Override PartName="/ppt/tags/tag1377.xml" ContentType="application/vnd.openxmlformats-officedocument.presentationml.tags+xml"/>
  <Override PartName="/ppt/tags/tag1378.xml" ContentType="application/vnd.openxmlformats-officedocument.presentationml.tags+xml"/>
  <Override PartName="/ppt/tags/tag1379.xml" ContentType="application/vnd.openxmlformats-officedocument.presentationml.tags+xml"/>
  <Override PartName="/ppt/tags/tag1380.xml" ContentType="application/vnd.openxmlformats-officedocument.presentationml.tags+xml"/>
  <Override PartName="/ppt/tags/tag1381.xml" ContentType="application/vnd.openxmlformats-officedocument.presentationml.tags+xml"/>
  <Override PartName="/ppt/tags/tag1382.xml" ContentType="application/vnd.openxmlformats-officedocument.presentationml.tags+xml"/>
  <Override PartName="/ppt/tags/tag1383.xml" ContentType="application/vnd.openxmlformats-officedocument.presentationml.tags+xml"/>
  <Override PartName="/ppt/tags/tag1384.xml" ContentType="application/vnd.openxmlformats-officedocument.presentationml.tags+xml"/>
  <Override PartName="/ppt/tags/tag1385.xml" ContentType="application/vnd.openxmlformats-officedocument.presentationml.tags+xml"/>
  <Override PartName="/ppt/tags/tag1386.xml" ContentType="application/vnd.openxmlformats-officedocument.presentationml.tags+xml"/>
  <Override PartName="/ppt/tags/tag1387.xml" ContentType="application/vnd.openxmlformats-officedocument.presentationml.tags+xml"/>
  <Override PartName="/ppt/tags/tag1388.xml" ContentType="application/vnd.openxmlformats-officedocument.presentationml.tags+xml"/>
  <Override PartName="/ppt/tags/tag1389.xml" ContentType="application/vnd.openxmlformats-officedocument.presentationml.tags+xml"/>
  <Override PartName="/ppt/tags/tag1390.xml" ContentType="application/vnd.openxmlformats-officedocument.presentationml.tags+xml"/>
  <Override PartName="/ppt/tags/tag1391.xml" ContentType="application/vnd.openxmlformats-officedocument.presentationml.tags+xml"/>
  <Override PartName="/ppt/tags/tag1392.xml" ContentType="application/vnd.openxmlformats-officedocument.presentationml.tags+xml"/>
  <Override PartName="/ppt/tags/tag1393.xml" ContentType="application/vnd.openxmlformats-officedocument.presentationml.tags+xml"/>
  <Override PartName="/ppt/tags/tag1394.xml" ContentType="application/vnd.openxmlformats-officedocument.presentationml.tags+xml"/>
  <Override PartName="/ppt/tags/tag1395.xml" ContentType="application/vnd.openxmlformats-officedocument.presentationml.tags+xml"/>
  <Override PartName="/ppt/tags/tag1396.xml" ContentType="application/vnd.openxmlformats-officedocument.presentationml.tags+xml"/>
  <Override PartName="/ppt/tags/tag1397.xml" ContentType="application/vnd.openxmlformats-officedocument.presentationml.tags+xml"/>
  <Override PartName="/ppt/tags/tag1398.xml" ContentType="application/vnd.openxmlformats-officedocument.presentationml.tags+xml"/>
  <Override PartName="/ppt/tags/tag1399.xml" ContentType="application/vnd.openxmlformats-officedocument.presentationml.tags+xml"/>
  <Override PartName="/ppt/tags/tag1400.xml" ContentType="application/vnd.openxmlformats-officedocument.presentationml.tags+xml"/>
  <Override PartName="/ppt/tags/tag1401.xml" ContentType="application/vnd.openxmlformats-officedocument.presentationml.tags+xml"/>
  <Override PartName="/ppt/tags/tag1402.xml" ContentType="application/vnd.openxmlformats-officedocument.presentationml.tags+xml"/>
  <Override PartName="/ppt/tags/tag1403.xml" ContentType="application/vnd.openxmlformats-officedocument.presentationml.tags+xml"/>
  <Override PartName="/ppt/tags/tag1404.xml" ContentType="application/vnd.openxmlformats-officedocument.presentationml.tags+xml"/>
  <Override PartName="/ppt/tags/tag1405.xml" ContentType="application/vnd.openxmlformats-officedocument.presentationml.tags+xml"/>
  <Override PartName="/ppt/tags/tag1406.xml" ContentType="application/vnd.openxmlformats-officedocument.presentationml.tags+xml"/>
  <Override PartName="/ppt/tags/tag1407.xml" ContentType="application/vnd.openxmlformats-officedocument.presentationml.tags+xml"/>
  <Override PartName="/ppt/tags/tag1408.xml" ContentType="application/vnd.openxmlformats-officedocument.presentationml.tags+xml"/>
  <Override PartName="/ppt/tags/tag1409.xml" ContentType="application/vnd.openxmlformats-officedocument.presentationml.tags+xml"/>
  <Override PartName="/ppt/tags/tag1410.xml" ContentType="application/vnd.openxmlformats-officedocument.presentationml.tags+xml"/>
  <Override PartName="/ppt/tags/tag1411.xml" ContentType="application/vnd.openxmlformats-officedocument.presentationml.tags+xml"/>
  <Override PartName="/ppt/tags/tag1412.xml" ContentType="application/vnd.openxmlformats-officedocument.presentationml.tags+xml"/>
  <Override PartName="/ppt/tags/tag1413.xml" ContentType="application/vnd.openxmlformats-officedocument.presentationml.tags+xml"/>
  <Override PartName="/ppt/tags/tag1414.xml" ContentType="application/vnd.openxmlformats-officedocument.presentationml.tags+xml"/>
  <Override PartName="/ppt/tags/tag1415.xml" ContentType="application/vnd.openxmlformats-officedocument.presentationml.tags+xml"/>
  <Override PartName="/ppt/tags/tag1416.xml" ContentType="application/vnd.openxmlformats-officedocument.presentationml.tags+xml"/>
  <Override PartName="/ppt/tags/tag1417.xml" ContentType="application/vnd.openxmlformats-officedocument.presentationml.tags+xml"/>
  <Override PartName="/ppt/tags/tag1418.xml" ContentType="application/vnd.openxmlformats-officedocument.presentationml.tags+xml"/>
  <Override PartName="/ppt/tags/tag1419.xml" ContentType="application/vnd.openxmlformats-officedocument.presentationml.tags+xml"/>
  <Override PartName="/ppt/tags/tag1420.xml" ContentType="application/vnd.openxmlformats-officedocument.presentationml.tags+xml"/>
  <Override PartName="/ppt/tags/tag1421.xml" ContentType="application/vnd.openxmlformats-officedocument.presentationml.tags+xml"/>
  <Override PartName="/ppt/tags/tag1422.xml" ContentType="application/vnd.openxmlformats-officedocument.presentationml.tags+xml"/>
  <Override PartName="/ppt/tags/tag1423.xml" ContentType="application/vnd.openxmlformats-officedocument.presentationml.tags+xml"/>
  <Override PartName="/ppt/tags/tag1424.xml" ContentType="application/vnd.openxmlformats-officedocument.presentationml.tags+xml"/>
  <Override PartName="/ppt/tags/tag1425.xml" ContentType="application/vnd.openxmlformats-officedocument.presentationml.tags+xml"/>
  <Override PartName="/ppt/tags/tag1426.xml" ContentType="application/vnd.openxmlformats-officedocument.presentationml.tags+xml"/>
  <Override PartName="/ppt/tags/tag1427.xml" ContentType="application/vnd.openxmlformats-officedocument.presentationml.tags+xml"/>
  <Override PartName="/ppt/tags/tag1428.xml" ContentType="application/vnd.openxmlformats-officedocument.presentationml.tags+xml"/>
  <Override PartName="/ppt/tags/tag1429.xml" ContentType="application/vnd.openxmlformats-officedocument.presentationml.tags+xml"/>
  <Override PartName="/ppt/tags/tag1430.xml" ContentType="application/vnd.openxmlformats-officedocument.presentationml.tags+xml"/>
  <Override PartName="/ppt/tags/tag1431.xml" ContentType="application/vnd.openxmlformats-officedocument.presentationml.tags+xml"/>
  <Override PartName="/ppt/tags/tag1432.xml" ContentType="application/vnd.openxmlformats-officedocument.presentationml.tags+xml"/>
  <Override PartName="/ppt/tags/tag1433.xml" ContentType="application/vnd.openxmlformats-officedocument.presentationml.tags+xml"/>
  <Override PartName="/ppt/tags/tag1434.xml" ContentType="application/vnd.openxmlformats-officedocument.presentationml.tags+xml"/>
  <Override PartName="/ppt/tags/tag1435.xml" ContentType="application/vnd.openxmlformats-officedocument.presentationml.tags+xml"/>
  <Override PartName="/ppt/tags/tag1436.xml" ContentType="application/vnd.openxmlformats-officedocument.presentationml.tags+xml"/>
  <Override PartName="/ppt/tags/tag1437.xml" ContentType="application/vnd.openxmlformats-officedocument.presentationml.tags+xml"/>
  <Override PartName="/ppt/tags/tag1438.xml" ContentType="application/vnd.openxmlformats-officedocument.presentationml.tags+xml"/>
  <Override PartName="/ppt/tags/tag1439.xml" ContentType="application/vnd.openxmlformats-officedocument.presentationml.tags+xml"/>
  <Override PartName="/ppt/tags/tag1440.xml" ContentType="application/vnd.openxmlformats-officedocument.presentationml.tags+xml"/>
  <Override PartName="/ppt/tags/tag1441.xml" ContentType="application/vnd.openxmlformats-officedocument.presentationml.tags+xml"/>
  <Override PartName="/ppt/tags/tag1442.xml" ContentType="application/vnd.openxmlformats-officedocument.presentationml.tags+xml"/>
  <Override PartName="/ppt/tags/tag1443.xml" ContentType="application/vnd.openxmlformats-officedocument.presentationml.tags+xml"/>
  <Override PartName="/ppt/tags/tag1444.xml" ContentType="application/vnd.openxmlformats-officedocument.presentationml.tags+xml"/>
  <Override PartName="/ppt/tags/tag1445.xml" ContentType="application/vnd.openxmlformats-officedocument.presentationml.tags+xml"/>
  <Override PartName="/ppt/tags/tag1446.xml" ContentType="application/vnd.openxmlformats-officedocument.presentationml.tags+xml"/>
  <Override PartName="/ppt/tags/tag1447.xml" ContentType="application/vnd.openxmlformats-officedocument.presentationml.tags+xml"/>
  <Override PartName="/ppt/tags/tag1448.xml" ContentType="application/vnd.openxmlformats-officedocument.presentationml.tags+xml"/>
  <Override PartName="/ppt/tags/tag1449.xml" ContentType="application/vnd.openxmlformats-officedocument.presentationml.tags+xml"/>
  <Override PartName="/ppt/tags/tag1450.xml" ContentType="application/vnd.openxmlformats-officedocument.presentationml.tags+xml"/>
  <Override PartName="/ppt/tags/tag1451.xml" ContentType="application/vnd.openxmlformats-officedocument.presentationml.tags+xml"/>
  <Override PartName="/ppt/tags/tag1452.xml" ContentType="application/vnd.openxmlformats-officedocument.presentationml.tags+xml"/>
  <Override PartName="/ppt/tags/tag1453.xml" ContentType="application/vnd.openxmlformats-officedocument.presentationml.tags+xml"/>
  <Override PartName="/ppt/tags/tag1454.xml" ContentType="application/vnd.openxmlformats-officedocument.presentationml.tags+xml"/>
  <Override PartName="/ppt/tags/tag1455.xml" ContentType="application/vnd.openxmlformats-officedocument.presentationml.tags+xml"/>
  <Override PartName="/ppt/tags/tag1456.xml" ContentType="application/vnd.openxmlformats-officedocument.presentationml.tags+xml"/>
  <Override PartName="/ppt/tags/tag1457.xml" ContentType="application/vnd.openxmlformats-officedocument.presentationml.tags+xml"/>
  <Override PartName="/ppt/tags/tag1458.xml" ContentType="application/vnd.openxmlformats-officedocument.presentationml.tags+xml"/>
  <Override PartName="/ppt/tags/tag1459.xml" ContentType="application/vnd.openxmlformats-officedocument.presentationml.tags+xml"/>
  <Override PartName="/ppt/tags/tag1460.xml" ContentType="application/vnd.openxmlformats-officedocument.presentationml.tags+xml"/>
  <Override PartName="/ppt/tags/tag1461.xml" ContentType="application/vnd.openxmlformats-officedocument.presentationml.tags+xml"/>
  <Override PartName="/ppt/tags/tag1462.xml" ContentType="application/vnd.openxmlformats-officedocument.presentationml.tags+xml"/>
  <Override PartName="/ppt/tags/tag1463.xml" ContentType="application/vnd.openxmlformats-officedocument.presentationml.tags+xml"/>
  <Override PartName="/ppt/tags/tag1464.xml" ContentType="application/vnd.openxmlformats-officedocument.presentationml.tags+xml"/>
  <Override PartName="/ppt/tags/tag1465.xml" ContentType="application/vnd.openxmlformats-officedocument.presentationml.tags+xml"/>
  <Override PartName="/ppt/tags/tag1466.xml" ContentType="application/vnd.openxmlformats-officedocument.presentationml.tags+xml"/>
  <Override PartName="/ppt/tags/tag1467.xml" ContentType="application/vnd.openxmlformats-officedocument.presentationml.tags+xml"/>
  <Override PartName="/ppt/tags/tag1468.xml" ContentType="application/vnd.openxmlformats-officedocument.presentationml.tags+xml"/>
  <Override PartName="/ppt/tags/tag1469.xml" ContentType="application/vnd.openxmlformats-officedocument.presentationml.tags+xml"/>
  <Override PartName="/ppt/tags/tag1470.xml" ContentType="application/vnd.openxmlformats-officedocument.presentationml.tags+xml"/>
  <Override PartName="/ppt/tags/tag1471.xml" ContentType="application/vnd.openxmlformats-officedocument.presentationml.tags+xml"/>
  <Override PartName="/ppt/tags/tag1472.xml" ContentType="application/vnd.openxmlformats-officedocument.presentationml.tags+xml"/>
  <Override PartName="/ppt/tags/tag1473.xml" ContentType="application/vnd.openxmlformats-officedocument.presentationml.tags+xml"/>
  <Override PartName="/ppt/tags/tag1474.xml" ContentType="application/vnd.openxmlformats-officedocument.presentationml.tags+xml"/>
  <Override PartName="/ppt/tags/tag1475.xml" ContentType="application/vnd.openxmlformats-officedocument.presentationml.tags+xml"/>
  <Override PartName="/ppt/tags/tag1476.xml" ContentType="application/vnd.openxmlformats-officedocument.presentationml.tags+xml"/>
  <Override PartName="/ppt/tags/tag1477.xml" ContentType="application/vnd.openxmlformats-officedocument.presentationml.tags+xml"/>
  <Override PartName="/ppt/tags/tag1478.xml" ContentType="application/vnd.openxmlformats-officedocument.presentationml.tags+xml"/>
  <Override PartName="/ppt/tags/tag1479.xml" ContentType="application/vnd.openxmlformats-officedocument.presentationml.tags+xml"/>
  <Override PartName="/ppt/tags/tag1480.xml" ContentType="application/vnd.openxmlformats-officedocument.presentationml.tags+xml"/>
  <Override PartName="/ppt/tags/tag1481.xml" ContentType="application/vnd.openxmlformats-officedocument.presentationml.tags+xml"/>
  <Override PartName="/ppt/tags/tag1482.xml" ContentType="application/vnd.openxmlformats-officedocument.presentationml.tags+xml"/>
  <Override PartName="/ppt/tags/tag1483.xml" ContentType="application/vnd.openxmlformats-officedocument.presentationml.tags+xml"/>
  <Override PartName="/ppt/tags/tag1484.xml" ContentType="application/vnd.openxmlformats-officedocument.presentationml.tags+xml"/>
  <Override PartName="/ppt/tags/tag1485.xml" ContentType="application/vnd.openxmlformats-officedocument.presentationml.tags+xml"/>
  <Override PartName="/ppt/tags/tag1486.xml" ContentType="application/vnd.openxmlformats-officedocument.presentationml.tags+xml"/>
  <Override PartName="/ppt/tags/tag1487.xml" ContentType="application/vnd.openxmlformats-officedocument.presentationml.tags+xml"/>
  <Override PartName="/ppt/tags/tag1488.xml" ContentType="application/vnd.openxmlformats-officedocument.presentationml.tags+xml"/>
  <Override PartName="/ppt/tags/tag1489.xml" ContentType="application/vnd.openxmlformats-officedocument.presentationml.tags+xml"/>
  <Override PartName="/ppt/tags/tag1490.xml" ContentType="application/vnd.openxmlformats-officedocument.presentationml.tags+xml"/>
  <Override PartName="/ppt/tags/tag1491.xml" ContentType="application/vnd.openxmlformats-officedocument.presentationml.tags+xml"/>
  <Override PartName="/ppt/tags/tag1492.xml" ContentType="application/vnd.openxmlformats-officedocument.presentationml.tags+xml"/>
  <Override PartName="/ppt/tags/tag1493.xml" ContentType="application/vnd.openxmlformats-officedocument.presentationml.tags+xml"/>
  <Override PartName="/ppt/tags/tag1494.xml" ContentType="application/vnd.openxmlformats-officedocument.presentationml.tags+xml"/>
  <Override PartName="/ppt/tags/tag1495.xml" ContentType="application/vnd.openxmlformats-officedocument.presentationml.tags+xml"/>
  <Override PartName="/ppt/tags/tag1496.xml" ContentType="application/vnd.openxmlformats-officedocument.presentationml.tags+xml"/>
  <Override PartName="/ppt/tags/tag1497.xml" ContentType="application/vnd.openxmlformats-officedocument.presentationml.tags+xml"/>
  <Override PartName="/ppt/tags/tag1498.xml" ContentType="application/vnd.openxmlformats-officedocument.presentationml.tags+xml"/>
  <Override PartName="/ppt/tags/tag1499.xml" ContentType="application/vnd.openxmlformats-officedocument.presentationml.tags+xml"/>
  <Override PartName="/ppt/tags/tag1500.xml" ContentType="application/vnd.openxmlformats-officedocument.presentationml.tags+xml"/>
  <Override PartName="/ppt/tags/tag1501.xml" ContentType="application/vnd.openxmlformats-officedocument.presentationml.tags+xml"/>
  <Override PartName="/ppt/tags/tag1502.xml" ContentType="application/vnd.openxmlformats-officedocument.presentationml.tags+xml"/>
  <Override PartName="/ppt/tags/tag1503.xml" ContentType="application/vnd.openxmlformats-officedocument.presentationml.tags+xml"/>
  <Override PartName="/ppt/tags/tag1504.xml" ContentType="application/vnd.openxmlformats-officedocument.presentationml.tags+xml"/>
  <Override PartName="/ppt/tags/tag1505.xml" ContentType="application/vnd.openxmlformats-officedocument.presentationml.tags+xml"/>
  <Override PartName="/ppt/tags/tag1506.xml" ContentType="application/vnd.openxmlformats-officedocument.presentationml.tags+xml"/>
  <Override PartName="/ppt/tags/tag1507.xml" ContentType="application/vnd.openxmlformats-officedocument.presentationml.tags+xml"/>
  <Override PartName="/ppt/tags/tag1508.xml" ContentType="application/vnd.openxmlformats-officedocument.presentationml.tags+xml"/>
  <Override PartName="/ppt/tags/tag1509.xml" ContentType="application/vnd.openxmlformats-officedocument.presentationml.tags+xml"/>
  <Override PartName="/ppt/tags/tag1510.xml" ContentType="application/vnd.openxmlformats-officedocument.presentationml.tags+xml"/>
  <Override PartName="/ppt/tags/tag1511.xml" ContentType="application/vnd.openxmlformats-officedocument.presentationml.tags+xml"/>
  <Override PartName="/ppt/tags/tag1512.xml" ContentType="application/vnd.openxmlformats-officedocument.presentationml.tags+xml"/>
  <Override PartName="/ppt/tags/tag1513.xml" ContentType="application/vnd.openxmlformats-officedocument.presentationml.tags+xml"/>
  <Override PartName="/ppt/tags/tag1514.xml" ContentType="application/vnd.openxmlformats-officedocument.presentationml.tags+xml"/>
  <Override PartName="/ppt/tags/tag1515.xml" ContentType="application/vnd.openxmlformats-officedocument.presentationml.tags+xml"/>
  <Override PartName="/ppt/tags/tag1516.xml" ContentType="application/vnd.openxmlformats-officedocument.presentationml.tags+xml"/>
  <Override PartName="/ppt/tags/tag1517.xml" ContentType="application/vnd.openxmlformats-officedocument.presentationml.tags+xml"/>
  <Override PartName="/ppt/tags/tag1518.xml" ContentType="application/vnd.openxmlformats-officedocument.presentationml.tags+xml"/>
  <Override PartName="/ppt/tags/tag1519.xml" ContentType="application/vnd.openxmlformats-officedocument.presentationml.tags+xml"/>
  <Override PartName="/ppt/tags/tag1520.xml" ContentType="application/vnd.openxmlformats-officedocument.presentationml.tags+xml"/>
  <Override PartName="/ppt/tags/tag1521.xml" ContentType="application/vnd.openxmlformats-officedocument.presentationml.tags+xml"/>
  <Override PartName="/ppt/tags/tag1522.xml" ContentType="application/vnd.openxmlformats-officedocument.presentationml.tags+xml"/>
  <Override PartName="/ppt/tags/tag1523.xml" ContentType="application/vnd.openxmlformats-officedocument.presentationml.tags+xml"/>
  <Override PartName="/ppt/tags/tag1524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1"/>
  </p:sldMasterIdLst>
  <p:notesMasterIdLst>
    <p:notesMasterId r:id="rId18"/>
  </p:notesMasterIdLst>
  <p:sldIdLst>
    <p:sldId id="256" r:id="rId2"/>
    <p:sldId id="272" r:id="rId3"/>
    <p:sldId id="274" r:id="rId4"/>
    <p:sldId id="273" r:id="rId5"/>
    <p:sldId id="280" r:id="rId6"/>
    <p:sldId id="275" r:id="rId7"/>
    <p:sldId id="276" r:id="rId8"/>
    <p:sldId id="277" r:id="rId9"/>
    <p:sldId id="278" r:id="rId10"/>
    <p:sldId id="279" r:id="rId11"/>
    <p:sldId id="281" r:id="rId12"/>
    <p:sldId id="257" r:id="rId13"/>
    <p:sldId id="258" r:id="rId14"/>
    <p:sldId id="260" r:id="rId15"/>
    <p:sldId id="270" r:id="rId16"/>
    <p:sldId id="265" r:id="rId17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0C2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989" autoAdjust="0"/>
    <p:restoredTop sz="92534" autoAdjust="0"/>
  </p:normalViewPr>
  <p:slideViewPr>
    <p:cSldViewPr snapToGrid="0">
      <p:cViewPr varScale="1">
        <p:scale>
          <a:sx n="105" d="100"/>
          <a:sy n="105" d="100"/>
        </p:scale>
        <p:origin x="546" y="11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4F85D34-9383-4894-A8A3-7FE3CE67EE7D}" type="doc">
      <dgm:prSet loTypeId="urn:microsoft.com/office/officeart/2005/8/layout/radial6" loCatId="cycle" qsTypeId="urn:microsoft.com/office/officeart/2005/8/quickstyle/3d2" qsCatId="3D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DADC6460-8230-44E8-BE50-8F3F7A5A0D64}">
      <dgm:prSet phldrT="[Text]"/>
      <dgm:spPr/>
      <dgm:t>
        <a:bodyPr/>
        <a:lstStyle/>
        <a:p>
          <a:r>
            <a:rPr lang="en-US" dirty="0"/>
            <a:t>Global Learner</a:t>
          </a:r>
        </a:p>
      </dgm:t>
    </dgm:pt>
    <dgm:pt modelId="{2DD1AABF-5EFB-41B6-8669-950EF1C75F83}" type="parTrans" cxnId="{29924016-E468-4576-9CFE-A9B6D30372D3}">
      <dgm:prSet/>
      <dgm:spPr/>
      <dgm:t>
        <a:bodyPr/>
        <a:lstStyle/>
        <a:p>
          <a:endParaRPr lang="en-US"/>
        </a:p>
      </dgm:t>
    </dgm:pt>
    <dgm:pt modelId="{5605E0AF-BD94-407D-B90C-58370B7AA0BE}" type="sibTrans" cxnId="{29924016-E468-4576-9CFE-A9B6D30372D3}">
      <dgm:prSet/>
      <dgm:spPr/>
      <dgm:t>
        <a:bodyPr/>
        <a:lstStyle/>
        <a:p>
          <a:endParaRPr lang="en-US"/>
        </a:p>
      </dgm:t>
    </dgm:pt>
    <dgm:pt modelId="{F416AE41-F5BC-4CA6-A4F0-57882A9E6FA9}">
      <dgm:prSet phldrT="[Text]"/>
      <dgm:spPr>
        <a:solidFill>
          <a:schemeClr val="accent2">
            <a:lumMod val="50000"/>
          </a:schemeClr>
        </a:solidFill>
      </dgm:spPr>
      <dgm:t>
        <a:bodyPr/>
        <a:lstStyle/>
        <a:p>
          <a:r>
            <a:rPr lang="en-US" dirty="0"/>
            <a:t>Verify</a:t>
          </a:r>
        </a:p>
      </dgm:t>
    </dgm:pt>
    <dgm:pt modelId="{6E62C546-48BA-481E-9FD6-FDE1E1B33FEC}" type="parTrans" cxnId="{1BE08EB5-CE33-45F4-861E-2347032FB1CD}">
      <dgm:prSet/>
      <dgm:spPr/>
      <dgm:t>
        <a:bodyPr/>
        <a:lstStyle/>
        <a:p>
          <a:endParaRPr lang="en-US"/>
        </a:p>
      </dgm:t>
    </dgm:pt>
    <dgm:pt modelId="{3A7ECB62-8E82-4DBC-B74D-9305201E4CF2}" type="sibTrans" cxnId="{1BE08EB5-CE33-45F4-861E-2347032FB1CD}">
      <dgm:prSet/>
      <dgm:spPr>
        <a:solidFill>
          <a:schemeClr val="accent2">
            <a:lumMod val="50000"/>
          </a:schemeClr>
        </a:solidFill>
      </dgm:spPr>
      <dgm:t>
        <a:bodyPr/>
        <a:lstStyle/>
        <a:p>
          <a:endParaRPr lang="en-US"/>
        </a:p>
      </dgm:t>
    </dgm:pt>
    <dgm:pt modelId="{8814BE35-9638-4CD0-A452-5454FF8025A8}">
      <dgm:prSet phldrT="[Text]"/>
      <dgm:spPr/>
      <dgm:t>
        <a:bodyPr/>
        <a:lstStyle/>
        <a:p>
          <a:r>
            <a:rPr lang="en-US" dirty="0"/>
            <a:t>Quality Assure</a:t>
          </a:r>
        </a:p>
      </dgm:t>
    </dgm:pt>
    <dgm:pt modelId="{30DB287F-1864-4971-850B-8612F7E7C959}" type="parTrans" cxnId="{90926F42-79D0-4A26-ACAE-E95E490E4290}">
      <dgm:prSet/>
      <dgm:spPr/>
      <dgm:t>
        <a:bodyPr/>
        <a:lstStyle/>
        <a:p>
          <a:endParaRPr lang="en-US"/>
        </a:p>
      </dgm:t>
    </dgm:pt>
    <dgm:pt modelId="{E12208F7-F2AE-429B-8C29-8DDBB59CB1C2}" type="sibTrans" cxnId="{90926F42-79D0-4A26-ACAE-E95E490E4290}">
      <dgm:prSet/>
      <dgm:spPr>
        <a:solidFill>
          <a:schemeClr val="accent2">
            <a:lumMod val="50000"/>
          </a:schemeClr>
        </a:solidFill>
      </dgm:spPr>
      <dgm:t>
        <a:bodyPr/>
        <a:lstStyle/>
        <a:p>
          <a:endParaRPr lang="en-US"/>
        </a:p>
      </dgm:t>
    </dgm:pt>
    <dgm:pt modelId="{586B0624-B31A-48EC-9025-142CE91CAE38}">
      <dgm:prSet phldrT="[Text]"/>
      <dgm:spPr/>
      <dgm:t>
        <a:bodyPr/>
        <a:lstStyle/>
        <a:p>
          <a:r>
            <a:rPr lang="en-US" dirty="0"/>
            <a:t>Award</a:t>
          </a:r>
        </a:p>
      </dgm:t>
    </dgm:pt>
    <dgm:pt modelId="{A8615436-CD86-4557-93C5-D0BBEF9F0B49}" type="parTrans" cxnId="{4AC946B5-1312-4553-8395-1C7DA2F080A1}">
      <dgm:prSet/>
      <dgm:spPr/>
      <dgm:t>
        <a:bodyPr/>
        <a:lstStyle/>
        <a:p>
          <a:endParaRPr lang="en-US"/>
        </a:p>
      </dgm:t>
    </dgm:pt>
    <dgm:pt modelId="{975C374F-0C66-4877-8256-A046C140C07C}" type="sibTrans" cxnId="{4AC946B5-1312-4553-8395-1C7DA2F080A1}">
      <dgm:prSet/>
      <dgm:spPr>
        <a:solidFill>
          <a:schemeClr val="accent2">
            <a:lumMod val="50000"/>
          </a:schemeClr>
        </a:solidFill>
      </dgm:spPr>
      <dgm:t>
        <a:bodyPr/>
        <a:lstStyle/>
        <a:p>
          <a:endParaRPr lang="en-US"/>
        </a:p>
      </dgm:t>
    </dgm:pt>
    <dgm:pt modelId="{C531BA04-034D-433D-AB5A-7C96CCBF5CCB}">
      <dgm:prSet phldrT="[Text]"/>
      <dgm:spPr/>
      <dgm:t>
        <a:bodyPr/>
        <a:lstStyle/>
        <a:p>
          <a:r>
            <a:rPr lang="en-US" dirty="0"/>
            <a:t>Provider</a:t>
          </a:r>
        </a:p>
      </dgm:t>
    </dgm:pt>
    <dgm:pt modelId="{D797903F-9720-4289-AEEA-75781FD7A1D1}" type="parTrans" cxnId="{35717B81-95F7-4163-9994-DB5093949882}">
      <dgm:prSet/>
      <dgm:spPr/>
      <dgm:t>
        <a:bodyPr/>
        <a:lstStyle/>
        <a:p>
          <a:endParaRPr lang="en-US"/>
        </a:p>
      </dgm:t>
    </dgm:pt>
    <dgm:pt modelId="{B9A53CB5-C399-4D50-BA40-777EB937A1C3}" type="sibTrans" cxnId="{35717B81-95F7-4163-9994-DB5093949882}">
      <dgm:prSet/>
      <dgm:spPr>
        <a:solidFill>
          <a:schemeClr val="accent2">
            <a:lumMod val="50000"/>
          </a:schemeClr>
        </a:solidFill>
      </dgm:spPr>
      <dgm:t>
        <a:bodyPr/>
        <a:lstStyle/>
        <a:p>
          <a:endParaRPr lang="en-US"/>
        </a:p>
      </dgm:t>
    </dgm:pt>
    <dgm:pt modelId="{8629049D-0911-4B2F-929D-3FFBFB340CD0}">
      <dgm:prSet phldrT="[Text]"/>
      <dgm:spPr/>
      <dgm:t>
        <a:bodyPr/>
        <a:lstStyle/>
        <a:p>
          <a:r>
            <a:rPr lang="en-US"/>
            <a:t>Evaluate</a:t>
          </a:r>
        </a:p>
      </dgm:t>
    </dgm:pt>
    <dgm:pt modelId="{7E07D6C7-67F2-484E-B032-27C969A3AC0F}" type="parTrans" cxnId="{64B4FF04-4613-4047-8AF1-07494F16EB5D}">
      <dgm:prSet/>
      <dgm:spPr/>
      <dgm:t>
        <a:bodyPr/>
        <a:lstStyle/>
        <a:p>
          <a:endParaRPr lang="en-US"/>
        </a:p>
      </dgm:t>
    </dgm:pt>
    <dgm:pt modelId="{41CF8B9F-DDFD-4DDE-A907-04B74C1009CB}" type="sibTrans" cxnId="{64B4FF04-4613-4047-8AF1-07494F16EB5D}">
      <dgm:prSet/>
      <dgm:spPr>
        <a:solidFill>
          <a:schemeClr val="accent2">
            <a:lumMod val="50000"/>
          </a:schemeClr>
        </a:solidFill>
      </dgm:spPr>
      <dgm:t>
        <a:bodyPr/>
        <a:lstStyle/>
        <a:p>
          <a:endParaRPr lang="en-US"/>
        </a:p>
      </dgm:t>
    </dgm:pt>
    <dgm:pt modelId="{93668A8C-69A3-428B-8514-9DC92458E630}" type="pres">
      <dgm:prSet presAssocID="{E4F85D34-9383-4894-A8A3-7FE3CE67EE7D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876DF7B0-5979-43B9-B0F4-5017FE8264FF}" type="pres">
      <dgm:prSet presAssocID="{DADC6460-8230-44E8-BE50-8F3F7A5A0D64}" presName="centerShape" presStyleLbl="node0" presStyleIdx="0" presStyleCnt="1"/>
      <dgm:spPr/>
    </dgm:pt>
    <dgm:pt modelId="{39813EAF-8889-455F-ACE5-7F071E561815}" type="pres">
      <dgm:prSet presAssocID="{F416AE41-F5BC-4CA6-A4F0-57882A9E6FA9}" presName="node" presStyleLbl="node1" presStyleIdx="0" presStyleCnt="5">
        <dgm:presLayoutVars>
          <dgm:bulletEnabled val="1"/>
        </dgm:presLayoutVars>
      </dgm:prSet>
      <dgm:spPr/>
    </dgm:pt>
    <dgm:pt modelId="{1DAD5CE3-F821-4E6D-90BA-A1E34DC603A2}" type="pres">
      <dgm:prSet presAssocID="{F416AE41-F5BC-4CA6-A4F0-57882A9E6FA9}" presName="dummy" presStyleCnt="0"/>
      <dgm:spPr/>
    </dgm:pt>
    <dgm:pt modelId="{7C57198A-D19C-41C4-886A-11D13EDC7042}" type="pres">
      <dgm:prSet presAssocID="{3A7ECB62-8E82-4DBC-B74D-9305201E4CF2}" presName="sibTrans" presStyleLbl="sibTrans2D1" presStyleIdx="0" presStyleCnt="5"/>
      <dgm:spPr/>
    </dgm:pt>
    <dgm:pt modelId="{BB7DE3EF-8D9F-4A4F-AF03-4A74A84BA97C}" type="pres">
      <dgm:prSet presAssocID="{8629049D-0911-4B2F-929D-3FFBFB340CD0}" presName="node" presStyleLbl="node1" presStyleIdx="1" presStyleCnt="5">
        <dgm:presLayoutVars>
          <dgm:bulletEnabled val="1"/>
        </dgm:presLayoutVars>
      </dgm:prSet>
      <dgm:spPr/>
    </dgm:pt>
    <dgm:pt modelId="{B9E863BD-C280-462C-9112-3D879D2DF82A}" type="pres">
      <dgm:prSet presAssocID="{8629049D-0911-4B2F-929D-3FFBFB340CD0}" presName="dummy" presStyleCnt="0"/>
      <dgm:spPr/>
    </dgm:pt>
    <dgm:pt modelId="{77782FFA-C69B-406F-A5D6-47926A09329D}" type="pres">
      <dgm:prSet presAssocID="{41CF8B9F-DDFD-4DDE-A907-04B74C1009CB}" presName="sibTrans" presStyleLbl="sibTrans2D1" presStyleIdx="1" presStyleCnt="5"/>
      <dgm:spPr/>
    </dgm:pt>
    <dgm:pt modelId="{C5815806-8EB3-43EE-BB03-88FBB1774307}" type="pres">
      <dgm:prSet presAssocID="{8814BE35-9638-4CD0-A452-5454FF8025A8}" presName="node" presStyleLbl="node1" presStyleIdx="2" presStyleCnt="5">
        <dgm:presLayoutVars>
          <dgm:bulletEnabled val="1"/>
        </dgm:presLayoutVars>
      </dgm:prSet>
      <dgm:spPr/>
    </dgm:pt>
    <dgm:pt modelId="{1B43A566-D922-466D-B8E7-7ED902BC01A5}" type="pres">
      <dgm:prSet presAssocID="{8814BE35-9638-4CD0-A452-5454FF8025A8}" presName="dummy" presStyleCnt="0"/>
      <dgm:spPr/>
    </dgm:pt>
    <dgm:pt modelId="{3106BB71-8AE4-41A5-8F1A-443D802E5430}" type="pres">
      <dgm:prSet presAssocID="{E12208F7-F2AE-429B-8C29-8DDBB59CB1C2}" presName="sibTrans" presStyleLbl="sibTrans2D1" presStyleIdx="2" presStyleCnt="5"/>
      <dgm:spPr/>
    </dgm:pt>
    <dgm:pt modelId="{EF89922B-C733-44EC-A544-930FCFCB242E}" type="pres">
      <dgm:prSet presAssocID="{586B0624-B31A-48EC-9025-142CE91CAE38}" presName="node" presStyleLbl="node1" presStyleIdx="3" presStyleCnt="5">
        <dgm:presLayoutVars>
          <dgm:bulletEnabled val="1"/>
        </dgm:presLayoutVars>
      </dgm:prSet>
      <dgm:spPr/>
    </dgm:pt>
    <dgm:pt modelId="{0797AC4A-D955-4A2D-914B-F5DF3B5C3148}" type="pres">
      <dgm:prSet presAssocID="{586B0624-B31A-48EC-9025-142CE91CAE38}" presName="dummy" presStyleCnt="0"/>
      <dgm:spPr/>
    </dgm:pt>
    <dgm:pt modelId="{0E947F76-78A4-4887-A753-27600F1E1919}" type="pres">
      <dgm:prSet presAssocID="{975C374F-0C66-4877-8256-A046C140C07C}" presName="sibTrans" presStyleLbl="sibTrans2D1" presStyleIdx="3" presStyleCnt="5"/>
      <dgm:spPr/>
    </dgm:pt>
    <dgm:pt modelId="{BD1C3D7D-7430-4269-93A5-5C6DDCD3D79E}" type="pres">
      <dgm:prSet presAssocID="{C531BA04-034D-433D-AB5A-7C96CCBF5CCB}" presName="node" presStyleLbl="node1" presStyleIdx="4" presStyleCnt="5">
        <dgm:presLayoutVars>
          <dgm:bulletEnabled val="1"/>
        </dgm:presLayoutVars>
      </dgm:prSet>
      <dgm:spPr/>
    </dgm:pt>
    <dgm:pt modelId="{F69AFA19-239B-4DB2-8490-10B7F11E114B}" type="pres">
      <dgm:prSet presAssocID="{C531BA04-034D-433D-AB5A-7C96CCBF5CCB}" presName="dummy" presStyleCnt="0"/>
      <dgm:spPr/>
    </dgm:pt>
    <dgm:pt modelId="{81708E6C-9A6A-4AC7-961E-12A091E6E557}" type="pres">
      <dgm:prSet presAssocID="{B9A53CB5-C399-4D50-BA40-777EB937A1C3}" presName="sibTrans" presStyleLbl="sibTrans2D1" presStyleIdx="4" presStyleCnt="5"/>
      <dgm:spPr/>
    </dgm:pt>
  </dgm:ptLst>
  <dgm:cxnLst>
    <dgm:cxn modelId="{64B4FF04-4613-4047-8AF1-07494F16EB5D}" srcId="{DADC6460-8230-44E8-BE50-8F3F7A5A0D64}" destId="{8629049D-0911-4B2F-929D-3FFBFB340CD0}" srcOrd="1" destOrd="0" parTransId="{7E07D6C7-67F2-484E-B032-27C969A3AC0F}" sibTransId="{41CF8B9F-DDFD-4DDE-A907-04B74C1009CB}"/>
    <dgm:cxn modelId="{0420EF05-DBA3-42CE-A751-38BA43B45246}" type="presOf" srcId="{975C374F-0C66-4877-8256-A046C140C07C}" destId="{0E947F76-78A4-4887-A753-27600F1E1919}" srcOrd="0" destOrd="0" presId="urn:microsoft.com/office/officeart/2005/8/layout/radial6"/>
    <dgm:cxn modelId="{29924016-E468-4576-9CFE-A9B6D30372D3}" srcId="{E4F85D34-9383-4894-A8A3-7FE3CE67EE7D}" destId="{DADC6460-8230-44E8-BE50-8F3F7A5A0D64}" srcOrd="0" destOrd="0" parTransId="{2DD1AABF-5EFB-41B6-8669-950EF1C75F83}" sibTransId="{5605E0AF-BD94-407D-B90C-58370B7AA0BE}"/>
    <dgm:cxn modelId="{D0F5A41B-D8EC-41E0-92EE-502307C88931}" type="presOf" srcId="{41CF8B9F-DDFD-4DDE-A907-04B74C1009CB}" destId="{77782FFA-C69B-406F-A5D6-47926A09329D}" srcOrd="0" destOrd="0" presId="urn:microsoft.com/office/officeart/2005/8/layout/radial6"/>
    <dgm:cxn modelId="{7465BF26-45B4-4977-9200-4EE5BB11EB38}" type="presOf" srcId="{8629049D-0911-4B2F-929D-3FFBFB340CD0}" destId="{BB7DE3EF-8D9F-4A4F-AF03-4A74A84BA97C}" srcOrd="0" destOrd="0" presId="urn:microsoft.com/office/officeart/2005/8/layout/radial6"/>
    <dgm:cxn modelId="{90926F42-79D0-4A26-ACAE-E95E490E4290}" srcId="{DADC6460-8230-44E8-BE50-8F3F7A5A0D64}" destId="{8814BE35-9638-4CD0-A452-5454FF8025A8}" srcOrd="2" destOrd="0" parTransId="{30DB287F-1864-4971-850B-8612F7E7C959}" sibTransId="{E12208F7-F2AE-429B-8C29-8DDBB59CB1C2}"/>
    <dgm:cxn modelId="{58936652-41FD-4020-B6F7-A0A0384BD047}" type="presOf" srcId="{E4F85D34-9383-4894-A8A3-7FE3CE67EE7D}" destId="{93668A8C-69A3-428B-8514-9DC92458E630}" srcOrd="0" destOrd="0" presId="urn:microsoft.com/office/officeart/2005/8/layout/radial6"/>
    <dgm:cxn modelId="{6F97945A-39CD-4FED-A256-7BC86EF3F6FD}" type="presOf" srcId="{DADC6460-8230-44E8-BE50-8F3F7A5A0D64}" destId="{876DF7B0-5979-43B9-B0F4-5017FE8264FF}" srcOrd="0" destOrd="0" presId="urn:microsoft.com/office/officeart/2005/8/layout/radial6"/>
    <dgm:cxn modelId="{9EC8C97F-1403-4E2B-8E4D-87F709C0BED4}" type="presOf" srcId="{C531BA04-034D-433D-AB5A-7C96CCBF5CCB}" destId="{BD1C3D7D-7430-4269-93A5-5C6DDCD3D79E}" srcOrd="0" destOrd="0" presId="urn:microsoft.com/office/officeart/2005/8/layout/radial6"/>
    <dgm:cxn modelId="{35717B81-95F7-4163-9994-DB5093949882}" srcId="{DADC6460-8230-44E8-BE50-8F3F7A5A0D64}" destId="{C531BA04-034D-433D-AB5A-7C96CCBF5CCB}" srcOrd="4" destOrd="0" parTransId="{D797903F-9720-4289-AEEA-75781FD7A1D1}" sibTransId="{B9A53CB5-C399-4D50-BA40-777EB937A1C3}"/>
    <dgm:cxn modelId="{52401992-B511-41AC-BFB0-B56F41FDA359}" type="presOf" srcId="{586B0624-B31A-48EC-9025-142CE91CAE38}" destId="{EF89922B-C733-44EC-A544-930FCFCB242E}" srcOrd="0" destOrd="0" presId="urn:microsoft.com/office/officeart/2005/8/layout/radial6"/>
    <dgm:cxn modelId="{21BADC98-B99A-4AA3-9768-EBB692B96DFC}" type="presOf" srcId="{F416AE41-F5BC-4CA6-A4F0-57882A9E6FA9}" destId="{39813EAF-8889-455F-ACE5-7F071E561815}" srcOrd="0" destOrd="0" presId="urn:microsoft.com/office/officeart/2005/8/layout/radial6"/>
    <dgm:cxn modelId="{2DA2B1AA-C49B-4414-B629-42A34747BA26}" type="presOf" srcId="{3A7ECB62-8E82-4DBC-B74D-9305201E4CF2}" destId="{7C57198A-D19C-41C4-886A-11D13EDC7042}" srcOrd="0" destOrd="0" presId="urn:microsoft.com/office/officeart/2005/8/layout/radial6"/>
    <dgm:cxn modelId="{4AC946B5-1312-4553-8395-1C7DA2F080A1}" srcId="{DADC6460-8230-44E8-BE50-8F3F7A5A0D64}" destId="{586B0624-B31A-48EC-9025-142CE91CAE38}" srcOrd="3" destOrd="0" parTransId="{A8615436-CD86-4557-93C5-D0BBEF9F0B49}" sibTransId="{975C374F-0C66-4877-8256-A046C140C07C}"/>
    <dgm:cxn modelId="{1BE08EB5-CE33-45F4-861E-2347032FB1CD}" srcId="{DADC6460-8230-44E8-BE50-8F3F7A5A0D64}" destId="{F416AE41-F5BC-4CA6-A4F0-57882A9E6FA9}" srcOrd="0" destOrd="0" parTransId="{6E62C546-48BA-481E-9FD6-FDE1E1B33FEC}" sibTransId="{3A7ECB62-8E82-4DBC-B74D-9305201E4CF2}"/>
    <dgm:cxn modelId="{68B2F1C2-BE25-4E44-A1C8-C7D3B58270DF}" type="presOf" srcId="{E12208F7-F2AE-429B-8C29-8DDBB59CB1C2}" destId="{3106BB71-8AE4-41A5-8F1A-443D802E5430}" srcOrd="0" destOrd="0" presId="urn:microsoft.com/office/officeart/2005/8/layout/radial6"/>
    <dgm:cxn modelId="{C6067FD6-07D7-41F6-86A0-DD37B6724DFC}" type="presOf" srcId="{8814BE35-9638-4CD0-A452-5454FF8025A8}" destId="{C5815806-8EB3-43EE-BB03-88FBB1774307}" srcOrd="0" destOrd="0" presId="urn:microsoft.com/office/officeart/2005/8/layout/radial6"/>
    <dgm:cxn modelId="{794EB9FE-4BD7-4A69-B680-4A66A7FBDCF2}" type="presOf" srcId="{B9A53CB5-C399-4D50-BA40-777EB937A1C3}" destId="{81708E6C-9A6A-4AC7-961E-12A091E6E557}" srcOrd="0" destOrd="0" presId="urn:microsoft.com/office/officeart/2005/8/layout/radial6"/>
    <dgm:cxn modelId="{549B3A23-795B-4322-965E-2C736D0139CE}" type="presParOf" srcId="{93668A8C-69A3-428B-8514-9DC92458E630}" destId="{876DF7B0-5979-43B9-B0F4-5017FE8264FF}" srcOrd="0" destOrd="0" presId="urn:microsoft.com/office/officeart/2005/8/layout/radial6"/>
    <dgm:cxn modelId="{E07A25FB-08B3-475E-8905-64F5109CA356}" type="presParOf" srcId="{93668A8C-69A3-428B-8514-9DC92458E630}" destId="{39813EAF-8889-455F-ACE5-7F071E561815}" srcOrd="1" destOrd="0" presId="urn:microsoft.com/office/officeart/2005/8/layout/radial6"/>
    <dgm:cxn modelId="{3F257F18-B290-4ACE-8D3D-1AF9AFE15C84}" type="presParOf" srcId="{93668A8C-69A3-428B-8514-9DC92458E630}" destId="{1DAD5CE3-F821-4E6D-90BA-A1E34DC603A2}" srcOrd="2" destOrd="0" presId="urn:microsoft.com/office/officeart/2005/8/layout/radial6"/>
    <dgm:cxn modelId="{12DEA824-87BD-444F-A35A-C75914BFB166}" type="presParOf" srcId="{93668A8C-69A3-428B-8514-9DC92458E630}" destId="{7C57198A-D19C-41C4-886A-11D13EDC7042}" srcOrd="3" destOrd="0" presId="urn:microsoft.com/office/officeart/2005/8/layout/radial6"/>
    <dgm:cxn modelId="{2021EEA0-BA98-49A9-BDC2-45587E84D4CC}" type="presParOf" srcId="{93668A8C-69A3-428B-8514-9DC92458E630}" destId="{BB7DE3EF-8D9F-4A4F-AF03-4A74A84BA97C}" srcOrd="4" destOrd="0" presId="urn:microsoft.com/office/officeart/2005/8/layout/radial6"/>
    <dgm:cxn modelId="{9E60FBFD-16AC-4218-9C98-DFB3228714CF}" type="presParOf" srcId="{93668A8C-69A3-428B-8514-9DC92458E630}" destId="{B9E863BD-C280-462C-9112-3D879D2DF82A}" srcOrd="5" destOrd="0" presId="urn:microsoft.com/office/officeart/2005/8/layout/radial6"/>
    <dgm:cxn modelId="{A07026B6-D7E8-4F37-BE70-9C24E1C6EF9A}" type="presParOf" srcId="{93668A8C-69A3-428B-8514-9DC92458E630}" destId="{77782FFA-C69B-406F-A5D6-47926A09329D}" srcOrd="6" destOrd="0" presId="urn:microsoft.com/office/officeart/2005/8/layout/radial6"/>
    <dgm:cxn modelId="{8E66FC60-2C52-44B9-8643-0F467A7E75C8}" type="presParOf" srcId="{93668A8C-69A3-428B-8514-9DC92458E630}" destId="{C5815806-8EB3-43EE-BB03-88FBB1774307}" srcOrd="7" destOrd="0" presId="urn:microsoft.com/office/officeart/2005/8/layout/radial6"/>
    <dgm:cxn modelId="{A9E37FF0-BA01-43E9-8771-BC4C73E1AADD}" type="presParOf" srcId="{93668A8C-69A3-428B-8514-9DC92458E630}" destId="{1B43A566-D922-466D-B8E7-7ED902BC01A5}" srcOrd="8" destOrd="0" presId="urn:microsoft.com/office/officeart/2005/8/layout/radial6"/>
    <dgm:cxn modelId="{3071C590-54DD-40C0-BAF7-3D787AE9C036}" type="presParOf" srcId="{93668A8C-69A3-428B-8514-9DC92458E630}" destId="{3106BB71-8AE4-41A5-8F1A-443D802E5430}" srcOrd="9" destOrd="0" presId="urn:microsoft.com/office/officeart/2005/8/layout/radial6"/>
    <dgm:cxn modelId="{7383F795-E71C-4843-97EE-1C4F621FCB72}" type="presParOf" srcId="{93668A8C-69A3-428B-8514-9DC92458E630}" destId="{EF89922B-C733-44EC-A544-930FCFCB242E}" srcOrd="10" destOrd="0" presId="urn:microsoft.com/office/officeart/2005/8/layout/radial6"/>
    <dgm:cxn modelId="{FBCCBEB1-A1D8-4FE3-874C-1A7460CC414F}" type="presParOf" srcId="{93668A8C-69A3-428B-8514-9DC92458E630}" destId="{0797AC4A-D955-4A2D-914B-F5DF3B5C3148}" srcOrd="11" destOrd="0" presId="urn:microsoft.com/office/officeart/2005/8/layout/radial6"/>
    <dgm:cxn modelId="{2EC122FC-68EB-464F-996B-B01A7D8A2CEF}" type="presParOf" srcId="{93668A8C-69A3-428B-8514-9DC92458E630}" destId="{0E947F76-78A4-4887-A753-27600F1E1919}" srcOrd="12" destOrd="0" presId="urn:microsoft.com/office/officeart/2005/8/layout/radial6"/>
    <dgm:cxn modelId="{C201A483-86CF-4BC1-8C10-69825EE5D7AB}" type="presParOf" srcId="{93668A8C-69A3-428B-8514-9DC92458E630}" destId="{BD1C3D7D-7430-4269-93A5-5C6DDCD3D79E}" srcOrd="13" destOrd="0" presId="urn:microsoft.com/office/officeart/2005/8/layout/radial6"/>
    <dgm:cxn modelId="{88AD9D30-4123-4141-8907-64411AA6FF5D}" type="presParOf" srcId="{93668A8C-69A3-428B-8514-9DC92458E630}" destId="{F69AFA19-239B-4DB2-8490-10B7F11E114B}" srcOrd="14" destOrd="0" presId="urn:microsoft.com/office/officeart/2005/8/layout/radial6"/>
    <dgm:cxn modelId="{1B1ADF8E-517F-4A79-BF13-BD1A2E76E3AF}" type="presParOf" srcId="{93668A8C-69A3-428B-8514-9DC92458E630}" destId="{81708E6C-9A6A-4AC7-961E-12A091E6E557}" srcOrd="15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38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708E6C-9A6A-4AC7-961E-12A091E6E557}">
      <dsp:nvSpPr>
        <dsp:cNvPr id="0" name=""/>
        <dsp:cNvSpPr/>
      </dsp:nvSpPr>
      <dsp:spPr>
        <a:xfrm>
          <a:off x="1815757" y="622476"/>
          <a:ext cx="4147665" cy="4147665"/>
        </a:xfrm>
        <a:prstGeom prst="blockArc">
          <a:avLst>
            <a:gd name="adj1" fmla="val 11880000"/>
            <a:gd name="adj2" fmla="val 16200000"/>
            <a:gd name="adj3" fmla="val 4643"/>
          </a:avLst>
        </a:prstGeom>
        <a:solidFill>
          <a:schemeClr val="accent2">
            <a:lumMod val="50000"/>
          </a:schemeClr>
        </a:solidFill>
        <a:ln>
          <a:noFill/>
        </a:ln>
        <a:effectLst>
          <a:outerShdw blurRad="38100" dist="254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E947F76-78A4-4887-A753-27600F1E1919}">
      <dsp:nvSpPr>
        <dsp:cNvPr id="0" name=""/>
        <dsp:cNvSpPr/>
      </dsp:nvSpPr>
      <dsp:spPr>
        <a:xfrm>
          <a:off x="1815757" y="622476"/>
          <a:ext cx="4147665" cy="4147665"/>
        </a:xfrm>
        <a:prstGeom prst="blockArc">
          <a:avLst>
            <a:gd name="adj1" fmla="val 7560000"/>
            <a:gd name="adj2" fmla="val 11880000"/>
            <a:gd name="adj3" fmla="val 4643"/>
          </a:avLst>
        </a:prstGeom>
        <a:solidFill>
          <a:schemeClr val="accent2">
            <a:lumMod val="50000"/>
          </a:schemeClr>
        </a:solidFill>
        <a:ln>
          <a:noFill/>
        </a:ln>
        <a:effectLst>
          <a:outerShdw blurRad="38100" dist="254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3106BB71-8AE4-41A5-8F1A-443D802E5430}">
      <dsp:nvSpPr>
        <dsp:cNvPr id="0" name=""/>
        <dsp:cNvSpPr/>
      </dsp:nvSpPr>
      <dsp:spPr>
        <a:xfrm>
          <a:off x="1815757" y="622476"/>
          <a:ext cx="4147665" cy="4147665"/>
        </a:xfrm>
        <a:prstGeom prst="blockArc">
          <a:avLst>
            <a:gd name="adj1" fmla="val 3240000"/>
            <a:gd name="adj2" fmla="val 7560000"/>
            <a:gd name="adj3" fmla="val 4643"/>
          </a:avLst>
        </a:prstGeom>
        <a:solidFill>
          <a:schemeClr val="accent2">
            <a:lumMod val="50000"/>
          </a:schemeClr>
        </a:solidFill>
        <a:ln>
          <a:noFill/>
        </a:ln>
        <a:effectLst>
          <a:outerShdw blurRad="38100" dist="254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77782FFA-C69B-406F-A5D6-47926A09329D}">
      <dsp:nvSpPr>
        <dsp:cNvPr id="0" name=""/>
        <dsp:cNvSpPr/>
      </dsp:nvSpPr>
      <dsp:spPr>
        <a:xfrm>
          <a:off x="1815757" y="622476"/>
          <a:ext cx="4147665" cy="4147665"/>
        </a:xfrm>
        <a:prstGeom prst="blockArc">
          <a:avLst>
            <a:gd name="adj1" fmla="val 20520000"/>
            <a:gd name="adj2" fmla="val 3240000"/>
            <a:gd name="adj3" fmla="val 4643"/>
          </a:avLst>
        </a:prstGeom>
        <a:solidFill>
          <a:schemeClr val="accent2">
            <a:lumMod val="50000"/>
          </a:schemeClr>
        </a:solidFill>
        <a:ln>
          <a:noFill/>
        </a:ln>
        <a:effectLst>
          <a:outerShdw blurRad="38100" dist="254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7C57198A-D19C-41C4-886A-11D13EDC7042}">
      <dsp:nvSpPr>
        <dsp:cNvPr id="0" name=""/>
        <dsp:cNvSpPr/>
      </dsp:nvSpPr>
      <dsp:spPr>
        <a:xfrm>
          <a:off x="1815757" y="622476"/>
          <a:ext cx="4147665" cy="4147665"/>
        </a:xfrm>
        <a:prstGeom prst="blockArc">
          <a:avLst>
            <a:gd name="adj1" fmla="val 16200000"/>
            <a:gd name="adj2" fmla="val 20520000"/>
            <a:gd name="adj3" fmla="val 4643"/>
          </a:avLst>
        </a:prstGeom>
        <a:solidFill>
          <a:schemeClr val="accent2">
            <a:lumMod val="50000"/>
          </a:schemeClr>
        </a:solidFill>
        <a:ln>
          <a:noFill/>
        </a:ln>
        <a:effectLst>
          <a:outerShdw blurRad="38100" dist="254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876DF7B0-5979-43B9-B0F4-5017FE8264FF}">
      <dsp:nvSpPr>
        <dsp:cNvPr id="0" name=""/>
        <dsp:cNvSpPr/>
      </dsp:nvSpPr>
      <dsp:spPr>
        <a:xfrm>
          <a:off x="2934285" y="1741004"/>
          <a:ext cx="1910609" cy="1910609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96000"/>
                <a:lumMod val="100000"/>
              </a:schemeClr>
            </a:gs>
            <a:gs pos="78000">
              <a:schemeClr val="accent2">
                <a:hueOff val="0"/>
                <a:satOff val="0"/>
                <a:lumOff val="0"/>
                <a:alphaOff val="0"/>
                <a:shade val="94000"/>
                <a:lumMod val="94000"/>
              </a:schemeClr>
            </a:gs>
          </a:gsLst>
          <a:lin ang="5400000" scaled="0"/>
        </a:gradFill>
        <a:ln>
          <a:noFill/>
        </a:ln>
        <a:effectLst>
          <a:outerShdw blurRad="38100" dist="254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6830" tIns="36830" rIns="36830" bIns="3683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dirty="0"/>
            <a:t>Global Learner</a:t>
          </a:r>
        </a:p>
      </dsp:txBody>
      <dsp:txXfrm>
        <a:off x="3214087" y="2020806"/>
        <a:ext cx="1351005" cy="1351005"/>
      </dsp:txXfrm>
    </dsp:sp>
    <dsp:sp modelId="{39813EAF-8889-455F-ACE5-7F071E561815}">
      <dsp:nvSpPr>
        <dsp:cNvPr id="0" name=""/>
        <dsp:cNvSpPr/>
      </dsp:nvSpPr>
      <dsp:spPr>
        <a:xfrm>
          <a:off x="3220877" y="1910"/>
          <a:ext cx="1337426" cy="1337426"/>
        </a:xfrm>
        <a:prstGeom prst="ellipse">
          <a:avLst/>
        </a:prstGeom>
        <a:solidFill>
          <a:schemeClr val="accent2">
            <a:lumMod val="50000"/>
          </a:schemeClr>
        </a:solidFill>
        <a:ln>
          <a:noFill/>
        </a:ln>
        <a:effectLst>
          <a:outerShdw blurRad="38100" dist="254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Verify</a:t>
          </a:r>
        </a:p>
      </dsp:txBody>
      <dsp:txXfrm>
        <a:off x="3416739" y="197772"/>
        <a:ext cx="945702" cy="945702"/>
      </dsp:txXfrm>
    </dsp:sp>
    <dsp:sp modelId="{BB7DE3EF-8D9F-4A4F-AF03-4A74A84BA97C}">
      <dsp:nvSpPr>
        <dsp:cNvPr id="0" name=""/>
        <dsp:cNvSpPr/>
      </dsp:nvSpPr>
      <dsp:spPr>
        <a:xfrm>
          <a:off x="5147418" y="1401624"/>
          <a:ext cx="1337426" cy="1337426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96000"/>
                <a:lumMod val="100000"/>
              </a:schemeClr>
            </a:gs>
            <a:gs pos="78000">
              <a:schemeClr val="accent2">
                <a:hueOff val="0"/>
                <a:satOff val="0"/>
                <a:lumOff val="0"/>
                <a:alphaOff val="0"/>
                <a:shade val="94000"/>
                <a:lumMod val="94000"/>
              </a:schemeClr>
            </a:gs>
          </a:gsLst>
          <a:lin ang="5400000" scaled="0"/>
        </a:gradFill>
        <a:ln>
          <a:noFill/>
        </a:ln>
        <a:effectLst>
          <a:outerShdw blurRad="38100" dist="254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Evaluate</a:t>
          </a:r>
        </a:p>
      </dsp:txBody>
      <dsp:txXfrm>
        <a:off x="5343280" y="1597486"/>
        <a:ext cx="945702" cy="945702"/>
      </dsp:txXfrm>
    </dsp:sp>
    <dsp:sp modelId="{C5815806-8EB3-43EE-BB03-88FBB1774307}">
      <dsp:nvSpPr>
        <dsp:cNvPr id="0" name=""/>
        <dsp:cNvSpPr/>
      </dsp:nvSpPr>
      <dsp:spPr>
        <a:xfrm>
          <a:off x="4411545" y="3666409"/>
          <a:ext cx="1337426" cy="1337426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96000"/>
                <a:lumMod val="100000"/>
              </a:schemeClr>
            </a:gs>
            <a:gs pos="78000">
              <a:schemeClr val="accent2">
                <a:hueOff val="0"/>
                <a:satOff val="0"/>
                <a:lumOff val="0"/>
                <a:alphaOff val="0"/>
                <a:shade val="94000"/>
                <a:lumMod val="94000"/>
              </a:schemeClr>
            </a:gs>
          </a:gsLst>
          <a:lin ang="5400000" scaled="0"/>
        </a:gradFill>
        <a:ln>
          <a:noFill/>
        </a:ln>
        <a:effectLst>
          <a:outerShdw blurRad="38100" dist="254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Quality Assure</a:t>
          </a:r>
        </a:p>
      </dsp:txBody>
      <dsp:txXfrm>
        <a:off x="4607407" y="3862271"/>
        <a:ext cx="945702" cy="945702"/>
      </dsp:txXfrm>
    </dsp:sp>
    <dsp:sp modelId="{EF89922B-C733-44EC-A544-930FCFCB242E}">
      <dsp:nvSpPr>
        <dsp:cNvPr id="0" name=""/>
        <dsp:cNvSpPr/>
      </dsp:nvSpPr>
      <dsp:spPr>
        <a:xfrm>
          <a:off x="2030209" y="3666409"/>
          <a:ext cx="1337426" cy="1337426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96000"/>
                <a:lumMod val="100000"/>
              </a:schemeClr>
            </a:gs>
            <a:gs pos="78000">
              <a:schemeClr val="accent2">
                <a:hueOff val="0"/>
                <a:satOff val="0"/>
                <a:lumOff val="0"/>
                <a:alphaOff val="0"/>
                <a:shade val="94000"/>
                <a:lumMod val="94000"/>
              </a:schemeClr>
            </a:gs>
          </a:gsLst>
          <a:lin ang="5400000" scaled="0"/>
        </a:gradFill>
        <a:ln>
          <a:noFill/>
        </a:ln>
        <a:effectLst>
          <a:outerShdw blurRad="38100" dist="254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Award</a:t>
          </a:r>
        </a:p>
      </dsp:txBody>
      <dsp:txXfrm>
        <a:off x="2226071" y="3862271"/>
        <a:ext cx="945702" cy="945702"/>
      </dsp:txXfrm>
    </dsp:sp>
    <dsp:sp modelId="{BD1C3D7D-7430-4269-93A5-5C6DDCD3D79E}">
      <dsp:nvSpPr>
        <dsp:cNvPr id="0" name=""/>
        <dsp:cNvSpPr/>
      </dsp:nvSpPr>
      <dsp:spPr>
        <a:xfrm>
          <a:off x="1294336" y="1401624"/>
          <a:ext cx="1337426" cy="1337426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96000"/>
                <a:lumMod val="100000"/>
              </a:schemeClr>
            </a:gs>
            <a:gs pos="78000">
              <a:schemeClr val="accent2">
                <a:hueOff val="0"/>
                <a:satOff val="0"/>
                <a:lumOff val="0"/>
                <a:alphaOff val="0"/>
                <a:shade val="94000"/>
                <a:lumMod val="94000"/>
              </a:schemeClr>
            </a:gs>
          </a:gsLst>
          <a:lin ang="5400000" scaled="0"/>
        </a:gradFill>
        <a:ln>
          <a:noFill/>
        </a:ln>
        <a:effectLst>
          <a:outerShdw blurRad="38100" dist="254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Provider</a:t>
          </a:r>
        </a:p>
      </dsp:txBody>
      <dsp:txXfrm>
        <a:off x="1490198" y="1597486"/>
        <a:ext cx="945702" cy="94570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F9AAFE-A182-4A35-8B5D-C072A7E7CF41}" type="datetimeFigureOut">
              <a:rPr lang="en-US" smtClean="0"/>
              <a:t>12/2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4A47BC-0D26-4043-99CB-86AD3EFF51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65403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4A47BC-0D26-4043-99CB-86AD3EFF515C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27065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r>
              <a:rPr lang="en-US" dirty="0">
                <a:solidFill>
                  <a:schemeClr val="tx1"/>
                </a:solidFill>
              </a:rPr>
              <a:t>Integrated into and supporting global mobility initiatives world-wide such as:</a:t>
            </a:r>
          </a:p>
          <a:p>
            <a:pPr lvl="1">
              <a:lnSpc>
                <a:spcPct val="110000"/>
              </a:lnSpc>
            </a:pPr>
            <a:r>
              <a:rPr lang="en-US" dirty="0">
                <a:solidFill>
                  <a:schemeClr val="tx1"/>
                </a:solidFill>
              </a:rPr>
              <a:t>EUROPE: Erasmus Without Papers, EMREX, European Commission Graduate Tracking Expert Group</a:t>
            </a:r>
          </a:p>
          <a:p>
            <a:pPr lvl="1">
              <a:lnSpc>
                <a:spcPct val="110000"/>
              </a:lnSpc>
            </a:pPr>
            <a:r>
              <a:rPr lang="en-US" dirty="0"/>
              <a:t>AFRICA: African Qualification Verification Network (14 COUNTRIES); SAQA</a:t>
            </a:r>
          </a:p>
          <a:p>
            <a:pPr lvl="1">
              <a:lnSpc>
                <a:spcPct val="110000"/>
              </a:lnSpc>
            </a:pPr>
            <a:r>
              <a:rPr lang="en-US" dirty="0"/>
              <a:t>NORTH AMERICA: IMS Global Mobility Standards, PESC, AACRAO, National Student Clearinghouse, </a:t>
            </a:r>
          </a:p>
          <a:p>
            <a:pPr lvl="1">
              <a:lnSpc>
                <a:spcPct val="110000"/>
              </a:lnSpc>
            </a:pPr>
            <a:r>
              <a:rPr lang="en-US" dirty="0"/>
              <a:t>AUSTRALASIA: MYEQUALS; Chinese Ministry of Education Agencies (CSCSE, CHESICC, CDGDC); INDIA: CDSL, NSDL</a:t>
            </a:r>
          </a:p>
          <a:p>
            <a:pPr>
              <a:lnSpc>
                <a:spcPct val="110000"/>
              </a:lnSpc>
            </a:pPr>
            <a:r>
              <a:rPr lang="en-US" dirty="0"/>
              <a:t>WORKS CLOSELY WITH UNESCO, THE WORLD BANK EDUCATION AND ENIC-NARICS</a:t>
            </a:r>
          </a:p>
          <a:p>
            <a:pPr lvl="1">
              <a:lnSpc>
                <a:spcPct val="110000"/>
              </a:lnSpc>
            </a:pPr>
            <a:r>
              <a:rPr lang="en-US" dirty="0"/>
              <a:t>Support initiatives related to access and availability of services to lesser developed countries and refugees</a:t>
            </a:r>
          </a:p>
          <a:p>
            <a:pPr lvl="1">
              <a:lnSpc>
                <a:spcPct val="110000"/>
              </a:lnSpc>
            </a:pPr>
            <a:r>
              <a:rPr lang="en-US" dirty="0"/>
              <a:t>Support international initiatives linked to expanding the successful evaluation and acceptance of international credentials (TAICEP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4A47BC-0D26-4043-99CB-86AD3EFF515C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0334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s of 2016, AM Cape Town supportive of EQPR, the European Qualification Passport for Refugees initiative, by providing keynotes and session</a:t>
            </a:r>
            <a:r>
              <a:rPr lang="en-US" baseline="0" dirty="0"/>
              <a:t> slots to address refugee skills qualification, for instance by suggesting the use of </a:t>
            </a:r>
            <a:r>
              <a:rPr lang="en-US" baseline="0" dirty="0" err="1"/>
              <a:t>blockchain</a:t>
            </a:r>
            <a:r>
              <a:rPr lang="en-US" baseline="0" dirty="0"/>
              <a:t>  </a:t>
            </a:r>
          </a:p>
          <a:p>
            <a:r>
              <a:rPr lang="en-US" baseline="0" dirty="0"/>
              <a:t>Advocating diversity ion the broadest sense; reaching out to countries on the road to developmen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4A47BC-0D26-4043-99CB-86AD3EFF515C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16977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redential digitalization and evaluation: Invited as member of the Steering Committee of the ENIC-NARIC </a:t>
            </a:r>
            <a:r>
              <a:rPr lang="en-US" dirty="0" err="1"/>
              <a:t>DigiRec</a:t>
            </a:r>
            <a:r>
              <a:rPr lang="en-US" dirty="0"/>
              <a:t> project.</a:t>
            </a:r>
          </a:p>
          <a:p>
            <a:endParaRPr lang="en-US" dirty="0"/>
          </a:p>
          <a:p>
            <a:r>
              <a:rPr lang="en-US" dirty="0"/>
              <a:t>Participant</a:t>
            </a:r>
            <a:r>
              <a:rPr lang="en-US" baseline="0" dirty="0"/>
              <a:t> in EU Expert Group on Graduate Tracking </a:t>
            </a:r>
            <a:endParaRPr lang="en-US" dirty="0"/>
          </a:p>
          <a:p>
            <a:endParaRPr lang="en-US" dirty="0"/>
          </a:p>
          <a:p>
            <a:r>
              <a:rPr lang="en-US" dirty="0"/>
              <a:t>Introducing regional GDN chapters,</a:t>
            </a:r>
            <a:r>
              <a:rPr lang="en-US" baseline="0" dirty="0"/>
              <a:t> for instance in the</a:t>
            </a:r>
            <a:r>
              <a:rPr lang="en-US" dirty="0"/>
              <a:t>; first such chapter about to be launched in ANZ region. Other possible regional chapters to follow: Middle East, Latin America and Africa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4A47BC-0D26-4043-99CB-86AD3EFF515C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49078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03DDB6-39F2-4CB7-B19D-25C08DA6F495}" type="datetime1">
              <a:rPr lang="en-US" smtClean="0"/>
              <a:t>12/2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n international public benefit foundation, registered with the Dutch Chamber of Commerce - 67518613 and the European Transparency Register - 238535130318-52. Office contact details: Nolenslaan 13, NL-9722 NK Groningen/ed@groningendeclaration.org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C95BCC-47B3-4F29-B111-3A483CB5AE05}" type="datetime1">
              <a:rPr lang="en-US" smtClean="0"/>
              <a:t>12/2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n international public benefit foundation, registered with the Dutch Chamber of Commerce - 67518613 and the European Transparency Register - 238535130318-52. Office contact details: Nolenslaan 13, NL-9722 NK Groningen/ed@groningendeclaration.org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9E3EE9-7E4F-4164-AEA6-806DA7DA9F5D}" type="datetime1">
              <a:rPr lang="en-US" smtClean="0"/>
              <a:t>12/2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n international public benefit foundation, registered with the Dutch Chamber of Commerce - 67518613 and the European Transparency Register - 238535130318-52. Office contact details: Nolenslaan 13, NL-9722 NK Groningen/ed@groningendeclaration.org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</a:rPr>
              <a:t>”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CC6B97-38E5-42F6-9E21-5E118A5EE04A}" type="datetime1">
              <a:rPr lang="en-US" smtClean="0"/>
              <a:t>12/2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n international public benefit foundation, registered with the Dutch Chamber of Commerce - 67518613 and the European Transparency Register - 238535130318-52. Office contact details: Nolenslaan 13, NL-9722 NK Groningen/ed@groningendeclaration.org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A54920-6AB2-4FBD-B146-6FDAFA4F3820}" type="datetime1">
              <a:rPr lang="en-US" smtClean="0"/>
              <a:t>12/2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n international public benefit foundation, registered with the Dutch Chamber of Commerce - 67518613 and the European Transparency Register - 238535130318-52. Office contact details: Nolenslaan 13, NL-9722 NK Groningen/ed@groningendeclaration.org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2E2F48-3016-4EAE-979E-5CDEA8009A66}" type="datetime1">
              <a:rPr lang="en-US" smtClean="0"/>
              <a:t>12/2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n international public benefit foundation, registered with the Dutch Chamber of Commerce - 67518613 and the European Transparency Register - 238535130318-52. Office contact details: Nolenslaan 13, NL-9722 NK Groningen/ed@groningendeclaration.org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E4F242-05E9-4BA3-A08D-10B39050A82F}" type="datetime1">
              <a:rPr lang="en-US" smtClean="0"/>
              <a:t>12/2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n international public benefit foundation, registered with the Dutch Chamber of Commerce - 67518613 and the European Transparency Register - 238535130318-52. Office contact details: Nolenslaan 13, NL-9722 NK Groningen/ed@groningendeclaration.org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333C77-0158-454C-844F-B7AB9BD7DAD4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A3340A-3547-41F9-A267-060D321BD7DD}" type="datetime1">
              <a:rPr lang="en-US" smtClean="0"/>
              <a:t>12/2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n international public benefit foundation, registered with the Dutch Chamber of Commerce - 67518613 and the European Transparency Register - 238535130318-52. Office contact details: Nolenslaan 13, NL-9722 NK Groningen/ed@groningendeclaration.org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15A165-9CD1-43B5-86B0-FA53D23AE6BD}" type="datetime1">
              <a:rPr lang="en-US" smtClean="0"/>
              <a:t>12/2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n international public benefit foundation, registered with the Dutch Chamber of Commerce - 67518613 and the European Transparency Register - 238535130318-52. Office contact details: Nolenslaan 13, NL-9722 NK Groningen/ed@groningendeclaration.org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E9270F-D253-4E6B-B684-CFC3D4D58E27}" type="datetime1">
              <a:rPr lang="en-US" smtClean="0"/>
              <a:t>12/2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n international public benefit foundation, registered with the Dutch Chamber of Commerce - 67518613 and the European Transparency Register - 238535130318-52. Office contact details: Nolenslaan 13, NL-9722 NK Groningen/ed@groningendeclaration.org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75AA8C-852B-42A9-BAFD-AA3BA83A3D36}" type="datetime1">
              <a:rPr lang="en-US" smtClean="0"/>
              <a:t>12/2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n international public benefit foundation, registered with the Dutch Chamber of Commerce - 67518613 and the European Transparency Register - 238535130318-52. Office contact details: Nolenslaan 13, NL-9722 NK Groningen/ed@groningendeclaration.org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F9F0C5-380F-41C2-899A-BAC0F0927E16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CB2984-983D-42F3-AD17-5E65B31146BD}" type="datetime1">
              <a:rPr lang="en-US" smtClean="0"/>
              <a:t>12/2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n international public benefit foundation, registered with the Dutch Chamber of Commerce - 67518613 and the European Transparency Register - 238535130318-52. Office contact details: Nolenslaan 13, NL-9722 NK Groningen/ed@groningendeclaration.org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930871-7182-4235-B4B4-8DDC43EA2E28}" type="datetime1">
              <a:rPr lang="en-US" smtClean="0"/>
              <a:t>12/2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n international public benefit foundation, registered with the Dutch Chamber of Commerce - 67518613 and the European Transparency Register - 238535130318-52. Office contact details: Nolenslaan 13, NL-9722 NK Groningen/ed@groningendeclaration.org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BF00C5-92DF-4DF6-A842-05C184F47331}" type="datetime1">
              <a:rPr lang="en-US" smtClean="0"/>
              <a:t>12/2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n international public benefit foundation, registered with the Dutch Chamber of Commerce - 67518613 and the European Transparency Register - 238535130318-52. Office contact details: Nolenslaan 13, NL-9722 NK Groningen/ed@groningendeclaration.or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820D0D-BD2B-436B-9CD6-1331EDCD8BA3}" type="datetime1">
              <a:rPr lang="en-US" smtClean="0"/>
              <a:t>12/2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n international public benefit foundation, registered with the Dutch Chamber of Commerce - 67518613 and the European Transparency Register - 238535130318-52. Office contact details: Nolenslaan 13, NL-9722 NK Groningen/ed@groningendeclaration.org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954A3-9DFD-4C44-94BA-B95130A3BA1C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E656BA-0CEB-4EA3-80E6-AC78CD781022}" type="datetime1">
              <a:rPr lang="en-US" smtClean="0"/>
              <a:t>12/2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n international public benefit foundation, registered with the Dutch Chamber of Commerce - 67518613 and the European Transparency Register - 238535130318-52. Office contact details: Nolenslaan 13, NL-9722 NK Groningen/ed@groningendeclaration.org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9E9A96-EC70-4269-A3E6-71AD54D70E62}" type="datetime1">
              <a:rPr lang="en-US" smtClean="0"/>
              <a:t>12/2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n international public benefit foundation, registered with the Dutch Chamber of Commerce - 67518613 and the European Transparency Register - 238535130318-52. Office contact details: Nolenslaan 13, NL-9722 NK Groningen/ed@groningendeclaration.org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65" r:id="rId4"/>
    <p:sldLayoutId id="2147483653" r:id="rId5"/>
    <p:sldLayoutId id="2147483654" r:id="rId6"/>
    <p:sldLayoutId id="2147483655" r:id="rId7"/>
    <p:sldLayoutId id="2147483666" r:id="rId8"/>
    <p:sldLayoutId id="2147483657" r:id="rId9"/>
    <p:sldLayoutId id="2147483660" r:id="rId10"/>
    <p:sldLayoutId id="2147483661" r:id="rId11"/>
    <p:sldLayoutId id="2147483662" r:id="rId12"/>
    <p:sldLayoutId id="2147483663" r:id="rId13"/>
    <p:sldLayoutId id="2147483664" r:id="rId14"/>
    <p:sldLayoutId id="2147483667" r:id="rId15"/>
    <p:sldLayoutId id="2147483659" r:id="rId16"/>
  </p:sldLayoutIdLst>
  <p:hf sldNum="0" hdr="0" dt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21" Type="http://schemas.openxmlformats.org/officeDocument/2006/relationships/tags" Target="../tags/tag21.xml"/><Relationship Id="rId63" Type="http://schemas.openxmlformats.org/officeDocument/2006/relationships/tags" Target="../tags/tag63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26" Type="http://schemas.openxmlformats.org/officeDocument/2006/relationships/tags" Target="../tags/tag226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68" Type="http://schemas.openxmlformats.org/officeDocument/2006/relationships/tags" Target="../tags/tag268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53" Type="http://schemas.openxmlformats.org/officeDocument/2006/relationships/tags" Target="../tags/tag53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35" Type="http://schemas.openxmlformats.org/officeDocument/2006/relationships/tags" Target="../tags/tag335.xml"/><Relationship Id="rId356" Type="http://schemas.openxmlformats.org/officeDocument/2006/relationships/tags" Target="../tags/tag356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181" Type="http://schemas.openxmlformats.org/officeDocument/2006/relationships/tags" Target="../tags/tag181.xml"/><Relationship Id="rId216" Type="http://schemas.openxmlformats.org/officeDocument/2006/relationships/tags" Target="../tags/tag216.xml"/><Relationship Id="rId237" Type="http://schemas.openxmlformats.org/officeDocument/2006/relationships/tags" Target="../tags/tag237.xml"/><Relationship Id="rId258" Type="http://schemas.openxmlformats.org/officeDocument/2006/relationships/tags" Target="../tags/tag258.xml"/><Relationship Id="rId279" Type="http://schemas.openxmlformats.org/officeDocument/2006/relationships/tags" Target="../tags/tag279.xml"/><Relationship Id="rId22" Type="http://schemas.openxmlformats.org/officeDocument/2006/relationships/tags" Target="../tags/tag22.xml"/><Relationship Id="rId43" Type="http://schemas.openxmlformats.org/officeDocument/2006/relationships/tags" Target="../tags/tag43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25" Type="http://schemas.openxmlformats.org/officeDocument/2006/relationships/tags" Target="../tags/tag325.xml"/><Relationship Id="rId346" Type="http://schemas.openxmlformats.org/officeDocument/2006/relationships/tags" Target="../tags/tag346.xml"/><Relationship Id="rId367" Type="http://schemas.openxmlformats.org/officeDocument/2006/relationships/tags" Target="../tags/tag367.xml"/><Relationship Id="rId388" Type="http://schemas.microsoft.com/office/2007/relationships/diagramDrawing" Target="../diagrams/drawing1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71" Type="http://schemas.openxmlformats.org/officeDocument/2006/relationships/tags" Target="../tags/tag171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27" Type="http://schemas.openxmlformats.org/officeDocument/2006/relationships/tags" Target="../tags/tag227.xml"/><Relationship Id="rId248" Type="http://schemas.openxmlformats.org/officeDocument/2006/relationships/tags" Target="../tags/tag248.xml"/><Relationship Id="rId269" Type="http://schemas.openxmlformats.org/officeDocument/2006/relationships/tags" Target="../tags/tag269.xml"/><Relationship Id="rId12" Type="http://schemas.openxmlformats.org/officeDocument/2006/relationships/tags" Target="../tags/tag12.xml"/><Relationship Id="rId33" Type="http://schemas.openxmlformats.org/officeDocument/2006/relationships/tags" Target="../tags/tag33.xml"/><Relationship Id="rId108" Type="http://schemas.openxmlformats.org/officeDocument/2006/relationships/tags" Target="../tags/tag108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15" Type="http://schemas.openxmlformats.org/officeDocument/2006/relationships/tags" Target="../tags/tag315.xml"/><Relationship Id="rId336" Type="http://schemas.openxmlformats.org/officeDocument/2006/relationships/tags" Target="../tags/tag336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75" Type="http://schemas.openxmlformats.org/officeDocument/2006/relationships/tags" Target="../tags/tag75.xml"/><Relationship Id="rId96" Type="http://schemas.openxmlformats.org/officeDocument/2006/relationships/tags" Target="../tags/tag96.xml"/><Relationship Id="rId140" Type="http://schemas.openxmlformats.org/officeDocument/2006/relationships/tags" Target="../tags/tag140.xml"/><Relationship Id="rId161" Type="http://schemas.openxmlformats.org/officeDocument/2006/relationships/tags" Target="../tags/tag161.xml"/><Relationship Id="rId182" Type="http://schemas.openxmlformats.org/officeDocument/2006/relationships/tags" Target="../tags/tag182.xml"/><Relationship Id="rId217" Type="http://schemas.openxmlformats.org/officeDocument/2006/relationships/tags" Target="../tags/tag217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26" Type="http://schemas.openxmlformats.org/officeDocument/2006/relationships/tags" Target="../tags/tag326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65" Type="http://schemas.openxmlformats.org/officeDocument/2006/relationships/tags" Target="../tags/tag65.xml"/><Relationship Id="rId86" Type="http://schemas.openxmlformats.org/officeDocument/2006/relationships/tags" Target="../tags/tag86.xml"/><Relationship Id="rId130" Type="http://schemas.openxmlformats.org/officeDocument/2006/relationships/tags" Target="../tags/tag130.xml"/><Relationship Id="rId151" Type="http://schemas.openxmlformats.org/officeDocument/2006/relationships/tags" Target="../tags/tag151.xml"/><Relationship Id="rId368" Type="http://schemas.openxmlformats.org/officeDocument/2006/relationships/tags" Target="../tags/tag368.xml"/><Relationship Id="rId389" Type="http://schemas.openxmlformats.org/officeDocument/2006/relationships/image" Target="../media/image1.png"/><Relationship Id="rId172" Type="http://schemas.openxmlformats.org/officeDocument/2006/relationships/tags" Target="../tags/tag172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28" Type="http://schemas.openxmlformats.org/officeDocument/2006/relationships/tags" Target="../tags/tag228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281" Type="http://schemas.openxmlformats.org/officeDocument/2006/relationships/tags" Target="../tags/tag281.xml"/><Relationship Id="rId316" Type="http://schemas.openxmlformats.org/officeDocument/2006/relationships/tags" Target="../tags/tag316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141" Type="http://schemas.openxmlformats.org/officeDocument/2006/relationships/tags" Target="../tags/tag141.xml"/><Relationship Id="rId358" Type="http://schemas.openxmlformats.org/officeDocument/2006/relationships/tags" Target="../tags/tag358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62" Type="http://schemas.openxmlformats.org/officeDocument/2006/relationships/tags" Target="../tags/tag162.xml"/><Relationship Id="rId183" Type="http://schemas.openxmlformats.org/officeDocument/2006/relationships/tags" Target="../tags/tag183.xml"/><Relationship Id="rId218" Type="http://schemas.openxmlformats.org/officeDocument/2006/relationships/tags" Target="../tags/tag218.xml"/><Relationship Id="rId239" Type="http://schemas.openxmlformats.org/officeDocument/2006/relationships/tags" Target="../tags/tag239.xml"/><Relationship Id="rId390" Type="http://schemas.openxmlformats.org/officeDocument/2006/relationships/hyperlink" Target="mailto:ed@groningendeclaration.org" TargetMode="External"/><Relationship Id="rId250" Type="http://schemas.openxmlformats.org/officeDocument/2006/relationships/tags" Target="../tags/tag250.xml"/><Relationship Id="rId271" Type="http://schemas.openxmlformats.org/officeDocument/2006/relationships/tags" Target="../tags/tag271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24" Type="http://schemas.openxmlformats.org/officeDocument/2006/relationships/tags" Target="../tags/tag24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48" Type="http://schemas.openxmlformats.org/officeDocument/2006/relationships/tags" Target="../tags/tag348.xml"/><Relationship Id="rId369" Type="http://schemas.openxmlformats.org/officeDocument/2006/relationships/tags" Target="../tags/tag369.xml"/><Relationship Id="rId152" Type="http://schemas.openxmlformats.org/officeDocument/2006/relationships/tags" Target="../tags/tag152.xml"/><Relationship Id="rId173" Type="http://schemas.openxmlformats.org/officeDocument/2006/relationships/tags" Target="../tags/tag173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17" Type="http://schemas.openxmlformats.org/officeDocument/2006/relationships/tags" Target="../tags/tag317.xml"/><Relationship Id="rId338" Type="http://schemas.openxmlformats.org/officeDocument/2006/relationships/tags" Target="../tags/tag338.xml"/><Relationship Id="rId359" Type="http://schemas.openxmlformats.org/officeDocument/2006/relationships/tags" Target="../tags/tag359.xml"/><Relationship Id="rId8" Type="http://schemas.openxmlformats.org/officeDocument/2006/relationships/tags" Target="../tags/tag8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163" Type="http://schemas.openxmlformats.org/officeDocument/2006/relationships/tags" Target="../tags/tag163.xml"/><Relationship Id="rId184" Type="http://schemas.openxmlformats.org/officeDocument/2006/relationships/tags" Target="../tags/tag184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391" Type="http://schemas.openxmlformats.org/officeDocument/2006/relationships/hyperlink" Target="http://www.groningendeclaration.org/" TargetMode="External"/><Relationship Id="rId230" Type="http://schemas.openxmlformats.org/officeDocument/2006/relationships/tags" Target="../tags/tag230.xml"/><Relationship Id="rId251" Type="http://schemas.openxmlformats.org/officeDocument/2006/relationships/tags" Target="../tags/tag251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28" Type="http://schemas.openxmlformats.org/officeDocument/2006/relationships/tags" Target="../tags/tag328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3" Type="http://schemas.openxmlformats.org/officeDocument/2006/relationships/tags" Target="../tags/tag153.xml"/><Relationship Id="rId174" Type="http://schemas.openxmlformats.org/officeDocument/2006/relationships/tags" Target="../tags/tag174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381" Type="http://schemas.openxmlformats.org/officeDocument/2006/relationships/tags" Target="../tags/tag381.xml"/><Relationship Id="rId220" Type="http://schemas.openxmlformats.org/officeDocument/2006/relationships/tags" Target="../tags/tag220.xml"/><Relationship Id="rId241" Type="http://schemas.openxmlformats.org/officeDocument/2006/relationships/tags" Target="../tags/tag241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283" Type="http://schemas.openxmlformats.org/officeDocument/2006/relationships/tags" Target="../tags/tag283.xml"/><Relationship Id="rId318" Type="http://schemas.openxmlformats.org/officeDocument/2006/relationships/tags" Target="../tags/tag318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164" Type="http://schemas.openxmlformats.org/officeDocument/2006/relationships/tags" Target="../tags/tag164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371" Type="http://schemas.openxmlformats.org/officeDocument/2006/relationships/tags" Target="../tags/tag371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slideLayout" Target="../slideLayouts/slideLayout6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383" Type="http://schemas.openxmlformats.org/officeDocument/2006/relationships/notesSlide" Target="../notesSlides/notesSlide1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384" Type="http://schemas.openxmlformats.org/officeDocument/2006/relationships/diagramData" Target="../diagrams/data1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385" Type="http://schemas.openxmlformats.org/officeDocument/2006/relationships/diagramLayout" Target="../diagrams/layout1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386" Type="http://schemas.openxmlformats.org/officeDocument/2006/relationships/diagramQuickStyle" Target="../diagrams/quickStyle1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Relationship Id="rId303" Type="http://schemas.openxmlformats.org/officeDocument/2006/relationships/tags" Target="../tags/tag303.xml"/><Relationship Id="rId42" Type="http://schemas.openxmlformats.org/officeDocument/2006/relationships/tags" Target="../tags/tag42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345" Type="http://schemas.openxmlformats.org/officeDocument/2006/relationships/tags" Target="../tags/tag345.xml"/><Relationship Id="rId387" Type="http://schemas.openxmlformats.org/officeDocument/2006/relationships/diagramColors" Target="../diagrams/colors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17" Type="http://schemas.openxmlformats.org/officeDocument/2006/relationships/tags" Target="../tags/tag498.xml"/><Relationship Id="rId299" Type="http://schemas.openxmlformats.org/officeDocument/2006/relationships/tags" Target="../tags/tag680.xml"/><Relationship Id="rId21" Type="http://schemas.openxmlformats.org/officeDocument/2006/relationships/tags" Target="../tags/tag402.xml"/><Relationship Id="rId42" Type="http://schemas.openxmlformats.org/officeDocument/2006/relationships/tags" Target="../tags/tag423.xml"/><Relationship Id="rId63" Type="http://schemas.openxmlformats.org/officeDocument/2006/relationships/tags" Target="../tags/tag444.xml"/><Relationship Id="rId84" Type="http://schemas.openxmlformats.org/officeDocument/2006/relationships/tags" Target="../tags/tag465.xml"/><Relationship Id="rId138" Type="http://schemas.openxmlformats.org/officeDocument/2006/relationships/tags" Target="../tags/tag519.xml"/><Relationship Id="rId159" Type="http://schemas.openxmlformats.org/officeDocument/2006/relationships/tags" Target="../tags/tag540.xml"/><Relationship Id="rId324" Type="http://schemas.openxmlformats.org/officeDocument/2006/relationships/tags" Target="../tags/tag705.xml"/><Relationship Id="rId345" Type="http://schemas.openxmlformats.org/officeDocument/2006/relationships/tags" Target="../tags/tag726.xml"/><Relationship Id="rId366" Type="http://schemas.openxmlformats.org/officeDocument/2006/relationships/tags" Target="../tags/tag747.xml"/><Relationship Id="rId170" Type="http://schemas.openxmlformats.org/officeDocument/2006/relationships/tags" Target="../tags/tag551.xml"/><Relationship Id="rId191" Type="http://schemas.openxmlformats.org/officeDocument/2006/relationships/tags" Target="../tags/tag572.xml"/><Relationship Id="rId205" Type="http://schemas.openxmlformats.org/officeDocument/2006/relationships/tags" Target="../tags/tag586.xml"/><Relationship Id="rId226" Type="http://schemas.openxmlformats.org/officeDocument/2006/relationships/tags" Target="../tags/tag607.xml"/><Relationship Id="rId247" Type="http://schemas.openxmlformats.org/officeDocument/2006/relationships/tags" Target="../tags/tag628.xml"/><Relationship Id="rId107" Type="http://schemas.openxmlformats.org/officeDocument/2006/relationships/tags" Target="../tags/tag488.xml"/><Relationship Id="rId268" Type="http://schemas.openxmlformats.org/officeDocument/2006/relationships/tags" Target="../tags/tag649.xml"/><Relationship Id="rId289" Type="http://schemas.openxmlformats.org/officeDocument/2006/relationships/tags" Target="../tags/tag670.xml"/><Relationship Id="rId11" Type="http://schemas.openxmlformats.org/officeDocument/2006/relationships/tags" Target="../tags/tag392.xml"/><Relationship Id="rId32" Type="http://schemas.openxmlformats.org/officeDocument/2006/relationships/tags" Target="../tags/tag413.xml"/><Relationship Id="rId53" Type="http://schemas.openxmlformats.org/officeDocument/2006/relationships/tags" Target="../tags/tag434.xml"/><Relationship Id="rId74" Type="http://schemas.openxmlformats.org/officeDocument/2006/relationships/tags" Target="../tags/tag455.xml"/><Relationship Id="rId128" Type="http://schemas.openxmlformats.org/officeDocument/2006/relationships/tags" Target="../tags/tag509.xml"/><Relationship Id="rId149" Type="http://schemas.openxmlformats.org/officeDocument/2006/relationships/tags" Target="../tags/tag530.xml"/><Relationship Id="rId314" Type="http://schemas.openxmlformats.org/officeDocument/2006/relationships/tags" Target="../tags/tag695.xml"/><Relationship Id="rId335" Type="http://schemas.openxmlformats.org/officeDocument/2006/relationships/tags" Target="../tags/tag716.xml"/><Relationship Id="rId356" Type="http://schemas.openxmlformats.org/officeDocument/2006/relationships/tags" Target="../tags/tag737.xml"/><Relationship Id="rId377" Type="http://schemas.openxmlformats.org/officeDocument/2006/relationships/tags" Target="../tags/tag758.xml"/><Relationship Id="rId5" Type="http://schemas.openxmlformats.org/officeDocument/2006/relationships/tags" Target="../tags/tag386.xml"/><Relationship Id="rId95" Type="http://schemas.openxmlformats.org/officeDocument/2006/relationships/tags" Target="../tags/tag476.xml"/><Relationship Id="rId160" Type="http://schemas.openxmlformats.org/officeDocument/2006/relationships/tags" Target="../tags/tag541.xml"/><Relationship Id="rId181" Type="http://schemas.openxmlformats.org/officeDocument/2006/relationships/tags" Target="../tags/tag562.xml"/><Relationship Id="rId216" Type="http://schemas.openxmlformats.org/officeDocument/2006/relationships/tags" Target="../tags/tag597.xml"/><Relationship Id="rId237" Type="http://schemas.openxmlformats.org/officeDocument/2006/relationships/tags" Target="../tags/tag618.xml"/><Relationship Id="rId258" Type="http://schemas.openxmlformats.org/officeDocument/2006/relationships/tags" Target="../tags/tag639.xml"/><Relationship Id="rId279" Type="http://schemas.openxmlformats.org/officeDocument/2006/relationships/tags" Target="../tags/tag660.xml"/><Relationship Id="rId22" Type="http://schemas.openxmlformats.org/officeDocument/2006/relationships/tags" Target="../tags/tag403.xml"/><Relationship Id="rId43" Type="http://schemas.openxmlformats.org/officeDocument/2006/relationships/tags" Target="../tags/tag424.xml"/><Relationship Id="rId64" Type="http://schemas.openxmlformats.org/officeDocument/2006/relationships/tags" Target="../tags/tag445.xml"/><Relationship Id="rId118" Type="http://schemas.openxmlformats.org/officeDocument/2006/relationships/tags" Target="../tags/tag499.xml"/><Relationship Id="rId139" Type="http://schemas.openxmlformats.org/officeDocument/2006/relationships/tags" Target="../tags/tag520.xml"/><Relationship Id="rId290" Type="http://schemas.openxmlformats.org/officeDocument/2006/relationships/tags" Target="../tags/tag671.xml"/><Relationship Id="rId304" Type="http://schemas.openxmlformats.org/officeDocument/2006/relationships/tags" Target="../tags/tag685.xml"/><Relationship Id="rId325" Type="http://schemas.openxmlformats.org/officeDocument/2006/relationships/tags" Target="../tags/tag706.xml"/><Relationship Id="rId346" Type="http://schemas.openxmlformats.org/officeDocument/2006/relationships/tags" Target="../tags/tag727.xml"/><Relationship Id="rId367" Type="http://schemas.openxmlformats.org/officeDocument/2006/relationships/tags" Target="../tags/tag748.xml"/><Relationship Id="rId85" Type="http://schemas.openxmlformats.org/officeDocument/2006/relationships/tags" Target="../tags/tag466.xml"/><Relationship Id="rId150" Type="http://schemas.openxmlformats.org/officeDocument/2006/relationships/tags" Target="../tags/tag531.xml"/><Relationship Id="rId171" Type="http://schemas.openxmlformats.org/officeDocument/2006/relationships/tags" Target="../tags/tag552.xml"/><Relationship Id="rId192" Type="http://schemas.openxmlformats.org/officeDocument/2006/relationships/tags" Target="../tags/tag573.xml"/><Relationship Id="rId206" Type="http://schemas.openxmlformats.org/officeDocument/2006/relationships/tags" Target="../tags/tag587.xml"/><Relationship Id="rId227" Type="http://schemas.openxmlformats.org/officeDocument/2006/relationships/tags" Target="../tags/tag608.xml"/><Relationship Id="rId248" Type="http://schemas.openxmlformats.org/officeDocument/2006/relationships/tags" Target="../tags/tag629.xml"/><Relationship Id="rId269" Type="http://schemas.openxmlformats.org/officeDocument/2006/relationships/tags" Target="../tags/tag650.xml"/><Relationship Id="rId12" Type="http://schemas.openxmlformats.org/officeDocument/2006/relationships/tags" Target="../tags/tag393.xml"/><Relationship Id="rId33" Type="http://schemas.openxmlformats.org/officeDocument/2006/relationships/tags" Target="../tags/tag414.xml"/><Relationship Id="rId108" Type="http://schemas.openxmlformats.org/officeDocument/2006/relationships/tags" Target="../tags/tag489.xml"/><Relationship Id="rId129" Type="http://schemas.openxmlformats.org/officeDocument/2006/relationships/tags" Target="../tags/tag510.xml"/><Relationship Id="rId280" Type="http://schemas.openxmlformats.org/officeDocument/2006/relationships/tags" Target="../tags/tag661.xml"/><Relationship Id="rId315" Type="http://schemas.openxmlformats.org/officeDocument/2006/relationships/tags" Target="../tags/tag696.xml"/><Relationship Id="rId336" Type="http://schemas.openxmlformats.org/officeDocument/2006/relationships/tags" Target="../tags/tag717.xml"/><Relationship Id="rId357" Type="http://schemas.openxmlformats.org/officeDocument/2006/relationships/tags" Target="../tags/tag738.xml"/><Relationship Id="rId54" Type="http://schemas.openxmlformats.org/officeDocument/2006/relationships/tags" Target="../tags/tag435.xml"/><Relationship Id="rId75" Type="http://schemas.openxmlformats.org/officeDocument/2006/relationships/tags" Target="../tags/tag456.xml"/><Relationship Id="rId96" Type="http://schemas.openxmlformats.org/officeDocument/2006/relationships/tags" Target="../tags/tag477.xml"/><Relationship Id="rId140" Type="http://schemas.openxmlformats.org/officeDocument/2006/relationships/tags" Target="../tags/tag521.xml"/><Relationship Id="rId161" Type="http://schemas.openxmlformats.org/officeDocument/2006/relationships/tags" Target="../tags/tag542.xml"/><Relationship Id="rId182" Type="http://schemas.openxmlformats.org/officeDocument/2006/relationships/tags" Target="../tags/tag563.xml"/><Relationship Id="rId217" Type="http://schemas.openxmlformats.org/officeDocument/2006/relationships/tags" Target="../tags/tag598.xml"/><Relationship Id="rId378" Type="http://schemas.openxmlformats.org/officeDocument/2006/relationships/tags" Target="../tags/tag759.xml"/><Relationship Id="rId6" Type="http://schemas.openxmlformats.org/officeDocument/2006/relationships/tags" Target="../tags/tag387.xml"/><Relationship Id="rId238" Type="http://schemas.openxmlformats.org/officeDocument/2006/relationships/tags" Target="../tags/tag619.xml"/><Relationship Id="rId259" Type="http://schemas.openxmlformats.org/officeDocument/2006/relationships/tags" Target="../tags/tag640.xml"/><Relationship Id="rId23" Type="http://schemas.openxmlformats.org/officeDocument/2006/relationships/tags" Target="../tags/tag404.xml"/><Relationship Id="rId119" Type="http://schemas.openxmlformats.org/officeDocument/2006/relationships/tags" Target="../tags/tag500.xml"/><Relationship Id="rId270" Type="http://schemas.openxmlformats.org/officeDocument/2006/relationships/tags" Target="../tags/tag651.xml"/><Relationship Id="rId291" Type="http://schemas.openxmlformats.org/officeDocument/2006/relationships/tags" Target="../tags/tag672.xml"/><Relationship Id="rId305" Type="http://schemas.openxmlformats.org/officeDocument/2006/relationships/tags" Target="../tags/tag686.xml"/><Relationship Id="rId326" Type="http://schemas.openxmlformats.org/officeDocument/2006/relationships/tags" Target="../tags/tag707.xml"/><Relationship Id="rId347" Type="http://schemas.openxmlformats.org/officeDocument/2006/relationships/tags" Target="../tags/tag728.xml"/><Relationship Id="rId44" Type="http://schemas.openxmlformats.org/officeDocument/2006/relationships/tags" Target="../tags/tag425.xml"/><Relationship Id="rId65" Type="http://schemas.openxmlformats.org/officeDocument/2006/relationships/tags" Target="../tags/tag446.xml"/><Relationship Id="rId86" Type="http://schemas.openxmlformats.org/officeDocument/2006/relationships/tags" Target="../tags/tag467.xml"/><Relationship Id="rId130" Type="http://schemas.openxmlformats.org/officeDocument/2006/relationships/tags" Target="../tags/tag511.xml"/><Relationship Id="rId151" Type="http://schemas.openxmlformats.org/officeDocument/2006/relationships/tags" Target="../tags/tag532.xml"/><Relationship Id="rId368" Type="http://schemas.openxmlformats.org/officeDocument/2006/relationships/tags" Target="../tags/tag749.xml"/><Relationship Id="rId172" Type="http://schemas.openxmlformats.org/officeDocument/2006/relationships/tags" Target="../tags/tag553.xml"/><Relationship Id="rId193" Type="http://schemas.openxmlformats.org/officeDocument/2006/relationships/tags" Target="../tags/tag574.xml"/><Relationship Id="rId207" Type="http://schemas.openxmlformats.org/officeDocument/2006/relationships/tags" Target="../tags/tag588.xml"/><Relationship Id="rId228" Type="http://schemas.openxmlformats.org/officeDocument/2006/relationships/tags" Target="../tags/tag609.xml"/><Relationship Id="rId249" Type="http://schemas.openxmlformats.org/officeDocument/2006/relationships/tags" Target="../tags/tag630.xml"/><Relationship Id="rId13" Type="http://schemas.openxmlformats.org/officeDocument/2006/relationships/tags" Target="../tags/tag394.xml"/><Relationship Id="rId109" Type="http://schemas.openxmlformats.org/officeDocument/2006/relationships/tags" Target="../tags/tag490.xml"/><Relationship Id="rId260" Type="http://schemas.openxmlformats.org/officeDocument/2006/relationships/tags" Target="../tags/tag641.xml"/><Relationship Id="rId281" Type="http://schemas.openxmlformats.org/officeDocument/2006/relationships/tags" Target="../tags/tag662.xml"/><Relationship Id="rId316" Type="http://schemas.openxmlformats.org/officeDocument/2006/relationships/tags" Target="../tags/tag697.xml"/><Relationship Id="rId337" Type="http://schemas.openxmlformats.org/officeDocument/2006/relationships/tags" Target="../tags/tag718.xml"/><Relationship Id="rId34" Type="http://schemas.openxmlformats.org/officeDocument/2006/relationships/tags" Target="../tags/tag415.xml"/><Relationship Id="rId55" Type="http://schemas.openxmlformats.org/officeDocument/2006/relationships/tags" Target="../tags/tag436.xml"/><Relationship Id="rId76" Type="http://schemas.openxmlformats.org/officeDocument/2006/relationships/tags" Target="../tags/tag457.xml"/><Relationship Id="rId97" Type="http://schemas.openxmlformats.org/officeDocument/2006/relationships/tags" Target="../tags/tag478.xml"/><Relationship Id="rId120" Type="http://schemas.openxmlformats.org/officeDocument/2006/relationships/tags" Target="../tags/tag501.xml"/><Relationship Id="rId141" Type="http://schemas.openxmlformats.org/officeDocument/2006/relationships/tags" Target="../tags/tag522.xml"/><Relationship Id="rId358" Type="http://schemas.openxmlformats.org/officeDocument/2006/relationships/tags" Target="../tags/tag739.xml"/><Relationship Id="rId379" Type="http://schemas.openxmlformats.org/officeDocument/2006/relationships/tags" Target="../tags/tag760.xml"/><Relationship Id="rId7" Type="http://schemas.openxmlformats.org/officeDocument/2006/relationships/tags" Target="../tags/tag388.xml"/><Relationship Id="rId162" Type="http://schemas.openxmlformats.org/officeDocument/2006/relationships/tags" Target="../tags/tag543.xml"/><Relationship Id="rId183" Type="http://schemas.openxmlformats.org/officeDocument/2006/relationships/tags" Target="../tags/tag564.xml"/><Relationship Id="rId218" Type="http://schemas.openxmlformats.org/officeDocument/2006/relationships/tags" Target="../tags/tag599.xml"/><Relationship Id="rId239" Type="http://schemas.openxmlformats.org/officeDocument/2006/relationships/tags" Target="../tags/tag620.xml"/><Relationship Id="rId250" Type="http://schemas.openxmlformats.org/officeDocument/2006/relationships/tags" Target="../tags/tag631.xml"/><Relationship Id="rId271" Type="http://schemas.openxmlformats.org/officeDocument/2006/relationships/tags" Target="../tags/tag652.xml"/><Relationship Id="rId292" Type="http://schemas.openxmlformats.org/officeDocument/2006/relationships/tags" Target="../tags/tag673.xml"/><Relationship Id="rId306" Type="http://schemas.openxmlformats.org/officeDocument/2006/relationships/tags" Target="../tags/tag687.xml"/><Relationship Id="rId24" Type="http://schemas.openxmlformats.org/officeDocument/2006/relationships/tags" Target="../tags/tag405.xml"/><Relationship Id="rId45" Type="http://schemas.openxmlformats.org/officeDocument/2006/relationships/tags" Target="../tags/tag426.xml"/><Relationship Id="rId66" Type="http://schemas.openxmlformats.org/officeDocument/2006/relationships/tags" Target="../tags/tag447.xml"/><Relationship Id="rId87" Type="http://schemas.openxmlformats.org/officeDocument/2006/relationships/tags" Target="../tags/tag468.xml"/><Relationship Id="rId110" Type="http://schemas.openxmlformats.org/officeDocument/2006/relationships/tags" Target="../tags/tag491.xml"/><Relationship Id="rId131" Type="http://schemas.openxmlformats.org/officeDocument/2006/relationships/tags" Target="../tags/tag512.xml"/><Relationship Id="rId327" Type="http://schemas.openxmlformats.org/officeDocument/2006/relationships/tags" Target="../tags/tag708.xml"/><Relationship Id="rId348" Type="http://schemas.openxmlformats.org/officeDocument/2006/relationships/tags" Target="../tags/tag729.xml"/><Relationship Id="rId369" Type="http://schemas.openxmlformats.org/officeDocument/2006/relationships/tags" Target="../tags/tag750.xml"/><Relationship Id="rId152" Type="http://schemas.openxmlformats.org/officeDocument/2006/relationships/tags" Target="../tags/tag533.xml"/><Relationship Id="rId173" Type="http://schemas.openxmlformats.org/officeDocument/2006/relationships/tags" Target="../tags/tag554.xml"/><Relationship Id="rId194" Type="http://schemas.openxmlformats.org/officeDocument/2006/relationships/tags" Target="../tags/tag575.xml"/><Relationship Id="rId208" Type="http://schemas.openxmlformats.org/officeDocument/2006/relationships/tags" Target="../tags/tag589.xml"/><Relationship Id="rId229" Type="http://schemas.openxmlformats.org/officeDocument/2006/relationships/tags" Target="../tags/tag610.xml"/><Relationship Id="rId380" Type="http://schemas.openxmlformats.org/officeDocument/2006/relationships/tags" Target="../tags/tag761.xml"/><Relationship Id="rId240" Type="http://schemas.openxmlformats.org/officeDocument/2006/relationships/tags" Target="../tags/tag621.xml"/><Relationship Id="rId261" Type="http://schemas.openxmlformats.org/officeDocument/2006/relationships/tags" Target="../tags/tag642.xml"/><Relationship Id="rId14" Type="http://schemas.openxmlformats.org/officeDocument/2006/relationships/tags" Target="../tags/tag395.xml"/><Relationship Id="rId35" Type="http://schemas.openxmlformats.org/officeDocument/2006/relationships/tags" Target="../tags/tag416.xml"/><Relationship Id="rId56" Type="http://schemas.openxmlformats.org/officeDocument/2006/relationships/tags" Target="../tags/tag437.xml"/><Relationship Id="rId77" Type="http://schemas.openxmlformats.org/officeDocument/2006/relationships/tags" Target="../tags/tag458.xml"/><Relationship Id="rId100" Type="http://schemas.openxmlformats.org/officeDocument/2006/relationships/tags" Target="../tags/tag481.xml"/><Relationship Id="rId282" Type="http://schemas.openxmlformats.org/officeDocument/2006/relationships/tags" Target="../tags/tag663.xml"/><Relationship Id="rId317" Type="http://schemas.openxmlformats.org/officeDocument/2006/relationships/tags" Target="../tags/tag698.xml"/><Relationship Id="rId338" Type="http://schemas.openxmlformats.org/officeDocument/2006/relationships/tags" Target="../tags/tag719.xml"/><Relationship Id="rId359" Type="http://schemas.openxmlformats.org/officeDocument/2006/relationships/tags" Target="../tags/tag740.xml"/><Relationship Id="rId8" Type="http://schemas.openxmlformats.org/officeDocument/2006/relationships/tags" Target="../tags/tag389.xml"/><Relationship Id="rId98" Type="http://schemas.openxmlformats.org/officeDocument/2006/relationships/tags" Target="../tags/tag479.xml"/><Relationship Id="rId121" Type="http://schemas.openxmlformats.org/officeDocument/2006/relationships/tags" Target="../tags/tag502.xml"/><Relationship Id="rId142" Type="http://schemas.openxmlformats.org/officeDocument/2006/relationships/tags" Target="../tags/tag523.xml"/><Relationship Id="rId163" Type="http://schemas.openxmlformats.org/officeDocument/2006/relationships/tags" Target="../tags/tag544.xml"/><Relationship Id="rId184" Type="http://schemas.openxmlformats.org/officeDocument/2006/relationships/tags" Target="../tags/tag565.xml"/><Relationship Id="rId219" Type="http://schemas.openxmlformats.org/officeDocument/2006/relationships/tags" Target="../tags/tag600.xml"/><Relationship Id="rId370" Type="http://schemas.openxmlformats.org/officeDocument/2006/relationships/tags" Target="../tags/tag751.xml"/><Relationship Id="rId230" Type="http://schemas.openxmlformats.org/officeDocument/2006/relationships/tags" Target="../tags/tag611.xml"/><Relationship Id="rId251" Type="http://schemas.openxmlformats.org/officeDocument/2006/relationships/tags" Target="../tags/tag632.xml"/><Relationship Id="rId25" Type="http://schemas.openxmlformats.org/officeDocument/2006/relationships/tags" Target="../tags/tag406.xml"/><Relationship Id="rId46" Type="http://schemas.openxmlformats.org/officeDocument/2006/relationships/tags" Target="../tags/tag427.xml"/><Relationship Id="rId67" Type="http://schemas.openxmlformats.org/officeDocument/2006/relationships/tags" Target="../tags/tag448.xml"/><Relationship Id="rId272" Type="http://schemas.openxmlformats.org/officeDocument/2006/relationships/tags" Target="../tags/tag653.xml"/><Relationship Id="rId293" Type="http://schemas.openxmlformats.org/officeDocument/2006/relationships/tags" Target="../tags/tag674.xml"/><Relationship Id="rId307" Type="http://schemas.openxmlformats.org/officeDocument/2006/relationships/tags" Target="../tags/tag688.xml"/><Relationship Id="rId328" Type="http://schemas.openxmlformats.org/officeDocument/2006/relationships/tags" Target="../tags/tag709.xml"/><Relationship Id="rId349" Type="http://schemas.openxmlformats.org/officeDocument/2006/relationships/tags" Target="../tags/tag730.xml"/><Relationship Id="rId88" Type="http://schemas.openxmlformats.org/officeDocument/2006/relationships/tags" Target="../tags/tag469.xml"/><Relationship Id="rId111" Type="http://schemas.openxmlformats.org/officeDocument/2006/relationships/tags" Target="../tags/tag492.xml"/><Relationship Id="rId132" Type="http://schemas.openxmlformats.org/officeDocument/2006/relationships/tags" Target="../tags/tag513.xml"/><Relationship Id="rId153" Type="http://schemas.openxmlformats.org/officeDocument/2006/relationships/tags" Target="../tags/tag534.xml"/><Relationship Id="rId174" Type="http://schemas.openxmlformats.org/officeDocument/2006/relationships/tags" Target="../tags/tag555.xml"/><Relationship Id="rId195" Type="http://schemas.openxmlformats.org/officeDocument/2006/relationships/tags" Target="../tags/tag576.xml"/><Relationship Id="rId209" Type="http://schemas.openxmlformats.org/officeDocument/2006/relationships/tags" Target="../tags/tag590.xml"/><Relationship Id="rId360" Type="http://schemas.openxmlformats.org/officeDocument/2006/relationships/tags" Target="../tags/tag741.xml"/><Relationship Id="rId381" Type="http://schemas.openxmlformats.org/officeDocument/2006/relationships/tags" Target="../tags/tag762.xml"/><Relationship Id="rId220" Type="http://schemas.openxmlformats.org/officeDocument/2006/relationships/tags" Target="../tags/tag601.xml"/><Relationship Id="rId241" Type="http://schemas.openxmlformats.org/officeDocument/2006/relationships/tags" Target="../tags/tag622.xml"/><Relationship Id="rId15" Type="http://schemas.openxmlformats.org/officeDocument/2006/relationships/tags" Target="../tags/tag396.xml"/><Relationship Id="rId36" Type="http://schemas.openxmlformats.org/officeDocument/2006/relationships/tags" Target="../tags/tag417.xml"/><Relationship Id="rId57" Type="http://schemas.openxmlformats.org/officeDocument/2006/relationships/tags" Target="../tags/tag438.xml"/><Relationship Id="rId262" Type="http://schemas.openxmlformats.org/officeDocument/2006/relationships/tags" Target="../tags/tag643.xml"/><Relationship Id="rId283" Type="http://schemas.openxmlformats.org/officeDocument/2006/relationships/tags" Target="../tags/tag664.xml"/><Relationship Id="rId318" Type="http://schemas.openxmlformats.org/officeDocument/2006/relationships/tags" Target="../tags/tag699.xml"/><Relationship Id="rId339" Type="http://schemas.openxmlformats.org/officeDocument/2006/relationships/tags" Target="../tags/tag720.xml"/><Relationship Id="rId78" Type="http://schemas.openxmlformats.org/officeDocument/2006/relationships/tags" Target="../tags/tag459.xml"/><Relationship Id="rId99" Type="http://schemas.openxmlformats.org/officeDocument/2006/relationships/tags" Target="../tags/tag480.xml"/><Relationship Id="rId101" Type="http://schemas.openxmlformats.org/officeDocument/2006/relationships/tags" Target="../tags/tag482.xml"/><Relationship Id="rId122" Type="http://schemas.openxmlformats.org/officeDocument/2006/relationships/tags" Target="../tags/tag503.xml"/><Relationship Id="rId143" Type="http://schemas.openxmlformats.org/officeDocument/2006/relationships/tags" Target="../tags/tag524.xml"/><Relationship Id="rId164" Type="http://schemas.openxmlformats.org/officeDocument/2006/relationships/tags" Target="../tags/tag545.xml"/><Relationship Id="rId185" Type="http://schemas.openxmlformats.org/officeDocument/2006/relationships/tags" Target="../tags/tag566.xml"/><Relationship Id="rId350" Type="http://schemas.openxmlformats.org/officeDocument/2006/relationships/tags" Target="../tags/tag731.xml"/><Relationship Id="rId371" Type="http://schemas.openxmlformats.org/officeDocument/2006/relationships/tags" Target="../tags/tag752.xml"/><Relationship Id="rId9" Type="http://schemas.openxmlformats.org/officeDocument/2006/relationships/tags" Target="../tags/tag390.xml"/><Relationship Id="rId210" Type="http://schemas.openxmlformats.org/officeDocument/2006/relationships/tags" Target="../tags/tag591.xml"/><Relationship Id="rId26" Type="http://schemas.openxmlformats.org/officeDocument/2006/relationships/tags" Target="../tags/tag407.xml"/><Relationship Id="rId231" Type="http://schemas.openxmlformats.org/officeDocument/2006/relationships/tags" Target="../tags/tag612.xml"/><Relationship Id="rId252" Type="http://schemas.openxmlformats.org/officeDocument/2006/relationships/tags" Target="../tags/tag633.xml"/><Relationship Id="rId273" Type="http://schemas.openxmlformats.org/officeDocument/2006/relationships/tags" Target="../tags/tag654.xml"/><Relationship Id="rId294" Type="http://schemas.openxmlformats.org/officeDocument/2006/relationships/tags" Target="../tags/tag675.xml"/><Relationship Id="rId308" Type="http://schemas.openxmlformats.org/officeDocument/2006/relationships/tags" Target="../tags/tag689.xml"/><Relationship Id="rId329" Type="http://schemas.openxmlformats.org/officeDocument/2006/relationships/tags" Target="../tags/tag710.xml"/><Relationship Id="rId47" Type="http://schemas.openxmlformats.org/officeDocument/2006/relationships/tags" Target="../tags/tag428.xml"/><Relationship Id="rId68" Type="http://schemas.openxmlformats.org/officeDocument/2006/relationships/tags" Target="../tags/tag449.xml"/><Relationship Id="rId89" Type="http://schemas.openxmlformats.org/officeDocument/2006/relationships/tags" Target="../tags/tag470.xml"/><Relationship Id="rId112" Type="http://schemas.openxmlformats.org/officeDocument/2006/relationships/tags" Target="../tags/tag493.xml"/><Relationship Id="rId133" Type="http://schemas.openxmlformats.org/officeDocument/2006/relationships/tags" Target="../tags/tag514.xml"/><Relationship Id="rId154" Type="http://schemas.openxmlformats.org/officeDocument/2006/relationships/tags" Target="../tags/tag535.xml"/><Relationship Id="rId175" Type="http://schemas.openxmlformats.org/officeDocument/2006/relationships/tags" Target="../tags/tag556.xml"/><Relationship Id="rId340" Type="http://schemas.openxmlformats.org/officeDocument/2006/relationships/tags" Target="../tags/tag721.xml"/><Relationship Id="rId361" Type="http://schemas.openxmlformats.org/officeDocument/2006/relationships/tags" Target="../tags/tag742.xml"/><Relationship Id="rId196" Type="http://schemas.openxmlformats.org/officeDocument/2006/relationships/tags" Target="../tags/tag577.xml"/><Relationship Id="rId200" Type="http://schemas.openxmlformats.org/officeDocument/2006/relationships/tags" Target="../tags/tag581.xml"/><Relationship Id="rId382" Type="http://schemas.openxmlformats.org/officeDocument/2006/relationships/slideLayout" Target="../slideLayouts/slideLayout2.xml"/><Relationship Id="rId16" Type="http://schemas.openxmlformats.org/officeDocument/2006/relationships/tags" Target="../tags/tag397.xml"/><Relationship Id="rId221" Type="http://schemas.openxmlformats.org/officeDocument/2006/relationships/tags" Target="../tags/tag602.xml"/><Relationship Id="rId242" Type="http://schemas.openxmlformats.org/officeDocument/2006/relationships/tags" Target="../tags/tag623.xml"/><Relationship Id="rId263" Type="http://schemas.openxmlformats.org/officeDocument/2006/relationships/tags" Target="../tags/tag644.xml"/><Relationship Id="rId284" Type="http://schemas.openxmlformats.org/officeDocument/2006/relationships/tags" Target="../tags/tag665.xml"/><Relationship Id="rId319" Type="http://schemas.openxmlformats.org/officeDocument/2006/relationships/tags" Target="../tags/tag700.xml"/><Relationship Id="rId37" Type="http://schemas.openxmlformats.org/officeDocument/2006/relationships/tags" Target="../tags/tag418.xml"/><Relationship Id="rId58" Type="http://schemas.openxmlformats.org/officeDocument/2006/relationships/tags" Target="../tags/tag439.xml"/><Relationship Id="rId79" Type="http://schemas.openxmlformats.org/officeDocument/2006/relationships/tags" Target="../tags/tag460.xml"/><Relationship Id="rId102" Type="http://schemas.openxmlformats.org/officeDocument/2006/relationships/tags" Target="../tags/tag483.xml"/><Relationship Id="rId123" Type="http://schemas.openxmlformats.org/officeDocument/2006/relationships/tags" Target="../tags/tag504.xml"/><Relationship Id="rId144" Type="http://schemas.openxmlformats.org/officeDocument/2006/relationships/tags" Target="../tags/tag525.xml"/><Relationship Id="rId330" Type="http://schemas.openxmlformats.org/officeDocument/2006/relationships/tags" Target="../tags/tag711.xml"/><Relationship Id="rId90" Type="http://schemas.openxmlformats.org/officeDocument/2006/relationships/tags" Target="../tags/tag471.xml"/><Relationship Id="rId165" Type="http://schemas.openxmlformats.org/officeDocument/2006/relationships/tags" Target="../tags/tag546.xml"/><Relationship Id="rId186" Type="http://schemas.openxmlformats.org/officeDocument/2006/relationships/tags" Target="../tags/tag567.xml"/><Relationship Id="rId351" Type="http://schemas.openxmlformats.org/officeDocument/2006/relationships/tags" Target="../tags/tag732.xml"/><Relationship Id="rId372" Type="http://schemas.openxmlformats.org/officeDocument/2006/relationships/tags" Target="../tags/tag753.xml"/><Relationship Id="rId211" Type="http://schemas.openxmlformats.org/officeDocument/2006/relationships/tags" Target="../tags/tag592.xml"/><Relationship Id="rId232" Type="http://schemas.openxmlformats.org/officeDocument/2006/relationships/tags" Target="../tags/tag613.xml"/><Relationship Id="rId253" Type="http://schemas.openxmlformats.org/officeDocument/2006/relationships/tags" Target="../tags/tag634.xml"/><Relationship Id="rId274" Type="http://schemas.openxmlformats.org/officeDocument/2006/relationships/tags" Target="../tags/tag655.xml"/><Relationship Id="rId295" Type="http://schemas.openxmlformats.org/officeDocument/2006/relationships/tags" Target="../tags/tag676.xml"/><Relationship Id="rId309" Type="http://schemas.openxmlformats.org/officeDocument/2006/relationships/tags" Target="../tags/tag690.xml"/><Relationship Id="rId27" Type="http://schemas.openxmlformats.org/officeDocument/2006/relationships/tags" Target="../tags/tag408.xml"/><Relationship Id="rId48" Type="http://schemas.openxmlformats.org/officeDocument/2006/relationships/tags" Target="../tags/tag429.xml"/><Relationship Id="rId69" Type="http://schemas.openxmlformats.org/officeDocument/2006/relationships/tags" Target="../tags/tag450.xml"/><Relationship Id="rId113" Type="http://schemas.openxmlformats.org/officeDocument/2006/relationships/tags" Target="../tags/tag494.xml"/><Relationship Id="rId134" Type="http://schemas.openxmlformats.org/officeDocument/2006/relationships/tags" Target="../tags/tag515.xml"/><Relationship Id="rId320" Type="http://schemas.openxmlformats.org/officeDocument/2006/relationships/tags" Target="../tags/tag701.xml"/><Relationship Id="rId80" Type="http://schemas.openxmlformats.org/officeDocument/2006/relationships/tags" Target="../tags/tag461.xml"/><Relationship Id="rId155" Type="http://schemas.openxmlformats.org/officeDocument/2006/relationships/tags" Target="../tags/tag536.xml"/><Relationship Id="rId176" Type="http://schemas.openxmlformats.org/officeDocument/2006/relationships/tags" Target="../tags/tag557.xml"/><Relationship Id="rId197" Type="http://schemas.openxmlformats.org/officeDocument/2006/relationships/tags" Target="../tags/tag578.xml"/><Relationship Id="rId341" Type="http://schemas.openxmlformats.org/officeDocument/2006/relationships/tags" Target="../tags/tag722.xml"/><Relationship Id="rId362" Type="http://schemas.openxmlformats.org/officeDocument/2006/relationships/tags" Target="../tags/tag743.xml"/><Relationship Id="rId383" Type="http://schemas.openxmlformats.org/officeDocument/2006/relationships/notesSlide" Target="../notesSlides/notesSlide2.xml"/><Relationship Id="rId201" Type="http://schemas.openxmlformats.org/officeDocument/2006/relationships/tags" Target="../tags/tag582.xml"/><Relationship Id="rId222" Type="http://schemas.openxmlformats.org/officeDocument/2006/relationships/tags" Target="../tags/tag603.xml"/><Relationship Id="rId243" Type="http://schemas.openxmlformats.org/officeDocument/2006/relationships/tags" Target="../tags/tag624.xml"/><Relationship Id="rId264" Type="http://schemas.openxmlformats.org/officeDocument/2006/relationships/tags" Target="../tags/tag645.xml"/><Relationship Id="rId285" Type="http://schemas.openxmlformats.org/officeDocument/2006/relationships/tags" Target="../tags/tag666.xml"/><Relationship Id="rId17" Type="http://schemas.openxmlformats.org/officeDocument/2006/relationships/tags" Target="../tags/tag398.xml"/><Relationship Id="rId38" Type="http://schemas.openxmlformats.org/officeDocument/2006/relationships/tags" Target="../tags/tag419.xml"/><Relationship Id="rId59" Type="http://schemas.openxmlformats.org/officeDocument/2006/relationships/tags" Target="../tags/tag440.xml"/><Relationship Id="rId103" Type="http://schemas.openxmlformats.org/officeDocument/2006/relationships/tags" Target="../tags/tag484.xml"/><Relationship Id="rId124" Type="http://schemas.openxmlformats.org/officeDocument/2006/relationships/tags" Target="../tags/tag505.xml"/><Relationship Id="rId310" Type="http://schemas.openxmlformats.org/officeDocument/2006/relationships/tags" Target="../tags/tag691.xml"/><Relationship Id="rId70" Type="http://schemas.openxmlformats.org/officeDocument/2006/relationships/tags" Target="../tags/tag451.xml"/><Relationship Id="rId91" Type="http://schemas.openxmlformats.org/officeDocument/2006/relationships/tags" Target="../tags/tag472.xml"/><Relationship Id="rId145" Type="http://schemas.openxmlformats.org/officeDocument/2006/relationships/tags" Target="../tags/tag526.xml"/><Relationship Id="rId166" Type="http://schemas.openxmlformats.org/officeDocument/2006/relationships/tags" Target="../tags/tag547.xml"/><Relationship Id="rId187" Type="http://schemas.openxmlformats.org/officeDocument/2006/relationships/tags" Target="../tags/tag568.xml"/><Relationship Id="rId331" Type="http://schemas.openxmlformats.org/officeDocument/2006/relationships/tags" Target="../tags/tag712.xml"/><Relationship Id="rId352" Type="http://schemas.openxmlformats.org/officeDocument/2006/relationships/tags" Target="../tags/tag733.xml"/><Relationship Id="rId373" Type="http://schemas.openxmlformats.org/officeDocument/2006/relationships/tags" Target="../tags/tag754.xml"/><Relationship Id="rId1" Type="http://schemas.openxmlformats.org/officeDocument/2006/relationships/tags" Target="../tags/tag382.xml"/><Relationship Id="rId212" Type="http://schemas.openxmlformats.org/officeDocument/2006/relationships/tags" Target="../tags/tag593.xml"/><Relationship Id="rId233" Type="http://schemas.openxmlformats.org/officeDocument/2006/relationships/tags" Target="../tags/tag614.xml"/><Relationship Id="rId254" Type="http://schemas.openxmlformats.org/officeDocument/2006/relationships/tags" Target="../tags/tag635.xml"/><Relationship Id="rId28" Type="http://schemas.openxmlformats.org/officeDocument/2006/relationships/tags" Target="../tags/tag409.xml"/><Relationship Id="rId49" Type="http://schemas.openxmlformats.org/officeDocument/2006/relationships/tags" Target="../tags/tag430.xml"/><Relationship Id="rId114" Type="http://schemas.openxmlformats.org/officeDocument/2006/relationships/tags" Target="../tags/tag495.xml"/><Relationship Id="rId275" Type="http://schemas.openxmlformats.org/officeDocument/2006/relationships/tags" Target="../tags/tag656.xml"/><Relationship Id="rId296" Type="http://schemas.openxmlformats.org/officeDocument/2006/relationships/tags" Target="../tags/tag677.xml"/><Relationship Id="rId300" Type="http://schemas.openxmlformats.org/officeDocument/2006/relationships/tags" Target="../tags/tag681.xml"/><Relationship Id="rId60" Type="http://schemas.openxmlformats.org/officeDocument/2006/relationships/tags" Target="../tags/tag441.xml"/><Relationship Id="rId81" Type="http://schemas.openxmlformats.org/officeDocument/2006/relationships/tags" Target="../tags/tag462.xml"/><Relationship Id="rId135" Type="http://schemas.openxmlformats.org/officeDocument/2006/relationships/tags" Target="../tags/tag516.xml"/><Relationship Id="rId156" Type="http://schemas.openxmlformats.org/officeDocument/2006/relationships/tags" Target="../tags/tag537.xml"/><Relationship Id="rId177" Type="http://schemas.openxmlformats.org/officeDocument/2006/relationships/tags" Target="../tags/tag558.xml"/><Relationship Id="rId198" Type="http://schemas.openxmlformats.org/officeDocument/2006/relationships/tags" Target="../tags/tag579.xml"/><Relationship Id="rId321" Type="http://schemas.openxmlformats.org/officeDocument/2006/relationships/tags" Target="../tags/tag702.xml"/><Relationship Id="rId342" Type="http://schemas.openxmlformats.org/officeDocument/2006/relationships/tags" Target="../tags/tag723.xml"/><Relationship Id="rId363" Type="http://schemas.openxmlformats.org/officeDocument/2006/relationships/tags" Target="../tags/tag744.xml"/><Relationship Id="rId384" Type="http://schemas.openxmlformats.org/officeDocument/2006/relationships/image" Target="../media/image1.png"/><Relationship Id="rId202" Type="http://schemas.openxmlformats.org/officeDocument/2006/relationships/tags" Target="../tags/tag583.xml"/><Relationship Id="rId223" Type="http://schemas.openxmlformats.org/officeDocument/2006/relationships/tags" Target="../tags/tag604.xml"/><Relationship Id="rId244" Type="http://schemas.openxmlformats.org/officeDocument/2006/relationships/tags" Target="../tags/tag625.xml"/><Relationship Id="rId18" Type="http://schemas.openxmlformats.org/officeDocument/2006/relationships/tags" Target="../tags/tag399.xml"/><Relationship Id="rId39" Type="http://schemas.openxmlformats.org/officeDocument/2006/relationships/tags" Target="../tags/tag420.xml"/><Relationship Id="rId265" Type="http://schemas.openxmlformats.org/officeDocument/2006/relationships/tags" Target="../tags/tag646.xml"/><Relationship Id="rId286" Type="http://schemas.openxmlformats.org/officeDocument/2006/relationships/tags" Target="../tags/tag667.xml"/><Relationship Id="rId50" Type="http://schemas.openxmlformats.org/officeDocument/2006/relationships/tags" Target="../tags/tag431.xml"/><Relationship Id="rId104" Type="http://schemas.openxmlformats.org/officeDocument/2006/relationships/tags" Target="../tags/tag485.xml"/><Relationship Id="rId125" Type="http://schemas.openxmlformats.org/officeDocument/2006/relationships/tags" Target="../tags/tag506.xml"/><Relationship Id="rId146" Type="http://schemas.openxmlformats.org/officeDocument/2006/relationships/tags" Target="../tags/tag527.xml"/><Relationship Id="rId167" Type="http://schemas.openxmlformats.org/officeDocument/2006/relationships/tags" Target="../tags/tag548.xml"/><Relationship Id="rId188" Type="http://schemas.openxmlformats.org/officeDocument/2006/relationships/tags" Target="../tags/tag569.xml"/><Relationship Id="rId311" Type="http://schemas.openxmlformats.org/officeDocument/2006/relationships/tags" Target="../tags/tag692.xml"/><Relationship Id="rId332" Type="http://schemas.openxmlformats.org/officeDocument/2006/relationships/tags" Target="../tags/tag713.xml"/><Relationship Id="rId353" Type="http://schemas.openxmlformats.org/officeDocument/2006/relationships/tags" Target="../tags/tag734.xml"/><Relationship Id="rId374" Type="http://schemas.openxmlformats.org/officeDocument/2006/relationships/tags" Target="../tags/tag755.xml"/><Relationship Id="rId71" Type="http://schemas.openxmlformats.org/officeDocument/2006/relationships/tags" Target="../tags/tag452.xml"/><Relationship Id="rId92" Type="http://schemas.openxmlformats.org/officeDocument/2006/relationships/tags" Target="../tags/tag473.xml"/><Relationship Id="rId213" Type="http://schemas.openxmlformats.org/officeDocument/2006/relationships/tags" Target="../tags/tag594.xml"/><Relationship Id="rId234" Type="http://schemas.openxmlformats.org/officeDocument/2006/relationships/tags" Target="../tags/tag615.xml"/><Relationship Id="rId2" Type="http://schemas.openxmlformats.org/officeDocument/2006/relationships/tags" Target="../tags/tag383.xml"/><Relationship Id="rId29" Type="http://schemas.openxmlformats.org/officeDocument/2006/relationships/tags" Target="../tags/tag410.xml"/><Relationship Id="rId255" Type="http://schemas.openxmlformats.org/officeDocument/2006/relationships/tags" Target="../tags/tag636.xml"/><Relationship Id="rId276" Type="http://schemas.openxmlformats.org/officeDocument/2006/relationships/tags" Target="../tags/tag657.xml"/><Relationship Id="rId297" Type="http://schemas.openxmlformats.org/officeDocument/2006/relationships/tags" Target="../tags/tag678.xml"/><Relationship Id="rId40" Type="http://schemas.openxmlformats.org/officeDocument/2006/relationships/tags" Target="../tags/tag421.xml"/><Relationship Id="rId115" Type="http://schemas.openxmlformats.org/officeDocument/2006/relationships/tags" Target="../tags/tag496.xml"/><Relationship Id="rId136" Type="http://schemas.openxmlformats.org/officeDocument/2006/relationships/tags" Target="../tags/tag517.xml"/><Relationship Id="rId157" Type="http://schemas.openxmlformats.org/officeDocument/2006/relationships/tags" Target="../tags/tag538.xml"/><Relationship Id="rId178" Type="http://schemas.openxmlformats.org/officeDocument/2006/relationships/tags" Target="../tags/tag559.xml"/><Relationship Id="rId301" Type="http://schemas.openxmlformats.org/officeDocument/2006/relationships/tags" Target="../tags/tag682.xml"/><Relationship Id="rId322" Type="http://schemas.openxmlformats.org/officeDocument/2006/relationships/tags" Target="../tags/tag703.xml"/><Relationship Id="rId343" Type="http://schemas.openxmlformats.org/officeDocument/2006/relationships/tags" Target="../tags/tag724.xml"/><Relationship Id="rId364" Type="http://schemas.openxmlformats.org/officeDocument/2006/relationships/tags" Target="../tags/tag745.xml"/><Relationship Id="rId61" Type="http://schemas.openxmlformats.org/officeDocument/2006/relationships/tags" Target="../tags/tag442.xml"/><Relationship Id="rId82" Type="http://schemas.openxmlformats.org/officeDocument/2006/relationships/tags" Target="../tags/tag463.xml"/><Relationship Id="rId199" Type="http://schemas.openxmlformats.org/officeDocument/2006/relationships/tags" Target="../tags/tag580.xml"/><Relationship Id="rId203" Type="http://schemas.openxmlformats.org/officeDocument/2006/relationships/tags" Target="../tags/tag584.xml"/><Relationship Id="rId385" Type="http://schemas.openxmlformats.org/officeDocument/2006/relationships/hyperlink" Target="mailto:Groningen/ed@groningendeclaration.org" TargetMode="External"/><Relationship Id="rId19" Type="http://schemas.openxmlformats.org/officeDocument/2006/relationships/tags" Target="../tags/tag400.xml"/><Relationship Id="rId224" Type="http://schemas.openxmlformats.org/officeDocument/2006/relationships/tags" Target="../tags/tag605.xml"/><Relationship Id="rId245" Type="http://schemas.openxmlformats.org/officeDocument/2006/relationships/tags" Target="../tags/tag626.xml"/><Relationship Id="rId266" Type="http://schemas.openxmlformats.org/officeDocument/2006/relationships/tags" Target="../tags/tag647.xml"/><Relationship Id="rId287" Type="http://schemas.openxmlformats.org/officeDocument/2006/relationships/tags" Target="../tags/tag668.xml"/><Relationship Id="rId30" Type="http://schemas.openxmlformats.org/officeDocument/2006/relationships/tags" Target="../tags/tag411.xml"/><Relationship Id="rId105" Type="http://schemas.openxmlformats.org/officeDocument/2006/relationships/tags" Target="../tags/tag486.xml"/><Relationship Id="rId126" Type="http://schemas.openxmlformats.org/officeDocument/2006/relationships/tags" Target="../tags/tag507.xml"/><Relationship Id="rId147" Type="http://schemas.openxmlformats.org/officeDocument/2006/relationships/tags" Target="../tags/tag528.xml"/><Relationship Id="rId168" Type="http://schemas.openxmlformats.org/officeDocument/2006/relationships/tags" Target="../tags/tag549.xml"/><Relationship Id="rId312" Type="http://schemas.openxmlformats.org/officeDocument/2006/relationships/tags" Target="../tags/tag693.xml"/><Relationship Id="rId333" Type="http://schemas.openxmlformats.org/officeDocument/2006/relationships/tags" Target="../tags/tag714.xml"/><Relationship Id="rId354" Type="http://schemas.openxmlformats.org/officeDocument/2006/relationships/tags" Target="../tags/tag735.xml"/><Relationship Id="rId51" Type="http://schemas.openxmlformats.org/officeDocument/2006/relationships/tags" Target="../tags/tag432.xml"/><Relationship Id="rId72" Type="http://schemas.openxmlformats.org/officeDocument/2006/relationships/tags" Target="../tags/tag453.xml"/><Relationship Id="rId93" Type="http://schemas.openxmlformats.org/officeDocument/2006/relationships/tags" Target="../tags/tag474.xml"/><Relationship Id="rId189" Type="http://schemas.openxmlformats.org/officeDocument/2006/relationships/tags" Target="../tags/tag570.xml"/><Relationship Id="rId375" Type="http://schemas.openxmlformats.org/officeDocument/2006/relationships/tags" Target="../tags/tag756.xml"/><Relationship Id="rId3" Type="http://schemas.openxmlformats.org/officeDocument/2006/relationships/tags" Target="../tags/tag384.xml"/><Relationship Id="rId214" Type="http://schemas.openxmlformats.org/officeDocument/2006/relationships/tags" Target="../tags/tag595.xml"/><Relationship Id="rId235" Type="http://schemas.openxmlformats.org/officeDocument/2006/relationships/tags" Target="../tags/tag616.xml"/><Relationship Id="rId256" Type="http://schemas.openxmlformats.org/officeDocument/2006/relationships/tags" Target="../tags/tag637.xml"/><Relationship Id="rId277" Type="http://schemas.openxmlformats.org/officeDocument/2006/relationships/tags" Target="../tags/tag658.xml"/><Relationship Id="rId298" Type="http://schemas.openxmlformats.org/officeDocument/2006/relationships/tags" Target="../tags/tag679.xml"/><Relationship Id="rId116" Type="http://schemas.openxmlformats.org/officeDocument/2006/relationships/tags" Target="../tags/tag497.xml"/><Relationship Id="rId137" Type="http://schemas.openxmlformats.org/officeDocument/2006/relationships/tags" Target="../tags/tag518.xml"/><Relationship Id="rId158" Type="http://schemas.openxmlformats.org/officeDocument/2006/relationships/tags" Target="../tags/tag539.xml"/><Relationship Id="rId302" Type="http://schemas.openxmlformats.org/officeDocument/2006/relationships/tags" Target="../tags/tag683.xml"/><Relationship Id="rId323" Type="http://schemas.openxmlformats.org/officeDocument/2006/relationships/tags" Target="../tags/tag704.xml"/><Relationship Id="rId344" Type="http://schemas.openxmlformats.org/officeDocument/2006/relationships/tags" Target="../tags/tag725.xml"/><Relationship Id="rId20" Type="http://schemas.openxmlformats.org/officeDocument/2006/relationships/tags" Target="../tags/tag401.xml"/><Relationship Id="rId41" Type="http://schemas.openxmlformats.org/officeDocument/2006/relationships/tags" Target="../tags/tag422.xml"/><Relationship Id="rId62" Type="http://schemas.openxmlformats.org/officeDocument/2006/relationships/tags" Target="../tags/tag443.xml"/><Relationship Id="rId83" Type="http://schemas.openxmlformats.org/officeDocument/2006/relationships/tags" Target="../tags/tag464.xml"/><Relationship Id="rId179" Type="http://schemas.openxmlformats.org/officeDocument/2006/relationships/tags" Target="../tags/tag560.xml"/><Relationship Id="rId365" Type="http://schemas.openxmlformats.org/officeDocument/2006/relationships/tags" Target="../tags/tag746.xml"/><Relationship Id="rId386" Type="http://schemas.openxmlformats.org/officeDocument/2006/relationships/hyperlink" Target="http://www.groningendeclaration.org/" TargetMode="External"/><Relationship Id="rId190" Type="http://schemas.openxmlformats.org/officeDocument/2006/relationships/tags" Target="../tags/tag571.xml"/><Relationship Id="rId204" Type="http://schemas.openxmlformats.org/officeDocument/2006/relationships/tags" Target="../tags/tag585.xml"/><Relationship Id="rId225" Type="http://schemas.openxmlformats.org/officeDocument/2006/relationships/tags" Target="../tags/tag606.xml"/><Relationship Id="rId246" Type="http://schemas.openxmlformats.org/officeDocument/2006/relationships/tags" Target="../tags/tag627.xml"/><Relationship Id="rId267" Type="http://schemas.openxmlformats.org/officeDocument/2006/relationships/tags" Target="../tags/tag648.xml"/><Relationship Id="rId288" Type="http://schemas.openxmlformats.org/officeDocument/2006/relationships/tags" Target="../tags/tag669.xml"/><Relationship Id="rId106" Type="http://schemas.openxmlformats.org/officeDocument/2006/relationships/tags" Target="../tags/tag487.xml"/><Relationship Id="rId127" Type="http://schemas.openxmlformats.org/officeDocument/2006/relationships/tags" Target="../tags/tag508.xml"/><Relationship Id="rId313" Type="http://schemas.openxmlformats.org/officeDocument/2006/relationships/tags" Target="../tags/tag694.xml"/><Relationship Id="rId10" Type="http://schemas.openxmlformats.org/officeDocument/2006/relationships/tags" Target="../tags/tag391.xml"/><Relationship Id="rId31" Type="http://schemas.openxmlformats.org/officeDocument/2006/relationships/tags" Target="../tags/tag412.xml"/><Relationship Id="rId52" Type="http://schemas.openxmlformats.org/officeDocument/2006/relationships/tags" Target="../tags/tag433.xml"/><Relationship Id="rId73" Type="http://schemas.openxmlformats.org/officeDocument/2006/relationships/tags" Target="../tags/tag454.xml"/><Relationship Id="rId94" Type="http://schemas.openxmlformats.org/officeDocument/2006/relationships/tags" Target="../tags/tag475.xml"/><Relationship Id="rId148" Type="http://schemas.openxmlformats.org/officeDocument/2006/relationships/tags" Target="../tags/tag529.xml"/><Relationship Id="rId169" Type="http://schemas.openxmlformats.org/officeDocument/2006/relationships/tags" Target="../tags/tag550.xml"/><Relationship Id="rId334" Type="http://schemas.openxmlformats.org/officeDocument/2006/relationships/tags" Target="../tags/tag715.xml"/><Relationship Id="rId355" Type="http://schemas.openxmlformats.org/officeDocument/2006/relationships/tags" Target="../tags/tag736.xml"/><Relationship Id="rId376" Type="http://schemas.openxmlformats.org/officeDocument/2006/relationships/tags" Target="../tags/tag757.xml"/><Relationship Id="rId4" Type="http://schemas.openxmlformats.org/officeDocument/2006/relationships/tags" Target="../tags/tag385.xml"/><Relationship Id="rId180" Type="http://schemas.openxmlformats.org/officeDocument/2006/relationships/tags" Target="../tags/tag561.xml"/><Relationship Id="rId215" Type="http://schemas.openxmlformats.org/officeDocument/2006/relationships/tags" Target="../tags/tag596.xml"/><Relationship Id="rId236" Type="http://schemas.openxmlformats.org/officeDocument/2006/relationships/tags" Target="../tags/tag617.xml"/><Relationship Id="rId257" Type="http://schemas.openxmlformats.org/officeDocument/2006/relationships/tags" Target="../tags/tag638.xml"/><Relationship Id="rId278" Type="http://schemas.openxmlformats.org/officeDocument/2006/relationships/tags" Target="../tags/tag659.xml"/><Relationship Id="rId303" Type="http://schemas.openxmlformats.org/officeDocument/2006/relationships/tags" Target="../tags/tag684.xml"/></Relationships>
</file>

<file path=ppt/slides/_rels/slide13.xml.rels><?xml version="1.0" encoding="UTF-8" standalone="yes"?>
<Relationships xmlns="http://schemas.openxmlformats.org/package/2006/relationships"><Relationship Id="rId117" Type="http://schemas.openxmlformats.org/officeDocument/2006/relationships/tags" Target="../tags/tag879.xml"/><Relationship Id="rId299" Type="http://schemas.openxmlformats.org/officeDocument/2006/relationships/tags" Target="../tags/tag1061.xml"/><Relationship Id="rId21" Type="http://schemas.openxmlformats.org/officeDocument/2006/relationships/tags" Target="../tags/tag783.xml"/><Relationship Id="rId42" Type="http://schemas.openxmlformats.org/officeDocument/2006/relationships/tags" Target="../tags/tag804.xml"/><Relationship Id="rId63" Type="http://schemas.openxmlformats.org/officeDocument/2006/relationships/tags" Target="../tags/tag825.xml"/><Relationship Id="rId84" Type="http://schemas.openxmlformats.org/officeDocument/2006/relationships/tags" Target="../tags/tag846.xml"/><Relationship Id="rId138" Type="http://schemas.openxmlformats.org/officeDocument/2006/relationships/tags" Target="../tags/tag900.xml"/><Relationship Id="rId159" Type="http://schemas.openxmlformats.org/officeDocument/2006/relationships/tags" Target="../tags/tag921.xml"/><Relationship Id="rId324" Type="http://schemas.openxmlformats.org/officeDocument/2006/relationships/tags" Target="../tags/tag1086.xml"/><Relationship Id="rId345" Type="http://schemas.openxmlformats.org/officeDocument/2006/relationships/tags" Target="../tags/tag1107.xml"/><Relationship Id="rId366" Type="http://schemas.openxmlformats.org/officeDocument/2006/relationships/tags" Target="../tags/tag1128.xml"/><Relationship Id="rId170" Type="http://schemas.openxmlformats.org/officeDocument/2006/relationships/tags" Target="../tags/tag932.xml"/><Relationship Id="rId191" Type="http://schemas.openxmlformats.org/officeDocument/2006/relationships/tags" Target="../tags/tag953.xml"/><Relationship Id="rId205" Type="http://schemas.openxmlformats.org/officeDocument/2006/relationships/tags" Target="../tags/tag967.xml"/><Relationship Id="rId226" Type="http://schemas.openxmlformats.org/officeDocument/2006/relationships/tags" Target="../tags/tag988.xml"/><Relationship Id="rId247" Type="http://schemas.openxmlformats.org/officeDocument/2006/relationships/tags" Target="../tags/tag1009.xml"/><Relationship Id="rId107" Type="http://schemas.openxmlformats.org/officeDocument/2006/relationships/tags" Target="../tags/tag869.xml"/><Relationship Id="rId268" Type="http://schemas.openxmlformats.org/officeDocument/2006/relationships/tags" Target="../tags/tag1030.xml"/><Relationship Id="rId289" Type="http://schemas.openxmlformats.org/officeDocument/2006/relationships/tags" Target="../tags/tag1051.xml"/><Relationship Id="rId11" Type="http://schemas.openxmlformats.org/officeDocument/2006/relationships/tags" Target="../tags/tag773.xml"/><Relationship Id="rId32" Type="http://schemas.openxmlformats.org/officeDocument/2006/relationships/tags" Target="../tags/tag794.xml"/><Relationship Id="rId53" Type="http://schemas.openxmlformats.org/officeDocument/2006/relationships/tags" Target="../tags/tag815.xml"/><Relationship Id="rId74" Type="http://schemas.openxmlformats.org/officeDocument/2006/relationships/tags" Target="../tags/tag836.xml"/><Relationship Id="rId128" Type="http://schemas.openxmlformats.org/officeDocument/2006/relationships/tags" Target="../tags/tag890.xml"/><Relationship Id="rId149" Type="http://schemas.openxmlformats.org/officeDocument/2006/relationships/tags" Target="../tags/tag911.xml"/><Relationship Id="rId314" Type="http://schemas.openxmlformats.org/officeDocument/2006/relationships/tags" Target="../tags/tag1076.xml"/><Relationship Id="rId335" Type="http://schemas.openxmlformats.org/officeDocument/2006/relationships/tags" Target="../tags/tag1097.xml"/><Relationship Id="rId356" Type="http://schemas.openxmlformats.org/officeDocument/2006/relationships/tags" Target="../tags/tag1118.xml"/><Relationship Id="rId377" Type="http://schemas.openxmlformats.org/officeDocument/2006/relationships/tags" Target="../tags/tag1139.xml"/><Relationship Id="rId5" Type="http://schemas.openxmlformats.org/officeDocument/2006/relationships/tags" Target="../tags/tag767.xml"/><Relationship Id="rId95" Type="http://schemas.openxmlformats.org/officeDocument/2006/relationships/tags" Target="../tags/tag857.xml"/><Relationship Id="rId160" Type="http://schemas.openxmlformats.org/officeDocument/2006/relationships/tags" Target="../tags/tag922.xml"/><Relationship Id="rId181" Type="http://schemas.openxmlformats.org/officeDocument/2006/relationships/tags" Target="../tags/tag943.xml"/><Relationship Id="rId216" Type="http://schemas.openxmlformats.org/officeDocument/2006/relationships/tags" Target="../tags/tag978.xml"/><Relationship Id="rId237" Type="http://schemas.openxmlformats.org/officeDocument/2006/relationships/tags" Target="../tags/tag999.xml"/><Relationship Id="rId258" Type="http://schemas.openxmlformats.org/officeDocument/2006/relationships/tags" Target="../tags/tag1020.xml"/><Relationship Id="rId279" Type="http://schemas.openxmlformats.org/officeDocument/2006/relationships/tags" Target="../tags/tag1041.xml"/><Relationship Id="rId22" Type="http://schemas.openxmlformats.org/officeDocument/2006/relationships/tags" Target="../tags/tag784.xml"/><Relationship Id="rId43" Type="http://schemas.openxmlformats.org/officeDocument/2006/relationships/tags" Target="../tags/tag805.xml"/><Relationship Id="rId64" Type="http://schemas.openxmlformats.org/officeDocument/2006/relationships/tags" Target="../tags/tag826.xml"/><Relationship Id="rId118" Type="http://schemas.openxmlformats.org/officeDocument/2006/relationships/tags" Target="../tags/tag880.xml"/><Relationship Id="rId139" Type="http://schemas.openxmlformats.org/officeDocument/2006/relationships/tags" Target="../tags/tag901.xml"/><Relationship Id="rId290" Type="http://schemas.openxmlformats.org/officeDocument/2006/relationships/tags" Target="../tags/tag1052.xml"/><Relationship Id="rId304" Type="http://schemas.openxmlformats.org/officeDocument/2006/relationships/tags" Target="../tags/tag1066.xml"/><Relationship Id="rId325" Type="http://schemas.openxmlformats.org/officeDocument/2006/relationships/tags" Target="../tags/tag1087.xml"/><Relationship Id="rId346" Type="http://schemas.openxmlformats.org/officeDocument/2006/relationships/tags" Target="../tags/tag1108.xml"/><Relationship Id="rId367" Type="http://schemas.openxmlformats.org/officeDocument/2006/relationships/tags" Target="../tags/tag1129.xml"/><Relationship Id="rId85" Type="http://schemas.openxmlformats.org/officeDocument/2006/relationships/tags" Target="../tags/tag847.xml"/><Relationship Id="rId150" Type="http://schemas.openxmlformats.org/officeDocument/2006/relationships/tags" Target="../tags/tag912.xml"/><Relationship Id="rId171" Type="http://schemas.openxmlformats.org/officeDocument/2006/relationships/tags" Target="../tags/tag933.xml"/><Relationship Id="rId192" Type="http://schemas.openxmlformats.org/officeDocument/2006/relationships/tags" Target="../tags/tag954.xml"/><Relationship Id="rId206" Type="http://schemas.openxmlformats.org/officeDocument/2006/relationships/tags" Target="../tags/tag968.xml"/><Relationship Id="rId227" Type="http://schemas.openxmlformats.org/officeDocument/2006/relationships/tags" Target="../tags/tag989.xml"/><Relationship Id="rId248" Type="http://schemas.openxmlformats.org/officeDocument/2006/relationships/tags" Target="../tags/tag1010.xml"/><Relationship Id="rId269" Type="http://schemas.openxmlformats.org/officeDocument/2006/relationships/tags" Target="../tags/tag1031.xml"/><Relationship Id="rId12" Type="http://schemas.openxmlformats.org/officeDocument/2006/relationships/tags" Target="../tags/tag774.xml"/><Relationship Id="rId33" Type="http://schemas.openxmlformats.org/officeDocument/2006/relationships/tags" Target="../tags/tag795.xml"/><Relationship Id="rId108" Type="http://schemas.openxmlformats.org/officeDocument/2006/relationships/tags" Target="../tags/tag870.xml"/><Relationship Id="rId129" Type="http://schemas.openxmlformats.org/officeDocument/2006/relationships/tags" Target="../tags/tag891.xml"/><Relationship Id="rId280" Type="http://schemas.openxmlformats.org/officeDocument/2006/relationships/tags" Target="../tags/tag1042.xml"/><Relationship Id="rId315" Type="http://schemas.openxmlformats.org/officeDocument/2006/relationships/tags" Target="../tags/tag1077.xml"/><Relationship Id="rId336" Type="http://schemas.openxmlformats.org/officeDocument/2006/relationships/tags" Target="../tags/tag1098.xml"/><Relationship Id="rId357" Type="http://schemas.openxmlformats.org/officeDocument/2006/relationships/tags" Target="../tags/tag1119.xml"/><Relationship Id="rId54" Type="http://schemas.openxmlformats.org/officeDocument/2006/relationships/tags" Target="../tags/tag816.xml"/><Relationship Id="rId75" Type="http://schemas.openxmlformats.org/officeDocument/2006/relationships/tags" Target="../tags/tag837.xml"/><Relationship Id="rId96" Type="http://schemas.openxmlformats.org/officeDocument/2006/relationships/tags" Target="../tags/tag858.xml"/><Relationship Id="rId140" Type="http://schemas.openxmlformats.org/officeDocument/2006/relationships/tags" Target="../tags/tag902.xml"/><Relationship Id="rId161" Type="http://schemas.openxmlformats.org/officeDocument/2006/relationships/tags" Target="../tags/tag923.xml"/><Relationship Id="rId182" Type="http://schemas.openxmlformats.org/officeDocument/2006/relationships/tags" Target="../tags/tag944.xml"/><Relationship Id="rId217" Type="http://schemas.openxmlformats.org/officeDocument/2006/relationships/tags" Target="../tags/tag979.xml"/><Relationship Id="rId378" Type="http://schemas.openxmlformats.org/officeDocument/2006/relationships/tags" Target="../tags/tag1140.xml"/><Relationship Id="rId6" Type="http://schemas.openxmlformats.org/officeDocument/2006/relationships/tags" Target="../tags/tag768.xml"/><Relationship Id="rId238" Type="http://schemas.openxmlformats.org/officeDocument/2006/relationships/tags" Target="../tags/tag1000.xml"/><Relationship Id="rId259" Type="http://schemas.openxmlformats.org/officeDocument/2006/relationships/tags" Target="../tags/tag1021.xml"/><Relationship Id="rId23" Type="http://schemas.openxmlformats.org/officeDocument/2006/relationships/tags" Target="../tags/tag785.xml"/><Relationship Id="rId119" Type="http://schemas.openxmlformats.org/officeDocument/2006/relationships/tags" Target="../tags/tag881.xml"/><Relationship Id="rId270" Type="http://schemas.openxmlformats.org/officeDocument/2006/relationships/tags" Target="../tags/tag1032.xml"/><Relationship Id="rId291" Type="http://schemas.openxmlformats.org/officeDocument/2006/relationships/tags" Target="../tags/tag1053.xml"/><Relationship Id="rId305" Type="http://schemas.openxmlformats.org/officeDocument/2006/relationships/tags" Target="../tags/tag1067.xml"/><Relationship Id="rId326" Type="http://schemas.openxmlformats.org/officeDocument/2006/relationships/tags" Target="../tags/tag1088.xml"/><Relationship Id="rId347" Type="http://schemas.openxmlformats.org/officeDocument/2006/relationships/tags" Target="../tags/tag1109.xml"/><Relationship Id="rId44" Type="http://schemas.openxmlformats.org/officeDocument/2006/relationships/tags" Target="../tags/tag806.xml"/><Relationship Id="rId65" Type="http://schemas.openxmlformats.org/officeDocument/2006/relationships/tags" Target="../tags/tag827.xml"/><Relationship Id="rId86" Type="http://schemas.openxmlformats.org/officeDocument/2006/relationships/tags" Target="../tags/tag848.xml"/><Relationship Id="rId130" Type="http://schemas.openxmlformats.org/officeDocument/2006/relationships/tags" Target="../tags/tag892.xml"/><Relationship Id="rId151" Type="http://schemas.openxmlformats.org/officeDocument/2006/relationships/tags" Target="../tags/tag913.xml"/><Relationship Id="rId368" Type="http://schemas.openxmlformats.org/officeDocument/2006/relationships/tags" Target="../tags/tag1130.xml"/><Relationship Id="rId172" Type="http://schemas.openxmlformats.org/officeDocument/2006/relationships/tags" Target="../tags/tag934.xml"/><Relationship Id="rId193" Type="http://schemas.openxmlformats.org/officeDocument/2006/relationships/tags" Target="../tags/tag955.xml"/><Relationship Id="rId207" Type="http://schemas.openxmlformats.org/officeDocument/2006/relationships/tags" Target="../tags/tag969.xml"/><Relationship Id="rId228" Type="http://schemas.openxmlformats.org/officeDocument/2006/relationships/tags" Target="../tags/tag990.xml"/><Relationship Id="rId249" Type="http://schemas.openxmlformats.org/officeDocument/2006/relationships/tags" Target="../tags/tag1011.xml"/><Relationship Id="rId13" Type="http://schemas.openxmlformats.org/officeDocument/2006/relationships/tags" Target="../tags/tag775.xml"/><Relationship Id="rId109" Type="http://schemas.openxmlformats.org/officeDocument/2006/relationships/tags" Target="../tags/tag871.xml"/><Relationship Id="rId260" Type="http://schemas.openxmlformats.org/officeDocument/2006/relationships/tags" Target="../tags/tag1022.xml"/><Relationship Id="rId281" Type="http://schemas.openxmlformats.org/officeDocument/2006/relationships/tags" Target="../tags/tag1043.xml"/><Relationship Id="rId316" Type="http://schemas.openxmlformats.org/officeDocument/2006/relationships/tags" Target="../tags/tag1078.xml"/><Relationship Id="rId337" Type="http://schemas.openxmlformats.org/officeDocument/2006/relationships/tags" Target="../tags/tag1099.xml"/><Relationship Id="rId34" Type="http://schemas.openxmlformats.org/officeDocument/2006/relationships/tags" Target="../tags/tag796.xml"/><Relationship Id="rId55" Type="http://schemas.openxmlformats.org/officeDocument/2006/relationships/tags" Target="../tags/tag817.xml"/><Relationship Id="rId76" Type="http://schemas.openxmlformats.org/officeDocument/2006/relationships/tags" Target="../tags/tag838.xml"/><Relationship Id="rId97" Type="http://schemas.openxmlformats.org/officeDocument/2006/relationships/tags" Target="../tags/tag859.xml"/><Relationship Id="rId120" Type="http://schemas.openxmlformats.org/officeDocument/2006/relationships/tags" Target="../tags/tag882.xml"/><Relationship Id="rId141" Type="http://schemas.openxmlformats.org/officeDocument/2006/relationships/tags" Target="../tags/tag903.xml"/><Relationship Id="rId358" Type="http://schemas.openxmlformats.org/officeDocument/2006/relationships/tags" Target="../tags/tag1120.xml"/><Relationship Id="rId379" Type="http://schemas.openxmlformats.org/officeDocument/2006/relationships/tags" Target="../tags/tag1141.xml"/><Relationship Id="rId7" Type="http://schemas.openxmlformats.org/officeDocument/2006/relationships/tags" Target="../tags/tag769.xml"/><Relationship Id="rId162" Type="http://schemas.openxmlformats.org/officeDocument/2006/relationships/tags" Target="../tags/tag924.xml"/><Relationship Id="rId183" Type="http://schemas.openxmlformats.org/officeDocument/2006/relationships/tags" Target="../tags/tag945.xml"/><Relationship Id="rId218" Type="http://schemas.openxmlformats.org/officeDocument/2006/relationships/tags" Target="../tags/tag980.xml"/><Relationship Id="rId239" Type="http://schemas.openxmlformats.org/officeDocument/2006/relationships/tags" Target="../tags/tag1001.xml"/><Relationship Id="rId250" Type="http://schemas.openxmlformats.org/officeDocument/2006/relationships/tags" Target="../tags/tag1012.xml"/><Relationship Id="rId271" Type="http://schemas.openxmlformats.org/officeDocument/2006/relationships/tags" Target="../tags/tag1033.xml"/><Relationship Id="rId292" Type="http://schemas.openxmlformats.org/officeDocument/2006/relationships/tags" Target="../tags/tag1054.xml"/><Relationship Id="rId306" Type="http://schemas.openxmlformats.org/officeDocument/2006/relationships/tags" Target="../tags/tag1068.xml"/><Relationship Id="rId24" Type="http://schemas.openxmlformats.org/officeDocument/2006/relationships/tags" Target="../tags/tag786.xml"/><Relationship Id="rId45" Type="http://schemas.openxmlformats.org/officeDocument/2006/relationships/tags" Target="../tags/tag807.xml"/><Relationship Id="rId66" Type="http://schemas.openxmlformats.org/officeDocument/2006/relationships/tags" Target="../tags/tag828.xml"/><Relationship Id="rId87" Type="http://schemas.openxmlformats.org/officeDocument/2006/relationships/tags" Target="../tags/tag849.xml"/><Relationship Id="rId110" Type="http://schemas.openxmlformats.org/officeDocument/2006/relationships/tags" Target="../tags/tag872.xml"/><Relationship Id="rId131" Type="http://schemas.openxmlformats.org/officeDocument/2006/relationships/tags" Target="../tags/tag893.xml"/><Relationship Id="rId327" Type="http://schemas.openxmlformats.org/officeDocument/2006/relationships/tags" Target="../tags/tag1089.xml"/><Relationship Id="rId348" Type="http://schemas.openxmlformats.org/officeDocument/2006/relationships/tags" Target="../tags/tag1110.xml"/><Relationship Id="rId369" Type="http://schemas.openxmlformats.org/officeDocument/2006/relationships/tags" Target="../tags/tag1131.xml"/><Relationship Id="rId152" Type="http://schemas.openxmlformats.org/officeDocument/2006/relationships/tags" Target="../tags/tag914.xml"/><Relationship Id="rId173" Type="http://schemas.openxmlformats.org/officeDocument/2006/relationships/tags" Target="../tags/tag935.xml"/><Relationship Id="rId194" Type="http://schemas.openxmlformats.org/officeDocument/2006/relationships/tags" Target="../tags/tag956.xml"/><Relationship Id="rId208" Type="http://schemas.openxmlformats.org/officeDocument/2006/relationships/tags" Target="../tags/tag970.xml"/><Relationship Id="rId229" Type="http://schemas.openxmlformats.org/officeDocument/2006/relationships/tags" Target="../tags/tag991.xml"/><Relationship Id="rId380" Type="http://schemas.openxmlformats.org/officeDocument/2006/relationships/tags" Target="../tags/tag1142.xml"/><Relationship Id="rId240" Type="http://schemas.openxmlformats.org/officeDocument/2006/relationships/tags" Target="../tags/tag1002.xml"/><Relationship Id="rId261" Type="http://schemas.openxmlformats.org/officeDocument/2006/relationships/tags" Target="../tags/tag1023.xml"/><Relationship Id="rId14" Type="http://schemas.openxmlformats.org/officeDocument/2006/relationships/tags" Target="../tags/tag776.xml"/><Relationship Id="rId35" Type="http://schemas.openxmlformats.org/officeDocument/2006/relationships/tags" Target="../tags/tag797.xml"/><Relationship Id="rId56" Type="http://schemas.openxmlformats.org/officeDocument/2006/relationships/tags" Target="../tags/tag818.xml"/><Relationship Id="rId77" Type="http://schemas.openxmlformats.org/officeDocument/2006/relationships/tags" Target="../tags/tag839.xml"/><Relationship Id="rId100" Type="http://schemas.openxmlformats.org/officeDocument/2006/relationships/tags" Target="../tags/tag862.xml"/><Relationship Id="rId282" Type="http://schemas.openxmlformats.org/officeDocument/2006/relationships/tags" Target="../tags/tag1044.xml"/><Relationship Id="rId317" Type="http://schemas.openxmlformats.org/officeDocument/2006/relationships/tags" Target="../tags/tag1079.xml"/><Relationship Id="rId338" Type="http://schemas.openxmlformats.org/officeDocument/2006/relationships/tags" Target="../tags/tag1100.xml"/><Relationship Id="rId359" Type="http://schemas.openxmlformats.org/officeDocument/2006/relationships/tags" Target="../tags/tag1121.xml"/><Relationship Id="rId8" Type="http://schemas.openxmlformats.org/officeDocument/2006/relationships/tags" Target="../tags/tag770.xml"/><Relationship Id="rId98" Type="http://schemas.openxmlformats.org/officeDocument/2006/relationships/tags" Target="../tags/tag860.xml"/><Relationship Id="rId121" Type="http://schemas.openxmlformats.org/officeDocument/2006/relationships/tags" Target="../tags/tag883.xml"/><Relationship Id="rId142" Type="http://schemas.openxmlformats.org/officeDocument/2006/relationships/tags" Target="../tags/tag904.xml"/><Relationship Id="rId163" Type="http://schemas.openxmlformats.org/officeDocument/2006/relationships/tags" Target="../tags/tag925.xml"/><Relationship Id="rId184" Type="http://schemas.openxmlformats.org/officeDocument/2006/relationships/tags" Target="../tags/tag946.xml"/><Relationship Id="rId219" Type="http://schemas.openxmlformats.org/officeDocument/2006/relationships/tags" Target="../tags/tag981.xml"/><Relationship Id="rId370" Type="http://schemas.openxmlformats.org/officeDocument/2006/relationships/tags" Target="../tags/tag1132.xml"/><Relationship Id="rId230" Type="http://schemas.openxmlformats.org/officeDocument/2006/relationships/tags" Target="../tags/tag992.xml"/><Relationship Id="rId251" Type="http://schemas.openxmlformats.org/officeDocument/2006/relationships/tags" Target="../tags/tag1013.xml"/><Relationship Id="rId25" Type="http://schemas.openxmlformats.org/officeDocument/2006/relationships/tags" Target="../tags/tag787.xml"/><Relationship Id="rId46" Type="http://schemas.openxmlformats.org/officeDocument/2006/relationships/tags" Target="../tags/tag808.xml"/><Relationship Id="rId67" Type="http://schemas.openxmlformats.org/officeDocument/2006/relationships/tags" Target="../tags/tag829.xml"/><Relationship Id="rId272" Type="http://schemas.openxmlformats.org/officeDocument/2006/relationships/tags" Target="../tags/tag1034.xml"/><Relationship Id="rId293" Type="http://schemas.openxmlformats.org/officeDocument/2006/relationships/tags" Target="../tags/tag1055.xml"/><Relationship Id="rId307" Type="http://schemas.openxmlformats.org/officeDocument/2006/relationships/tags" Target="../tags/tag1069.xml"/><Relationship Id="rId328" Type="http://schemas.openxmlformats.org/officeDocument/2006/relationships/tags" Target="../tags/tag1090.xml"/><Relationship Id="rId349" Type="http://schemas.openxmlformats.org/officeDocument/2006/relationships/tags" Target="../tags/tag1111.xml"/><Relationship Id="rId88" Type="http://schemas.openxmlformats.org/officeDocument/2006/relationships/tags" Target="../tags/tag850.xml"/><Relationship Id="rId111" Type="http://schemas.openxmlformats.org/officeDocument/2006/relationships/tags" Target="../tags/tag873.xml"/><Relationship Id="rId132" Type="http://schemas.openxmlformats.org/officeDocument/2006/relationships/tags" Target="../tags/tag894.xml"/><Relationship Id="rId153" Type="http://schemas.openxmlformats.org/officeDocument/2006/relationships/tags" Target="../tags/tag915.xml"/><Relationship Id="rId174" Type="http://schemas.openxmlformats.org/officeDocument/2006/relationships/tags" Target="../tags/tag936.xml"/><Relationship Id="rId195" Type="http://schemas.openxmlformats.org/officeDocument/2006/relationships/tags" Target="../tags/tag957.xml"/><Relationship Id="rId209" Type="http://schemas.openxmlformats.org/officeDocument/2006/relationships/tags" Target="../tags/tag971.xml"/><Relationship Id="rId360" Type="http://schemas.openxmlformats.org/officeDocument/2006/relationships/tags" Target="../tags/tag1122.xml"/><Relationship Id="rId381" Type="http://schemas.openxmlformats.org/officeDocument/2006/relationships/tags" Target="../tags/tag1143.xml"/><Relationship Id="rId220" Type="http://schemas.openxmlformats.org/officeDocument/2006/relationships/tags" Target="../tags/tag982.xml"/><Relationship Id="rId241" Type="http://schemas.openxmlformats.org/officeDocument/2006/relationships/tags" Target="../tags/tag1003.xml"/><Relationship Id="rId15" Type="http://schemas.openxmlformats.org/officeDocument/2006/relationships/tags" Target="../tags/tag777.xml"/><Relationship Id="rId36" Type="http://schemas.openxmlformats.org/officeDocument/2006/relationships/tags" Target="../tags/tag798.xml"/><Relationship Id="rId57" Type="http://schemas.openxmlformats.org/officeDocument/2006/relationships/tags" Target="../tags/tag819.xml"/><Relationship Id="rId262" Type="http://schemas.openxmlformats.org/officeDocument/2006/relationships/tags" Target="../tags/tag1024.xml"/><Relationship Id="rId283" Type="http://schemas.openxmlformats.org/officeDocument/2006/relationships/tags" Target="../tags/tag1045.xml"/><Relationship Id="rId318" Type="http://schemas.openxmlformats.org/officeDocument/2006/relationships/tags" Target="../tags/tag1080.xml"/><Relationship Id="rId339" Type="http://schemas.openxmlformats.org/officeDocument/2006/relationships/tags" Target="../tags/tag1101.xml"/><Relationship Id="rId78" Type="http://schemas.openxmlformats.org/officeDocument/2006/relationships/tags" Target="../tags/tag840.xml"/><Relationship Id="rId99" Type="http://schemas.openxmlformats.org/officeDocument/2006/relationships/tags" Target="../tags/tag861.xml"/><Relationship Id="rId101" Type="http://schemas.openxmlformats.org/officeDocument/2006/relationships/tags" Target="../tags/tag863.xml"/><Relationship Id="rId122" Type="http://schemas.openxmlformats.org/officeDocument/2006/relationships/tags" Target="../tags/tag884.xml"/><Relationship Id="rId143" Type="http://schemas.openxmlformats.org/officeDocument/2006/relationships/tags" Target="../tags/tag905.xml"/><Relationship Id="rId164" Type="http://schemas.openxmlformats.org/officeDocument/2006/relationships/tags" Target="../tags/tag926.xml"/><Relationship Id="rId185" Type="http://schemas.openxmlformats.org/officeDocument/2006/relationships/tags" Target="../tags/tag947.xml"/><Relationship Id="rId350" Type="http://schemas.openxmlformats.org/officeDocument/2006/relationships/tags" Target="../tags/tag1112.xml"/><Relationship Id="rId371" Type="http://schemas.openxmlformats.org/officeDocument/2006/relationships/tags" Target="../tags/tag1133.xml"/><Relationship Id="rId9" Type="http://schemas.openxmlformats.org/officeDocument/2006/relationships/tags" Target="../tags/tag771.xml"/><Relationship Id="rId210" Type="http://schemas.openxmlformats.org/officeDocument/2006/relationships/tags" Target="../tags/tag972.xml"/><Relationship Id="rId26" Type="http://schemas.openxmlformats.org/officeDocument/2006/relationships/tags" Target="../tags/tag788.xml"/><Relationship Id="rId231" Type="http://schemas.openxmlformats.org/officeDocument/2006/relationships/tags" Target="../tags/tag993.xml"/><Relationship Id="rId252" Type="http://schemas.openxmlformats.org/officeDocument/2006/relationships/tags" Target="../tags/tag1014.xml"/><Relationship Id="rId273" Type="http://schemas.openxmlformats.org/officeDocument/2006/relationships/tags" Target="../tags/tag1035.xml"/><Relationship Id="rId294" Type="http://schemas.openxmlformats.org/officeDocument/2006/relationships/tags" Target="../tags/tag1056.xml"/><Relationship Id="rId308" Type="http://schemas.openxmlformats.org/officeDocument/2006/relationships/tags" Target="../tags/tag1070.xml"/><Relationship Id="rId329" Type="http://schemas.openxmlformats.org/officeDocument/2006/relationships/tags" Target="../tags/tag1091.xml"/><Relationship Id="rId47" Type="http://schemas.openxmlformats.org/officeDocument/2006/relationships/tags" Target="../tags/tag809.xml"/><Relationship Id="rId68" Type="http://schemas.openxmlformats.org/officeDocument/2006/relationships/tags" Target="../tags/tag830.xml"/><Relationship Id="rId89" Type="http://schemas.openxmlformats.org/officeDocument/2006/relationships/tags" Target="../tags/tag851.xml"/><Relationship Id="rId112" Type="http://schemas.openxmlformats.org/officeDocument/2006/relationships/tags" Target="../tags/tag874.xml"/><Relationship Id="rId133" Type="http://schemas.openxmlformats.org/officeDocument/2006/relationships/tags" Target="../tags/tag895.xml"/><Relationship Id="rId154" Type="http://schemas.openxmlformats.org/officeDocument/2006/relationships/tags" Target="../tags/tag916.xml"/><Relationship Id="rId175" Type="http://schemas.openxmlformats.org/officeDocument/2006/relationships/tags" Target="../tags/tag937.xml"/><Relationship Id="rId340" Type="http://schemas.openxmlformats.org/officeDocument/2006/relationships/tags" Target="../tags/tag1102.xml"/><Relationship Id="rId361" Type="http://schemas.openxmlformats.org/officeDocument/2006/relationships/tags" Target="../tags/tag1123.xml"/><Relationship Id="rId196" Type="http://schemas.openxmlformats.org/officeDocument/2006/relationships/tags" Target="../tags/tag958.xml"/><Relationship Id="rId200" Type="http://schemas.openxmlformats.org/officeDocument/2006/relationships/tags" Target="../tags/tag962.xml"/><Relationship Id="rId382" Type="http://schemas.openxmlformats.org/officeDocument/2006/relationships/slideLayout" Target="../slideLayouts/slideLayout2.xml"/><Relationship Id="rId16" Type="http://schemas.openxmlformats.org/officeDocument/2006/relationships/tags" Target="../tags/tag778.xml"/><Relationship Id="rId221" Type="http://schemas.openxmlformats.org/officeDocument/2006/relationships/tags" Target="../tags/tag983.xml"/><Relationship Id="rId242" Type="http://schemas.openxmlformats.org/officeDocument/2006/relationships/tags" Target="../tags/tag1004.xml"/><Relationship Id="rId263" Type="http://schemas.openxmlformats.org/officeDocument/2006/relationships/tags" Target="../tags/tag1025.xml"/><Relationship Id="rId284" Type="http://schemas.openxmlformats.org/officeDocument/2006/relationships/tags" Target="../tags/tag1046.xml"/><Relationship Id="rId319" Type="http://schemas.openxmlformats.org/officeDocument/2006/relationships/tags" Target="../tags/tag1081.xml"/><Relationship Id="rId37" Type="http://schemas.openxmlformats.org/officeDocument/2006/relationships/tags" Target="../tags/tag799.xml"/><Relationship Id="rId58" Type="http://schemas.openxmlformats.org/officeDocument/2006/relationships/tags" Target="../tags/tag820.xml"/><Relationship Id="rId79" Type="http://schemas.openxmlformats.org/officeDocument/2006/relationships/tags" Target="../tags/tag841.xml"/><Relationship Id="rId102" Type="http://schemas.openxmlformats.org/officeDocument/2006/relationships/tags" Target="../tags/tag864.xml"/><Relationship Id="rId123" Type="http://schemas.openxmlformats.org/officeDocument/2006/relationships/tags" Target="../tags/tag885.xml"/><Relationship Id="rId144" Type="http://schemas.openxmlformats.org/officeDocument/2006/relationships/tags" Target="../tags/tag906.xml"/><Relationship Id="rId330" Type="http://schemas.openxmlformats.org/officeDocument/2006/relationships/tags" Target="../tags/tag1092.xml"/><Relationship Id="rId90" Type="http://schemas.openxmlformats.org/officeDocument/2006/relationships/tags" Target="../tags/tag852.xml"/><Relationship Id="rId165" Type="http://schemas.openxmlformats.org/officeDocument/2006/relationships/tags" Target="../tags/tag927.xml"/><Relationship Id="rId186" Type="http://schemas.openxmlformats.org/officeDocument/2006/relationships/tags" Target="../tags/tag948.xml"/><Relationship Id="rId351" Type="http://schemas.openxmlformats.org/officeDocument/2006/relationships/tags" Target="../tags/tag1113.xml"/><Relationship Id="rId372" Type="http://schemas.openxmlformats.org/officeDocument/2006/relationships/tags" Target="../tags/tag1134.xml"/><Relationship Id="rId211" Type="http://schemas.openxmlformats.org/officeDocument/2006/relationships/tags" Target="../tags/tag973.xml"/><Relationship Id="rId232" Type="http://schemas.openxmlformats.org/officeDocument/2006/relationships/tags" Target="../tags/tag994.xml"/><Relationship Id="rId253" Type="http://schemas.openxmlformats.org/officeDocument/2006/relationships/tags" Target="../tags/tag1015.xml"/><Relationship Id="rId274" Type="http://schemas.openxmlformats.org/officeDocument/2006/relationships/tags" Target="../tags/tag1036.xml"/><Relationship Id="rId295" Type="http://schemas.openxmlformats.org/officeDocument/2006/relationships/tags" Target="../tags/tag1057.xml"/><Relationship Id="rId309" Type="http://schemas.openxmlformats.org/officeDocument/2006/relationships/tags" Target="../tags/tag1071.xml"/><Relationship Id="rId27" Type="http://schemas.openxmlformats.org/officeDocument/2006/relationships/tags" Target="../tags/tag789.xml"/><Relationship Id="rId48" Type="http://schemas.openxmlformats.org/officeDocument/2006/relationships/tags" Target="../tags/tag810.xml"/><Relationship Id="rId69" Type="http://schemas.openxmlformats.org/officeDocument/2006/relationships/tags" Target="../tags/tag831.xml"/><Relationship Id="rId113" Type="http://schemas.openxmlformats.org/officeDocument/2006/relationships/tags" Target="../tags/tag875.xml"/><Relationship Id="rId134" Type="http://schemas.openxmlformats.org/officeDocument/2006/relationships/tags" Target="../tags/tag896.xml"/><Relationship Id="rId320" Type="http://schemas.openxmlformats.org/officeDocument/2006/relationships/tags" Target="../tags/tag1082.xml"/><Relationship Id="rId80" Type="http://schemas.openxmlformats.org/officeDocument/2006/relationships/tags" Target="../tags/tag842.xml"/><Relationship Id="rId155" Type="http://schemas.openxmlformats.org/officeDocument/2006/relationships/tags" Target="../tags/tag917.xml"/><Relationship Id="rId176" Type="http://schemas.openxmlformats.org/officeDocument/2006/relationships/tags" Target="../tags/tag938.xml"/><Relationship Id="rId197" Type="http://schemas.openxmlformats.org/officeDocument/2006/relationships/tags" Target="../tags/tag959.xml"/><Relationship Id="rId341" Type="http://schemas.openxmlformats.org/officeDocument/2006/relationships/tags" Target="../tags/tag1103.xml"/><Relationship Id="rId362" Type="http://schemas.openxmlformats.org/officeDocument/2006/relationships/tags" Target="../tags/tag1124.xml"/><Relationship Id="rId383" Type="http://schemas.openxmlformats.org/officeDocument/2006/relationships/notesSlide" Target="../notesSlides/notesSlide3.xml"/><Relationship Id="rId201" Type="http://schemas.openxmlformats.org/officeDocument/2006/relationships/tags" Target="../tags/tag963.xml"/><Relationship Id="rId222" Type="http://schemas.openxmlformats.org/officeDocument/2006/relationships/tags" Target="../tags/tag984.xml"/><Relationship Id="rId243" Type="http://schemas.openxmlformats.org/officeDocument/2006/relationships/tags" Target="../tags/tag1005.xml"/><Relationship Id="rId264" Type="http://schemas.openxmlformats.org/officeDocument/2006/relationships/tags" Target="../tags/tag1026.xml"/><Relationship Id="rId285" Type="http://schemas.openxmlformats.org/officeDocument/2006/relationships/tags" Target="../tags/tag1047.xml"/><Relationship Id="rId17" Type="http://schemas.openxmlformats.org/officeDocument/2006/relationships/tags" Target="../tags/tag779.xml"/><Relationship Id="rId38" Type="http://schemas.openxmlformats.org/officeDocument/2006/relationships/tags" Target="../tags/tag800.xml"/><Relationship Id="rId59" Type="http://schemas.openxmlformats.org/officeDocument/2006/relationships/tags" Target="../tags/tag821.xml"/><Relationship Id="rId103" Type="http://schemas.openxmlformats.org/officeDocument/2006/relationships/tags" Target="../tags/tag865.xml"/><Relationship Id="rId124" Type="http://schemas.openxmlformats.org/officeDocument/2006/relationships/tags" Target="../tags/tag886.xml"/><Relationship Id="rId310" Type="http://schemas.openxmlformats.org/officeDocument/2006/relationships/tags" Target="../tags/tag1072.xml"/><Relationship Id="rId70" Type="http://schemas.openxmlformats.org/officeDocument/2006/relationships/tags" Target="../tags/tag832.xml"/><Relationship Id="rId91" Type="http://schemas.openxmlformats.org/officeDocument/2006/relationships/tags" Target="../tags/tag853.xml"/><Relationship Id="rId145" Type="http://schemas.openxmlformats.org/officeDocument/2006/relationships/tags" Target="../tags/tag907.xml"/><Relationship Id="rId166" Type="http://schemas.openxmlformats.org/officeDocument/2006/relationships/tags" Target="../tags/tag928.xml"/><Relationship Id="rId187" Type="http://schemas.openxmlformats.org/officeDocument/2006/relationships/tags" Target="../tags/tag949.xml"/><Relationship Id="rId331" Type="http://schemas.openxmlformats.org/officeDocument/2006/relationships/tags" Target="../tags/tag1093.xml"/><Relationship Id="rId352" Type="http://schemas.openxmlformats.org/officeDocument/2006/relationships/tags" Target="../tags/tag1114.xml"/><Relationship Id="rId373" Type="http://schemas.openxmlformats.org/officeDocument/2006/relationships/tags" Target="../tags/tag1135.xml"/><Relationship Id="rId1" Type="http://schemas.openxmlformats.org/officeDocument/2006/relationships/tags" Target="../tags/tag763.xml"/><Relationship Id="rId212" Type="http://schemas.openxmlformats.org/officeDocument/2006/relationships/tags" Target="../tags/tag974.xml"/><Relationship Id="rId233" Type="http://schemas.openxmlformats.org/officeDocument/2006/relationships/tags" Target="../tags/tag995.xml"/><Relationship Id="rId254" Type="http://schemas.openxmlformats.org/officeDocument/2006/relationships/tags" Target="../tags/tag1016.xml"/><Relationship Id="rId28" Type="http://schemas.openxmlformats.org/officeDocument/2006/relationships/tags" Target="../tags/tag790.xml"/><Relationship Id="rId49" Type="http://schemas.openxmlformats.org/officeDocument/2006/relationships/tags" Target="../tags/tag811.xml"/><Relationship Id="rId114" Type="http://schemas.openxmlformats.org/officeDocument/2006/relationships/tags" Target="../tags/tag876.xml"/><Relationship Id="rId275" Type="http://schemas.openxmlformats.org/officeDocument/2006/relationships/tags" Target="../tags/tag1037.xml"/><Relationship Id="rId296" Type="http://schemas.openxmlformats.org/officeDocument/2006/relationships/tags" Target="../tags/tag1058.xml"/><Relationship Id="rId300" Type="http://schemas.openxmlformats.org/officeDocument/2006/relationships/tags" Target="../tags/tag1062.xml"/><Relationship Id="rId60" Type="http://schemas.openxmlformats.org/officeDocument/2006/relationships/tags" Target="../tags/tag822.xml"/><Relationship Id="rId81" Type="http://schemas.openxmlformats.org/officeDocument/2006/relationships/tags" Target="../tags/tag843.xml"/><Relationship Id="rId135" Type="http://schemas.openxmlformats.org/officeDocument/2006/relationships/tags" Target="../tags/tag897.xml"/><Relationship Id="rId156" Type="http://schemas.openxmlformats.org/officeDocument/2006/relationships/tags" Target="../tags/tag918.xml"/><Relationship Id="rId177" Type="http://schemas.openxmlformats.org/officeDocument/2006/relationships/tags" Target="../tags/tag939.xml"/><Relationship Id="rId198" Type="http://schemas.openxmlformats.org/officeDocument/2006/relationships/tags" Target="../tags/tag960.xml"/><Relationship Id="rId321" Type="http://schemas.openxmlformats.org/officeDocument/2006/relationships/tags" Target="../tags/tag1083.xml"/><Relationship Id="rId342" Type="http://schemas.openxmlformats.org/officeDocument/2006/relationships/tags" Target="../tags/tag1104.xml"/><Relationship Id="rId363" Type="http://schemas.openxmlformats.org/officeDocument/2006/relationships/tags" Target="../tags/tag1125.xml"/><Relationship Id="rId384" Type="http://schemas.openxmlformats.org/officeDocument/2006/relationships/image" Target="../media/image1.png"/><Relationship Id="rId202" Type="http://schemas.openxmlformats.org/officeDocument/2006/relationships/tags" Target="../tags/tag964.xml"/><Relationship Id="rId223" Type="http://schemas.openxmlformats.org/officeDocument/2006/relationships/tags" Target="../tags/tag985.xml"/><Relationship Id="rId244" Type="http://schemas.openxmlformats.org/officeDocument/2006/relationships/tags" Target="../tags/tag1006.xml"/><Relationship Id="rId18" Type="http://schemas.openxmlformats.org/officeDocument/2006/relationships/tags" Target="../tags/tag780.xml"/><Relationship Id="rId39" Type="http://schemas.openxmlformats.org/officeDocument/2006/relationships/tags" Target="../tags/tag801.xml"/><Relationship Id="rId265" Type="http://schemas.openxmlformats.org/officeDocument/2006/relationships/tags" Target="../tags/tag1027.xml"/><Relationship Id="rId286" Type="http://schemas.openxmlformats.org/officeDocument/2006/relationships/tags" Target="../tags/tag1048.xml"/><Relationship Id="rId50" Type="http://schemas.openxmlformats.org/officeDocument/2006/relationships/tags" Target="../tags/tag812.xml"/><Relationship Id="rId104" Type="http://schemas.openxmlformats.org/officeDocument/2006/relationships/tags" Target="../tags/tag866.xml"/><Relationship Id="rId125" Type="http://schemas.openxmlformats.org/officeDocument/2006/relationships/tags" Target="../tags/tag887.xml"/><Relationship Id="rId146" Type="http://schemas.openxmlformats.org/officeDocument/2006/relationships/tags" Target="../tags/tag908.xml"/><Relationship Id="rId167" Type="http://schemas.openxmlformats.org/officeDocument/2006/relationships/tags" Target="../tags/tag929.xml"/><Relationship Id="rId188" Type="http://schemas.openxmlformats.org/officeDocument/2006/relationships/tags" Target="../tags/tag950.xml"/><Relationship Id="rId311" Type="http://schemas.openxmlformats.org/officeDocument/2006/relationships/tags" Target="../tags/tag1073.xml"/><Relationship Id="rId332" Type="http://schemas.openxmlformats.org/officeDocument/2006/relationships/tags" Target="../tags/tag1094.xml"/><Relationship Id="rId353" Type="http://schemas.openxmlformats.org/officeDocument/2006/relationships/tags" Target="../tags/tag1115.xml"/><Relationship Id="rId374" Type="http://schemas.openxmlformats.org/officeDocument/2006/relationships/tags" Target="../tags/tag1136.xml"/><Relationship Id="rId71" Type="http://schemas.openxmlformats.org/officeDocument/2006/relationships/tags" Target="../tags/tag833.xml"/><Relationship Id="rId92" Type="http://schemas.openxmlformats.org/officeDocument/2006/relationships/tags" Target="../tags/tag854.xml"/><Relationship Id="rId213" Type="http://schemas.openxmlformats.org/officeDocument/2006/relationships/tags" Target="../tags/tag975.xml"/><Relationship Id="rId234" Type="http://schemas.openxmlformats.org/officeDocument/2006/relationships/tags" Target="../tags/tag996.xml"/><Relationship Id="rId2" Type="http://schemas.openxmlformats.org/officeDocument/2006/relationships/tags" Target="../tags/tag764.xml"/><Relationship Id="rId29" Type="http://schemas.openxmlformats.org/officeDocument/2006/relationships/tags" Target="../tags/tag791.xml"/><Relationship Id="rId255" Type="http://schemas.openxmlformats.org/officeDocument/2006/relationships/tags" Target="../tags/tag1017.xml"/><Relationship Id="rId276" Type="http://schemas.openxmlformats.org/officeDocument/2006/relationships/tags" Target="../tags/tag1038.xml"/><Relationship Id="rId297" Type="http://schemas.openxmlformats.org/officeDocument/2006/relationships/tags" Target="../tags/tag1059.xml"/><Relationship Id="rId40" Type="http://schemas.openxmlformats.org/officeDocument/2006/relationships/tags" Target="../tags/tag802.xml"/><Relationship Id="rId115" Type="http://schemas.openxmlformats.org/officeDocument/2006/relationships/tags" Target="../tags/tag877.xml"/><Relationship Id="rId136" Type="http://schemas.openxmlformats.org/officeDocument/2006/relationships/tags" Target="../tags/tag898.xml"/><Relationship Id="rId157" Type="http://schemas.openxmlformats.org/officeDocument/2006/relationships/tags" Target="../tags/tag919.xml"/><Relationship Id="rId178" Type="http://schemas.openxmlformats.org/officeDocument/2006/relationships/tags" Target="../tags/tag940.xml"/><Relationship Id="rId301" Type="http://schemas.openxmlformats.org/officeDocument/2006/relationships/tags" Target="../tags/tag1063.xml"/><Relationship Id="rId322" Type="http://schemas.openxmlformats.org/officeDocument/2006/relationships/tags" Target="../tags/tag1084.xml"/><Relationship Id="rId343" Type="http://schemas.openxmlformats.org/officeDocument/2006/relationships/tags" Target="../tags/tag1105.xml"/><Relationship Id="rId364" Type="http://schemas.openxmlformats.org/officeDocument/2006/relationships/tags" Target="../tags/tag1126.xml"/><Relationship Id="rId61" Type="http://schemas.openxmlformats.org/officeDocument/2006/relationships/tags" Target="../tags/tag823.xml"/><Relationship Id="rId82" Type="http://schemas.openxmlformats.org/officeDocument/2006/relationships/tags" Target="../tags/tag844.xml"/><Relationship Id="rId199" Type="http://schemas.openxmlformats.org/officeDocument/2006/relationships/tags" Target="../tags/tag961.xml"/><Relationship Id="rId203" Type="http://schemas.openxmlformats.org/officeDocument/2006/relationships/tags" Target="../tags/tag965.xml"/><Relationship Id="rId385" Type="http://schemas.openxmlformats.org/officeDocument/2006/relationships/hyperlink" Target="mailto:ed@groningendeclaration.org" TargetMode="External"/><Relationship Id="rId19" Type="http://schemas.openxmlformats.org/officeDocument/2006/relationships/tags" Target="../tags/tag781.xml"/><Relationship Id="rId224" Type="http://schemas.openxmlformats.org/officeDocument/2006/relationships/tags" Target="../tags/tag986.xml"/><Relationship Id="rId245" Type="http://schemas.openxmlformats.org/officeDocument/2006/relationships/tags" Target="../tags/tag1007.xml"/><Relationship Id="rId266" Type="http://schemas.openxmlformats.org/officeDocument/2006/relationships/tags" Target="../tags/tag1028.xml"/><Relationship Id="rId287" Type="http://schemas.openxmlformats.org/officeDocument/2006/relationships/tags" Target="../tags/tag1049.xml"/><Relationship Id="rId30" Type="http://schemas.openxmlformats.org/officeDocument/2006/relationships/tags" Target="../tags/tag792.xml"/><Relationship Id="rId105" Type="http://schemas.openxmlformats.org/officeDocument/2006/relationships/tags" Target="../tags/tag867.xml"/><Relationship Id="rId126" Type="http://schemas.openxmlformats.org/officeDocument/2006/relationships/tags" Target="../tags/tag888.xml"/><Relationship Id="rId147" Type="http://schemas.openxmlformats.org/officeDocument/2006/relationships/tags" Target="../tags/tag909.xml"/><Relationship Id="rId168" Type="http://schemas.openxmlformats.org/officeDocument/2006/relationships/tags" Target="../tags/tag930.xml"/><Relationship Id="rId312" Type="http://schemas.openxmlformats.org/officeDocument/2006/relationships/tags" Target="../tags/tag1074.xml"/><Relationship Id="rId333" Type="http://schemas.openxmlformats.org/officeDocument/2006/relationships/tags" Target="../tags/tag1095.xml"/><Relationship Id="rId354" Type="http://schemas.openxmlformats.org/officeDocument/2006/relationships/tags" Target="../tags/tag1116.xml"/><Relationship Id="rId51" Type="http://schemas.openxmlformats.org/officeDocument/2006/relationships/tags" Target="../tags/tag813.xml"/><Relationship Id="rId72" Type="http://schemas.openxmlformats.org/officeDocument/2006/relationships/tags" Target="../tags/tag834.xml"/><Relationship Id="rId93" Type="http://schemas.openxmlformats.org/officeDocument/2006/relationships/tags" Target="../tags/tag855.xml"/><Relationship Id="rId189" Type="http://schemas.openxmlformats.org/officeDocument/2006/relationships/tags" Target="../tags/tag951.xml"/><Relationship Id="rId375" Type="http://schemas.openxmlformats.org/officeDocument/2006/relationships/tags" Target="../tags/tag1137.xml"/><Relationship Id="rId3" Type="http://schemas.openxmlformats.org/officeDocument/2006/relationships/tags" Target="../tags/tag765.xml"/><Relationship Id="rId214" Type="http://schemas.openxmlformats.org/officeDocument/2006/relationships/tags" Target="../tags/tag976.xml"/><Relationship Id="rId235" Type="http://schemas.openxmlformats.org/officeDocument/2006/relationships/tags" Target="../tags/tag997.xml"/><Relationship Id="rId256" Type="http://schemas.openxmlformats.org/officeDocument/2006/relationships/tags" Target="../tags/tag1018.xml"/><Relationship Id="rId277" Type="http://schemas.openxmlformats.org/officeDocument/2006/relationships/tags" Target="../tags/tag1039.xml"/><Relationship Id="rId298" Type="http://schemas.openxmlformats.org/officeDocument/2006/relationships/tags" Target="../tags/tag1060.xml"/><Relationship Id="rId116" Type="http://schemas.openxmlformats.org/officeDocument/2006/relationships/tags" Target="../tags/tag878.xml"/><Relationship Id="rId137" Type="http://schemas.openxmlformats.org/officeDocument/2006/relationships/tags" Target="../tags/tag899.xml"/><Relationship Id="rId158" Type="http://schemas.openxmlformats.org/officeDocument/2006/relationships/tags" Target="../tags/tag920.xml"/><Relationship Id="rId302" Type="http://schemas.openxmlformats.org/officeDocument/2006/relationships/tags" Target="../tags/tag1064.xml"/><Relationship Id="rId323" Type="http://schemas.openxmlformats.org/officeDocument/2006/relationships/tags" Target="../tags/tag1085.xml"/><Relationship Id="rId344" Type="http://schemas.openxmlformats.org/officeDocument/2006/relationships/tags" Target="../tags/tag1106.xml"/><Relationship Id="rId20" Type="http://schemas.openxmlformats.org/officeDocument/2006/relationships/tags" Target="../tags/tag782.xml"/><Relationship Id="rId41" Type="http://schemas.openxmlformats.org/officeDocument/2006/relationships/tags" Target="../tags/tag803.xml"/><Relationship Id="rId62" Type="http://schemas.openxmlformats.org/officeDocument/2006/relationships/tags" Target="../tags/tag824.xml"/><Relationship Id="rId83" Type="http://schemas.openxmlformats.org/officeDocument/2006/relationships/tags" Target="../tags/tag845.xml"/><Relationship Id="rId179" Type="http://schemas.openxmlformats.org/officeDocument/2006/relationships/tags" Target="../tags/tag941.xml"/><Relationship Id="rId365" Type="http://schemas.openxmlformats.org/officeDocument/2006/relationships/tags" Target="../tags/tag1127.xml"/><Relationship Id="rId386" Type="http://schemas.openxmlformats.org/officeDocument/2006/relationships/hyperlink" Target="http://www.groningendeclaration.org/" TargetMode="External"/><Relationship Id="rId190" Type="http://schemas.openxmlformats.org/officeDocument/2006/relationships/tags" Target="../tags/tag952.xml"/><Relationship Id="rId204" Type="http://schemas.openxmlformats.org/officeDocument/2006/relationships/tags" Target="../tags/tag966.xml"/><Relationship Id="rId225" Type="http://schemas.openxmlformats.org/officeDocument/2006/relationships/tags" Target="../tags/tag987.xml"/><Relationship Id="rId246" Type="http://schemas.openxmlformats.org/officeDocument/2006/relationships/tags" Target="../tags/tag1008.xml"/><Relationship Id="rId267" Type="http://schemas.openxmlformats.org/officeDocument/2006/relationships/tags" Target="../tags/tag1029.xml"/><Relationship Id="rId288" Type="http://schemas.openxmlformats.org/officeDocument/2006/relationships/tags" Target="../tags/tag1050.xml"/><Relationship Id="rId106" Type="http://schemas.openxmlformats.org/officeDocument/2006/relationships/tags" Target="../tags/tag868.xml"/><Relationship Id="rId127" Type="http://schemas.openxmlformats.org/officeDocument/2006/relationships/tags" Target="../tags/tag889.xml"/><Relationship Id="rId313" Type="http://schemas.openxmlformats.org/officeDocument/2006/relationships/tags" Target="../tags/tag1075.xml"/><Relationship Id="rId10" Type="http://schemas.openxmlformats.org/officeDocument/2006/relationships/tags" Target="../tags/tag772.xml"/><Relationship Id="rId31" Type="http://schemas.openxmlformats.org/officeDocument/2006/relationships/tags" Target="../tags/tag793.xml"/><Relationship Id="rId52" Type="http://schemas.openxmlformats.org/officeDocument/2006/relationships/tags" Target="../tags/tag814.xml"/><Relationship Id="rId73" Type="http://schemas.openxmlformats.org/officeDocument/2006/relationships/tags" Target="../tags/tag835.xml"/><Relationship Id="rId94" Type="http://schemas.openxmlformats.org/officeDocument/2006/relationships/tags" Target="../tags/tag856.xml"/><Relationship Id="rId148" Type="http://schemas.openxmlformats.org/officeDocument/2006/relationships/tags" Target="../tags/tag910.xml"/><Relationship Id="rId169" Type="http://schemas.openxmlformats.org/officeDocument/2006/relationships/tags" Target="../tags/tag931.xml"/><Relationship Id="rId334" Type="http://schemas.openxmlformats.org/officeDocument/2006/relationships/tags" Target="../tags/tag1096.xml"/><Relationship Id="rId355" Type="http://schemas.openxmlformats.org/officeDocument/2006/relationships/tags" Target="../tags/tag1117.xml"/><Relationship Id="rId376" Type="http://schemas.openxmlformats.org/officeDocument/2006/relationships/tags" Target="../tags/tag1138.xml"/><Relationship Id="rId4" Type="http://schemas.openxmlformats.org/officeDocument/2006/relationships/tags" Target="../tags/tag766.xml"/><Relationship Id="rId180" Type="http://schemas.openxmlformats.org/officeDocument/2006/relationships/tags" Target="../tags/tag942.xml"/><Relationship Id="rId215" Type="http://schemas.openxmlformats.org/officeDocument/2006/relationships/tags" Target="../tags/tag977.xml"/><Relationship Id="rId236" Type="http://schemas.openxmlformats.org/officeDocument/2006/relationships/tags" Target="../tags/tag998.xml"/><Relationship Id="rId257" Type="http://schemas.openxmlformats.org/officeDocument/2006/relationships/tags" Target="../tags/tag1019.xml"/><Relationship Id="rId278" Type="http://schemas.openxmlformats.org/officeDocument/2006/relationships/tags" Target="../tags/tag1040.xml"/><Relationship Id="rId303" Type="http://schemas.openxmlformats.org/officeDocument/2006/relationships/tags" Target="../tags/tag1065.xml"/></Relationships>
</file>

<file path=ppt/slides/_rels/slide14.xml.rels><?xml version="1.0" encoding="UTF-8" standalone="yes"?>
<Relationships xmlns="http://schemas.openxmlformats.org/package/2006/relationships"><Relationship Id="rId117" Type="http://schemas.openxmlformats.org/officeDocument/2006/relationships/tags" Target="../tags/tag1260.xml"/><Relationship Id="rId299" Type="http://schemas.openxmlformats.org/officeDocument/2006/relationships/tags" Target="../tags/tag1442.xml"/><Relationship Id="rId21" Type="http://schemas.openxmlformats.org/officeDocument/2006/relationships/tags" Target="../tags/tag1164.xml"/><Relationship Id="rId42" Type="http://schemas.openxmlformats.org/officeDocument/2006/relationships/tags" Target="../tags/tag1185.xml"/><Relationship Id="rId63" Type="http://schemas.openxmlformats.org/officeDocument/2006/relationships/tags" Target="../tags/tag1206.xml"/><Relationship Id="rId84" Type="http://schemas.openxmlformats.org/officeDocument/2006/relationships/tags" Target="../tags/tag1227.xml"/><Relationship Id="rId138" Type="http://schemas.openxmlformats.org/officeDocument/2006/relationships/tags" Target="../tags/tag1281.xml"/><Relationship Id="rId159" Type="http://schemas.openxmlformats.org/officeDocument/2006/relationships/tags" Target="../tags/tag1302.xml"/><Relationship Id="rId324" Type="http://schemas.openxmlformats.org/officeDocument/2006/relationships/tags" Target="../tags/tag1467.xml"/><Relationship Id="rId345" Type="http://schemas.openxmlformats.org/officeDocument/2006/relationships/tags" Target="../tags/tag1488.xml"/><Relationship Id="rId366" Type="http://schemas.openxmlformats.org/officeDocument/2006/relationships/tags" Target="../tags/tag1509.xml"/><Relationship Id="rId170" Type="http://schemas.openxmlformats.org/officeDocument/2006/relationships/tags" Target="../tags/tag1313.xml"/><Relationship Id="rId191" Type="http://schemas.openxmlformats.org/officeDocument/2006/relationships/tags" Target="../tags/tag1334.xml"/><Relationship Id="rId205" Type="http://schemas.openxmlformats.org/officeDocument/2006/relationships/tags" Target="../tags/tag1348.xml"/><Relationship Id="rId226" Type="http://schemas.openxmlformats.org/officeDocument/2006/relationships/tags" Target="../tags/tag1369.xml"/><Relationship Id="rId247" Type="http://schemas.openxmlformats.org/officeDocument/2006/relationships/tags" Target="../tags/tag1390.xml"/><Relationship Id="rId107" Type="http://schemas.openxmlformats.org/officeDocument/2006/relationships/tags" Target="../tags/tag1250.xml"/><Relationship Id="rId268" Type="http://schemas.openxmlformats.org/officeDocument/2006/relationships/tags" Target="../tags/tag1411.xml"/><Relationship Id="rId289" Type="http://schemas.openxmlformats.org/officeDocument/2006/relationships/tags" Target="../tags/tag1432.xml"/><Relationship Id="rId11" Type="http://schemas.openxmlformats.org/officeDocument/2006/relationships/tags" Target="../tags/tag1154.xml"/><Relationship Id="rId32" Type="http://schemas.openxmlformats.org/officeDocument/2006/relationships/tags" Target="../tags/tag1175.xml"/><Relationship Id="rId53" Type="http://schemas.openxmlformats.org/officeDocument/2006/relationships/tags" Target="../tags/tag1196.xml"/><Relationship Id="rId74" Type="http://schemas.openxmlformats.org/officeDocument/2006/relationships/tags" Target="../tags/tag1217.xml"/><Relationship Id="rId128" Type="http://schemas.openxmlformats.org/officeDocument/2006/relationships/tags" Target="../tags/tag1271.xml"/><Relationship Id="rId149" Type="http://schemas.openxmlformats.org/officeDocument/2006/relationships/tags" Target="../tags/tag1292.xml"/><Relationship Id="rId314" Type="http://schemas.openxmlformats.org/officeDocument/2006/relationships/tags" Target="../tags/tag1457.xml"/><Relationship Id="rId335" Type="http://schemas.openxmlformats.org/officeDocument/2006/relationships/tags" Target="../tags/tag1478.xml"/><Relationship Id="rId356" Type="http://schemas.openxmlformats.org/officeDocument/2006/relationships/tags" Target="../tags/tag1499.xml"/><Relationship Id="rId377" Type="http://schemas.openxmlformats.org/officeDocument/2006/relationships/tags" Target="../tags/tag1520.xml"/><Relationship Id="rId5" Type="http://schemas.openxmlformats.org/officeDocument/2006/relationships/tags" Target="../tags/tag1148.xml"/><Relationship Id="rId95" Type="http://schemas.openxmlformats.org/officeDocument/2006/relationships/tags" Target="../tags/tag1238.xml"/><Relationship Id="rId160" Type="http://schemas.openxmlformats.org/officeDocument/2006/relationships/tags" Target="../tags/tag1303.xml"/><Relationship Id="rId181" Type="http://schemas.openxmlformats.org/officeDocument/2006/relationships/tags" Target="../tags/tag1324.xml"/><Relationship Id="rId216" Type="http://schemas.openxmlformats.org/officeDocument/2006/relationships/tags" Target="../tags/tag1359.xml"/><Relationship Id="rId237" Type="http://schemas.openxmlformats.org/officeDocument/2006/relationships/tags" Target="../tags/tag1380.xml"/><Relationship Id="rId258" Type="http://schemas.openxmlformats.org/officeDocument/2006/relationships/tags" Target="../tags/tag1401.xml"/><Relationship Id="rId279" Type="http://schemas.openxmlformats.org/officeDocument/2006/relationships/tags" Target="../tags/tag1422.xml"/><Relationship Id="rId22" Type="http://schemas.openxmlformats.org/officeDocument/2006/relationships/tags" Target="../tags/tag1165.xml"/><Relationship Id="rId43" Type="http://schemas.openxmlformats.org/officeDocument/2006/relationships/tags" Target="../tags/tag1186.xml"/><Relationship Id="rId64" Type="http://schemas.openxmlformats.org/officeDocument/2006/relationships/tags" Target="../tags/tag1207.xml"/><Relationship Id="rId118" Type="http://schemas.openxmlformats.org/officeDocument/2006/relationships/tags" Target="../tags/tag1261.xml"/><Relationship Id="rId139" Type="http://schemas.openxmlformats.org/officeDocument/2006/relationships/tags" Target="../tags/tag1282.xml"/><Relationship Id="rId290" Type="http://schemas.openxmlformats.org/officeDocument/2006/relationships/tags" Target="../tags/tag1433.xml"/><Relationship Id="rId304" Type="http://schemas.openxmlformats.org/officeDocument/2006/relationships/tags" Target="../tags/tag1447.xml"/><Relationship Id="rId325" Type="http://schemas.openxmlformats.org/officeDocument/2006/relationships/tags" Target="../tags/tag1468.xml"/><Relationship Id="rId346" Type="http://schemas.openxmlformats.org/officeDocument/2006/relationships/tags" Target="../tags/tag1489.xml"/><Relationship Id="rId367" Type="http://schemas.openxmlformats.org/officeDocument/2006/relationships/tags" Target="../tags/tag1510.xml"/><Relationship Id="rId85" Type="http://schemas.openxmlformats.org/officeDocument/2006/relationships/tags" Target="../tags/tag1228.xml"/><Relationship Id="rId150" Type="http://schemas.openxmlformats.org/officeDocument/2006/relationships/tags" Target="../tags/tag1293.xml"/><Relationship Id="rId171" Type="http://schemas.openxmlformats.org/officeDocument/2006/relationships/tags" Target="../tags/tag1314.xml"/><Relationship Id="rId192" Type="http://schemas.openxmlformats.org/officeDocument/2006/relationships/tags" Target="../tags/tag1335.xml"/><Relationship Id="rId206" Type="http://schemas.openxmlformats.org/officeDocument/2006/relationships/tags" Target="../tags/tag1349.xml"/><Relationship Id="rId227" Type="http://schemas.openxmlformats.org/officeDocument/2006/relationships/tags" Target="../tags/tag1370.xml"/><Relationship Id="rId248" Type="http://schemas.openxmlformats.org/officeDocument/2006/relationships/tags" Target="../tags/tag1391.xml"/><Relationship Id="rId269" Type="http://schemas.openxmlformats.org/officeDocument/2006/relationships/tags" Target="../tags/tag1412.xml"/><Relationship Id="rId12" Type="http://schemas.openxmlformats.org/officeDocument/2006/relationships/tags" Target="../tags/tag1155.xml"/><Relationship Id="rId33" Type="http://schemas.openxmlformats.org/officeDocument/2006/relationships/tags" Target="../tags/tag1176.xml"/><Relationship Id="rId108" Type="http://schemas.openxmlformats.org/officeDocument/2006/relationships/tags" Target="../tags/tag1251.xml"/><Relationship Id="rId129" Type="http://schemas.openxmlformats.org/officeDocument/2006/relationships/tags" Target="../tags/tag1272.xml"/><Relationship Id="rId280" Type="http://schemas.openxmlformats.org/officeDocument/2006/relationships/tags" Target="../tags/tag1423.xml"/><Relationship Id="rId315" Type="http://schemas.openxmlformats.org/officeDocument/2006/relationships/tags" Target="../tags/tag1458.xml"/><Relationship Id="rId336" Type="http://schemas.openxmlformats.org/officeDocument/2006/relationships/tags" Target="../tags/tag1479.xml"/><Relationship Id="rId357" Type="http://schemas.openxmlformats.org/officeDocument/2006/relationships/tags" Target="../tags/tag1500.xml"/><Relationship Id="rId54" Type="http://schemas.openxmlformats.org/officeDocument/2006/relationships/tags" Target="../tags/tag1197.xml"/><Relationship Id="rId75" Type="http://schemas.openxmlformats.org/officeDocument/2006/relationships/tags" Target="../tags/tag1218.xml"/><Relationship Id="rId96" Type="http://schemas.openxmlformats.org/officeDocument/2006/relationships/tags" Target="../tags/tag1239.xml"/><Relationship Id="rId140" Type="http://schemas.openxmlformats.org/officeDocument/2006/relationships/tags" Target="../tags/tag1283.xml"/><Relationship Id="rId161" Type="http://schemas.openxmlformats.org/officeDocument/2006/relationships/tags" Target="../tags/tag1304.xml"/><Relationship Id="rId182" Type="http://schemas.openxmlformats.org/officeDocument/2006/relationships/tags" Target="../tags/tag1325.xml"/><Relationship Id="rId217" Type="http://schemas.openxmlformats.org/officeDocument/2006/relationships/tags" Target="../tags/tag1360.xml"/><Relationship Id="rId378" Type="http://schemas.openxmlformats.org/officeDocument/2006/relationships/tags" Target="../tags/tag1521.xml"/><Relationship Id="rId6" Type="http://schemas.openxmlformats.org/officeDocument/2006/relationships/tags" Target="../tags/tag1149.xml"/><Relationship Id="rId238" Type="http://schemas.openxmlformats.org/officeDocument/2006/relationships/tags" Target="../tags/tag1381.xml"/><Relationship Id="rId259" Type="http://schemas.openxmlformats.org/officeDocument/2006/relationships/tags" Target="../tags/tag1402.xml"/><Relationship Id="rId23" Type="http://schemas.openxmlformats.org/officeDocument/2006/relationships/tags" Target="../tags/tag1166.xml"/><Relationship Id="rId119" Type="http://schemas.openxmlformats.org/officeDocument/2006/relationships/tags" Target="../tags/tag1262.xml"/><Relationship Id="rId270" Type="http://schemas.openxmlformats.org/officeDocument/2006/relationships/tags" Target="../tags/tag1413.xml"/><Relationship Id="rId291" Type="http://schemas.openxmlformats.org/officeDocument/2006/relationships/tags" Target="../tags/tag1434.xml"/><Relationship Id="rId305" Type="http://schemas.openxmlformats.org/officeDocument/2006/relationships/tags" Target="../tags/tag1448.xml"/><Relationship Id="rId326" Type="http://schemas.openxmlformats.org/officeDocument/2006/relationships/tags" Target="../tags/tag1469.xml"/><Relationship Id="rId347" Type="http://schemas.openxmlformats.org/officeDocument/2006/relationships/tags" Target="../tags/tag1490.xml"/><Relationship Id="rId44" Type="http://schemas.openxmlformats.org/officeDocument/2006/relationships/tags" Target="../tags/tag1187.xml"/><Relationship Id="rId65" Type="http://schemas.openxmlformats.org/officeDocument/2006/relationships/tags" Target="../tags/tag1208.xml"/><Relationship Id="rId86" Type="http://schemas.openxmlformats.org/officeDocument/2006/relationships/tags" Target="../tags/tag1229.xml"/><Relationship Id="rId130" Type="http://schemas.openxmlformats.org/officeDocument/2006/relationships/tags" Target="../tags/tag1273.xml"/><Relationship Id="rId151" Type="http://schemas.openxmlformats.org/officeDocument/2006/relationships/tags" Target="../tags/tag1294.xml"/><Relationship Id="rId368" Type="http://schemas.openxmlformats.org/officeDocument/2006/relationships/tags" Target="../tags/tag1511.xml"/><Relationship Id="rId172" Type="http://schemas.openxmlformats.org/officeDocument/2006/relationships/tags" Target="../tags/tag1315.xml"/><Relationship Id="rId193" Type="http://schemas.openxmlformats.org/officeDocument/2006/relationships/tags" Target="../tags/tag1336.xml"/><Relationship Id="rId207" Type="http://schemas.openxmlformats.org/officeDocument/2006/relationships/tags" Target="../tags/tag1350.xml"/><Relationship Id="rId228" Type="http://schemas.openxmlformats.org/officeDocument/2006/relationships/tags" Target="../tags/tag1371.xml"/><Relationship Id="rId249" Type="http://schemas.openxmlformats.org/officeDocument/2006/relationships/tags" Target="../tags/tag1392.xml"/><Relationship Id="rId13" Type="http://schemas.openxmlformats.org/officeDocument/2006/relationships/tags" Target="../tags/tag1156.xml"/><Relationship Id="rId109" Type="http://schemas.openxmlformats.org/officeDocument/2006/relationships/tags" Target="../tags/tag1252.xml"/><Relationship Id="rId260" Type="http://schemas.openxmlformats.org/officeDocument/2006/relationships/tags" Target="../tags/tag1403.xml"/><Relationship Id="rId281" Type="http://schemas.openxmlformats.org/officeDocument/2006/relationships/tags" Target="../tags/tag1424.xml"/><Relationship Id="rId316" Type="http://schemas.openxmlformats.org/officeDocument/2006/relationships/tags" Target="../tags/tag1459.xml"/><Relationship Id="rId337" Type="http://schemas.openxmlformats.org/officeDocument/2006/relationships/tags" Target="../tags/tag1480.xml"/><Relationship Id="rId34" Type="http://schemas.openxmlformats.org/officeDocument/2006/relationships/tags" Target="../tags/tag1177.xml"/><Relationship Id="rId55" Type="http://schemas.openxmlformats.org/officeDocument/2006/relationships/tags" Target="../tags/tag1198.xml"/><Relationship Id="rId76" Type="http://schemas.openxmlformats.org/officeDocument/2006/relationships/tags" Target="../tags/tag1219.xml"/><Relationship Id="rId97" Type="http://schemas.openxmlformats.org/officeDocument/2006/relationships/tags" Target="../tags/tag1240.xml"/><Relationship Id="rId120" Type="http://schemas.openxmlformats.org/officeDocument/2006/relationships/tags" Target="../tags/tag1263.xml"/><Relationship Id="rId141" Type="http://schemas.openxmlformats.org/officeDocument/2006/relationships/tags" Target="../tags/tag1284.xml"/><Relationship Id="rId358" Type="http://schemas.openxmlformats.org/officeDocument/2006/relationships/tags" Target="../tags/tag1501.xml"/><Relationship Id="rId379" Type="http://schemas.openxmlformats.org/officeDocument/2006/relationships/tags" Target="../tags/tag1522.xml"/><Relationship Id="rId7" Type="http://schemas.openxmlformats.org/officeDocument/2006/relationships/tags" Target="../tags/tag1150.xml"/><Relationship Id="rId162" Type="http://schemas.openxmlformats.org/officeDocument/2006/relationships/tags" Target="../tags/tag1305.xml"/><Relationship Id="rId183" Type="http://schemas.openxmlformats.org/officeDocument/2006/relationships/tags" Target="../tags/tag1326.xml"/><Relationship Id="rId218" Type="http://schemas.openxmlformats.org/officeDocument/2006/relationships/tags" Target="../tags/tag1361.xml"/><Relationship Id="rId239" Type="http://schemas.openxmlformats.org/officeDocument/2006/relationships/tags" Target="../tags/tag1382.xml"/><Relationship Id="rId250" Type="http://schemas.openxmlformats.org/officeDocument/2006/relationships/tags" Target="../tags/tag1393.xml"/><Relationship Id="rId271" Type="http://schemas.openxmlformats.org/officeDocument/2006/relationships/tags" Target="../tags/tag1414.xml"/><Relationship Id="rId292" Type="http://schemas.openxmlformats.org/officeDocument/2006/relationships/tags" Target="../tags/tag1435.xml"/><Relationship Id="rId306" Type="http://schemas.openxmlformats.org/officeDocument/2006/relationships/tags" Target="../tags/tag1449.xml"/><Relationship Id="rId24" Type="http://schemas.openxmlformats.org/officeDocument/2006/relationships/tags" Target="../tags/tag1167.xml"/><Relationship Id="rId45" Type="http://schemas.openxmlformats.org/officeDocument/2006/relationships/tags" Target="../tags/tag1188.xml"/><Relationship Id="rId66" Type="http://schemas.openxmlformats.org/officeDocument/2006/relationships/tags" Target="../tags/tag1209.xml"/><Relationship Id="rId87" Type="http://schemas.openxmlformats.org/officeDocument/2006/relationships/tags" Target="../tags/tag1230.xml"/><Relationship Id="rId110" Type="http://schemas.openxmlformats.org/officeDocument/2006/relationships/tags" Target="../tags/tag1253.xml"/><Relationship Id="rId131" Type="http://schemas.openxmlformats.org/officeDocument/2006/relationships/tags" Target="../tags/tag1274.xml"/><Relationship Id="rId327" Type="http://schemas.openxmlformats.org/officeDocument/2006/relationships/tags" Target="../tags/tag1470.xml"/><Relationship Id="rId348" Type="http://schemas.openxmlformats.org/officeDocument/2006/relationships/tags" Target="../tags/tag1491.xml"/><Relationship Id="rId369" Type="http://schemas.openxmlformats.org/officeDocument/2006/relationships/tags" Target="../tags/tag1512.xml"/><Relationship Id="rId152" Type="http://schemas.openxmlformats.org/officeDocument/2006/relationships/tags" Target="../tags/tag1295.xml"/><Relationship Id="rId173" Type="http://schemas.openxmlformats.org/officeDocument/2006/relationships/tags" Target="../tags/tag1316.xml"/><Relationship Id="rId194" Type="http://schemas.openxmlformats.org/officeDocument/2006/relationships/tags" Target="../tags/tag1337.xml"/><Relationship Id="rId208" Type="http://schemas.openxmlformats.org/officeDocument/2006/relationships/tags" Target="../tags/tag1351.xml"/><Relationship Id="rId229" Type="http://schemas.openxmlformats.org/officeDocument/2006/relationships/tags" Target="../tags/tag1372.xml"/><Relationship Id="rId380" Type="http://schemas.openxmlformats.org/officeDocument/2006/relationships/tags" Target="../tags/tag1523.xml"/><Relationship Id="rId240" Type="http://schemas.openxmlformats.org/officeDocument/2006/relationships/tags" Target="../tags/tag1383.xml"/><Relationship Id="rId261" Type="http://schemas.openxmlformats.org/officeDocument/2006/relationships/tags" Target="../tags/tag1404.xml"/><Relationship Id="rId14" Type="http://schemas.openxmlformats.org/officeDocument/2006/relationships/tags" Target="../tags/tag1157.xml"/><Relationship Id="rId35" Type="http://schemas.openxmlformats.org/officeDocument/2006/relationships/tags" Target="../tags/tag1178.xml"/><Relationship Id="rId56" Type="http://schemas.openxmlformats.org/officeDocument/2006/relationships/tags" Target="../tags/tag1199.xml"/><Relationship Id="rId77" Type="http://schemas.openxmlformats.org/officeDocument/2006/relationships/tags" Target="../tags/tag1220.xml"/><Relationship Id="rId100" Type="http://schemas.openxmlformats.org/officeDocument/2006/relationships/tags" Target="../tags/tag1243.xml"/><Relationship Id="rId282" Type="http://schemas.openxmlformats.org/officeDocument/2006/relationships/tags" Target="../tags/tag1425.xml"/><Relationship Id="rId317" Type="http://schemas.openxmlformats.org/officeDocument/2006/relationships/tags" Target="../tags/tag1460.xml"/><Relationship Id="rId338" Type="http://schemas.openxmlformats.org/officeDocument/2006/relationships/tags" Target="../tags/tag1481.xml"/><Relationship Id="rId359" Type="http://schemas.openxmlformats.org/officeDocument/2006/relationships/tags" Target="../tags/tag1502.xml"/><Relationship Id="rId8" Type="http://schemas.openxmlformats.org/officeDocument/2006/relationships/tags" Target="../tags/tag1151.xml"/><Relationship Id="rId98" Type="http://schemas.openxmlformats.org/officeDocument/2006/relationships/tags" Target="../tags/tag1241.xml"/><Relationship Id="rId121" Type="http://schemas.openxmlformats.org/officeDocument/2006/relationships/tags" Target="../tags/tag1264.xml"/><Relationship Id="rId142" Type="http://schemas.openxmlformats.org/officeDocument/2006/relationships/tags" Target="../tags/tag1285.xml"/><Relationship Id="rId163" Type="http://schemas.openxmlformats.org/officeDocument/2006/relationships/tags" Target="../tags/tag1306.xml"/><Relationship Id="rId184" Type="http://schemas.openxmlformats.org/officeDocument/2006/relationships/tags" Target="../tags/tag1327.xml"/><Relationship Id="rId219" Type="http://schemas.openxmlformats.org/officeDocument/2006/relationships/tags" Target="../tags/tag1362.xml"/><Relationship Id="rId370" Type="http://schemas.openxmlformats.org/officeDocument/2006/relationships/tags" Target="../tags/tag1513.xml"/><Relationship Id="rId230" Type="http://schemas.openxmlformats.org/officeDocument/2006/relationships/tags" Target="../tags/tag1373.xml"/><Relationship Id="rId251" Type="http://schemas.openxmlformats.org/officeDocument/2006/relationships/tags" Target="../tags/tag1394.xml"/><Relationship Id="rId25" Type="http://schemas.openxmlformats.org/officeDocument/2006/relationships/tags" Target="../tags/tag1168.xml"/><Relationship Id="rId46" Type="http://schemas.openxmlformats.org/officeDocument/2006/relationships/tags" Target="../tags/tag1189.xml"/><Relationship Id="rId67" Type="http://schemas.openxmlformats.org/officeDocument/2006/relationships/tags" Target="../tags/tag1210.xml"/><Relationship Id="rId272" Type="http://schemas.openxmlformats.org/officeDocument/2006/relationships/tags" Target="../tags/tag1415.xml"/><Relationship Id="rId293" Type="http://schemas.openxmlformats.org/officeDocument/2006/relationships/tags" Target="../tags/tag1436.xml"/><Relationship Id="rId307" Type="http://schemas.openxmlformats.org/officeDocument/2006/relationships/tags" Target="../tags/tag1450.xml"/><Relationship Id="rId328" Type="http://schemas.openxmlformats.org/officeDocument/2006/relationships/tags" Target="../tags/tag1471.xml"/><Relationship Id="rId349" Type="http://schemas.openxmlformats.org/officeDocument/2006/relationships/tags" Target="../tags/tag1492.xml"/><Relationship Id="rId88" Type="http://schemas.openxmlformats.org/officeDocument/2006/relationships/tags" Target="../tags/tag1231.xml"/><Relationship Id="rId111" Type="http://schemas.openxmlformats.org/officeDocument/2006/relationships/tags" Target="../tags/tag1254.xml"/><Relationship Id="rId132" Type="http://schemas.openxmlformats.org/officeDocument/2006/relationships/tags" Target="../tags/tag1275.xml"/><Relationship Id="rId153" Type="http://schemas.openxmlformats.org/officeDocument/2006/relationships/tags" Target="../tags/tag1296.xml"/><Relationship Id="rId174" Type="http://schemas.openxmlformats.org/officeDocument/2006/relationships/tags" Target="../tags/tag1317.xml"/><Relationship Id="rId195" Type="http://schemas.openxmlformats.org/officeDocument/2006/relationships/tags" Target="../tags/tag1338.xml"/><Relationship Id="rId209" Type="http://schemas.openxmlformats.org/officeDocument/2006/relationships/tags" Target="../tags/tag1352.xml"/><Relationship Id="rId360" Type="http://schemas.openxmlformats.org/officeDocument/2006/relationships/tags" Target="../tags/tag1503.xml"/><Relationship Id="rId381" Type="http://schemas.openxmlformats.org/officeDocument/2006/relationships/tags" Target="../tags/tag1524.xml"/><Relationship Id="rId220" Type="http://schemas.openxmlformats.org/officeDocument/2006/relationships/tags" Target="../tags/tag1363.xml"/><Relationship Id="rId241" Type="http://schemas.openxmlformats.org/officeDocument/2006/relationships/tags" Target="../tags/tag1384.xml"/><Relationship Id="rId15" Type="http://schemas.openxmlformats.org/officeDocument/2006/relationships/tags" Target="../tags/tag1158.xml"/><Relationship Id="rId36" Type="http://schemas.openxmlformats.org/officeDocument/2006/relationships/tags" Target="../tags/tag1179.xml"/><Relationship Id="rId57" Type="http://schemas.openxmlformats.org/officeDocument/2006/relationships/tags" Target="../tags/tag1200.xml"/><Relationship Id="rId262" Type="http://schemas.openxmlformats.org/officeDocument/2006/relationships/tags" Target="../tags/tag1405.xml"/><Relationship Id="rId283" Type="http://schemas.openxmlformats.org/officeDocument/2006/relationships/tags" Target="../tags/tag1426.xml"/><Relationship Id="rId318" Type="http://schemas.openxmlformats.org/officeDocument/2006/relationships/tags" Target="../tags/tag1461.xml"/><Relationship Id="rId339" Type="http://schemas.openxmlformats.org/officeDocument/2006/relationships/tags" Target="../tags/tag1482.xml"/><Relationship Id="rId78" Type="http://schemas.openxmlformats.org/officeDocument/2006/relationships/tags" Target="../tags/tag1221.xml"/><Relationship Id="rId99" Type="http://schemas.openxmlformats.org/officeDocument/2006/relationships/tags" Target="../tags/tag1242.xml"/><Relationship Id="rId101" Type="http://schemas.openxmlformats.org/officeDocument/2006/relationships/tags" Target="../tags/tag1244.xml"/><Relationship Id="rId122" Type="http://schemas.openxmlformats.org/officeDocument/2006/relationships/tags" Target="../tags/tag1265.xml"/><Relationship Id="rId143" Type="http://schemas.openxmlformats.org/officeDocument/2006/relationships/tags" Target="../tags/tag1286.xml"/><Relationship Id="rId164" Type="http://schemas.openxmlformats.org/officeDocument/2006/relationships/tags" Target="../tags/tag1307.xml"/><Relationship Id="rId185" Type="http://schemas.openxmlformats.org/officeDocument/2006/relationships/tags" Target="../tags/tag1328.xml"/><Relationship Id="rId350" Type="http://schemas.openxmlformats.org/officeDocument/2006/relationships/tags" Target="../tags/tag1493.xml"/><Relationship Id="rId371" Type="http://schemas.openxmlformats.org/officeDocument/2006/relationships/tags" Target="../tags/tag1514.xml"/><Relationship Id="rId9" Type="http://schemas.openxmlformats.org/officeDocument/2006/relationships/tags" Target="../tags/tag1152.xml"/><Relationship Id="rId210" Type="http://schemas.openxmlformats.org/officeDocument/2006/relationships/tags" Target="../tags/tag1353.xml"/><Relationship Id="rId26" Type="http://schemas.openxmlformats.org/officeDocument/2006/relationships/tags" Target="../tags/tag1169.xml"/><Relationship Id="rId231" Type="http://schemas.openxmlformats.org/officeDocument/2006/relationships/tags" Target="../tags/tag1374.xml"/><Relationship Id="rId252" Type="http://schemas.openxmlformats.org/officeDocument/2006/relationships/tags" Target="../tags/tag1395.xml"/><Relationship Id="rId273" Type="http://schemas.openxmlformats.org/officeDocument/2006/relationships/tags" Target="../tags/tag1416.xml"/><Relationship Id="rId294" Type="http://schemas.openxmlformats.org/officeDocument/2006/relationships/tags" Target="../tags/tag1437.xml"/><Relationship Id="rId308" Type="http://schemas.openxmlformats.org/officeDocument/2006/relationships/tags" Target="../tags/tag1451.xml"/><Relationship Id="rId329" Type="http://schemas.openxmlformats.org/officeDocument/2006/relationships/tags" Target="../tags/tag1472.xml"/><Relationship Id="rId47" Type="http://schemas.openxmlformats.org/officeDocument/2006/relationships/tags" Target="../tags/tag1190.xml"/><Relationship Id="rId68" Type="http://schemas.openxmlformats.org/officeDocument/2006/relationships/tags" Target="../tags/tag1211.xml"/><Relationship Id="rId89" Type="http://schemas.openxmlformats.org/officeDocument/2006/relationships/tags" Target="../tags/tag1232.xml"/><Relationship Id="rId112" Type="http://schemas.openxmlformats.org/officeDocument/2006/relationships/tags" Target="../tags/tag1255.xml"/><Relationship Id="rId133" Type="http://schemas.openxmlformats.org/officeDocument/2006/relationships/tags" Target="../tags/tag1276.xml"/><Relationship Id="rId154" Type="http://schemas.openxmlformats.org/officeDocument/2006/relationships/tags" Target="../tags/tag1297.xml"/><Relationship Id="rId175" Type="http://schemas.openxmlformats.org/officeDocument/2006/relationships/tags" Target="../tags/tag1318.xml"/><Relationship Id="rId340" Type="http://schemas.openxmlformats.org/officeDocument/2006/relationships/tags" Target="../tags/tag1483.xml"/><Relationship Id="rId361" Type="http://schemas.openxmlformats.org/officeDocument/2006/relationships/tags" Target="../tags/tag1504.xml"/><Relationship Id="rId196" Type="http://schemas.openxmlformats.org/officeDocument/2006/relationships/tags" Target="../tags/tag1339.xml"/><Relationship Id="rId200" Type="http://schemas.openxmlformats.org/officeDocument/2006/relationships/tags" Target="../tags/tag1343.xml"/><Relationship Id="rId382" Type="http://schemas.openxmlformats.org/officeDocument/2006/relationships/slideLayout" Target="../slideLayouts/slideLayout2.xml"/><Relationship Id="rId16" Type="http://schemas.openxmlformats.org/officeDocument/2006/relationships/tags" Target="../tags/tag1159.xml"/><Relationship Id="rId221" Type="http://schemas.openxmlformats.org/officeDocument/2006/relationships/tags" Target="../tags/tag1364.xml"/><Relationship Id="rId242" Type="http://schemas.openxmlformats.org/officeDocument/2006/relationships/tags" Target="../tags/tag1385.xml"/><Relationship Id="rId263" Type="http://schemas.openxmlformats.org/officeDocument/2006/relationships/tags" Target="../tags/tag1406.xml"/><Relationship Id="rId284" Type="http://schemas.openxmlformats.org/officeDocument/2006/relationships/tags" Target="../tags/tag1427.xml"/><Relationship Id="rId319" Type="http://schemas.openxmlformats.org/officeDocument/2006/relationships/tags" Target="../tags/tag1462.xml"/><Relationship Id="rId37" Type="http://schemas.openxmlformats.org/officeDocument/2006/relationships/tags" Target="../tags/tag1180.xml"/><Relationship Id="rId58" Type="http://schemas.openxmlformats.org/officeDocument/2006/relationships/tags" Target="../tags/tag1201.xml"/><Relationship Id="rId79" Type="http://schemas.openxmlformats.org/officeDocument/2006/relationships/tags" Target="../tags/tag1222.xml"/><Relationship Id="rId102" Type="http://schemas.openxmlformats.org/officeDocument/2006/relationships/tags" Target="../tags/tag1245.xml"/><Relationship Id="rId123" Type="http://schemas.openxmlformats.org/officeDocument/2006/relationships/tags" Target="../tags/tag1266.xml"/><Relationship Id="rId144" Type="http://schemas.openxmlformats.org/officeDocument/2006/relationships/tags" Target="../tags/tag1287.xml"/><Relationship Id="rId330" Type="http://schemas.openxmlformats.org/officeDocument/2006/relationships/tags" Target="../tags/tag1473.xml"/><Relationship Id="rId90" Type="http://schemas.openxmlformats.org/officeDocument/2006/relationships/tags" Target="../tags/tag1233.xml"/><Relationship Id="rId165" Type="http://schemas.openxmlformats.org/officeDocument/2006/relationships/tags" Target="../tags/tag1308.xml"/><Relationship Id="rId186" Type="http://schemas.openxmlformats.org/officeDocument/2006/relationships/tags" Target="../tags/tag1329.xml"/><Relationship Id="rId351" Type="http://schemas.openxmlformats.org/officeDocument/2006/relationships/tags" Target="../tags/tag1494.xml"/><Relationship Id="rId372" Type="http://schemas.openxmlformats.org/officeDocument/2006/relationships/tags" Target="../tags/tag1515.xml"/><Relationship Id="rId211" Type="http://schemas.openxmlformats.org/officeDocument/2006/relationships/tags" Target="../tags/tag1354.xml"/><Relationship Id="rId232" Type="http://schemas.openxmlformats.org/officeDocument/2006/relationships/tags" Target="../tags/tag1375.xml"/><Relationship Id="rId253" Type="http://schemas.openxmlformats.org/officeDocument/2006/relationships/tags" Target="../tags/tag1396.xml"/><Relationship Id="rId274" Type="http://schemas.openxmlformats.org/officeDocument/2006/relationships/tags" Target="../tags/tag1417.xml"/><Relationship Id="rId295" Type="http://schemas.openxmlformats.org/officeDocument/2006/relationships/tags" Target="../tags/tag1438.xml"/><Relationship Id="rId309" Type="http://schemas.openxmlformats.org/officeDocument/2006/relationships/tags" Target="../tags/tag1452.xml"/><Relationship Id="rId27" Type="http://schemas.openxmlformats.org/officeDocument/2006/relationships/tags" Target="../tags/tag1170.xml"/><Relationship Id="rId48" Type="http://schemas.openxmlformats.org/officeDocument/2006/relationships/tags" Target="../tags/tag1191.xml"/><Relationship Id="rId69" Type="http://schemas.openxmlformats.org/officeDocument/2006/relationships/tags" Target="../tags/tag1212.xml"/><Relationship Id="rId113" Type="http://schemas.openxmlformats.org/officeDocument/2006/relationships/tags" Target="../tags/tag1256.xml"/><Relationship Id="rId134" Type="http://schemas.openxmlformats.org/officeDocument/2006/relationships/tags" Target="../tags/tag1277.xml"/><Relationship Id="rId320" Type="http://schemas.openxmlformats.org/officeDocument/2006/relationships/tags" Target="../tags/tag1463.xml"/><Relationship Id="rId80" Type="http://schemas.openxmlformats.org/officeDocument/2006/relationships/tags" Target="../tags/tag1223.xml"/><Relationship Id="rId155" Type="http://schemas.openxmlformats.org/officeDocument/2006/relationships/tags" Target="../tags/tag1298.xml"/><Relationship Id="rId176" Type="http://schemas.openxmlformats.org/officeDocument/2006/relationships/tags" Target="../tags/tag1319.xml"/><Relationship Id="rId197" Type="http://schemas.openxmlformats.org/officeDocument/2006/relationships/tags" Target="../tags/tag1340.xml"/><Relationship Id="rId341" Type="http://schemas.openxmlformats.org/officeDocument/2006/relationships/tags" Target="../tags/tag1484.xml"/><Relationship Id="rId362" Type="http://schemas.openxmlformats.org/officeDocument/2006/relationships/tags" Target="../tags/tag1505.xml"/><Relationship Id="rId383" Type="http://schemas.openxmlformats.org/officeDocument/2006/relationships/notesSlide" Target="../notesSlides/notesSlide4.xml"/><Relationship Id="rId201" Type="http://schemas.openxmlformats.org/officeDocument/2006/relationships/tags" Target="../tags/tag1344.xml"/><Relationship Id="rId222" Type="http://schemas.openxmlformats.org/officeDocument/2006/relationships/tags" Target="../tags/tag1365.xml"/><Relationship Id="rId243" Type="http://schemas.openxmlformats.org/officeDocument/2006/relationships/tags" Target="../tags/tag1386.xml"/><Relationship Id="rId264" Type="http://schemas.openxmlformats.org/officeDocument/2006/relationships/tags" Target="../tags/tag1407.xml"/><Relationship Id="rId285" Type="http://schemas.openxmlformats.org/officeDocument/2006/relationships/tags" Target="../tags/tag1428.xml"/><Relationship Id="rId17" Type="http://schemas.openxmlformats.org/officeDocument/2006/relationships/tags" Target="../tags/tag1160.xml"/><Relationship Id="rId38" Type="http://schemas.openxmlformats.org/officeDocument/2006/relationships/tags" Target="../tags/tag1181.xml"/><Relationship Id="rId59" Type="http://schemas.openxmlformats.org/officeDocument/2006/relationships/tags" Target="../tags/tag1202.xml"/><Relationship Id="rId103" Type="http://schemas.openxmlformats.org/officeDocument/2006/relationships/tags" Target="../tags/tag1246.xml"/><Relationship Id="rId124" Type="http://schemas.openxmlformats.org/officeDocument/2006/relationships/tags" Target="../tags/tag1267.xml"/><Relationship Id="rId310" Type="http://schemas.openxmlformats.org/officeDocument/2006/relationships/tags" Target="../tags/tag1453.xml"/><Relationship Id="rId70" Type="http://schemas.openxmlformats.org/officeDocument/2006/relationships/tags" Target="../tags/tag1213.xml"/><Relationship Id="rId91" Type="http://schemas.openxmlformats.org/officeDocument/2006/relationships/tags" Target="../tags/tag1234.xml"/><Relationship Id="rId145" Type="http://schemas.openxmlformats.org/officeDocument/2006/relationships/tags" Target="../tags/tag1288.xml"/><Relationship Id="rId166" Type="http://schemas.openxmlformats.org/officeDocument/2006/relationships/tags" Target="../tags/tag1309.xml"/><Relationship Id="rId187" Type="http://schemas.openxmlformats.org/officeDocument/2006/relationships/tags" Target="../tags/tag1330.xml"/><Relationship Id="rId331" Type="http://schemas.openxmlformats.org/officeDocument/2006/relationships/tags" Target="../tags/tag1474.xml"/><Relationship Id="rId352" Type="http://schemas.openxmlformats.org/officeDocument/2006/relationships/tags" Target="../tags/tag1495.xml"/><Relationship Id="rId373" Type="http://schemas.openxmlformats.org/officeDocument/2006/relationships/tags" Target="../tags/tag1516.xml"/><Relationship Id="rId1" Type="http://schemas.openxmlformats.org/officeDocument/2006/relationships/tags" Target="../tags/tag1144.xml"/><Relationship Id="rId212" Type="http://schemas.openxmlformats.org/officeDocument/2006/relationships/tags" Target="../tags/tag1355.xml"/><Relationship Id="rId233" Type="http://schemas.openxmlformats.org/officeDocument/2006/relationships/tags" Target="../tags/tag1376.xml"/><Relationship Id="rId254" Type="http://schemas.openxmlformats.org/officeDocument/2006/relationships/tags" Target="../tags/tag1397.xml"/><Relationship Id="rId28" Type="http://schemas.openxmlformats.org/officeDocument/2006/relationships/tags" Target="../tags/tag1171.xml"/><Relationship Id="rId49" Type="http://schemas.openxmlformats.org/officeDocument/2006/relationships/tags" Target="../tags/tag1192.xml"/><Relationship Id="rId114" Type="http://schemas.openxmlformats.org/officeDocument/2006/relationships/tags" Target="../tags/tag1257.xml"/><Relationship Id="rId275" Type="http://schemas.openxmlformats.org/officeDocument/2006/relationships/tags" Target="../tags/tag1418.xml"/><Relationship Id="rId296" Type="http://schemas.openxmlformats.org/officeDocument/2006/relationships/tags" Target="../tags/tag1439.xml"/><Relationship Id="rId300" Type="http://schemas.openxmlformats.org/officeDocument/2006/relationships/tags" Target="../tags/tag1443.xml"/><Relationship Id="rId60" Type="http://schemas.openxmlformats.org/officeDocument/2006/relationships/tags" Target="../tags/tag1203.xml"/><Relationship Id="rId81" Type="http://schemas.openxmlformats.org/officeDocument/2006/relationships/tags" Target="../tags/tag1224.xml"/><Relationship Id="rId135" Type="http://schemas.openxmlformats.org/officeDocument/2006/relationships/tags" Target="../tags/tag1278.xml"/><Relationship Id="rId156" Type="http://schemas.openxmlformats.org/officeDocument/2006/relationships/tags" Target="../tags/tag1299.xml"/><Relationship Id="rId177" Type="http://schemas.openxmlformats.org/officeDocument/2006/relationships/tags" Target="../tags/tag1320.xml"/><Relationship Id="rId198" Type="http://schemas.openxmlformats.org/officeDocument/2006/relationships/tags" Target="../tags/tag1341.xml"/><Relationship Id="rId321" Type="http://schemas.openxmlformats.org/officeDocument/2006/relationships/tags" Target="../tags/tag1464.xml"/><Relationship Id="rId342" Type="http://schemas.openxmlformats.org/officeDocument/2006/relationships/tags" Target="../tags/tag1485.xml"/><Relationship Id="rId363" Type="http://schemas.openxmlformats.org/officeDocument/2006/relationships/tags" Target="../tags/tag1506.xml"/><Relationship Id="rId384" Type="http://schemas.openxmlformats.org/officeDocument/2006/relationships/image" Target="../media/image1.png"/><Relationship Id="rId202" Type="http://schemas.openxmlformats.org/officeDocument/2006/relationships/tags" Target="../tags/tag1345.xml"/><Relationship Id="rId223" Type="http://schemas.openxmlformats.org/officeDocument/2006/relationships/tags" Target="../tags/tag1366.xml"/><Relationship Id="rId244" Type="http://schemas.openxmlformats.org/officeDocument/2006/relationships/tags" Target="../tags/tag1387.xml"/><Relationship Id="rId18" Type="http://schemas.openxmlformats.org/officeDocument/2006/relationships/tags" Target="../tags/tag1161.xml"/><Relationship Id="rId39" Type="http://schemas.openxmlformats.org/officeDocument/2006/relationships/tags" Target="../tags/tag1182.xml"/><Relationship Id="rId265" Type="http://schemas.openxmlformats.org/officeDocument/2006/relationships/tags" Target="../tags/tag1408.xml"/><Relationship Id="rId286" Type="http://schemas.openxmlformats.org/officeDocument/2006/relationships/tags" Target="../tags/tag1429.xml"/><Relationship Id="rId50" Type="http://schemas.openxmlformats.org/officeDocument/2006/relationships/tags" Target="../tags/tag1193.xml"/><Relationship Id="rId104" Type="http://schemas.openxmlformats.org/officeDocument/2006/relationships/tags" Target="../tags/tag1247.xml"/><Relationship Id="rId125" Type="http://schemas.openxmlformats.org/officeDocument/2006/relationships/tags" Target="../tags/tag1268.xml"/><Relationship Id="rId146" Type="http://schemas.openxmlformats.org/officeDocument/2006/relationships/tags" Target="../tags/tag1289.xml"/><Relationship Id="rId167" Type="http://schemas.openxmlformats.org/officeDocument/2006/relationships/tags" Target="../tags/tag1310.xml"/><Relationship Id="rId188" Type="http://schemas.openxmlformats.org/officeDocument/2006/relationships/tags" Target="../tags/tag1331.xml"/><Relationship Id="rId311" Type="http://schemas.openxmlformats.org/officeDocument/2006/relationships/tags" Target="../tags/tag1454.xml"/><Relationship Id="rId332" Type="http://schemas.openxmlformats.org/officeDocument/2006/relationships/tags" Target="../tags/tag1475.xml"/><Relationship Id="rId353" Type="http://schemas.openxmlformats.org/officeDocument/2006/relationships/tags" Target="../tags/tag1496.xml"/><Relationship Id="rId374" Type="http://schemas.openxmlformats.org/officeDocument/2006/relationships/tags" Target="../tags/tag1517.xml"/><Relationship Id="rId71" Type="http://schemas.openxmlformats.org/officeDocument/2006/relationships/tags" Target="../tags/tag1214.xml"/><Relationship Id="rId92" Type="http://schemas.openxmlformats.org/officeDocument/2006/relationships/tags" Target="../tags/tag1235.xml"/><Relationship Id="rId213" Type="http://schemas.openxmlformats.org/officeDocument/2006/relationships/tags" Target="../tags/tag1356.xml"/><Relationship Id="rId234" Type="http://schemas.openxmlformats.org/officeDocument/2006/relationships/tags" Target="../tags/tag1377.xml"/><Relationship Id="rId2" Type="http://schemas.openxmlformats.org/officeDocument/2006/relationships/tags" Target="../tags/tag1145.xml"/><Relationship Id="rId29" Type="http://schemas.openxmlformats.org/officeDocument/2006/relationships/tags" Target="../tags/tag1172.xml"/><Relationship Id="rId255" Type="http://schemas.openxmlformats.org/officeDocument/2006/relationships/tags" Target="../tags/tag1398.xml"/><Relationship Id="rId276" Type="http://schemas.openxmlformats.org/officeDocument/2006/relationships/tags" Target="../tags/tag1419.xml"/><Relationship Id="rId297" Type="http://schemas.openxmlformats.org/officeDocument/2006/relationships/tags" Target="../tags/tag1440.xml"/><Relationship Id="rId40" Type="http://schemas.openxmlformats.org/officeDocument/2006/relationships/tags" Target="../tags/tag1183.xml"/><Relationship Id="rId115" Type="http://schemas.openxmlformats.org/officeDocument/2006/relationships/tags" Target="../tags/tag1258.xml"/><Relationship Id="rId136" Type="http://schemas.openxmlformats.org/officeDocument/2006/relationships/tags" Target="../tags/tag1279.xml"/><Relationship Id="rId157" Type="http://schemas.openxmlformats.org/officeDocument/2006/relationships/tags" Target="../tags/tag1300.xml"/><Relationship Id="rId178" Type="http://schemas.openxmlformats.org/officeDocument/2006/relationships/tags" Target="../tags/tag1321.xml"/><Relationship Id="rId301" Type="http://schemas.openxmlformats.org/officeDocument/2006/relationships/tags" Target="../tags/tag1444.xml"/><Relationship Id="rId322" Type="http://schemas.openxmlformats.org/officeDocument/2006/relationships/tags" Target="../tags/tag1465.xml"/><Relationship Id="rId343" Type="http://schemas.openxmlformats.org/officeDocument/2006/relationships/tags" Target="../tags/tag1486.xml"/><Relationship Id="rId364" Type="http://schemas.openxmlformats.org/officeDocument/2006/relationships/tags" Target="../tags/tag1507.xml"/><Relationship Id="rId61" Type="http://schemas.openxmlformats.org/officeDocument/2006/relationships/tags" Target="../tags/tag1204.xml"/><Relationship Id="rId82" Type="http://schemas.openxmlformats.org/officeDocument/2006/relationships/tags" Target="../tags/tag1225.xml"/><Relationship Id="rId199" Type="http://schemas.openxmlformats.org/officeDocument/2006/relationships/tags" Target="../tags/tag1342.xml"/><Relationship Id="rId203" Type="http://schemas.openxmlformats.org/officeDocument/2006/relationships/tags" Target="../tags/tag1346.xml"/><Relationship Id="rId385" Type="http://schemas.openxmlformats.org/officeDocument/2006/relationships/hyperlink" Target="mailto:Groningen/ed@groningendeclaration.org" TargetMode="External"/><Relationship Id="rId19" Type="http://schemas.openxmlformats.org/officeDocument/2006/relationships/tags" Target="../tags/tag1162.xml"/><Relationship Id="rId224" Type="http://schemas.openxmlformats.org/officeDocument/2006/relationships/tags" Target="../tags/tag1367.xml"/><Relationship Id="rId245" Type="http://schemas.openxmlformats.org/officeDocument/2006/relationships/tags" Target="../tags/tag1388.xml"/><Relationship Id="rId266" Type="http://schemas.openxmlformats.org/officeDocument/2006/relationships/tags" Target="../tags/tag1409.xml"/><Relationship Id="rId287" Type="http://schemas.openxmlformats.org/officeDocument/2006/relationships/tags" Target="../tags/tag1430.xml"/><Relationship Id="rId30" Type="http://schemas.openxmlformats.org/officeDocument/2006/relationships/tags" Target="../tags/tag1173.xml"/><Relationship Id="rId105" Type="http://schemas.openxmlformats.org/officeDocument/2006/relationships/tags" Target="../tags/tag1248.xml"/><Relationship Id="rId126" Type="http://schemas.openxmlformats.org/officeDocument/2006/relationships/tags" Target="../tags/tag1269.xml"/><Relationship Id="rId147" Type="http://schemas.openxmlformats.org/officeDocument/2006/relationships/tags" Target="../tags/tag1290.xml"/><Relationship Id="rId168" Type="http://schemas.openxmlformats.org/officeDocument/2006/relationships/tags" Target="../tags/tag1311.xml"/><Relationship Id="rId312" Type="http://schemas.openxmlformats.org/officeDocument/2006/relationships/tags" Target="../tags/tag1455.xml"/><Relationship Id="rId333" Type="http://schemas.openxmlformats.org/officeDocument/2006/relationships/tags" Target="../tags/tag1476.xml"/><Relationship Id="rId354" Type="http://schemas.openxmlformats.org/officeDocument/2006/relationships/tags" Target="../tags/tag1497.xml"/><Relationship Id="rId51" Type="http://schemas.openxmlformats.org/officeDocument/2006/relationships/tags" Target="../tags/tag1194.xml"/><Relationship Id="rId72" Type="http://schemas.openxmlformats.org/officeDocument/2006/relationships/tags" Target="../tags/tag1215.xml"/><Relationship Id="rId93" Type="http://schemas.openxmlformats.org/officeDocument/2006/relationships/tags" Target="../tags/tag1236.xml"/><Relationship Id="rId189" Type="http://schemas.openxmlformats.org/officeDocument/2006/relationships/tags" Target="../tags/tag1332.xml"/><Relationship Id="rId375" Type="http://schemas.openxmlformats.org/officeDocument/2006/relationships/tags" Target="../tags/tag1518.xml"/><Relationship Id="rId3" Type="http://schemas.openxmlformats.org/officeDocument/2006/relationships/tags" Target="../tags/tag1146.xml"/><Relationship Id="rId214" Type="http://schemas.openxmlformats.org/officeDocument/2006/relationships/tags" Target="../tags/tag1357.xml"/><Relationship Id="rId235" Type="http://schemas.openxmlformats.org/officeDocument/2006/relationships/tags" Target="../tags/tag1378.xml"/><Relationship Id="rId256" Type="http://schemas.openxmlformats.org/officeDocument/2006/relationships/tags" Target="../tags/tag1399.xml"/><Relationship Id="rId277" Type="http://schemas.openxmlformats.org/officeDocument/2006/relationships/tags" Target="../tags/tag1420.xml"/><Relationship Id="rId298" Type="http://schemas.openxmlformats.org/officeDocument/2006/relationships/tags" Target="../tags/tag1441.xml"/><Relationship Id="rId116" Type="http://schemas.openxmlformats.org/officeDocument/2006/relationships/tags" Target="../tags/tag1259.xml"/><Relationship Id="rId137" Type="http://schemas.openxmlformats.org/officeDocument/2006/relationships/tags" Target="../tags/tag1280.xml"/><Relationship Id="rId158" Type="http://schemas.openxmlformats.org/officeDocument/2006/relationships/tags" Target="../tags/tag1301.xml"/><Relationship Id="rId302" Type="http://schemas.openxmlformats.org/officeDocument/2006/relationships/tags" Target="../tags/tag1445.xml"/><Relationship Id="rId323" Type="http://schemas.openxmlformats.org/officeDocument/2006/relationships/tags" Target="../tags/tag1466.xml"/><Relationship Id="rId344" Type="http://schemas.openxmlformats.org/officeDocument/2006/relationships/tags" Target="../tags/tag1487.xml"/><Relationship Id="rId20" Type="http://schemas.openxmlformats.org/officeDocument/2006/relationships/tags" Target="../tags/tag1163.xml"/><Relationship Id="rId41" Type="http://schemas.openxmlformats.org/officeDocument/2006/relationships/tags" Target="../tags/tag1184.xml"/><Relationship Id="rId62" Type="http://schemas.openxmlformats.org/officeDocument/2006/relationships/tags" Target="../tags/tag1205.xml"/><Relationship Id="rId83" Type="http://schemas.openxmlformats.org/officeDocument/2006/relationships/tags" Target="../tags/tag1226.xml"/><Relationship Id="rId179" Type="http://schemas.openxmlformats.org/officeDocument/2006/relationships/tags" Target="../tags/tag1322.xml"/><Relationship Id="rId365" Type="http://schemas.openxmlformats.org/officeDocument/2006/relationships/tags" Target="../tags/tag1508.xml"/><Relationship Id="rId386" Type="http://schemas.openxmlformats.org/officeDocument/2006/relationships/hyperlink" Target="http://www.groniongendeclaration.org/" TargetMode="External"/><Relationship Id="rId190" Type="http://schemas.openxmlformats.org/officeDocument/2006/relationships/tags" Target="../tags/tag1333.xml"/><Relationship Id="rId204" Type="http://schemas.openxmlformats.org/officeDocument/2006/relationships/tags" Target="../tags/tag1347.xml"/><Relationship Id="rId225" Type="http://schemas.openxmlformats.org/officeDocument/2006/relationships/tags" Target="../tags/tag1368.xml"/><Relationship Id="rId246" Type="http://schemas.openxmlformats.org/officeDocument/2006/relationships/tags" Target="../tags/tag1389.xml"/><Relationship Id="rId267" Type="http://schemas.openxmlformats.org/officeDocument/2006/relationships/tags" Target="../tags/tag1410.xml"/><Relationship Id="rId288" Type="http://schemas.openxmlformats.org/officeDocument/2006/relationships/tags" Target="../tags/tag1431.xml"/><Relationship Id="rId106" Type="http://schemas.openxmlformats.org/officeDocument/2006/relationships/tags" Target="../tags/tag1249.xml"/><Relationship Id="rId127" Type="http://schemas.openxmlformats.org/officeDocument/2006/relationships/tags" Target="../tags/tag1270.xml"/><Relationship Id="rId313" Type="http://schemas.openxmlformats.org/officeDocument/2006/relationships/tags" Target="../tags/tag1456.xml"/><Relationship Id="rId10" Type="http://schemas.openxmlformats.org/officeDocument/2006/relationships/tags" Target="../tags/tag1153.xml"/><Relationship Id="rId31" Type="http://schemas.openxmlformats.org/officeDocument/2006/relationships/tags" Target="../tags/tag1174.xml"/><Relationship Id="rId52" Type="http://schemas.openxmlformats.org/officeDocument/2006/relationships/tags" Target="../tags/tag1195.xml"/><Relationship Id="rId73" Type="http://schemas.openxmlformats.org/officeDocument/2006/relationships/tags" Target="../tags/tag1216.xml"/><Relationship Id="rId94" Type="http://schemas.openxmlformats.org/officeDocument/2006/relationships/tags" Target="../tags/tag1237.xml"/><Relationship Id="rId148" Type="http://schemas.openxmlformats.org/officeDocument/2006/relationships/tags" Target="../tags/tag1291.xml"/><Relationship Id="rId169" Type="http://schemas.openxmlformats.org/officeDocument/2006/relationships/tags" Target="../tags/tag1312.xml"/><Relationship Id="rId334" Type="http://schemas.openxmlformats.org/officeDocument/2006/relationships/tags" Target="../tags/tag1477.xml"/><Relationship Id="rId355" Type="http://schemas.openxmlformats.org/officeDocument/2006/relationships/tags" Target="../tags/tag1498.xml"/><Relationship Id="rId376" Type="http://schemas.openxmlformats.org/officeDocument/2006/relationships/tags" Target="../tags/tag1519.xml"/><Relationship Id="rId4" Type="http://schemas.openxmlformats.org/officeDocument/2006/relationships/tags" Target="../tags/tag1147.xml"/><Relationship Id="rId180" Type="http://schemas.openxmlformats.org/officeDocument/2006/relationships/tags" Target="../tags/tag1323.xml"/><Relationship Id="rId215" Type="http://schemas.openxmlformats.org/officeDocument/2006/relationships/tags" Target="../tags/tag1358.xml"/><Relationship Id="rId236" Type="http://schemas.openxmlformats.org/officeDocument/2006/relationships/tags" Target="../tags/tag1379.xml"/><Relationship Id="rId257" Type="http://schemas.openxmlformats.org/officeDocument/2006/relationships/tags" Target="../tags/tag1400.xml"/><Relationship Id="rId278" Type="http://schemas.openxmlformats.org/officeDocument/2006/relationships/tags" Target="../tags/tag1421.xml"/><Relationship Id="rId303" Type="http://schemas.openxmlformats.org/officeDocument/2006/relationships/tags" Target="../tags/tag144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A71743-310E-492B-8913-80FED5E8697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34072" y="2421853"/>
            <a:ext cx="7766936" cy="1646302"/>
          </a:xfrm>
        </p:spPr>
        <p:txBody>
          <a:bodyPr/>
          <a:lstStyle/>
          <a:p>
            <a:pPr algn="ctr"/>
            <a:r>
              <a:rPr lang="en-US" dirty="0"/>
              <a:t>Groningen Declaration Network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B9A4E04-FA5C-412D-83DA-2BF07A2A2F5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34072" y="5051730"/>
            <a:ext cx="7766936" cy="1096899"/>
          </a:xfrm>
        </p:spPr>
        <p:txBody>
          <a:bodyPr>
            <a:normAutofit/>
          </a:bodyPr>
          <a:lstStyle/>
          <a:p>
            <a:pPr algn="l"/>
            <a:r>
              <a:rPr lang="en-US" sz="2800" b="1" dirty="0"/>
              <a:t>Creating a Global, Sustainable and Equitable Digital Learner Data Portability Environmen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D89D48C-0F36-4BE6-B1BD-178E5BBEAB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36049" y="385378"/>
            <a:ext cx="5073073" cy="1052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93116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BABBAF7-B53B-4821-A1A8-465A423E98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948" y="156297"/>
            <a:ext cx="9691367" cy="752669"/>
          </a:xfrm>
        </p:spPr>
        <p:txBody>
          <a:bodyPr>
            <a:normAutofit fontScale="90000"/>
          </a:bodyPr>
          <a:lstStyle/>
          <a:p>
            <a:r>
              <a:rPr lang="en-US" sz="2800" b="1" dirty="0"/>
              <a:t>GDN Goal: Developing Global Digital Data Eco-system to Further Cross Border Mobility of Learner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BF18692-568E-40EA-846E-5739BBC056E7}"/>
              </a:ext>
            </a:extLst>
          </p:cNvPr>
          <p:cNvGrpSpPr/>
          <p:nvPr/>
        </p:nvGrpSpPr>
        <p:grpSpPr>
          <a:xfrm>
            <a:off x="1322539" y="1785145"/>
            <a:ext cx="7500937" cy="4260849"/>
            <a:chOff x="2201864" y="1196976"/>
            <a:chExt cx="7500937" cy="4260849"/>
          </a:xfrm>
        </p:grpSpPr>
        <p:sp>
          <p:nvSpPr>
            <p:cNvPr id="6" name="Freeform 4">
              <a:extLst>
                <a:ext uri="{FF2B5EF4-FFF2-40B4-BE49-F238E27FC236}">
                  <a16:creationId xmlns:a16="http://schemas.microsoft.com/office/drawing/2014/main" id="{336C62CC-9DE8-4D98-A241-4987242A9CBB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4043364" y="5394325"/>
              <a:ext cx="33337" cy="57150"/>
            </a:xfrm>
            <a:custGeom>
              <a:avLst/>
              <a:gdLst>
                <a:gd name="T0" fmla="*/ 0 w 73"/>
                <a:gd name="T1" fmla="*/ 0 h 20"/>
                <a:gd name="T2" fmla="*/ 457 w 73"/>
                <a:gd name="T3" fmla="*/ 14288 h 20"/>
                <a:gd name="T4" fmla="*/ 1827 w 73"/>
                <a:gd name="T5" fmla="*/ 28575 h 20"/>
                <a:gd name="T6" fmla="*/ 3653 w 73"/>
                <a:gd name="T7" fmla="*/ 40005 h 20"/>
                <a:gd name="T8" fmla="*/ 5937 w 73"/>
                <a:gd name="T9" fmla="*/ 57150 h 20"/>
                <a:gd name="T10" fmla="*/ 7307 w 73"/>
                <a:gd name="T11" fmla="*/ 48578 h 20"/>
                <a:gd name="T12" fmla="*/ 8677 w 73"/>
                <a:gd name="T13" fmla="*/ 37148 h 20"/>
                <a:gd name="T14" fmla="*/ 10503 w 73"/>
                <a:gd name="T15" fmla="*/ 31433 h 20"/>
                <a:gd name="T16" fmla="*/ 12330 w 73"/>
                <a:gd name="T17" fmla="*/ 28575 h 20"/>
                <a:gd name="T18" fmla="*/ 16440 w 73"/>
                <a:gd name="T19" fmla="*/ 22860 h 20"/>
                <a:gd name="T20" fmla="*/ 21007 w 73"/>
                <a:gd name="T21" fmla="*/ 20003 h 20"/>
                <a:gd name="T22" fmla="*/ 24660 w 73"/>
                <a:gd name="T23" fmla="*/ 20003 h 20"/>
                <a:gd name="T24" fmla="*/ 28770 w 73"/>
                <a:gd name="T25" fmla="*/ 17145 h 20"/>
                <a:gd name="T26" fmla="*/ 30140 w 73"/>
                <a:gd name="T27" fmla="*/ 14288 h 20"/>
                <a:gd name="T28" fmla="*/ 31510 w 73"/>
                <a:gd name="T29" fmla="*/ 11430 h 20"/>
                <a:gd name="T30" fmla="*/ 32424 w 73"/>
                <a:gd name="T31" fmla="*/ 5715 h 20"/>
                <a:gd name="T32" fmla="*/ 33337 w 73"/>
                <a:gd name="T33" fmla="*/ 0 h 20"/>
                <a:gd name="T34" fmla="*/ 0 w 73"/>
                <a:gd name="T35" fmla="*/ 0 h 2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80568D7C-D6D8-4115-B56B-AFD0B82475E8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2201864" y="1495425"/>
              <a:ext cx="784225" cy="446088"/>
            </a:xfrm>
            <a:custGeom>
              <a:avLst/>
              <a:gdLst>
                <a:gd name="T0" fmla="*/ 605085 w 1808"/>
                <a:gd name="T1" fmla="*/ 423521 h 850"/>
                <a:gd name="T2" fmla="*/ 604651 w 1808"/>
                <a:gd name="T3" fmla="*/ 395181 h 850"/>
                <a:gd name="T4" fmla="*/ 595543 w 1808"/>
                <a:gd name="T5" fmla="*/ 340076 h 850"/>
                <a:gd name="T6" fmla="*/ 573855 w 1808"/>
                <a:gd name="T7" fmla="*/ 336403 h 850"/>
                <a:gd name="T8" fmla="*/ 548263 w 1808"/>
                <a:gd name="T9" fmla="*/ 335353 h 850"/>
                <a:gd name="T10" fmla="*/ 491876 w 1808"/>
                <a:gd name="T11" fmla="*/ 305439 h 850"/>
                <a:gd name="T12" fmla="*/ 422041 w 1808"/>
                <a:gd name="T13" fmla="*/ 281823 h 850"/>
                <a:gd name="T14" fmla="*/ 409029 w 1808"/>
                <a:gd name="T15" fmla="*/ 264504 h 850"/>
                <a:gd name="T16" fmla="*/ 390811 w 1808"/>
                <a:gd name="T17" fmla="*/ 270802 h 850"/>
                <a:gd name="T18" fmla="*/ 368256 w 1808"/>
                <a:gd name="T19" fmla="*/ 299141 h 850"/>
                <a:gd name="T20" fmla="*/ 292783 w 1808"/>
                <a:gd name="T21" fmla="*/ 324857 h 850"/>
                <a:gd name="T22" fmla="*/ 294084 w 1808"/>
                <a:gd name="T23" fmla="*/ 303340 h 850"/>
                <a:gd name="T24" fmla="*/ 312736 w 1808"/>
                <a:gd name="T25" fmla="*/ 287596 h 850"/>
                <a:gd name="T26" fmla="*/ 340930 w 1808"/>
                <a:gd name="T27" fmla="*/ 286021 h 850"/>
                <a:gd name="T28" fmla="*/ 314037 w 1808"/>
                <a:gd name="T29" fmla="*/ 277099 h 850"/>
                <a:gd name="T30" fmla="*/ 250709 w 1808"/>
                <a:gd name="T31" fmla="*/ 309113 h 850"/>
                <a:gd name="T32" fmla="*/ 237263 w 1808"/>
                <a:gd name="T33" fmla="*/ 328006 h 850"/>
                <a:gd name="T34" fmla="*/ 228154 w 1808"/>
                <a:gd name="T35" fmla="*/ 341126 h 850"/>
                <a:gd name="T36" fmla="*/ 196056 w 1808"/>
                <a:gd name="T37" fmla="*/ 343225 h 850"/>
                <a:gd name="T38" fmla="*/ 166127 w 1808"/>
                <a:gd name="T39" fmla="*/ 368416 h 850"/>
                <a:gd name="T40" fmla="*/ 109306 w 1808"/>
                <a:gd name="T41" fmla="*/ 393607 h 850"/>
                <a:gd name="T42" fmla="*/ 45544 w 1808"/>
                <a:gd name="T43" fmla="*/ 423521 h 850"/>
                <a:gd name="T44" fmla="*/ 1735 w 1808"/>
                <a:gd name="T45" fmla="*/ 426670 h 850"/>
                <a:gd name="T46" fmla="*/ 6073 w 1808"/>
                <a:gd name="T47" fmla="*/ 414075 h 850"/>
                <a:gd name="T48" fmla="*/ 55087 w 1808"/>
                <a:gd name="T49" fmla="*/ 399380 h 850"/>
                <a:gd name="T50" fmla="*/ 114944 w 1808"/>
                <a:gd name="T51" fmla="*/ 365267 h 850"/>
                <a:gd name="T52" fmla="*/ 130126 w 1808"/>
                <a:gd name="T53" fmla="*/ 328531 h 850"/>
                <a:gd name="T54" fmla="*/ 109739 w 1808"/>
                <a:gd name="T55" fmla="*/ 344800 h 850"/>
                <a:gd name="T56" fmla="*/ 65063 w 1808"/>
                <a:gd name="T57" fmla="*/ 337452 h 850"/>
                <a:gd name="T58" fmla="*/ 74605 w 1808"/>
                <a:gd name="T59" fmla="*/ 320134 h 850"/>
                <a:gd name="T60" fmla="*/ 104101 w 1808"/>
                <a:gd name="T61" fmla="*/ 287071 h 850"/>
                <a:gd name="T62" fmla="*/ 65930 w 1808"/>
                <a:gd name="T63" fmla="*/ 301765 h 850"/>
                <a:gd name="T64" fmla="*/ 62027 w 1808"/>
                <a:gd name="T65" fmla="*/ 281298 h 850"/>
                <a:gd name="T66" fmla="*/ 150078 w 1808"/>
                <a:gd name="T67" fmla="*/ 199428 h 850"/>
                <a:gd name="T68" fmla="*/ 192586 w 1808"/>
                <a:gd name="T69" fmla="*/ 200477 h 850"/>
                <a:gd name="T70" fmla="*/ 246805 w 1808"/>
                <a:gd name="T71" fmla="*/ 183158 h 850"/>
                <a:gd name="T72" fmla="*/ 256782 w 1808"/>
                <a:gd name="T73" fmla="*/ 160592 h 850"/>
                <a:gd name="T74" fmla="*/ 219479 w 1808"/>
                <a:gd name="T75" fmla="*/ 173712 h 850"/>
                <a:gd name="T76" fmla="*/ 189984 w 1808"/>
                <a:gd name="T77" fmla="*/ 166889 h 850"/>
                <a:gd name="T78" fmla="*/ 204731 w 1808"/>
                <a:gd name="T79" fmla="*/ 150620 h 850"/>
                <a:gd name="T80" fmla="*/ 308398 w 1808"/>
                <a:gd name="T81" fmla="*/ 124905 h 850"/>
                <a:gd name="T82" fmla="*/ 324881 w 1808"/>
                <a:gd name="T83" fmla="*/ 110210 h 850"/>
                <a:gd name="T84" fmla="*/ 296687 w 1808"/>
                <a:gd name="T85" fmla="*/ 92366 h 850"/>
                <a:gd name="T86" fmla="*/ 320543 w 1808"/>
                <a:gd name="T87" fmla="*/ 57204 h 850"/>
                <a:gd name="T88" fmla="*/ 428548 w 1808"/>
                <a:gd name="T89" fmla="*/ 14170 h 850"/>
                <a:gd name="T90" fmla="*/ 501852 w 1808"/>
                <a:gd name="T91" fmla="*/ 4723 h 850"/>
                <a:gd name="T92" fmla="*/ 553902 w 1808"/>
                <a:gd name="T93" fmla="*/ 1050 h 850"/>
                <a:gd name="T94" fmla="*/ 587301 w 1808"/>
                <a:gd name="T95" fmla="*/ 5248 h 850"/>
                <a:gd name="T96" fmla="*/ 657569 w 1808"/>
                <a:gd name="T97" fmla="*/ 17844 h 850"/>
                <a:gd name="T98" fmla="*/ 763839 w 1808"/>
                <a:gd name="T99" fmla="*/ 21517 h 850"/>
                <a:gd name="T100" fmla="*/ 558240 w 1808"/>
                <a:gd name="T101" fmla="*/ 283397 h 850"/>
                <a:gd name="T102" fmla="*/ 572987 w 1808"/>
                <a:gd name="T103" fmla="*/ 299666 h 850"/>
                <a:gd name="T104" fmla="*/ 575590 w 1808"/>
                <a:gd name="T105" fmla="*/ 315410 h 850"/>
                <a:gd name="T106" fmla="*/ 599446 w 1808"/>
                <a:gd name="T107" fmla="*/ 314361 h 850"/>
                <a:gd name="T108" fmla="*/ 619833 w 1808"/>
                <a:gd name="T109" fmla="*/ 302815 h 850"/>
                <a:gd name="T110" fmla="*/ 639785 w 1808"/>
                <a:gd name="T111" fmla="*/ 350048 h 850"/>
                <a:gd name="T112" fmla="*/ 634147 w 1808"/>
                <a:gd name="T113" fmla="*/ 370515 h 850"/>
                <a:gd name="T114" fmla="*/ 628508 w 1808"/>
                <a:gd name="T115" fmla="*/ 389409 h 850"/>
                <a:gd name="T116" fmla="*/ 640653 w 1808"/>
                <a:gd name="T117" fmla="*/ 410926 h 850"/>
                <a:gd name="T118" fmla="*/ 640653 w 1808"/>
                <a:gd name="T119" fmla="*/ 425620 h 850"/>
                <a:gd name="T120" fmla="*/ 618531 w 1808"/>
                <a:gd name="T121" fmla="*/ 445038 h 85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606F31F4-AD71-4ADC-B3B7-DD2484D7BBCF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662239" y="2111375"/>
              <a:ext cx="1381125" cy="769938"/>
            </a:xfrm>
            <a:custGeom>
              <a:avLst/>
              <a:gdLst>
                <a:gd name="T0" fmla="*/ 1273680 w 3175"/>
                <a:gd name="T1" fmla="*/ 184639 h 1472"/>
                <a:gd name="T2" fmla="*/ 1259760 w 3175"/>
                <a:gd name="T3" fmla="*/ 230145 h 1472"/>
                <a:gd name="T4" fmla="*/ 1236705 w 3175"/>
                <a:gd name="T5" fmla="*/ 241652 h 1472"/>
                <a:gd name="T6" fmla="*/ 1160145 w 3175"/>
                <a:gd name="T7" fmla="*/ 296050 h 1472"/>
                <a:gd name="T8" fmla="*/ 1128825 w 3175"/>
                <a:gd name="T9" fmla="*/ 305988 h 1472"/>
                <a:gd name="T10" fmla="*/ 1117950 w 3175"/>
                <a:gd name="T11" fmla="*/ 354109 h 1472"/>
                <a:gd name="T12" fmla="*/ 1093590 w 3175"/>
                <a:gd name="T13" fmla="*/ 324818 h 1472"/>
                <a:gd name="T14" fmla="*/ 1087065 w 3175"/>
                <a:gd name="T15" fmla="*/ 360908 h 1472"/>
                <a:gd name="T16" fmla="*/ 1072275 w 3175"/>
                <a:gd name="T17" fmla="*/ 389153 h 1472"/>
                <a:gd name="T18" fmla="*/ 1074885 w 3175"/>
                <a:gd name="T19" fmla="*/ 430475 h 1472"/>
                <a:gd name="T20" fmla="*/ 1014420 w 3175"/>
                <a:gd name="T21" fmla="*/ 485396 h 1472"/>
                <a:gd name="T22" fmla="*/ 941775 w 3175"/>
                <a:gd name="T23" fmla="*/ 546593 h 1472"/>
                <a:gd name="T24" fmla="*/ 918720 w 3175"/>
                <a:gd name="T25" fmla="*/ 625052 h 1472"/>
                <a:gd name="T26" fmla="*/ 914805 w 3175"/>
                <a:gd name="T27" fmla="*/ 762092 h 1472"/>
                <a:gd name="T28" fmla="*/ 881310 w 3175"/>
                <a:gd name="T29" fmla="*/ 739601 h 1472"/>
                <a:gd name="T30" fmla="*/ 866955 w 3175"/>
                <a:gd name="T31" fmla="*/ 693572 h 1472"/>
                <a:gd name="T32" fmla="*/ 852165 w 3175"/>
                <a:gd name="T33" fmla="*/ 619298 h 1472"/>
                <a:gd name="T34" fmla="*/ 796920 w 3175"/>
                <a:gd name="T35" fmla="*/ 610929 h 1472"/>
                <a:gd name="T36" fmla="*/ 719055 w 3175"/>
                <a:gd name="T37" fmla="*/ 597853 h 1472"/>
                <a:gd name="T38" fmla="*/ 702960 w 3175"/>
                <a:gd name="T39" fmla="*/ 620344 h 1472"/>
                <a:gd name="T40" fmla="*/ 673380 w 3175"/>
                <a:gd name="T41" fmla="*/ 647543 h 1472"/>
                <a:gd name="T42" fmla="*/ 624660 w 3175"/>
                <a:gd name="T43" fmla="*/ 623482 h 1472"/>
                <a:gd name="T44" fmla="*/ 535485 w 3175"/>
                <a:gd name="T45" fmla="*/ 665327 h 1472"/>
                <a:gd name="T46" fmla="*/ 504600 w 3175"/>
                <a:gd name="T47" fmla="*/ 728094 h 1472"/>
                <a:gd name="T48" fmla="*/ 469800 w 3175"/>
                <a:gd name="T49" fmla="*/ 722863 h 1472"/>
                <a:gd name="T50" fmla="*/ 451095 w 3175"/>
                <a:gd name="T51" fmla="*/ 641789 h 1472"/>
                <a:gd name="T52" fmla="*/ 408900 w 3175"/>
                <a:gd name="T53" fmla="*/ 622436 h 1472"/>
                <a:gd name="T54" fmla="*/ 377145 w 3175"/>
                <a:gd name="T55" fmla="*/ 637605 h 1472"/>
                <a:gd name="T56" fmla="*/ 340170 w 3175"/>
                <a:gd name="T57" fmla="*/ 568562 h 1472"/>
                <a:gd name="T58" fmla="*/ 291450 w 3175"/>
                <a:gd name="T59" fmla="*/ 557054 h 1472"/>
                <a:gd name="T60" fmla="*/ 200970 w 3175"/>
                <a:gd name="T61" fmla="*/ 557054 h 1472"/>
                <a:gd name="T62" fmla="*/ 95700 w 3175"/>
                <a:gd name="T63" fmla="*/ 531425 h 1472"/>
                <a:gd name="T64" fmla="*/ 38280 w 3175"/>
                <a:gd name="T65" fmla="*/ 481211 h 1472"/>
                <a:gd name="T66" fmla="*/ 16965 w 3175"/>
                <a:gd name="T67" fmla="*/ 443551 h 1472"/>
                <a:gd name="T68" fmla="*/ 12615 w 3175"/>
                <a:gd name="T69" fmla="*/ 346263 h 1472"/>
                <a:gd name="T70" fmla="*/ 0 w 3175"/>
                <a:gd name="T71" fmla="*/ 315926 h 1472"/>
                <a:gd name="T72" fmla="*/ 61335 w 3175"/>
                <a:gd name="T73" fmla="*/ 175747 h 1472"/>
                <a:gd name="T74" fmla="*/ 107445 w 3175"/>
                <a:gd name="T75" fmla="*/ 92058 h 1472"/>
                <a:gd name="T76" fmla="*/ 154425 w 3175"/>
                <a:gd name="T77" fmla="*/ 53352 h 1472"/>
                <a:gd name="T78" fmla="*/ 163560 w 3175"/>
                <a:gd name="T79" fmla="*/ 62767 h 1472"/>
                <a:gd name="T80" fmla="*/ 794745 w 3175"/>
                <a:gd name="T81" fmla="*/ 0 h 1472"/>
                <a:gd name="T82" fmla="*/ 837810 w 3175"/>
                <a:gd name="T83" fmla="*/ 28768 h 1472"/>
                <a:gd name="T84" fmla="*/ 876525 w 3175"/>
                <a:gd name="T85" fmla="*/ 36091 h 1472"/>
                <a:gd name="T86" fmla="*/ 839115 w 3175"/>
                <a:gd name="T87" fmla="*/ 66951 h 1472"/>
                <a:gd name="T88" fmla="*/ 859995 w 3175"/>
                <a:gd name="T89" fmla="*/ 86827 h 1472"/>
                <a:gd name="T90" fmla="*/ 910890 w 3175"/>
                <a:gd name="T91" fmla="*/ 81074 h 1472"/>
                <a:gd name="T92" fmla="*/ 993540 w 3175"/>
                <a:gd name="T93" fmla="*/ 100950 h 1472"/>
                <a:gd name="T94" fmla="*/ 964395 w 3175"/>
                <a:gd name="T95" fmla="*/ 106703 h 1472"/>
                <a:gd name="T96" fmla="*/ 907845 w 3175"/>
                <a:gd name="T97" fmla="*/ 138087 h 1472"/>
                <a:gd name="T98" fmla="*/ 879135 w 3175"/>
                <a:gd name="T99" fmla="*/ 185685 h 1472"/>
                <a:gd name="T100" fmla="*/ 875220 w 3175"/>
                <a:gd name="T101" fmla="*/ 235898 h 1472"/>
                <a:gd name="T102" fmla="*/ 903060 w 3175"/>
                <a:gd name="T103" fmla="*/ 218114 h 1472"/>
                <a:gd name="T104" fmla="*/ 959175 w 3175"/>
                <a:gd name="T105" fmla="*/ 131810 h 1472"/>
                <a:gd name="T106" fmla="*/ 986145 w 3175"/>
                <a:gd name="T107" fmla="*/ 158486 h 1472"/>
                <a:gd name="T108" fmla="*/ 1000065 w 3175"/>
                <a:gd name="T109" fmla="*/ 206084 h 1472"/>
                <a:gd name="T110" fmla="*/ 959610 w 3175"/>
                <a:gd name="T111" fmla="*/ 237467 h 1472"/>
                <a:gd name="T112" fmla="*/ 1007895 w 3175"/>
                <a:gd name="T113" fmla="*/ 239036 h 1472"/>
                <a:gd name="T114" fmla="*/ 1117950 w 3175"/>
                <a:gd name="T115" fmla="*/ 195100 h 1472"/>
                <a:gd name="T116" fmla="*/ 1187550 w 3175"/>
                <a:gd name="T117" fmla="*/ 131810 h 1472"/>
                <a:gd name="T118" fmla="*/ 1311960 w 3175"/>
                <a:gd name="T119" fmla="*/ 106180 h 1472"/>
                <a:gd name="T120" fmla="*/ 1364160 w 3175"/>
                <a:gd name="T121" fmla="*/ 61721 h 1472"/>
                <a:gd name="T122" fmla="*/ 1369815 w 3175"/>
                <a:gd name="T123" fmla="*/ 96242 h 14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6E4B2EFE-EB36-4C25-98F5-D857973032B6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495676" y="3662363"/>
              <a:ext cx="339725" cy="590550"/>
            </a:xfrm>
            <a:custGeom>
              <a:avLst/>
              <a:gdLst>
                <a:gd name="T0" fmla="*/ 252627 w 784"/>
                <a:gd name="T1" fmla="*/ 145020 h 1128"/>
                <a:gd name="T2" fmla="*/ 237894 w 784"/>
                <a:gd name="T3" fmla="*/ 154443 h 1128"/>
                <a:gd name="T4" fmla="*/ 209728 w 784"/>
                <a:gd name="T5" fmla="*/ 202609 h 1128"/>
                <a:gd name="T6" fmla="*/ 201495 w 784"/>
                <a:gd name="T7" fmla="*/ 239257 h 1128"/>
                <a:gd name="T8" fmla="*/ 208428 w 784"/>
                <a:gd name="T9" fmla="*/ 273286 h 1128"/>
                <a:gd name="T10" fmla="*/ 229661 w 784"/>
                <a:gd name="T11" fmla="*/ 309411 h 1128"/>
                <a:gd name="T12" fmla="*/ 250894 w 784"/>
                <a:gd name="T13" fmla="*/ 322499 h 1128"/>
                <a:gd name="T14" fmla="*/ 270827 w 784"/>
                <a:gd name="T15" fmla="*/ 314122 h 1128"/>
                <a:gd name="T16" fmla="*/ 283393 w 784"/>
                <a:gd name="T17" fmla="*/ 341870 h 1128"/>
                <a:gd name="T18" fmla="*/ 291193 w 784"/>
                <a:gd name="T19" fmla="*/ 357576 h 1128"/>
                <a:gd name="T20" fmla="*/ 309392 w 784"/>
                <a:gd name="T21" fmla="*/ 359670 h 1128"/>
                <a:gd name="T22" fmla="*/ 324559 w 784"/>
                <a:gd name="T23" fmla="*/ 372759 h 1128"/>
                <a:gd name="T24" fmla="*/ 333658 w 784"/>
                <a:gd name="T25" fmla="*/ 395794 h 1128"/>
                <a:gd name="T26" fmla="*/ 329759 w 784"/>
                <a:gd name="T27" fmla="*/ 413594 h 1128"/>
                <a:gd name="T28" fmla="*/ 329325 w 784"/>
                <a:gd name="T29" fmla="*/ 431918 h 1128"/>
                <a:gd name="T30" fmla="*/ 334525 w 784"/>
                <a:gd name="T31" fmla="*/ 461760 h 1128"/>
                <a:gd name="T32" fmla="*/ 328459 w 784"/>
                <a:gd name="T33" fmla="*/ 487937 h 1128"/>
                <a:gd name="T34" fmla="*/ 333658 w 784"/>
                <a:gd name="T35" fmla="*/ 520396 h 1128"/>
                <a:gd name="T36" fmla="*/ 330625 w 784"/>
                <a:gd name="T37" fmla="*/ 551808 h 1128"/>
                <a:gd name="T38" fmla="*/ 299426 w 784"/>
                <a:gd name="T39" fmla="*/ 587409 h 1128"/>
                <a:gd name="T40" fmla="*/ 280793 w 784"/>
                <a:gd name="T41" fmla="*/ 577462 h 1128"/>
                <a:gd name="T42" fmla="*/ 260860 w 784"/>
                <a:gd name="T43" fmla="*/ 552855 h 1128"/>
                <a:gd name="T44" fmla="*/ 200628 w 784"/>
                <a:gd name="T45" fmla="*/ 522490 h 1128"/>
                <a:gd name="T46" fmla="*/ 184162 w 784"/>
                <a:gd name="T47" fmla="*/ 506261 h 1128"/>
                <a:gd name="T48" fmla="*/ 143430 w 784"/>
                <a:gd name="T49" fmla="*/ 468042 h 1128"/>
                <a:gd name="T50" fmla="*/ 137797 w 784"/>
                <a:gd name="T51" fmla="*/ 453907 h 1128"/>
                <a:gd name="T52" fmla="*/ 142130 w 784"/>
                <a:gd name="T53" fmla="*/ 426683 h 1128"/>
                <a:gd name="T54" fmla="*/ 125664 w 784"/>
                <a:gd name="T55" fmla="*/ 407312 h 1128"/>
                <a:gd name="T56" fmla="*/ 112231 w 784"/>
                <a:gd name="T57" fmla="*/ 390035 h 1128"/>
                <a:gd name="T58" fmla="*/ 105297 w 784"/>
                <a:gd name="T59" fmla="*/ 360717 h 1128"/>
                <a:gd name="T60" fmla="*/ 66298 w 784"/>
                <a:gd name="T61" fmla="*/ 277475 h 1128"/>
                <a:gd name="T62" fmla="*/ 51999 w 784"/>
                <a:gd name="T63" fmla="*/ 254963 h 1128"/>
                <a:gd name="T64" fmla="*/ 38999 w 784"/>
                <a:gd name="T65" fmla="*/ 226168 h 1128"/>
                <a:gd name="T66" fmla="*/ 9533 w 784"/>
                <a:gd name="T67" fmla="*/ 207844 h 1128"/>
                <a:gd name="T68" fmla="*/ 0 w 784"/>
                <a:gd name="T69" fmla="*/ 190044 h 1128"/>
                <a:gd name="T70" fmla="*/ 5633 w 784"/>
                <a:gd name="T71" fmla="*/ 144496 h 1128"/>
                <a:gd name="T72" fmla="*/ 12133 w 784"/>
                <a:gd name="T73" fmla="*/ 128790 h 1128"/>
                <a:gd name="T74" fmla="*/ 31199 w 784"/>
                <a:gd name="T75" fmla="*/ 116225 h 1128"/>
                <a:gd name="T76" fmla="*/ 41166 w 784"/>
                <a:gd name="T77" fmla="*/ 142402 h 1128"/>
                <a:gd name="T78" fmla="*/ 68465 w 784"/>
                <a:gd name="T79" fmla="*/ 160726 h 1128"/>
                <a:gd name="T80" fmla="*/ 79731 w 784"/>
                <a:gd name="T81" fmla="*/ 141879 h 1128"/>
                <a:gd name="T82" fmla="*/ 87098 w 784"/>
                <a:gd name="T83" fmla="*/ 117796 h 1128"/>
                <a:gd name="T84" fmla="*/ 116997 w 784"/>
                <a:gd name="T85" fmla="*/ 89001 h 1128"/>
                <a:gd name="T86" fmla="*/ 149063 w 784"/>
                <a:gd name="T87" fmla="*/ 62824 h 1128"/>
                <a:gd name="T88" fmla="*/ 154696 w 784"/>
                <a:gd name="T89" fmla="*/ 36648 h 1128"/>
                <a:gd name="T90" fmla="*/ 150363 w 784"/>
                <a:gd name="T91" fmla="*/ 2618 h 1128"/>
                <a:gd name="T92" fmla="*/ 182862 w 784"/>
                <a:gd name="T93" fmla="*/ 27747 h 1128"/>
                <a:gd name="T94" fmla="*/ 202362 w 784"/>
                <a:gd name="T95" fmla="*/ 56018 h 1128"/>
                <a:gd name="T96" fmla="*/ 219261 w 784"/>
                <a:gd name="T97" fmla="*/ 80625 h 1128"/>
                <a:gd name="T98" fmla="*/ 243094 w 784"/>
                <a:gd name="T99" fmla="*/ 82195 h 1128"/>
                <a:gd name="T100" fmla="*/ 267360 w 784"/>
                <a:gd name="T101" fmla="*/ 78007 h 1128"/>
                <a:gd name="T102" fmla="*/ 277327 w 784"/>
                <a:gd name="T103" fmla="*/ 81672 h 1128"/>
                <a:gd name="T104" fmla="*/ 283393 w 784"/>
                <a:gd name="T105" fmla="*/ 101043 h 1128"/>
                <a:gd name="T106" fmla="*/ 271693 w 784"/>
                <a:gd name="T107" fmla="*/ 109943 h 1128"/>
                <a:gd name="T108" fmla="*/ 271693 w 784"/>
                <a:gd name="T109" fmla="*/ 125649 h 112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DF34EC49-AA80-4BBC-8B98-9F917FD48D2A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795714" y="4225925"/>
              <a:ext cx="261937" cy="1130300"/>
            </a:xfrm>
            <a:custGeom>
              <a:avLst/>
              <a:gdLst>
                <a:gd name="T0" fmla="*/ 183093 w 598"/>
                <a:gd name="T1" fmla="*/ 1058543 h 2158"/>
                <a:gd name="T2" fmla="*/ 149803 w 598"/>
                <a:gd name="T3" fmla="*/ 1023974 h 2158"/>
                <a:gd name="T4" fmla="*/ 148489 w 598"/>
                <a:gd name="T5" fmla="*/ 991500 h 2158"/>
                <a:gd name="T6" fmla="*/ 151118 w 598"/>
                <a:gd name="T7" fmla="*/ 965312 h 2158"/>
                <a:gd name="T8" fmla="*/ 158564 w 598"/>
                <a:gd name="T9" fmla="*/ 938076 h 2158"/>
                <a:gd name="T10" fmla="*/ 155060 w 598"/>
                <a:gd name="T11" fmla="*/ 911363 h 2158"/>
                <a:gd name="T12" fmla="*/ 145423 w 598"/>
                <a:gd name="T13" fmla="*/ 881508 h 2158"/>
                <a:gd name="T14" fmla="*/ 132721 w 598"/>
                <a:gd name="T15" fmla="*/ 828084 h 2158"/>
                <a:gd name="T16" fmla="*/ 98993 w 598"/>
                <a:gd name="T17" fmla="*/ 764707 h 2158"/>
                <a:gd name="T18" fmla="*/ 90232 w 598"/>
                <a:gd name="T19" fmla="*/ 723329 h 2158"/>
                <a:gd name="T20" fmla="*/ 95051 w 598"/>
                <a:gd name="T21" fmla="*/ 680380 h 2158"/>
                <a:gd name="T22" fmla="*/ 91109 w 598"/>
                <a:gd name="T23" fmla="*/ 646858 h 2158"/>
                <a:gd name="T24" fmla="*/ 81034 w 598"/>
                <a:gd name="T25" fmla="*/ 610194 h 2158"/>
                <a:gd name="T26" fmla="*/ 92423 w 598"/>
                <a:gd name="T27" fmla="*/ 588196 h 2158"/>
                <a:gd name="T28" fmla="*/ 85414 w 598"/>
                <a:gd name="T29" fmla="*/ 566721 h 2158"/>
                <a:gd name="T30" fmla="*/ 92423 w 598"/>
                <a:gd name="T31" fmla="*/ 536866 h 2158"/>
                <a:gd name="T32" fmla="*/ 91985 w 598"/>
                <a:gd name="T33" fmla="*/ 520106 h 2158"/>
                <a:gd name="T34" fmla="*/ 81910 w 598"/>
                <a:gd name="T35" fmla="*/ 485537 h 2158"/>
                <a:gd name="T36" fmla="*/ 59571 w 598"/>
                <a:gd name="T37" fmla="*/ 446254 h 2158"/>
                <a:gd name="T38" fmla="*/ 58695 w 598"/>
                <a:gd name="T39" fmla="*/ 359308 h 2158"/>
                <a:gd name="T40" fmla="*/ 80158 w 598"/>
                <a:gd name="T41" fmla="*/ 305883 h 2158"/>
                <a:gd name="T42" fmla="*/ 82786 w 598"/>
                <a:gd name="T43" fmla="*/ 273409 h 2158"/>
                <a:gd name="T44" fmla="*/ 70083 w 598"/>
                <a:gd name="T45" fmla="*/ 240411 h 2158"/>
                <a:gd name="T46" fmla="*/ 79720 w 598"/>
                <a:gd name="T47" fmla="*/ 212651 h 2158"/>
                <a:gd name="T48" fmla="*/ 100307 w 598"/>
                <a:gd name="T49" fmla="*/ 181225 h 2158"/>
                <a:gd name="T50" fmla="*/ 87604 w 598"/>
                <a:gd name="T51" fmla="*/ 161322 h 2158"/>
                <a:gd name="T52" fmla="*/ 64827 w 598"/>
                <a:gd name="T53" fmla="*/ 116277 h 2158"/>
                <a:gd name="T54" fmla="*/ 56505 w 598"/>
                <a:gd name="T55" fmla="*/ 65472 h 2158"/>
                <a:gd name="T56" fmla="*/ 39860 w 598"/>
                <a:gd name="T57" fmla="*/ 19380 h 2158"/>
                <a:gd name="T58" fmla="*/ 0 w 598"/>
                <a:gd name="T59" fmla="*/ 23046 h 2158"/>
                <a:gd name="T60" fmla="*/ 13579 w 598"/>
                <a:gd name="T61" fmla="*/ 104754 h 2158"/>
                <a:gd name="T62" fmla="*/ 18397 w 598"/>
                <a:gd name="T63" fmla="*/ 159227 h 2158"/>
                <a:gd name="T64" fmla="*/ 11827 w 598"/>
                <a:gd name="T65" fmla="*/ 195891 h 2158"/>
                <a:gd name="T66" fmla="*/ 22777 w 598"/>
                <a:gd name="T67" fmla="*/ 274457 h 2158"/>
                <a:gd name="T68" fmla="*/ 20149 w 598"/>
                <a:gd name="T69" fmla="*/ 339928 h 2158"/>
                <a:gd name="T70" fmla="*/ 15769 w 598"/>
                <a:gd name="T71" fmla="*/ 376068 h 2158"/>
                <a:gd name="T72" fmla="*/ 22777 w 598"/>
                <a:gd name="T73" fmla="*/ 401733 h 2158"/>
                <a:gd name="T74" fmla="*/ 28033 w 598"/>
                <a:gd name="T75" fmla="*/ 456205 h 2158"/>
                <a:gd name="T76" fmla="*/ 35480 w 598"/>
                <a:gd name="T77" fmla="*/ 478204 h 2158"/>
                <a:gd name="T78" fmla="*/ 31976 w 598"/>
                <a:gd name="T79" fmla="*/ 547342 h 2158"/>
                <a:gd name="T80" fmla="*/ 27595 w 598"/>
                <a:gd name="T81" fmla="*/ 603385 h 2158"/>
                <a:gd name="T82" fmla="*/ 17521 w 598"/>
                <a:gd name="T83" fmla="*/ 622241 h 2158"/>
                <a:gd name="T84" fmla="*/ 26281 w 598"/>
                <a:gd name="T85" fmla="*/ 658905 h 2158"/>
                <a:gd name="T86" fmla="*/ 46430 w 598"/>
                <a:gd name="T87" fmla="*/ 703426 h 2158"/>
                <a:gd name="T88" fmla="*/ 40736 w 598"/>
                <a:gd name="T89" fmla="*/ 731186 h 2158"/>
                <a:gd name="T90" fmla="*/ 46430 w 598"/>
                <a:gd name="T91" fmla="*/ 758946 h 2158"/>
                <a:gd name="T92" fmla="*/ 71836 w 598"/>
                <a:gd name="T93" fmla="*/ 768374 h 2158"/>
                <a:gd name="T94" fmla="*/ 91547 w 598"/>
                <a:gd name="T95" fmla="*/ 849034 h 2158"/>
                <a:gd name="T96" fmla="*/ 99431 w 598"/>
                <a:gd name="T97" fmla="*/ 895126 h 2158"/>
                <a:gd name="T98" fmla="*/ 66141 w 598"/>
                <a:gd name="T99" fmla="*/ 916077 h 2158"/>
                <a:gd name="T100" fmla="*/ 90671 w 598"/>
                <a:gd name="T101" fmla="*/ 930219 h 2158"/>
                <a:gd name="T102" fmla="*/ 109505 w 598"/>
                <a:gd name="T103" fmla="*/ 953265 h 2158"/>
                <a:gd name="T104" fmla="*/ 120456 w 598"/>
                <a:gd name="T105" fmla="*/ 979977 h 2158"/>
                <a:gd name="T106" fmla="*/ 134911 w 598"/>
                <a:gd name="T107" fmla="*/ 1027117 h 2158"/>
                <a:gd name="T108" fmla="*/ 157250 w 598"/>
                <a:gd name="T109" fmla="*/ 1054353 h 2158"/>
                <a:gd name="T110" fmla="*/ 172143 w 598"/>
                <a:gd name="T111" fmla="*/ 1072685 h 2158"/>
                <a:gd name="T112" fmla="*/ 185721 w 598"/>
                <a:gd name="T113" fmla="*/ 1086303 h 2158"/>
                <a:gd name="T114" fmla="*/ 203680 w 598"/>
                <a:gd name="T115" fmla="*/ 1105159 h 2158"/>
                <a:gd name="T116" fmla="*/ 227333 w 598"/>
                <a:gd name="T117" fmla="*/ 1120872 h 2158"/>
                <a:gd name="T118" fmla="*/ 235656 w 598"/>
                <a:gd name="T119" fmla="*/ 1126634 h 2158"/>
                <a:gd name="T120" fmla="*/ 256681 w 598"/>
                <a:gd name="T121" fmla="*/ 1098874 h 2158"/>
                <a:gd name="T122" fmla="*/ 258871 w 598"/>
                <a:gd name="T123" fmla="*/ 1084732 h 215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BADD3FA3-9D39-46FA-A128-4AC8C7379075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700464" y="3508376"/>
              <a:ext cx="966787" cy="1203325"/>
            </a:xfrm>
            <a:custGeom>
              <a:avLst/>
              <a:gdLst>
                <a:gd name="T0" fmla="*/ 191099 w 2226"/>
                <a:gd name="T1" fmla="*/ 470410 h 2292"/>
                <a:gd name="T2" fmla="*/ 219329 w 2226"/>
                <a:gd name="T3" fmla="*/ 517136 h 2292"/>
                <a:gd name="T4" fmla="*/ 248429 w 2226"/>
                <a:gd name="T5" fmla="*/ 553361 h 2292"/>
                <a:gd name="T6" fmla="*/ 310970 w 2226"/>
                <a:gd name="T7" fmla="*/ 576462 h 2292"/>
                <a:gd name="T8" fmla="*/ 346584 w 2226"/>
                <a:gd name="T9" fmla="*/ 632113 h 2292"/>
                <a:gd name="T10" fmla="*/ 367431 w 2226"/>
                <a:gd name="T11" fmla="*/ 678314 h 2292"/>
                <a:gd name="T12" fmla="*/ 407823 w 2226"/>
                <a:gd name="T13" fmla="*/ 711390 h 2292"/>
                <a:gd name="T14" fmla="*/ 415640 w 2226"/>
                <a:gd name="T15" fmla="*/ 769666 h 2292"/>
                <a:gd name="T16" fmla="*/ 423892 w 2226"/>
                <a:gd name="T17" fmla="*/ 809042 h 2292"/>
                <a:gd name="T18" fmla="*/ 430841 w 2226"/>
                <a:gd name="T19" fmla="*/ 856818 h 2292"/>
                <a:gd name="T20" fmla="*/ 491211 w 2226"/>
                <a:gd name="T21" fmla="*/ 891469 h 2292"/>
                <a:gd name="T22" fmla="*/ 518139 w 2226"/>
                <a:gd name="T23" fmla="*/ 947645 h 2292"/>
                <a:gd name="T24" fmla="*/ 539855 w 2226"/>
                <a:gd name="T25" fmla="*/ 978620 h 2292"/>
                <a:gd name="T26" fmla="*/ 513796 w 2226"/>
                <a:gd name="T27" fmla="*/ 1051597 h 2292"/>
                <a:gd name="T28" fmla="*/ 470798 w 2226"/>
                <a:gd name="T29" fmla="*/ 1117223 h 2292"/>
                <a:gd name="T30" fmla="*/ 512493 w 2226"/>
                <a:gd name="T31" fmla="*/ 1134549 h 2292"/>
                <a:gd name="T32" fmla="*/ 562873 w 2226"/>
                <a:gd name="T33" fmla="*/ 1172874 h 2292"/>
                <a:gd name="T34" fmla="*/ 616294 w 2226"/>
                <a:gd name="T35" fmla="*/ 1153974 h 2292"/>
                <a:gd name="T36" fmla="*/ 659291 w 2226"/>
                <a:gd name="T37" fmla="*/ 1068922 h 2292"/>
                <a:gd name="T38" fmla="*/ 656686 w 2226"/>
                <a:gd name="T39" fmla="*/ 1006971 h 2292"/>
                <a:gd name="T40" fmla="*/ 677967 w 2226"/>
                <a:gd name="T41" fmla="*/ 941345 h 2292"/>
                <a:gd name="T42" fmla="*/ 740943 w 2226"/>
                <a:gd name="T43" fmla="*/ 906694 h 2292"/>
                <a:gd name="T44" fmla="*/ 780900 w 2226"/>
                <a:gd name="T45" fmla="*/ 882543 h 2292"/>
                <a:gd name="T46" fmla="*/ 823897 w 2226"/>
                <a:gd name="T47" fmla="*/ 861543 h 2292"/>
                <a:gd name="T48" fmla="*/ 860814 w 2226"/>
                <a:gd name="T49" fmla="*/ 735015 h 2292"/>
                <a:gd name="T50" fmla="*/ 874712 w 2226"/>
                <a:gd name="T51" fmla="*/ 676214 h 2292"/>
                <a:gd name="T52" fmla="*/ 869500 w 2226"/>
                <a:gd name="T53" fmla="*/ 572262 h 2292"/>
                <a:gd name="T54" fmla="*/ 900337 w 2226"/>
                <a:gd name="T55" fmla="*/ 529736 h 2292"/>
                <a:gd name="T56" fmla="*/ 951152 w 2226"/>
                <a:gd name="T57" fmla="*/ 460435 h 2292"/>
                <a:gd name="T58" fmla="*/ 965050 w 2226"/>
                <a:gd name="T59" fmla="*/ 384308 h 2292"/>
                <a:gd name="T60" fmla="*/ 936819 w 2226"/>
                <a:gd name="T61" fmla="*/ 314482 h 2292"/>
                <a:gd name="T62" fmla="*/ 894256 w 2226"/>
                <a:gd name="T63" fmla="*/ 295581 h 2292"/>
                <a:gd name="T64" fmla="*/ 834321 w 2226"/>
                <a:gd name="T65" fmla="*/ 242555 h 2292"/>
                <a:gd name="T66" fmla="*/ 756578 w 2226"/>
                <a:gd name="T67" fmla="*/ 236255 h 2292"/>
                <a:gd name="T68" fmla="*/ 725307 w 2226"/>
                <a:gd name="T69" fmla="*/ 234680 h 2292"/>
                <a:gd name="T70" fmla="*/ 710541 w 2226"/>
                <a:gd name="T71" fmla="*/ 206854 h 2292"/>
                <a:gd name="T72" fmla="*/ 656686 w 2226"/>
                <a:gd name="T73" fmla="*/ 182704 h 2292"/>
                <a:gd name="T74" fmla="*/ 612820 w 2226"/>
                <a:gd name="T75" fmla="*/ 214729 h 2292"/>
                <a:gd name="T76" fmla="*/ 581115 w 2226"/>
                <a:gd name="T77" fmla="*/ 212629 h 2292"/>
                <a:gd name="T78" fmla="*/ 541592 w 2226"/>
                <a:gd name="T79" fmla="*/ 201604 h 2292"/>
                <a:gd name="T80" fmla="*/ 571994 w 2226"/>
                <a:gd name="T81" fmla="*/ 140703 h 2292"/>
                <a:gd name="T82" fmla="*/ 581115 w 2226"/>
                <a:gd name="T83" fmla="*/ 96602 h 2292"/>
                <a:gd name="T84" fmla="*/ 560702 w 2226"/>
                <a:gd name="T85" fmla="*/ 35701 h 2292"/>
                <a:gd name="T86" fmla="*/ 488171 w 2226"/>
                <a:gd name="T87" fmla="*/ 70876 h 2292"/>
                <a:gd name="T88" fmla="*/ 435619 w 2226"/>
                <a:gd name="T89" fmla="*/ 89252 h 2292"/>
                <a:gd name="T90" fmla="*/ 416943 w 2226"/>
                <a:gd name="T91" fmla="*/ 98177 h 2292"/>
                <a:gd name="T92" fmla="*/ 352664 w 2226"/>
                <a:gd name="T93" fmla="*/ 92402 h 2292"/>
                <a:gd name="T94" fmla="*/ 352230 w 2226"/>
                <a:gd name="T95" fmla="*/ 35176 h 2292"/>
                <a:gd name="T96" fmla="*/ 323565 w 2226"/>
                <a:gd name="T97" fmla="*/ 0 h 2292"/>
                <a:gd name="T98" fmla="*/ 304021 w 2226"/>
                <a:gd name="T99" fmla="*/ 16275 h 2292"/>
                <a:gd name="T100" fmla="*/ 255812 w 2226"/>
                <a:gd name="T101" fmla="*/ 36751 h 2292"/>
                <a:gd name="T102" fmla="*/ 243217 w 2226"/>
                <a:gd name="T103" fmla="*/ 103952 h 2292"/>
                <a:gd name="T104" fmla="*/ 196745 w 2226"/>
                <a:gd name="T105" fmla="*/ 135453 h 2292"/>
                <a:gd name="T106" fmla="*/ 124214 w 2226"/>
                <a:gd name="T107" fmla="*/ 103427 h 2292"/>
                <a:gd name="T108" fmla="*/ 109882 w 2226"/>
                <a:gd name="T109" fmla="*/ 126003 h 2292"/>
                <a:gd name="T110" fmla="*/ 85995 w 2226"/>
                <a:gd name="T111" fmla="*/ 163278 h 2292"/>
                <a:gd name="T112" fmla="*/ 106842 w 2226"/>
                <a:gd name="T113" fmla="*/ 203704 h 2292"/>
                <a:gd name="T114" fmla="*/ 84257 w 2226"/>
                <a:gd name="T115" fmla="*/ 294006 h 2292"/>
                <a:gd name="T116" fmla="*/ 43432 w 2226"/>
                <a:gd name="T117" fmla="*/ 297681 h 2292"/>
                <a:gd name="T118" fmla="*/ 6949 w 2226"/>
                <a:gd name="T119" fmla="*/ 360682 h 2292"/>
                <a:gd name="T120" fmla="*/ 9555 w 2226"/>
                <a:gd name="T121" fmla="*/ 432609 h 2292"/>
                <a:gd name="T122" fmla="*/ 52118 w 2226"/>
                <a:gd name="T123" fmla="*/ 475135 h 2292"/>
                <a:gd name="T124" fmla="*/ 82954 w 2226"/>
                <a:gd name="T125" fmla="*/ 498235 h 22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D6F9238B-C130-45BC-867C-7C481B6564BA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5813425" y="2454276"/>
              <a:ext cx="69850" cy="49213"/>
            </a:xfrm>
            <a:custGeom>
              <a:avLst/>
              <a:gdLst>
                <a:gd name="T0" fmla="*/ 40782 w 161"/>
                <a:gd name="T1" fmla="*/ 0 h 93"/>
                <a:gd name="T2" fmla="*/ 46422 w 161"/>
                <a:gd name="T3" fmla="*/ 9525 h 93"/>
                <a:gd name="T4" fmla="*/ 48591 w 161"/>
                <a:gd name="T5" fmla="*/ 6350 h 93"/>
                <a:gd name="T6" fmla="*/ 50761 w 161"/>
                <a:gd name="T7" fmla="*/ 4233 h 93"/>
                <a:gd name="T8" fmla="*/ 52930 w 161"/>
                <a:gd name="T9" fmla="*/ 2646 h 93"/>
                <a:gd name="T10" fmla="*/ 55099 w 161"/>
                <a:gd name="T11" fmla="*/ 1588 h 93"/>
                <a:gd name="T12" fmla="*/ 59438 w 161"/>
                <a:gd name="T13" fmla="*/ 529 h 93"/>
                <a:gd name="T14" fmla="*/ 64210 w 161"/>
                <a:gd name="T15" fmla="*/ 0 h 93"/>
                <a:gd name="T16" fmla="*/ 65511 w 161"/>
                <a:gd name="T17" fmla="*/ 0 h 93"/>
                <a:gd name="T18" fmla="*/ 69850 w 161"/>
                <a:gd name="T19" fmla="*/ 0 h 93"/>
                <a:gd name="T20" fmla="*/ 69850 w 161"/>
                <a:gd name="T21" fmla="*/ 48684 h 93"/>
                <a:gd name="T22" fmla="*/ 67247 w 161"/>
                <a:gd name="T23" fmla="*/ 49213 h 93"/>
                <a:gd name="T24" fmla="*/ 65078 w 161"/>
                <a:gd name="T25" fmla="*/ 49213 h 93"/>
                <a:gd name="T26" fmla="*/ 62908 w 161"/>
                <a:gd name="T27" fmla="*/ 48684 h 93"/>
                <a:gd name="T28" fmla="*/ 60739 w 161"/>
                <a:gd name="T29" fmla="*/ 48155 h 93"/>
                <a:gd name="T30" fmla="*/ 55967 w 161"/>
                <a:gd name="T31" fmla="*/ 46567 h 93"/>
                <a:gd name="T32" fmla="*/ 52062 w 161"/>
                <a:gd name="T33" fmla="*/ 43392 h 93"/>
                <a:gd name="T34" fmla="*/ 48157 w 161"/>
                <a:gd name="T35" fmla="*/ 39688 h 93"/>
                <a:gd name="T36" fmla="*/ 45120 w 161"/>
                <a:gd name="T37" fmla="*/ 35455 h 93"/>
                <a:gd name="T38" fmla="*/ 42084 w 161"/>
                <a:gd name="T39" fmla="*/ 31221 h 93"/>
                <a:gd name="T40" fmla="*/ 40782 w 161"/>
                <a:gd name="T41" fmla="*/ 25929 h 93"/>
                <a:gd name="T42" fmla="*/ 39914 w 161"/>
                <a:gd name="T43" fmla="*/ 26459 h 93"/>
                <a:gd name="T44" fmla="*/ 38613 w 161"/>
                <a:gd name="T45" fmla="*/ 26988 h 93"/>
                <a:gd name="T46" fmla="*/ 37311 w 161"/>
                <a:gd name="T47" fmla="*/ 26988 h 93"/>
                <a:gd name="T48" fmla="*/ 36443 w 161"/>
                <a:gd name="T49" fmla="*/ 26988 h 93"/>
                <a:gd name="T50" fmla="*/ 33840 w 161"/>
                <a:gd name="T51" fmla="*/ 26459 h 93"/>
                <a:gd name="T52" fmla="*/ 32105 w 161"/>
                <a:gd name="T53" fmla="*/ 25929 h 93"/>
                <a:gd name="T54" fmla="*/ 28200 w 161"/>
                <a:gd name="T55" fmla="*/ 25400 h 93"/>
                <a:gd name="T56" fmla="*/ 23862 w 161"/>
                <a:gd name="T57" fmla="*/ 23813 h 93"/>
                <a:gd name="T58" fmla="*/ 19089 w 161"/>
                <a:gd name="T59" fmla="*/ 21167 h 93"/>
                <a:gd name="T60" fmla="*/ 13883 w 161"/>
                <a:gd name="T61" fmla="*/ 17992 h 93"/>
                <a:gd name="T62" fmla="*/ 9111 w 161"/>
                <a:gd name="T63" fmla="*/ 13758 h 93"/>
                <a:gd name="T64" fmla="*/ 5206 w 161"/>
                <a:gd name="T65" fmla="*/ 9525 h 93"/>
                <a:gd name="T66" fmla="*/ 3471 w 161"/>
                <a:gd name="T67" fmla="*/ 7408 h 93"/>
                <a:gd name="T68" fmla="*/ 2169 w 161"/>
                <a:gd name="T69" fmla="*/ 4763 h 93"/>
                <a:gd name="T70" fmla="*/ 1302 w 161"/>
                <a:gd name="T71" fmla="*/ 2646 h 93"/>
                <a:gd name="T72" fmla="*/ 0 w 161"/>
                <a:gd name="T73" fmla="*/ 0 h 93"/>
                <a:gd name="T74" fmla="*/ 40782 w 161"/>
                <a:gd name="T75" fmla="*/ 0 h 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C149FBEE-C43F-4B71-9FC8-0C1349CB491A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5311775" y="2328864"/>
              <a:ext cx="82550" cy="160337"/>
            </a:xfrm>
            <a:custGeom>
              <a:avLst/>
              <a:gdLst>
                <a:gd name="T0" fmla="*/ 16338 w 192"/>
                <a:gd name="T1" fmla="*/ 1567 h 307"/>
                <a:gd name="T2" fmla="*/ 15908 w 192"/>
                <a:gd name="T3" fmla="*/ 0 h 307"/>
                <a:gd name="T4" fmla="*/ 24507 w 192"/>
                <a:gd name="T5" fmla="*/ 1567 h 307"/>
                <a:gd name="T6" fmla="*/ 47294 w 192"/>
                <a:gd name="T7" fmla="*/ 7312 h 307"/>
                <a:gd name="T8" fmla="*/ 66642 w 192"/>
                <a:gd name="T9" fmla="*/ 13057 h 307"/>
                <a:gd name="T10" fmla="*/ 77821 w 192"/>
                <a:gd name="T11" fmla="*/ 14624 h 307"/>
                <a:gd name="T12" fmla="*/ 82550 w 192"/>
                <a:gd name="T13" fmla="*/ 18279 h 307"/>
                <a:gd name="T14" fmla="*/ 80830 w 192"/>
                <a:gd name="T15" fmla="*/ 24547 h 307"/>
                <a:gd name="T16" fmla="*/ 75241 w 192"/>
                <a:gd name="T17" fmla="*/ 42826 h 307"/>
                <a:gd name="T18" fmla="*/ 67932 w 192"/>
                <a:gd name="T19" fmla="*/ 66328 h 307"/>
                <a:gd name="T20" fmla="*/ 63202 w 192"/>
                <a:gd name="T21" fmla="*/ 86175 h 307"/>
                <a:gd name="T22" fmla="*/ 62772 w 192"/>
                <a:gd name="T23" fmla="*/ 108110 h 307"/>
                <a:gd name="T24" fmla="*/ 61913 w 192"/>
                <a:gd name="T25" fmla="*/ 130045 h 307"/>
                <a:gd name="T26" fmla="*/ 57613 w 192"/>
                <a:gd name="T27" fmla="*/ 144669 h 307"/>
                <a:gd name="T28" fmla="*/ 45574 w 192"/>
                <a:gd name="T29" fmla="*/ 154592 h 307"/>
                <a:gd name="T30" fmla="*/ 35686 w 192"/>
                <a:gd name="T31" fmla="*/ 158248 h 307"/>
                <a:gd name="T32" fmla="*/ 30956 w 192"/>
                <a:gd name="T33" fmla="*/ 160337 h 307"/>
                <a:gd name="T34" fmla="*/ 22357 w 192"/>
                <a:gd name="T35" fmla="*/ 159292 h 307"/>
                <a:gd name="T36" fmla="*/ 13758 w 192"/>
                <a:gd name="T37" fmla="*/ 151981 h 307"/>
                <a:gd name="T38" fmla="*/ 12898 w 192"/>
                <a:gd name="T39" fmla="*/ 144669 h 307"/>
                <a:gd name="T40" fmla="*/ 9459 w 192"/>
                <a:gd name="T41" fmla="*/ 134223 h 307"/>
                <a:gd name="T42" fmla="*/ 4299 w 192"/>
                <a:gd name="T43" fmla="*/ 120644 h 307"/>
                <a:gd name="T44" fmla="*/ 860 w 192"/>
                <a:gd name="T45" fmla="*/ 110199 h 307"/>
                <a:gd name="T46" fmla="*/ 0 w 192"/>
                <a:gd name="T47" fmla="*/ 102887 h 307"/>
                <a:gd name="T48" fmla="*/ 0 w 192"/>
                <a:gd name="T49" fmla="*/ 94009 h 307"/>
                <a:gd name="T50" fmla="*/ 860 w 192"/>
                <a:gd name="T51" fmla="*/ 86175 h 307"/>
                <a:gd name="T52" fmla="*/ 4729 w 192"/>
                <a:gd name="T53" fmla="*/ 75729 h 307"/>
                <a:gd name="T54" fmla="*/ 14188 w 192"/>
                <a:gd name="T55" fmla="*/ 56927 h 307"/>
                <a:gd name="T56" fmla="*/ 20638 w 192"/>
                <a:gd name="T57" fmla="*/ 42304 h 307"/>
                <a:gd name="T58" fmla="*/ 22357 w 192"/>
                <a:gd name="T59" fmla="*/ 32381 h 307"/>
                <a:gd name="T60" fmla="*/ 22787 w 192"/>
                <a:gd name="T61" fmla="*/ 21413 h 307"/>
                <a:gd name="T62" fmla="*/ 23647 w 192"/>
                <a:gd name="T63" fmla="*/ 15668 h 307"/>
                <a:gd name="T64" fmla="*/ 24507 w 192"/>
                <a:gd name="T65" fmla="*/ 13579 h 307"/>
                <a:gd name="T66" fmla="*/ 25797 w 192"/>
                <a:gd name="T67" fmla="*/ 11490 h 307"/>
                <a:gd name="T68" fmla="*/ 18918 w 192"/>
                <a:gd name="T69" fmla="*/ 3656 h 30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FF9A657B-6302-43FF-96BB-AC58B19EA6E5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5392738" y="1814514"/>
              <a:ext cx="171450" cy="269875"/>
            </a:xfrm>
            <a:custGeom>
              <a:avLst/>
              <a:gdLst>
                <a:gd name="T0" fmla="*/ 11200 w 398"/>
                <a:gd name="T1" fmla="*/ 1042 h 518"/>
                <a:gd name="T2" fmla="*/ 40924 w 398"/>
                <a:gd name="T3" fmla="*/ 6773 h 518"/>
                <a:gd name="T4" fmla="*/ 49970 w 398"/>
                <a:gd name="T5" fmla="*/ 11983 h 518"/>
                <a:gd name="T6" fmla="*/ 34462 w 398"/>
                <a:gd name="T7" fmla="*/ 24487 h 518"/>
                <a:gd name="T8" fmla="*/ 27570 w 398"/>
                <a:gd name="T9" fmla="*/ 32302 h 518"/>
                <a:gd name="T10" fmla="*/ 33170 w 398"/>
                <a:gd name="T11" fmla="*/ 35949 h 518"/>
                <a:gd name="T12" fmla="*/ 71940 w 398"/>
                <a:gd name="T13" fmla="*/ 41159 h 518"/>
                <a:gd name="T14" fmla="*/ 90464 w 398"/>
                <a:gd name="T15" fmla="*/ 56788 h 518"/>
                <a:gd name="T16" fmla="*/ 66340 w 398"/>
                <a:gd name="T17" fmla="*/ 66166 h 518"/>
                <a:gd name="T18" fmla="*/ 63324 w 398"/>
                <a:gd name="T19" fmla="*/ 71897 h 518"/>
                <a:gd name="T20" fmla="*/ 82279 w 398"/>
                <a:gd name="T21" fmla="*/ 74502 h 518"/>
                <a:gd name="T22" fmla="*/ 90894 w 398"/>
                <a:gd name="T23" fmla="*/ 81275 h 518"/>
                <a:gd name="T24" fmla="*/ 104679 w 398"/>
                <a:gd name="T25" fmla="*/ 99510 h 518"/>
                <a:gd name="T26" fmla="*/ 111141 w 398"/>
                <a:gd name="T27" fmla="*/ 110451 h 518"/>
                <a:gd name="T28" fmla="*/ 112003 w 398"/>
                <a:gd name="T29" fmla="*/ 123476 h 518"/>
                <a:gd name="T30" fmla="*/ 117172 w 398"/>
                <a:gd name="T31" fmla="*/ 132333 h 518"/>
                <a:gd name="T32" fmla="*/ 123203 w 398"/>
                <a:gd name="T33" fmla="*/ 145357 h 518"/>
                <a:gd name="T34" fmla="*/ 131818 w 398"/>
                <a:gd name="T35" fmla="*/ 154735 h 518"/>
                <a:gd name="T36" fmla="*/ 140865 w 398"/>
                <a:gd name="T37" fmla="*/ 166718 h 518"/>
                <a:gd name="T38" fmla="*/ 149049 w 398"/>
                <a:gd name="T39" fmla="*/ 175575 h 518"/>
                <a:gd name="T40" fmla="*/ 159388 w 398"/>
                <a:gd name="T41" fmla="*/ 177659 h 518"/>
                <a:gd name="T42" fmla="*/ 170588 w 398"/>
                <a:gd name="T43" fmla="*/ 190163 h 518"/>
                <a:gd name="T44" fmla="*/ 170158 w 398"/>
                <a:gd name="T45" fmla="*/ 205793 h 518"/>
                <a:gd name="T46" fmla="*/ 164558 w 398"/>
                <a:gd name="T47" fmla="*/ 210482 h 518"/>
                <a:gd name="T48" fmla="*/ 158096 w 398"/>
                <a:gd name="T49" fmla="*/ 216213 h 518"/>
                <a:gd name="T50" fmla="*/ 158527 w 398"/>
                <a:gd name="T51" fmla="*/ 221944 h 518"/>
                <a:gd name="T52" fmla="*/ 161973 w 398"/>
                <a:gd name="T53" fmla="*/ 230800 h 518"/>
                <a:gd name="T54" fmla="*/ 154650 w 398"/>
                <a:gd name="T55" fmla="*/ 241220 h 518"/>
                <a:gd name="T56" fmla="*/ 62894 w 398"/>
                <a:gd name="T57" fmla="*/ 260497 h 518"/>
                <a:gd name="T58" fmla="*/ 29293 w 398"/>
                <a:gd name="T59" fmla="*/ 264665 h 518"/>
                <a:gd name="T60" fmla="*/ 22831 w 398"/>
                <a:gd name="T61" fmla="*/ 269875 h 518"/>
                <a:gd name="T62" fmla="*/ 24985 w 398"/>
                <a:gd name="T63" fmla="*/ 256850 h 518"/>
                <a:gd name="T64" fmla="*/ 30585 w 398"/>
                <a:gd name="T65" fmla="*/ 247993 h 518"/>
                <a:gd name="T66" fmla="*/ 49109 w 398"/>
                <a:gd name="T67" fmla="*/ 238615 h 518"/>
                <a:gd name="T68" fmla="*/ 74094 w 398"/>
                <a:gd name="T69" fmla="*/ 228716 h 518"/>
                <a:gd name="T70" fmla="*/ 77109 w 398"/>
                <a:gd name="T71" fmla="*/ 221944 h 518"/>
                <a:gd name="T72" fmla="*/ 73663 w 398"/>
                <a:gd name="T73" fmla="*/ 226111 h 518"/>
                <a:gd name="T74" fmla="*/ 47816 w 398"/>
                <a:gd name="T75" fmla="*/ 225069 h 518"/>
                <a:gd name="T76" fmla="*/ 32739 w 398"/>
                <a:gd name="T77" fmla="*/ 218818 h 518"/>
                <a:gd name="T78" fmla="*/ 33170 w 398"/>
                <a:gd name="T79" fmla="*/ 209440 h 518"/>
                <a:gd name="T80" fmla="*/ 40924 w 398"/>
                <a:gd name="T81" fmla="*/ 203709 h 518"/>
                <a:gd name="T82" fmla="*/ 37478 w 398"/>
                <a:gd name="T83" fmla="*/ 183390 h 518"/>
                <a:gd name="T84" fmla="*/ 45232 w 398"/>
                <a:gd name="T85" fmla="*/ 171407 h 518"/>
                <a:gd name="T86" fmla="*/ 66340 w 398"/>
                <a:gd name="T87" fmla="*/ 160987 h 518"/>
                <a:gd name="T88" fmla="*/ 74094 w 398"/>
                <a:gd name="T89" fmla="*/ 151609 h 518"/>
                <a:gd name="T90" fmla="*/ 63755 w 398"/>
                <a:gd name="T91" fmla="*/ 141189 h 518"/>
                <a:gd name="T92" fmla="*/ 59878 w 398"/>
                <a:gd name="T93" fmla="*/ 128686 h 518"/>
                <a:gd name="T94" fmla="*/ 40493 w 398"/>
                <a:gd name="T95" fmla="*/ 124518 h 518"/>
                <a:gd name="T96" fmla="*/ 34462 w 398"/>
                <a:gd name="T97" fmla="*/ 112535 h 518"/>
                <a:gd name="T98" fmla="*/ 38770 w 398"/>
                <a:gd name="T99" fmla="*/ 100031 h 518"/>
                <a:gd name="T100" fmla="*/ 43078 w 398"/>
                <a:gd name="T101" fmla="*/ 87527 h 518"/>
                <a:gd name="T102" fmla="*/ 31447 w 398"/>
                <a:gd name="T103" fmla="*/ 96905 h 518"/>
                <a:gd name="T104" fmla="*/ 9477 w 398"/>
                <a:gd name="T105" fmla="*/ 84401 h 518"/>
                <a:gd name="T106" fmla="*/ 8616 w 398"/>
                <a:gd name="T107" fmla="*/ 73981 h 518"/>
                <a:gd name="T108" fmla="*/ 6031 w 398"/>
                <a:gd name="T109" fmla="*/ 68250 h 518"/>
                <a:gd name="T110" fmla="*/ 8616 w 398"/>
                <a:gd name="T111" fmla="*/ 32823 h 518"/>
                <a:gd name="T112" fmla="*/ 8185 w 398"/>
                <a:gd name="T113" fmla="*/ 25529 h 518"/>
                <a:gd name="T114" fmla="*/ 1723 w 398"/>
                <a:gd name="T115" fmla="*/ 20840 h 518"/>
                <a:gd name="T116" fmla="*/ 8616 w 398"/>
                <a:gd name="T117" fmla="*/ 9899 h 518"/>
                <a:gd name="T118" fmla="*/ 1292 w 398"/>
                <a:gd name="T119" fmla="*/ 4689 h 5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BD672C19-C9F9-4440-B474-48D75A7539D1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5751513" y="2117725"/>
              <a:ext cx="169862" cy="76200"/>
            </a:xfrm>
            <a:custGeom>
              <a:avLst/>
              <a:gdLst>
                <a:gd name="T0" fmla="*/ 84486 w 382"/>
                <a:gd name="T1" fmla="*/ 10812 h 148"/>
                <a:gd name="T2" fmla="*/ 78706 w 382"/>
                <a:gd name="T3" fmla="*/ 15961 h 148"/>
                <a:gd name="T4" fmla="*/ 77372 w 382"/>
                <a:gd name="T5" fmla="*/ 23169 h 148"/>
                <a:gd name="T6" fmla="*/ 74704 w 382"/>
                <a:gd name="T7" fmla="*/ 27288 h 148"/>
                <a:gd name="T8" fmla="*/ 73814 w 382"/>
                <a:gd name="T9" fmla="*/ 31407 h 148"/>
                <a:gd name="T10" fmla="*/ 78706 w 382"/>
                <a:gd name="T11" fmla="*/ 38100 h 148"/>
                <a:gd name="T12" fmla="*/ 68923 w 382"/>
                <a:gd name="T13" fmla="*/ 44278 h 148"/>
                <a:gd name="T14" fmla="*/ 48024 w 382"/>
                <a:gd name="T15" fmla="*/ 49427 h 148"/>
                <a:gd name="T16" fmla="*/ 34239 w 382"/>
                <a:gd name="T17" fmla="*/ 49942 h 148"/>
                <a:gd name="T18" fmla="*/ 23123 w 382"/>
                <a:gd name="T19" fmla="*/ 48912 h 148"/>
                <a:gd name="T20" fmla="*/ 1779 w 382"/>
                <a:gd name="T21" fmla="*/ 57150 h 148"/>
                <a:gd name="T22" fmla="*/ 0 w 382"/>
                <a:gd name="T23" fmla="*/ 66418 h 148"/>
                <a:gd name="T24" fmla="*/ 1779 w 382"/>
                <a:gd name="T25" fmla="*/ 67447 h 148"/>
                <a:gd name="T26" fmla="*/ 5336 w 382"/>
                <a:gd name="T27" fmla="*/ 67447 h 148"/>
                <a:gd name="T28" fmla="*/ 22678 w 382"/>
                <a:gd name="T29" fmla="*/ 66418 h 148"/>
                <a:gd name="T30" fmla="*/ 50692 w 382"/>
                <a:gd name="T31" fmla="*/ 65388 h 148"/>
                <a:gd name="T32" fmla="*/ 54694 w 382"/>
                <a:gd name="T33" fmla="*/ 68992 h 148"/>
                <a:gd name="T34" fmla="*/ 60919 w 382"/>
                <a:gd name="T35" fmla="*/ 72596 h 148"/>
                <a:gd name="T36" fmla="*/ 70702 w 382"/>
                <a:gd name="T37" fmla="*/ 75685 h 148"/>
                <a:gd name="T38" fmla="*/ 82263 w 382"/>
                <a:gd name="T39" fmla="*/ 76200 h 148"/>
                <a:gd name="T40" fmla="*/ 93380 w 382"/>
                <a:gd name="T41" fmla="*/ 76200 h 148"/>
                <a:gd name="T42" fmla="*/ 103607 w 382"/>
                <a:gd name="T43" fmla="*/ 76200 h 148"/>
                <a:gd name="T44" fmla="*/ 113390 w 382"/>
                <a:gd name="T45" fmla="*/ 76200 h 148"/>
                <a:gd name="T46" fmla="*/ 122283 w 382"/>
                <a:gd name="T47" fmla="*/ 73626 h 148"/>
                <a:gd name="T48" fmla="*/ 133844 w 382"/>
                <a:gd name="T49" fmla="*/ 68992 h 148"/>
                <a:gd name="T50" fmla="*/ 148518 w 382"/>
                <a:gd name="T51" fmla="*/ 62299 h 148"/>
                <a:gd name="T52" fmla="*/ 156967 w 382"/>
                <a:gd name="T53" fmla="*/ 53031 h 148"/>
                <a:gd name="T54" fmla="*/ 165415 w 382"/>
                <a:gd name="T55" fmla="*/ 37070 h 148"/>
                <a:gd name="T56" fmla="*/ 167194 w 382"/>
                <a:gd name="T57" fmla="*/ 26773 h 148"/>
                <a:gd name="T58" fmla="*/ 161413 w 382"/>
                <a:gd name="T59" fmla="*/ 22654 h 148"/>
                <a:gd name="T60" fmla="*/ 158745 w 382"/>
                <a:gd name="T61" fmla="*/ 16476 h 148"/>
                <a:gd name="T62" fmla="*/ 154299 w 382"/>
                <a:gd name="T63" fmla="*/ 11327 h 148"/>
                <a:gd name="T64" fmla="*/ 148518 w 382"/>
                <a:gd name="T65" fmla="*/ 8753 h 148"/>
                <a:gd name="T66" fmla="*/ 141848 w 382"/>
                <a:gd name="T67" fmla="*/ 4119 h 148"/>
                <a:gd name="T68" fmla="*/ 90267 w 382"/>
                <a:gd name="T69" fmla="*/ 9268 h 14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85203582-E113-4F87-B2AA-F4AAD01DD00A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7243763" y="1966914"/>
              <a:ext cx="1281112" cy="1038225"/>
            </a:xfrm>
            <a:custGeom>
              <a:avLst/>
              <a:gdLst>
                <a:gd name="T0" fmla="*/ 162757 w 2936"/>
                <a:gd name="T1" fmla="*/ 560736 h 1983"/>
                <a:gd name="T2" fmla="*/ 167993 w 2936"/>
                <a:gd name="T3" fmla="*/ 618851 h 1983"/>
                <a:gd name="T4" fmla="*/ 208573 w 2936"/>
                <a:gd name="T5" fmla="*/ 710998 h 1983"/>
                <a:gd name="T6" fmla="*/ 335114 w 2936"/>
                <a:gd name="T7" fmla="*/ 781156 h 1983"/>
                <a:gd name="T8" fmla="*/ 452055 w 2936"/>
                <a:gd name="T9" fmla="*/ 812569 h 1983"/>
                <a:gd name="T10" fmla="*/ 490453 w 2936"/>
                <a:gd name="T11" fmla="*/ 800527 h 1983"/>
                <a:gd name="T12" fmla="*/ 611321 w 2936"/>
                <a:gd name="T13" fmla="*/ 758119 h 1983"/>
                <a:gd name="T14" fmla="*/ 675027 w 2936"/>
                <a:gd name="T15" fmla="*/ 807334 h 1983"/>
                <a:gd name="T16" fmla="*/ 688118 w 2936"/>
                <a:gd name="T17" fmla="*/ 888486 h 1983"/>
                <a:gd name="T18" fmla="*/ 701208 w 2936"/>
                <a:gd name="T19" fmla="*/ 928277 h 1983"/>
                <a:gd name="T20" fmla="*/ 744406 w 2936"/>
                <a:gd name="T21" fmla="*/ 1001052 h 1983"/>
                <a:gd name="T22" fmla="*/ 803749 w 2936"/>
                <a:gd name="T23" fmla="*/ 973303 h 1983"/>
                <a:gd name="T24" fmla="*/ 904109 w 2936"/>
                <a:gd name="T25" fmla="*/ 970685 h 1983"/>
                <a:gd name="T26" fmla="*/ 988324 w 2936"/>
                <a:gd name="T27" fmla="*/ 1038225 h 1983"/>
                <a:gd name="T28" fmla="*/ 1028468 w 2936"/>
                <a:gd name="T29" fmla="*/ 1000005 h 1983"/>
                <a:gd name="T30" fmla="*/ 1072102 w 2936"/>
                <a:gd name="T31" fmla="*/ 976968 h 1983"/>
                <a:gd name="T32" fmla="*/ 1110937 w 2936"/>
                <a:gd name="T33" fmla="*/ 956026 h 1983"/>
                <a:gd name="T34" fmla="*/ 1170716 w 2936"/>
                <a:gd name="T35" fmla="*/ 906811 h 1983"/>
                <a:gd name="T36" fmla="*/ 1186425 w 2936"/>
                <a:gd name="T37" fmla="*/ 846077 h 1983"/>
                <a:gd name="T38" fmla="*/ 1219151 w 2936"/>
                <a:gd name="T39" fmla="*/ 743459 h 1983"/>
                <a:gd name="T40" fmla="*/ 1180316 w 2936"/>
                <a:gd name="T41" fmla="*/ 719899 h 1983"/>
                <a:gd name="T42" fmla="*/ 1151954 w 2936"/>
                <a:gd name="T43" fmla="*/ 666495 h 1983"/>
                <a:gd name="T44" fmla="*/ 1164608 w 2936"/>
                <a:gd name="T45" fmla="*/ 642412 h 1983"/>
                <a:gd name="T46" fmla="*/ 1104828 w 2936"/>
                <a:gd name="T47" fmla="*/ 555500 h 1983"/>
                <a:gd name="T48" fmla="*/ 1127082 w 2936"/>
                <a:gd name="T49" fmla="*/ 519898 h 1983"/>
                <a:gd name="T50" fmla="*/ 1070357 w 2936"/>
                <a:gd name="T51" fmla="*/ 503667 h 1983"/>
                <a:gd name="T52" fmla="*/ 1017995 w 2936"/>
                <a:gd name="T53" fmla="*/ 464400 h 1983"/>
                <a:gd name="T54" fmla="*/ 1033267 w 2936"/>
                <a:gd name="T55" fmla="*/ 437698 h 1983"/>
                <a:gd name="T56" fmla="*/ 1065993 w 2936"/>
                <a:gd name="T57" fmla="*/ 395813 h 1983"/>
                <a:gd name="T58" fmla="*/ 1089120 w 2936"/>
                <a:gd name="T59" fmla="*/ 408379 h 1983"/>
                <a:gd name="T60" fmla="*/ 1104828 w 2936"/>
                <a:gd name="T61" fmla="*/ 446599 h 1983"/>
                <a:gd name="T62" fmla="*/ 1173335 w 2936"/>
                <a:gd name="T63" fmla="*/ 399478 h 1983"/>
                <a:gd name="T64" fmla="*/ 1233987 w 2936"/>
                <a:gd name="T65" fmla="*/ 352358 h 1983"/>
                <a:gd name="T66" fmla="*/ 1259295 w 2936"/>
                <a:gd name="T67" fmla="*/ 295289 h 1983"/>
                <a:gd name="T68" fmla="*/ 1277621 w 2936"/>
                <a:gd name="T69" fmla="*/ 258640 h 1983"/>
                <a:gd name="T70" fmla="*/ 1262349 w 2936"/>
                <a:gd name="T71" fmla="*/ 160734 h 1983"/>
                <a:gd name="T72" fmla="*/ 1187734 w 2936"/>
                <a:gd name="T73" fmla="*/ 178535 h 1983"/>
                <a:gd name="T74" fmla="*/ 1073848 w 2936"/>
                <a:gd name="T75" fmla="*/ 107330 h 1983"/>
                <a:gd name="T76" fmla="*/ 1003596 w 2936"/>
                <a:gd name="T77" fmla="*/ 46597 h 1983"/>
                <a:gd name="T78" fmla="*/ 863965 w 2936"/>
                <a:gd name="T79" fmla="*/ 27749 h 1983"/>
                <a:gd name="T80" fmla="*/ 875747 w 2936"/>
                <a:gd name="T81" fmla="*/ 81152 h 1983"/>
                <a:gd name="T82" fmla="*/ 851747 w 2936"/>
                <a:gd name="T83" fmla="*/ 118849 h 1983"/>
                <a:gd name="T84" fmla="*/ 883601 w 2936"/>
                <a:gd name="T85" fmla="*/ 183247 h 1983"/>
                <a:gd name="T86" fmla="*/ 936399 w 2936"/>
                <a:gd name="T87" fmla="*/ 193718 h 1983"/>
                <a:gd name="T88" fmla="*/ 890582 w 2936"/>
                <a:gd name="T89" fmla="*/ 238221 h 1983"/>
                <a:gd name="T90" fmla="*/ 825130 w 2936"/>
                <a:gd name="T91" fmla="*/ 298431 h 1983"/>
                <a:gd name="T92" fmla="*/ 711244 w 2936"/>
                <a:gd name="T93" fmla="*/ 373300 h 1983"/>
                <a:gd name="T94" fmla="*/ 535833 w 2936"/>
                <a:gd name="T95" fmla="*/ 345028 h 1983"/>
                <a:gd name="T96" fmla="*/ 452055 w 2936"/>
                <a:gd name="T97" fmla="*/ 293195 h 1983"/>
                <a:gd name="T98" fmla="*/ 328132 w 2936"/>
                <a:gd name="T99" fmla="*/ 259164 h 1983"/>
                <a:gd name="T100" fmla="*/ 299333 w 2936"/>
                <a:gd name="T101" fmla="*/ 198430 h 1983"/>
                <a:gd name="T102" fmla="*/ 223409 w 2936"/>
                <a:gd name="T103" fmla="*/ 156545 h 1983"/>
                <a:gd name="T104" fmla="*/ 187629 w 2936"/>
                <a:gd name="T105" fmla="*/ 162828 h 1983"/>
                <a:gd name="T106" fmla="*/ 184574 w 2936"/>
                <a:gd name="T107" fmla="*/ 203142 h 1983"/>
                <a:gd name="T108" fmla="*/ 133086 w 2936"/>
                <a:gd name="T109" fmla="*/ 200001 h 1983"/>
                <a:gd name="T110" fmla="*/ 99051 w 2936"/>
                <a:gd name="T111" fmla="*/ 265446 h 1983"/>
                <a:gd name="T112" fmla="*/ 113450 w 2936"/>
                <a:gd name="T113" fmla="*/ 311520 h 1983"/>
                <a:gd name="T114" fmla="*/ 109959 w 2936"/>
                <a:gd name="T115" fmla="*/ 374871 h 1983"/>
                <a:gd name="T116" fmla="*/ 51489 w 2936"/>
                <a:gd name="T117" fmla="*/ 408903 h 1983"/>
                <a:gd name="T118" fmla="*/ 17454 w 2936"/>
                <a:gd name="T119" fmla="*/ 468065 h 198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" name="Freeform 15">
              <a:extLst>
                <a:ext uri="{FF2B5EF4-FFF2-40B4-BE49-F238E27FC236}">
                  <a16:creationId xmlns:a16="http://schemas.microsoft.com/office/drawing/2014/main" id="{89EFB68F-689E-4778-841A-FF356AB88B10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5935663" y="1508125"/>
              <a:ext cx="220662" cy="273050"/>
            </a:xfrm>
            <a:custGeom>
              <a:avLst/>
              <a:gdLst>
                <a:gd name="T0" fmla="*/ 151048 w 504"/>
                <a:gd name="T1" fmla="*/ 256896 h 524"/>
                <a:gd name="T2" fmla="*/ 112082 w 504"/>
                <a:gd name="T3" fmla="*/ 263149 h 524"/>
                <a:gd name="T4" fmla="*/ 102888 w 504"/>
                <a:gd name="T5" fmla="*/ 269402 h 524"/>
                <a:gd name="T6" fmla="*/ 91943 w 504"/>
                <a:gd name="T7" fmla="*/ 272008 h 524"/>
                <a:gd name="T8" fmla="*/ 67862 w 504"/>
                <a:gd name="T9" fmla="*/ 273050 h 524"/>
                <a:gd name="T10" fmla="*/ 46409 w 504"/>
                <a:gd name="T11" fmla="*/ 272008 h 524"/>
                <a:gd name="T12" fmla="*/ 41155 w 504"/>
                <a:gd name="T13" fmla="*/ 268881 h 524"/>
                <a:gd name="T14" fmla="*/ 31085 w 504"/>
                <a:gd name="T15" fmla="*/ 265234 h 524"/>
                <a:gd name="T16" fmla="*/ 15762 w 504"/>
                <a:gd name="T17" fmla="*/ 258460 h 524"/>
                <a:gd name="T18" fmla="*/ 9632 w 504"/>
                <a:gd name="T19" fmla="*/ 253249 h 524"/>
                <a:gd name="T20" fmla="*/ 8756 w 504"/>
                <a:gd name="T21" fmla="*/ 248559 h 524"/>
                <a:gd name="T22" fmla="*/ 11821 w 504"/>
                <a:gd name="T23" fmla="*/ 241264 h 524"/>
                <a:gd name="T24" fmla="*/ 14010 w 504"/>
                <a:gd name="T25" fmla="*/ 231884 h 524"/>
                <a:gd name="T26" fmla="*/ 12259 w 504"/>
                <a:gd name="T27" fmla="*/ 225110 h 524"/>
                <a:gd name="T28" fmla="*/ 4378 w 504"/>
                <a:gd name="T29" fmla="*/ 217294 h 524"/>
                <a:gd name="T30" fmla="*/ 438 w 504"/>
                <a:gd name="T31" fmla="*/ 212083 h 524"/>
                <a:gd name="T32" fmla="*/ 438 w 504"/>
                <a:gd name="T33" fmla="*/ 203745 h 524"/>
                <a:gd name="T34" fmla="*/ 7443 w 504"/>
                <a:gd name="T35" fmla="*/ 187592 h 524"/>
                <a:gd name="T36" fmla="*/ 21015 w 504"/>
                <a:gd name="T37" fmla="*/ 170917 h 524"/>
                <a:gd name="T38" fmla="*/ 37653 w 504"/>
                <a:gd name="T39" fmla="*/ 155805 h 524"/>
                <a:gd name="T40" fmla="*/ 54290 w 504"/>
                <a:gd name="T41" fmla="*/ 145383 h 524"/>
                <a:gd name="T42" fmla="*/ 70051 w 504"/>
                <a:gd name="T43" fmla="*/ 141736 h 524"/>
                <a:gd name="T44" fmla="*/ 67862 w 504"/>
                <a:gd name="T45" fmla="*/ 137567 h 524"/>
                <a:gd name="T46" fmla="*/ 62171 w 504"/>
                <a:gd name="T47" fmla="*/ 134962 h 524"/>
                <a:gd name="T48" fmla="*/ 58230 w 504"/>
                <a:gd name="T49" fmla="*/ 130793 h 524"/>
                <a:gd name="T50" fmla="*/ 55603 w 504"/>
                <a:gd name="T51" fmla="*/ 119329 h 524"/>
                <a:gd name="T52" fmla="*/ 54290 w 504"/>
                <a:gd name="T53" fmla="*/ 101612 h 524"/>
                <a:gd name="T54" fmla="*/ 50349 w 504"/>
                <a:gd name="T55" fmla="*/ 83895 h 524"/>
                <a:gd name="T56" fmla="*/ 43782 w 504"/>
                <a:gd name="T57" fmla="*/ 69826 h 524"/>
                <a:gd name="T58" fmla="*/ 29772 w 504"/>
                <a:gd name="T59" fmla="*/ 46898 h 524"/>
                <a:gd name="T60" fmla="*/ 37653 w 504"/>
                <a:gd name="T61" fmla="*/ 31265 h 524"/>
                <a:gd name="T62" fmla="*/ 46409 w 504"/>
                <a:gd name="T63" fmla="*/ 29181 h 524"/>
                <a:gd name="T64" fmla="*/ 56917 w 504"/>
                <a:gd name="T65" fmla="*/ 30223 h 524"/>
                <a:gd name="T66" fmla="*/ 60857 w 504"/>
                <a:gd name="T67" fmla="*/ 31786 h 524"/>
                <a:gd name="T68" fmla="*/ 70051 w 504"/>
                <a:gd name="T69" fmla="*/ 29181 h 524"/>
                <a:gd name="T70" fmla="*/ 71803 w 504"/>
                <a:gd name="T71" fmla="*/ 17196 h 524"/>
                <a:gd name="T72" fmla="*/ 74867 w 504"/>
                <a:gd name="T73" fmla="*/ 6774 h 524"/>
                <a:gd name="T74" fmla="*/ 81873 w 504"/>
                <a:gd name="T75" fmla="*/ 0 h 524"/>
                <a:gd name="T76" fmla="*/ 98510 w 504"/>
                <a:gd name="T77" fmla="*/ 0 h 524"/>
                <a:gd name="T78" fmla="*/ 111207 w 504"/>
                <a:gd name="T79" fmla="*/ 4169 h 524"/>
                <a:gd name="T80" fmla="*/ 122590 w 504"/>
                <a:gd name="T81" fmla="*/ 10943 h 524"/>
                <a:gd name="T82" fmla="*/ 122152 w 504"/>
                <a:gd name="T83" fmla="*/ 32307 h 524"/>
                <a:gd name="T84" fmla="*/ 127844 w 504"/>
                <a:gd name="T85" fmla="*/ 40124 h 524"/>
                <a:gd name="T86" fmla="*/ 139665 w 504"/>
                <a:gd name="T87" fmla="*/ 48982 h 524"/>
                <a:gd name="T88" fmla="*/ 155864 w 504"/>
                <a:gd name="T89" fmla="*/ 62009 h 524"/>
                <a:gd name="T90" fmla="*/ 151486 w 504"/>
                <a:gd name="T91" fmla="*/ 70347 h 524"/>
                <a:gd name="T92" fmla="*/ 148859 w 504"/>
                <a:gd name="T93" fmla="*/ 79726 h 524"/>
                <a:gd name="T94" fmla="*/ 150611 w 504"/>
                <a:gd name="T95" fmla="*/ 91711 h 524"/>
                <a:gd name="T96" fmla="*/ 158929 w 504"/>
                <a:gd name="T97" fmla="*/ 104218 h 524"/>
                <a:gd name="T98" fmla="*/ 165497 w 504"/>
                <a:gd name="T99" fmla="*/ 109428 h 524"/>
                <a:gd name="T100" fmla="*/ 168999 w 504"/>
                <a:gd name="T101" fmla="*/ 133398 h 524"/>
                <a:gd name="T102" fmla="*/ 176880 w 504"/>
                <a:gd name="T103" fmla="*/ 150594 h 524"/>
                <a:gd name="T104" fmla="*/ 189139 w 504"/>
                <a:gd name="T105" fmla="*/ 164143 h 524"/>
                <a:gd name="T106" fmla="*/ 202711 w 504"/>
                <a:gd name="T107" fmla="*/ 174564 h 524"/>
                <a:gd name="T108" fmla="*/ 204025 w 504"/>
                <a:gd name="T109" fmla="*/ 203224 h 524"/>
                <a:gd name="T110" fmla="*/ 173815 w 504"/>
                <a:gd name="T111" fmla="*/ 238137 h 5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8" name="Freeform 16">
              <a:extLst>
                <a:ext uri="{FF2B5EF4-FFF2-40B4-BE49-F238E27FC236}">
                  <a16:creationId xmlns:a16="http://schemas.microsoft.com/office/drawing/2014/main" id="{7C4DBFD2-D58F-4D85-BF0A-75E73633FBC0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5672138" y="1925639"/>
              <a:ext cx="182562" cy="238125"/>
            </a:xfrm>
            <a:custGeom>
              <a:avLst/>
              <a:gdLst>
                <a:gd name="T0" fmla="*/ 177560 w 438"/>
                <a:gd name="T1" fmla="*/ 100319 h 451"/>
                <a:gd name="T2" fmla="*/ 170058 w 438"/>
                <a:gd name="T3" fmla="*/ 67583 h 451"/>
                <a:gd name="T4" fmla="*/ 161305 w 438"/>
                <a:gd name="T5" fmla="*/ 44879 h 451"/>
                <a:gd name="T6" fmla="*/ 152969 w 438"/>
                <a:gd name="T7" fmla="*/ 32736 h 451"/>
                <a:gd name="T8" fmla="*/ 148384 w 438"/>
                <a:gd name="T9" fmla="*/ 30624 h 451"/>
                <a:gd name="T10" fmla="*/ 139631 w 438"/>
                <a:gd name="T11" fmla="*/ 23760 h 451"/>
                <a:gd name="T12" fmla="*/ 130878 w 438"/>
                <a:gd name="T13" fmla="*/ 20064 h 451"/>
                <a:gd name="T14" fmla="*/ 122125 w 438"/>
                <a:gd name="T15" fmla="*/ 20064 h 451"/>
                <a:gd name="T16" fmla="*/ 115039 w 438"/>
                <a:gd name="T17" fmla="*/ 22176 h 451"/>
                <a:gd name="T18" fmla="*/ 104619 w 438"/>
                <a:gd name="T19" fmla="*/ 30624 h 451"/>
                <a:gd name="T20" fmla="*/ 97950 w 438"/>
                <a:gd name="T21" fmla="*/ 35376 h 451"/>
                <a:gd name="T22" fmla="*/ 90447 w 438"/>
                <a:gd name="T23" fmla="*/ 34848 h 451"/>
                <a:gd name="T24" fmla="*/ 72525 w 438"/>
                <a:gd name="T25" fmla="*/ 19536 h 451"/>
                <a:gd name="T26" fmla="*/ 47099 w 438"/>
                <a:gd name="T27" fmla="*/ 0 h 451"/>
                <a:gd name="T28" fmla="*/ 39597 w 438"/>
                <a:gd name="T29" fmla="*/ 12144 h 451"/>
                <a:gd name="T30" fmla="*/ 38763 w 438"/>
                <a:gd name="T31" fmla="*/ 22704 h 451"/>
                <a:gd name="T32" fmla="*/ 40847 w 438"/>
                <a:gd name="T33" fmla="*/ 27456 h 451"/>
                <a:gd name="T34" fmla="*/ 49600 w 438"/>
                <a:gd name="T35" fmla="*/ 36432 h 451"/>
                <a:gd name="T36" fmla="*/ 41264 w 438"/>
                <a:gd name="T37" fmla="*/ 38544 h 451"/>
                <a:gd name="T38" fmla="*/ 27509 w 438"/>
                <a:gd name="T39" fmla="*/ 49103 h 451"/>
                <a:gd name="T40" fmla="*/ 24175 w 438"/>
                <a:gd name="T41" fmla="*/ 62831 h 451"/>
                <a:gd name="T42" fmla="*/ 18756 w 438"/>
                <a:gd name="T43" fmla="*/ 72863 h 451"/>
                <a:gd name="T44" fmla="*/ 14588 w 438"/>
                <a:gd name="T45" fmla="*/ 82367 h 451"/>
                <a:gd name="T46" fmla="*/ 13755 w 438"/>
                <a:gd name="T47" fmla="*/ 94511 h 451"/>
                <a:gd name="T48" fmla="*/ 2918 w 438"/>
                <a:gd name="T49" fmla="*/ 125662 h 451"/>
                <a:gd name="T50" fmla="*/ 6252 w 438"/>
                <a:gd name="T51" fmla="*/ 129886 h 451"/>
                <a:gd name="T52" fmla="*/ 10837 w 438"/>
                <a:gd name="T53" fmla="*/ 130414 h 451"/>
                <a:gd name="T54" fmla="*/ 13755 w 438"/>
                <a:gd name="T55" fmla="*/ 182686 h 451"/>
                <a:gd name="T56" fmla="*/ 38763 w 438"/>
                <a:gd name="T57" fmla="*/ 186382 h 451"/>
                <a:gd name="T58" fmla="*/ 43348 w 438"/>
                <a:gd name="T59" fmla="*/ 198525 h 451"/>
                <a:gd name="T60" fmla="*/ 37096 w 438"/>
                <a:gd name="T61" fmla="*/ 224397 h 451"/>
                <a:gd name="T62" fmla="*/ 45432 w 438"/>
                <a:gd name="T63" fmla="*/ 236013 h 451"/>
                <a:gd name="T64" fmla="*/ 63355 w 438"/>
                <a:gd name="T65" fmla="*/ 236013 h 451"/>
                <a:gd name="T66" fmla="*/ 85446 w 438"/>
                <a:gd name="T67" fmla="*/ 234429 h 451"/>
                <a:gd name="T68" fmla="*/ 115039 w 438"/>
                <a:gd name="T69" fmla="*/ 235485 h 451"/>
                <a:gd name="T70" fmla="*/ 142965 w 438"/>
                <a:gd name="T71" fmla="*/ 233373 h 451"/>
                <a:gd name="T72" fmla="*/ 155053 w 438"/>
                <a:gd name="T73" fmla="*/ 228093 h 451"/>
                <a:gd name="T74" fmla="*/ 149634 w 438"/>
                <a:gd name="T75" fmla="*/ 218061 h 451"/>
                <a:gd name="T76" fmla="*/ 153802 w 438"/>
                <a:gd name="T77" fmla="*/ 212781 h 451"/>
                <a:gd name="T78" fmla="*/ 155053 w 438"/>
                <a:gd name="T79" fmla="*/ 201693 h 451"/>
                <a:gd name="T80" fmla="*/ 158387 w 438"/>
                <a:gd name="T81" fmla="*/ 193774 h 451"/>
                <a:gd name="T82" fmla="*/ 142965 w 438"/>
                <a:gd name="T83" fmla="*/ 181630 h 451"/>
                <a:gd name="T84" fmla="*/ 135463 w 438"/>
                <a:gd name="T85" fmla="*/ 170542 h 451"/>
                <a:gd name="T86" fmla="*/ 129627 w 438"/>
                <a:gd name="T87" fmla="*/ 155230 h 451"/>
                <a:gd name="T88" fmla="*/ 122542 w 438"/>
                <a:gd name="T89" fmla="*/ 146254 h 451"/>
                <a:gd name="T90" fmla="*/ 130878 w 438"/>
                <a:gd name="T91" fmla="*/ 145198 h 451"/>
                <a:gd name="T92" fmla="*/ 144216 w 438"/>
                <a:gd name="T93" fmla="*/ 143086 h 451"/>
                <a:gd name="T94" fmla="*/ 153802 w 438"/>
                <a:gd name="T95" fmla="*/ 137278 h 451"/>
                <a:gd name="T96" fmla="*/ 169641 w 438"/>
                <a:gd name="T97" fmla="*/ 126718 h 451"/>
                <a:gd name="T98" fmla="*/ 182562 w 438"/>
                <a:gd name="T99" fmla="*/ 124078 h 45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9" name="Freeform 17">
              <a:extLst>
                <a:ext uri="{FF2B5EF4-FFF2-40B4-BE49-F238E27FC236}">
                  <a16:creationId xmlns:a16="http://schemas.microsoft.com/office/drawing/2014/main" id="{3DCF2163-A48D-495E-BCBD-1489B64008C8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5697539" y="2182814"/>
              <a:ext cx="250825" cy="274637"/>
            </a:xfrm>
            <a:custGeom>
              <a:avLst/>
              <a:gdLst>
                <a:gd name="T0" fmla="*/ 141903 w 578"/>
                <a:gd name="T1" fmla="*/ 46122 h 524"/>
                <a:gd name="T2" fmla="*/ 135393 w 578"/>
                <a:gd name="T3" fmla="*/ 44550 h 524"/>
                <a:gd name="T4" fmla="*/ 130620 w 578"/>
                <a:gd name="T5" fmla="*/ 41405 h 524"/>
                <a:gd name="T6" fmla="*/ 119337 w 578"/>
                <a:gd name="T7" fmla="*/ 34592 h 524"/>
                <a:gd name="T8" fmla="*/ 108922 w 578"/>
                <a:gd name="T9" fmla="*/ 40881 h 524"/>
                <a:gd name="T10" fmla="*/ 106753 w 578"/>
                <a:gd name="T11" fmla="*/ 55032 h 524"/>
                <a:gd name="T12" fmla="*/ 109790 w 578"/>
                <a:gd name="T13" fmla="*/ 80190 h 524"/>
                <a:gd name="T14" fmla="*/ 117167 w 578"/>
                <a:gd name="T15" fmla="*/ 90148 h 524"/>
                <a:gd name="T16" fmla="*/ 124545 w 578"/>
                <a:gd name="T17" fmla="*/ 93293 h 524"/>
                <a:gd name="T18" fmla="*/ 129318 w 578"/>
                <a:gd name="T19" fmla="*/ 100106 h 524"/>
                <a:gd name="T20" fmla="*/ 152318 w 578"/>
                <a:gd name="T21" fmla="*/ 117926 h 524"/>
                <a:gd name="T22" fmla="*/ 194845 w 578"/>
                <a:gd name="T23" fmla="*/ 161952 h 524"/>
                <a:gd name="T24" fmla="*/ 206996 w 578"/>
                <a:gd name="T25" fmla="*/ 168765 h 524"/>
                <a:gd name="T26" fmla="*/ 218712 w 578"/>
                <a:gd name="T27" fmla="*/ 171910 h 524"/>
                <a:gd name="T28" fmla="*/ 232599 w 578"/>
                <a:gd name="T29" fmla="*/ 186585 h 524"/>
                <a:gd name="T30" fmla="*/ 250825 w 578"/>
                <a:gd name="T31" fmla="*/ 197068 h 524"/>
                <a:gd name="T32" fmla="*/ 245184 w 578"/>
                <a:gd name="T33" fmla="*/ 213315 h 524"/>
                <a:gd name="T34" fmla="*/ 228259 w 578"/>
                <a:gd name="T35" fmla="*/ 200737 h 524"/>
                <a:gd name="T36" fmla="*/ 220448 w 578"/>
                <a:gd name="T37" fmla="*/ 197068 h 524"/>
                <a:gd name="T38" fmla="*/ 216109 w 578"/>
                <a:gd name="T39" fmla="*/ 208074 h 524"/>
                <a:gd name="T40" fmla="*/ 219580 w 578"/>
                <a:gd name="T41" fmla="*/ 223274 h 524"/>
                <a:gd name="T42" fmla="*/ 223052 w 578"/>
                <a:gd name="T43" fmla="*/ 231659 h 524"/>
                <a:gd name="T44" fmla="*/ 216977 w 578"/>
                <a:gd name="T45" fmla="*/ 245286 h 524"/>
                <a:gd name="T46" fmla="*/ 209599 w 578"/>
                <a:gd name="T47" fmla="*/ 264679 h 524"/>
                <a:gd name="T48" fmla="*/ 201788 w 578"/>
                <a:gd name="T49" fmla="*/ 273589 h 524"/>
                <a:gd name="T50" fmla="*/ 189204 w 578"/>
                <a:gd name="T51" fmla="*/ 264679 h 524"/>
                <a:gd name="T52" fmla="*/ 197883 w 578"/>
                <a:gd name="T53" fmla="*/ 253672 h 524"/>
                <a:gd name="T54" fmla="*/ 201788 w 578"/>
                <a:gd name="T55" fmla="*/ 244762 h 524"/>
                <a:gd name="T56" fmla="*/ 200052 w 578"/>
                <a:gd name="T57" fmla="*/ 231135 h 524"/>
                <a:gd name="T58" fmla="*/ 185298 w 578"/>
                <a:gd name="T59" fmla="*/ 207026 h 524"/>
                <a:gd name="T60" fmla="*/ 167072 w 578"/>
                <a:gd name="T61" fmla="*/ 193399 h 524"/>
                <a:gd name="T62" fmla="*/ 154053 w 578"/>
                <a:gd name="T63" fmla="*/ 186585 h 524"/>
                <a:gd name="T64" fmla="*/ 137997 w 578"/>
                <a:gd name="T65" fmla="*/ 172958 h 524"/>
                <a:gd name="T66" fmla="*/ 116299 w 578"/>
                <a:gd name="T67" fmla="*/ 165097 h 524"/>
                <a:gd name="T68" fmla="*/ 94602 w 578"/>
                <a:gd name="T69" fmla="*/ 149373 h 524"/>
                <a:gd name="T70" fmla="*/ 70300 w 578"/>
                <a:gd name="T71" fmla="*/ 120023 h 524"/>
                <a:gd name="T72" fmla="*/ 54678 w 578"/>
                <a:gd name="T73" fmla="*/ 88052 h 524"/>
                <a:gd name="T74" fmla="*/ 33414 w 578"/>
                <a:gd name="T75" fmla="*/ 80714 h 524"/>
                <a:gd name="T76" fmla="*/ 22132 w 578"/>
                <a:gd name="T77" fmla="*/ 82286 h 524"/>
                <a:gd name="T78" fmla="*/ 6509 w 578"/>
                <a:gd name="T79" fmla="*/ 86479 h 524"/>
                <a:gd name="T80" fmla="*/ 1302 w 578"/>
                <a:gd name="T81" fmla="*/ 69707 h 524"/>
                <a:gd name="T82" fmla="*/ 434 w 578"/>
                <a:gd name="T83" fmla="*/ 48743 h 524"/>
                <a:gd name="T84" fmla="*/ 2604 w 578"/>
                <a:gd name="T85" fmla="*/ 25682 h 524"/>
                <a:gd name="T86" fmla="*/ 19528 w 578"/>
                <a:gd name="T87" fmla="*/ 21489 h 524"/>
                <a:gd name="T88" fmla="*/ 29509 w 578"/>
                <a:gd name="T89" fmla="*/ 17296 h 524"/>
                <a:gd name="T90" fmla="*/ 36018 w 578"/>
                <a:gd name="T91" fmla="*/ 25158 h 524"/>
                <a:gd name="T92" fmla="*/ 45131 w 578"/>
                <a:gd name="T93" fmla="*/ 23061 h 524"/>
                <a:gd name="T94" fmla="*/ 64659 w 578"/>
                <a:gd name="T95" fmla="*/ 8386 h 524"/>
                <a:gd name="T96" fmla="*/ 103715 w 578"/>
                <a:gd name="T97" fmla="*/ 0 h 524"/>
                <a:gd name="T98" fmla="*/ 111526 w 578"/>
                <a:gd name="T99" fmla="*/ 6814 h 524"/>
                <a:gd name="T100" fmla="*/ 144072 w 578"/>
                <a:gd name="T101" fmla="*/ 9958 h 524"/>
                <a:gd name="T102" fmla="*/ 139733 w 578"/>
                <a:gd name="T103" fmla="*/ 34068 h 524"/>
                <a:gd name="T104" fmla="*/ 141035 w 578"/>
                <a:gd name="T105" fmla="*/ 47170 h 52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0" name="Freeform 18">
              <a:extLst>
                <a:ext uri="{FF2B5EF4-FFF2-40B4-BE49-F238E27FC236}">
                  <a16:creationId xmlns:a16="http://schemas.microsoft.com/office/drawing/2014/main" id="{6B076A19-1B3F-4CB3-A464-76A23F0793AF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5715000" y="2351088"/>
              <a:ext cx="33338" cy="82550"/>
            </a:xfrm>
            <a:custGeom>
              <a:avLst/>
              <a:gdLst>
                <a:gd name="T0" fmla="*/ 0 w 79"/>
                <a:gd name="T1" fmla="*/ 19090 h 160"/>
                <a:gd name="T2" fmla="*/ 2532 w 79"/>
                <a:gd name="T3" fmla="*/ 19090 h 160"/>
                <a:gd name="T4" fmla="*/ 4642 w 79"/>
                <a:gd name="T5" fmla="*/ 18574 h 160"/>
                <a:gd name="T6" fmla="*/ 6752 w 79"/>
                <a:gd name="T7" fmla="*/ 18058 h 160"/>
                <a:gd name="T8" fmla="*/ 8018 w 79"/>
                <a:gd name="T9" fmla="*/ 17026 h 160"/>
                <a:gd name="T10" fmla="*/ 10972 w 79"/>
                <a:gd name="T11" fmla="*/ 14446 h 160"/>
                <a:gd name="T12" fmla="*/ 13082 w 79"/>
                <a:gd name="T13" fmla="*/ 11351 h 160"/>
                <a:gd name="T14" fmla="*/ 15614 w 79"/>
                <a:gd name="T15" fmla="*/ 8255 h 160"/>
                <a:gd name="T16" fmla="*/ 17302 w 79"/>
                <a:gd name="T17" fmla="*/ 5159 h 160"/>
                <a:gd name="T18" fmla="*/ 19412 w 79"/>
                <a:gd name="T19" fmla="*/ 2580 h 160"/>
                <a:gd name="T20" fmla="*/ 22366 w 79"/>
                <a:gd name="T21" fmla="*/ 0 h 160"/>
                <a:gd name="T22" fmla="*/ 24054 w 79"/>
                <a:gd name="T23" fmla="*/ 1548 h 160"/>
                <a:gd name="T24" fmla="*/ 26164 w 79"/>
                <a:gd name="T25" fmla="*/ 3612 h 160"/>
                <a:gd name="T26" fmla="*/ 27008 w 79"/>
                <a:gd name="T27" fmla="*/ 5159 h 160"/>
                <a:gd name="T28" fmla="*/ 27852 w 79"/>
                <a:gd name="T29" fmla="*/ 7223 h 160"/>
                <a:gd name="T30" fmla="*/ 29118 w 79"/>
                <a:gd name="T31" fmla="*/ 11351 h 160"/>
                <a:gd name="T32" fmla="*/ 30384 w 79"/>
                <a:gd name="T33" fmla="*/ 16510 h 160"/>
                <a:gd name="T34" fmla="*/ 30806 w 79"/>
                <a:gd name="T35" fmla="*/ 20638 h 160"/>
                <a:gd name="T36" fmla="*/ 31228 w 79"/>
                <a:gd name="T37" fmla="*/ 25281 h 160"/>
                <a:gd name="T38" fmla="*/ 32072 w 79"/>
                <a:gd name="T39" fmla="*/ 29924 h 160"/>
                <a:gd name="T40" fmla="*/ 33338 w 79"/>
                <a:gd name="T41" fmla="*/ 34568 h 160"/>
                <a:gd name="T42" fmla="*/ 33338 w 79"/>
                <a:gd name="T43" fmla="*/ 50562 h 160"/>
                <a:gd name="T44" fmla="*/ 28696 w 79"/>
                <a:gd name="T45" fmla="*/ 59333 h 160"/>
                <a:gd name="T46" fmla="*/ 24898 w 79"/>
                <a:gd name="T47" fmla="*/ 66556 h 160"/>
                <a:gd name="T48" fmla="*/ 22366 w 79"/>
                <a:gd name="T49" fmla="*/ 70168 h 160"/>
                <a:gd name="T50" fmla="*/ 21100 w 79"/>
                <a:gd name="T51" fmla="*/ 74295 h 160"/>
                <a:gd name="T52" fmla="*/ 20256 w 79"/>
                <a:gd name="T53" fmla="*/ 77907 h 160"/>
                <a:gd name="T54" fmla="*/ 19412 w 79"/>
                <a:gd name="T55" fmla="*/ 82550 h 160"/>
                <a:gd name="T56" fmla="*/ 16880 w 79"/>
                <a:gd name="T57" fmla="*/ 79970 h 160"/>
                <a:gd name="T58" fmla="*/ 13926 w 79"/>
                <a:gd name="T59" fmla="*/ 77391 h 160"/>
                <a:gd name="T60" fmla="*/ 11816 w 79"/>
                <a:gd name="T61" fmla="*/ 74295 h 160"/>
                <a:gd name="T62" fmla="*/ 9284 w 79"/>
                <a:gd name="T63" fmla="*/ 70683 h 160"/>
                <a:gd name="T64" fmla="*/ 7596 w 79"/>
                <a:gd name="T65" fmla="*/ 67072 h 160"/>
                <a:gd name="T66" fmla="*/ 6330 w 79"/>
                <a:gd name="T67" fmla="*/ 63460 h 160"/>
                <a:gd name="T68" fmla="*/ 4642 w 79"/>
                <a:gd name="T69" fmla="*/ 59333 h 160"/>
                <a:gd name="T70" fmla="*/ 3376 w 79"/>
                <a:gd name="T71" fmla="*/ 55721 h 160"/>
                <a:gd name="T72" fmla="*/ 1688 w 79"/>
                <a:gd name="T73" fmla="*/ 46950 h 160"/>
                <a:gd name="T74" fmla="*/ 422 w 79"/>
                <a:gd name="T75" fmla="*/ 37663 h 160"/>
                <a:gd name="T76" fmla="*/ 0 w 79"/>
                <a:gd name="T77" fmla="*/ 28377 h 160"/>
                <a:gd name="T78" fmla="*/ 0 w 79"/>
                <a:gd name="T79" fmla="*/ 19090 h 16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21" name="Group 19">
              <a:extLst>
                <a:ext uri="{FF2B5EF4-FFF2-40B4-BE49-F238E27FC236}">
                  <a16:creationId xmlns:a16="http://schemas.microsoft.com/office/drawing/2014/main" id="{7784B98A-D21B-4BE1-B6E8-E42D3C33BA71}"/>
                </a:ext>
              </a:extLst>
            </p:cNvPr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8034339" y="3411539"/>
              <a:ext cx="473075" cy="212725"/>
              <a:chOff x="4488" y="2394"/>
              <a:chExt cx="358" cy="124"/>
            </a:xfrm>
          </p:grpSpPr>
          <p:sp>
            <p:nvSpPr>
              <p:cNvPr id="551" name="Freeform 20">
                <a:extLst>
                  <a:ext uri="{FF2B5EF4-FFF2-40B4-BE49-F238E27FC236}">
                    <a16:creationId xmlns:a16="http://schemas.microsoft.com/office/drawing/2014/main" id="{41DAACA5-E878-49CD-A00C-8B3F185FE0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142 w 512"/>
                  <a:gd name="T1" fmla="*/ 60 h 408"/>
                  <a:gd name="T2" fmla="*/ 129 w 512"/>
                  <a:gd name="T3" fmla="*/ 59 h 408"/>
                  <a:gd name="T4" fmla="*/ 123 w 512"/>
                  <a:gd name="T5" fmla="*/ 62 h 408"/>
                  <a:gd name="T6" fmla="*/ 118 w 512"/>
                  <a:gd name="T7" fmla="*/ 66 h 408"/>
                  <a:gd name="T8" fmla="*/ 116 w 512"/>
                  <a:gd name="T9" fmla="*/ 77 h 408"/>
                  <a:gd name="T10" fmla="*/ 109 w 512"/>
                  <a:gd name="T11" fmla="*/ 93 h 408"/>
                  <a:gd name="T12" fmla="*/ 102 w 512"/>
                  <a:gd name="T13" fmla="*/ 102 h 408"/>
                  <a:gd name="T14" fmla="*/ 97 w 512"/>
                  <a:gd name="T15" fmla="*/ 106 h 408"/>
                  <a:gd name="T16" fmla="*/ 91 w 512"/>
                  <a:gd name="T17" fmla="*/ 109 h 408"/>
                  <a:gd name="T18" fmla="*/ 86 w 512"/>
                  <a:gd name="T19" fmla="*/ 112 h 408"/>
                  <a:gd name="T20" fmla="*/ 84 w 512"/>
                  <a:gd name="T21" fmla="*/ 114 h 408"/>
                  <a:gd name="T22" fmla="*/ 72 w 512"/>
                  <a:gd name="T23" fmla="*/ 112 h 408"/>
                  <a:gd name="T24" fmla="*/ 61 w 512"/>
                  <a:gd name="T25" fmla="*/ 112 h 408"/>
                  <a:gd name="T26" fmla="*/ 52 w 512"/>
                  <a:gd name="T27" fmla="*/ 113 h 408"/>
                  <a:gd name="T28" fmla="*/ 46 w 512"/>
                  <a:gd name="T29" fmla="*/ 118 h 408"/>
                  <a:gd name="T30" fmla="*/ 32 w 512"/>
                  <a:gd name="T31" fmla="*/ 123 h 408"/>
                  <a:gd name="T32" fmla="*/ 21 w 512"/>
                  <a:gd name="T33" fmla="*/ 124 h 408"/>
                  <a:gd name="T34" fmla="*/ 15 w 512"/>
                  <a:gd name="T35" fmla="*/ 122 h 408"/>
                  <a:gd name="T36" fmla="*/ 5 w 512"/>
                  <a:gd name="T37" fmla="*/ 112 h 408"/>
                  <a:gd name="T38" fmla="*/ 1 w 512"/>
                  <a:gd name="T39" fmla="*/ 105 h 408"/>
                  <a:gd name="T40" fmla="*/ 3 w 512"/>
                  <a:gd name="T41" fmla="*/ 102 h 408"/>
                  <a:gd name="T42" fmla="*/ 11 w 512"/>
                  <a:gd name="T43" fmla="*/ 105 h 408"/>
                  <a:gd name="T44" fmla="*/ 18 w 512"/>
                  <a:gd name="T45" fmla="*/ 102 h 408"/>
                  <a:gd name="T46" fmla="*/ 19 w 512"/>
                  <a:gd name="T47" fmla="*/ 95 h 408"/>
                  <a:gd name="T48" fmla="*/ 24 w 512"/>
                  <a:gd name="T49" fmla="*/ 91 h 408"/>
                  <a:gd name="T50" fmla="*/ 27 w 512"/>
                  <a:gd name="T51" fmla="*/ 87 h 408"/>
                  <a:gd name="T52" fmla="*/ 30 w 512"/>
                  <a:gd name="T53" fmla="*/ 83 h 408"/>
                  <a:gd name="T54" fmla="*/ 34 w 512"/>
                  <a:gd name="T55" fmla="*/ 80 h 408"/>
                  <a:gd name="T56" fmla="*/ 46 w 512"/>
                  <a:gd name="T57" fmla="*/ 75 h 408"/>
                  <a:gd name="T58" fmla="*/ 58 w 512"/>
                  <a:gd name="T59" fmla="*/ 71 h 408"/>
                  <a:gd name="T60" fmla="*/ 67 w 512"/>
                  <a:gd name="T61" fmla="*/ 66 h 408"/>
                  <a:gd name="T62" fmla="*/ 71 w 512"/>
                  <a:gd name="T63" fmla="*/ 62 h 408"/>
                  <a:gd name="T64" fmla="*/ 73 w 512"/>
                  <a:gd name="T65" fmla="*/ 58 h 408"/>
                  <a:gd name="T66" fmla="*/ 76 w 512"/>
                  <a:gd name="T67" fmla="*/ 49 h 408"/>
                  <a:gd name="T68" fmla="*/ 76 w 512"/>
                  <a:gd name="T69" fmla="*/ 45 h 408"/>
                  <a:gd name="T70" fmla="*/ 77 w 512"/>
                  <a:gd name="T71" fmla="*/ 46 h 408"/>
                  <a:gd name="T72" fmla="*/ 80 w 512"/>
                  <a:gd name="T73" fmla="*/ 43 h 408"/>
                  <a:gd name="T74" fmla="*/ 79 w 512"/>
                  <a:gd name="T75" fmla="*/ 47 h 408"/>
                  <a:gd name="T76" fmla="*/ 80 w 512"/>
                  <a:gd name="T77" fmla="*/ 53 h 408"/>
                  <a:gd name="T78" fmla="*/ 84 w 512"/>
                  <a:gd name="T79" fmla="*/ 59 h 408"/>
                  <a:gd name="T80" fmla="*/ 91 w 512"/>
                  <a:gd name="T81" fmla="*/ 62 h 408"/>
                  <a:gd name="T82" fmla="*/ 102 w 512"/>
                  <a:gd name="T83" fmla="*/ 62 h 408"/>
                  <a:gd name="T84" fmla="*/ 107 w 512"/>
                  <a:gd name="T85" fmla="*/ 62 h 408"/>
                  <a:gd name="T86" fmla="*/ 109 w 512"/>
                  <a:gd name="T87" fmla="*/ 60 h 408"/>
                  <a:gd name="T88" fmla="*/ 108 w 512"/>
                  <a:gd name="T89" fmla="*/ 53 h 408"/>
                  <a:gd name="T90" fmla="*/ 100 w 512"/>
                  <a:gd name="T91" fmla="*/ 40 h 408"/>
                  <a:gd name="T92" fmla="*/ 107 w 512"/>
                  <a:gd name="T93" fmla="*/ 33 h 408"/>
                  <a:gd name="T94" fmla="*/ 115 w 512"/>
                  <a:gd name="T95" fmla="*/ 20 h 408"/>
                  <a:gd name="T96" fmla="*/ 125 w 512"/>
                  <a:gd name="T97" fmla="*/ 7 h 408"/>
                  <a:gd name="T98" fmla="*/ 133 w 512"/>
                  <a:gd name="T99" fmla="*/ 0 h 408"/>
                  <a:gd name="T100" fmla="*/ 134 w 512"/>
                  <a:gd name="T101" fmla="*/ 7 h 408"/>
                  <a:gd name="T102" fmla="*/ 138 w 512"/>
                  <a:gd name="T103" fmla="*/ 15 h 408"/>
                  <a:gd name="T104" fmla="*/ 147 w 512"/>
                  <a:gd name="T105" fmla="*/ 23 h 408"/>
                  <a:gd name="T106" fmla="*/ 162 w 512"/>
                  <a:gd name="T107" fmla="*/ 32 h 408"/>
                  <a:gd name="T108" fmla="*/ 170 w 512"/>
                  <a:gd name="T109" fmla="*/ 40 h 408"/>
                  <a:gd name="T110" fmla="*/ 167 w 512"/>
                  <a:gd name="T111" fmla="*/ 45 h 408"/>
                  <a:gd name="T112" fmla="*/ 160 w 512"/>
                  <a:gd name="T113" fmla="*/ 46 h 408"/>
                  <a:gd name="T114" fmla="*/ 153 w 512"/>
                  <a:gd name="T115" fmla="*/ 55 h 40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52" name="Freeform 21">
                <a:extLst>
                  <a:ext uri="{FF2B5EF4-FFF2-40B4-BE49-F238E27FC236}">
                    <a16:creationId xmlns:a16="http://schemas.microsoft.com/office/drawing/2014/main" id="{1D7FDB1E-46CB-4FFF-9C02-12E935C71F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50 w 232"/>
                  <a:gd name="T1" fmla="*/ 7 h 289"/>
                  <a:gd name="T2" fmla="*/ 55 w 232"/>
                  <a:gd name="T3" fmla="*/ 15 h 289"/>
                  <a:gd name="T4" fmla="*/ 58 w 232"/>
                  <a:gd name="T5" fmla="*/ 17 h 289"/>
                  <a:gd name="T6" fmla="*/ 60 w 232"/>
                  <a:gd name="T7" fmla="*/ 18 h 289"/>
                  <a:gd name="T8" fmla="*/ 62 w 232"/>
                  <a:gd name="T9" fmla="*/ 51 h 289"/>
                  <a:gd name="T10" fmla="*/ 63 w 232"/>
                  <a:gd name="T11" fmla="*/ 60 h 289"/>
                  <a:gd name="T12" fmla="*/ 64 w 232"/>
                  <a:gd name="T13" fmla="*/ 64 h 289"/>
                  <a:gd name="T14" fmla="*/ 66 w 232"/>
                  <a:gd name="T15" fmla="*/ 67 h 289"/>
                  <a:gd name="T16" fmla="*/ 77 w 232"/>
                  <a:gd name="T17" fmla="*/ 76 h 289"/>
                  <a:gd name="T18" fmla="*/ 73 w 232"/>
                  <a:gd name="T19" fmla="*/ 89 h 289"/>
                  <a:gd name="T20" fmla="*/ 62 w 232"/>
                  <a:gd name="T21" fmla="*/ 87 h 289"/>
                  <a:gd name="T22" fmla="*/ 50 w 232"/>
                  <a:gd name="T23" fmla="*/ 81 h 289"/>
                  <a:gd name="T24" fmla="*/ 38 w 232"/>
                  <a:gd name="T25" fmla="*/ 72 h 289"/>
                  <a:gd name="T26" fmla="*/ 27 w 232"/>
                  <a:gd name="T27" fmla="*/ 64 h 289"/>
                  <a:gd name="T28" fmla="*/ 19 w 232"/>
                  <a:gd name="T29" fmla="*/ 54 h 289"/>
                  <a:gd name="T30" fmla="*/ 10 w 232"/>
                  <a:gd name="T31" fmla="*/ 45 h 289"/>
                  <a:gd name="T32" fmla="*/ 3 w 232"/>
                  <a:gd name="T33" fmla="*/ 39 h 289"/>
                  <a:gd name="T34" fmla="*/ 1 w 232"/>
                  <a:gd name="T35" fmla="*/ 36 h 289"/>
                  <a:gd name="T36" fmla="*/ 0 w 232"/>
                  <a:gd name="T37" fmla="*/ 34 h 289"/>
                  <a:gd name="T38" fmla="*/ 0 w 232"/>
                  <a:gd name="T39" fmla="*/ 31 h 289"/>
                  <a:gd name="T40" fmla="*/ 1 w 232"/>
                  <a:gd name="T41" fmla="*/ 28 h 289"/>
                  <a:gd name="T42" fmla="*/ 4 w 232"/>
                  <a:gd name="T43" fmla="*/ 24 h 289"/>
                  <a:gd name="T44" fmla="*/ 4 w 232"/>
                  <a:gd name="T45" fmla="*/ 16 h 289"/>
                  <a:gd name="T46" fmla="*/ 2 w 232"/>
                  <a:gd name="T47" fmla="*/ 5 h 289"/>
                  <a:gd name="T48" fmla="*/ 4 w 232"/>
                  <a:gd name="T49" fmla="*/ 0 h 289"/>
                  <a:gd name="T50" fmla="*/ 9 w 232"/>
                  <a:gd name="T51" fmla="*/ 1 h 289"/>
                  <a:gd name="T52" fmla="*/ 14 w 232"/>
                  <a:gd name="T53" fmla="*/ 3 h 289"/>
                  <a:gd name="T54" fmla="*/ 20 w 232"/>
                  <a:gd name="T55" fmla="*/ 6 h 289"/>
                  <a:gd name="T56" fmla="*/ 24 w 232"/>
                  <a:gd name="T57" fmla="*/ 9 h 289"/>
                  <a:gd name="T58" fmla="*/ 27 w 232"/>
                  <a:gd name="T59" fmla="*/ 10 h 289"/>
                  <a:gd name="T60" fmla="*/ 30 w 232"/>
                  <a:gd name="T61" fmla="*/ 10 h 289"/>
                  <a:gd name="T62" fmla="*/ 35 w 232"/>
                  <a:gd name="T63" fmla="*/ 8 h 289"/>
                  <a:gd name="T64" fmla="*/ 40 w 232"/>
                  <a:gd name="T65" fmla="*/ 6 h 289"/>
                  <a:gd name="T66" fmla="*/ 44 w 232"/>
                  <a:gd name="T67" fmla="*/ 3 h 28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22" name="Freeform 22">
              <a:extLst>
                <a:ext uri="{FF2B5EF4-FFF2-40B4-BE49-F238E27FC236}">
                  <a16:creationId xmlns:a16="http://schemas.microsoft.com/office/drawing/2014/main" id="{CCFCD918-26F5-409A-9FBD-14FD62926CE7}"/>
                </a:ext>
              </a:extLst>
            </p:cNvPr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6056313" y="1287464"/>
              <a:ext cx="3065462" cy="1074737"/>
            </a:xfrm>
            <a:custGeom>
              <a:avLst/>
              <a:gdLst>
                <a:gd name="T0" fmla="*/ 315287 w 7049"/>
                <a:gd name="T1" fmla="*/ 909433 h 2048"/>
                <a:gd name="T2" fmla="*/ 465321 w 7049"/>
                <a:gd name="T3" fmla="*/ 1016487 h 2048"/>
                <a:gd name="T4" fmla="*/ 527073 w 7049"/>
                <a:gd name="T5" fmla="*/ 951940 h 2048"/>
                <a:gd name="T6" fmla="*/ 727987 w 7049"/>
                <a:gd name="T7" fmla="*/ 770893 h 2048"/>
                <a:gd name="T8" fmla="*/ 1138513 w 7049"/>
                <a:gd name="T9" fmla="*/ 690078 h 2048"/>
                <a:gd name="T10" fmla="*/ 1456845 w 7049"/>
                <a:gd name="T11" fmla="*/ 784012 h 2048"/>
                <a:gd name="T12" fmla="*/ 1598615 w 7049"/>
                <a:gd name="T13" fmla="*/ 754625 h 2048"/>
                <a:gd name="T14" fmla="*/ 1798660 w 7049"/>
                <a:gd name="T15" fmla="*/ 782963 h 2048"/>
                <a:gd name="T16" fmla="*/ 1990441 w 7049"/>
                <a:gd name="T17" fmla="*/ 791884 h 2048"/>
                <a:gd name="T18" fmla="*/ 2069589 w 7049"/>
                <a:gd name="T19" fmla="*/ 719990 h 2048"/>
                <a:gd name="T20" fmla="*/ 2242236 w 7049"/>
                <a:gd name="T21" fmla="*/ 774566 h 2048"/>
                <a:gd name="T22" fmla="*/ 2441411 w 7049"/>
                <a:gd name="T23" fmla="*/ 838589 h 2048"/>
                <a:gd name="T24" fmla="*/ 2437062 w 7049"/>
                <a:gd name="T25" fmla="*/ 967683 h 2048"/>
                <a:gd name="T26" fmla="*/ 2545347 w 7049"/>
                <a:gd name="T27" fmla="*/ 845936 h 2048"/>
                <a:gd name="T28" fmla="*/ 2422276 w 7049"/>
                <a:gd name="T29" fmla="*/ 659116 h 2048"/>
                <a:gd name="T30" fmla="*/ 2318340 w 7049"/>
                <a:gd name="T31" fmla="*/ 601916 h 2048"/>
                <a:gd name="T32" fmla="*/ 2547086 w 7049"/>
                <a:gd name="T33" fmla="*/ 515328 h 2048"/>
                <a:gd name="T34" fmla="*/ 2597967 w 7049"/>
                <a:gd name="T35" fmla="*/ 431364 h 2048"/>
                <a:gd name="T36" fmla="*/ 2666678 w 7049"/>
                <a:gd name="T37" fmla="*/ 399353 h 2048"/>
                <a:gd name="T38" fmla="*/ 2694075 w 7049"/>
                <a:gd name="T39" fmla="*/ 511130 h 2048"/>
                <a:gd name="T40" fmla="*/ 2762351 w 7049"/>
                <a:gd name="T41" fmla="*/ 656492 h 2048"/>
                <a:gd name="T42" fmla="*/ 2859329 w 7049"/>
                <a:gd name="T43" fmla="*/ 739931 h 2048"/>
                <a:gd name="T44" fmla="*/ 2855415 w 7049"/>
                <a:gd name="T45" fmla="*/ 637076 h 2048"/>
                <a:gd name="T46" fmla="*/ 2771484 w 7049"/>
                <a:gd name="T47" fmla="*/ 544191 h 2048"/>
                <a:gd name="T48" fmla="*/ 2847153 w 7049"/>
                <a:gd name="T49" fmla="*/ 464425 h 2048"/>
                <a:gd name="T50" fmla="*/ 2957612 w 7049"/>
                <a:gd name="T51" fmla="*/ 411423 h 2048"/>
                <a:gd name="T52" fmla="*/ 2882378 w 7049"/>
                <a:gd name="T53" fmla="*/ 324310 h 2048"/>
                <a:gd name="T54" fmla="*/ 2956742 w 7049"/>
                <a:gd name="T55" fmla="*/ 333756 h 2048"/>
                <a:gd name="T56" fmla="*/ 2983705 w 7049"/>
                <a:gd name="T57" fmla="*/ 284952 h 2048"/>
                <a:gd name="T58" fmla="*/ 2826713 w 7049"/>
                <a:gd name="T59" fmla="*/ 242446 h 2048"/>
                <a:gd name="T60" fmla="*/ 2540998 w 7049"/>
                <a:gd name="T61" fmla="*/ 215157 h 2048"/>
                <a:gd name="T62" fmla="*/ 2475766 w 7049"/>
                <a:gd name="T63" fmla="*/ 217781 h 2048"/>
                <a:gd name="T64" fmla="*/ 2170481 w 7049"/>
                <a:gd name="T65" fmla="*/ 184196 h 2048"/>
                <a:gd name="T66" fmla="*/ 2056108 w 7049"/>
                <a:gd name="T67" fmla="*/ 152184 h 2048"/>
                <a:gd name="T68" fmla="*/ 1918686 w 7049"/>
                <a:gd name="T69" fmla="*/ 152184 h 2048"/>
                <a:gd name="T70" fmla="*/ 1743430 w 7049"/>
                <a:gd name="T71" fmla="*/ 166878 h 2048"/>
                <a:gd name="T72" fmla="*/ 1554258 w 7049"/>
                <a:gd name="T73" fmla="*/ 136966 h 2048"/>
                <a:gd name="T74" fmla="*/ 1430752 w 7049"/>
                <a:gd name="T75" fmla="*/ 128045 h 2048"/>
                <a:gd name="T76" fmla="*/ 1308116 w 7049"/>
                <a:gd name="T77" fmla="*/ 123322 h 2048"/>
                <a:gd name="T78" fmla="*/ 1184610 w 7049"/>
                <a:gd name="T79" fmla="*/ 30437 h 2048"/>
                <a:gd name="T80" fmla="*/ 1138078 w 7049"/>
                <a:gd name="T81" fmla="*/ 73468 h 2048"/>
                <a:gd name="T82" fmla="*/ 928032 w 7049"/>
                <a:gd name="T83" fmla="*/ 87637 h 2048"/>
                <a:gd name="T84" fmla="*/ 938904 w 7049"/>
                <a:gd name="T85" fmla="*/ 104955 h 2048"/>
                <a:gd name="T86" fmla="*/ 955864 w 7049"/>
                <a:gd name="T87" fmla="*/ 179473 h 2048"/>
                <a:gd name="T88" fmla="*/ 840621 w 7049"/>
                <a:gd name="T89" fmla="*/ 134342 h 2048"/>
                <a:gd name="T90" fmla="*/ 777129 w 7049"/>
                <a:gd name="T91" fmla="*/ 143263 h 2048"/>
                <a:gd name="T92" fmla="*/ 833663 w 7049"/>
                <a:gd name="T93" fmla="*/ 234049 h 2048"/>
                <a:gd name="T94" fmla="*/ 902809 w 7049"/>
                <a:gd name="T95" fmla="*/ 277605 h 2048"/>
                <a:gd name="T96" fmla="*/ 818877 w 7049"/>
                <a:gd name="T97" fmla="*/ 311191 h 2048"/>
                <a:gd name="T98" fmla="*/ 796698 w 7049"/>
                <a:gd name="T99" fmla="*/ 243495 h 2048"/>
                <a:gd name="T100" fmla="*/ 704939 w 7049"/>
                <a:gd name="T101" fmla="*/ 121223 h 2048"/>
                <a:gd name="T102" fmla="*/ 705809 w 7049"/>
                <a:gd name="T103" fmla="*/ 236673 h 2048"/>
                <a:gd name="T104" fmla="*/ 538380 w 7049"/>
                <a:gd name="T105" fmla="*/ 208335 h 2048"/>
                <a:gd name="T106" fmla="*/ 520985 w 7049"/>
                <a:gd name="T107" fmla="*/ 250317 h 2048"/>
                <a:gd name="T108" fmla="*/ 394870 w 7049"/>
                <a:gd name="T109" fmla="*/ 262387 h 2048"/>
                <a:gd name="T110" fmla="*/ 300936 w 7049"/>
                <a:gd name="T111" fmla="*/ 253466 h 2048"/>
                <a:gd name="T112" fmla="*/ 261797 w 7049"/>
                <a:gd name="T113" fmla="*/ 306993 h 2048"/>
                <a:gd name="T114" fmla="*/ 176996 w 7049"/>
                <a:gd name="T115" fmla="*/ 387808 h 2048"/>
                <a:gd name="T116" fmla="*/ 169603 w 7049"/>
                <a:gd name="T117" fmla="*/ 321162 h 2048"/>
                <a:gd name="T118" fmla="*/ 65232 w 7049"/>
                <a:gd name="T119" fmla="*/ 230901 h 2048"/>
                <a:gd name="T120" fmla="*/ 30876 w 7049"/>
                <a:gd name="T121" fmla="*/ 317488 h 2048"/>
                <a:gd name="T122" fmla="*/ 48706 w 7049"/>
                <a:gd name="T123" fmla="*/ 502733 h 204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Freeform 23">
              <a:extLst>
                <a:ext uri="{FF2B5EF4-FFF2-40B4-BE49-F238E27FC236}">
                  <a16:creationId xmlns:a16="http://schemas.microsoft.com/office/drawing/2014/main" id="{A522715D-C2B9-4EAB-833F-0702B8765CEF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5319714" y="2274888"/>
              <a:ext cx="280987" cy="247650"/>
            </a:xfrm>
            <a:custGeom>
              <a:avLst/>
              <a:gdLst>
                <a:gd name="T0" fmla="*/ 176323 w 647"/>
                <a:gd name="T1" fmla="*/ 14227 h 470"/>
                <a:gd name="T2" fmla="*/ 185877 w 647"/>
                <a:gd name="T3" fmla="*/ 23711 h 470"/>
                <a:gd name="T4" fmla="*/ 198906 w 647"/>
                <a:gd name="T5" fmla="*/ 31615 h 470"/>
                <a:gd name="T6" fmla="*/ 222358 w 647"/>
                <a:gd name="T7" fmla="*/ 41099 h 470"/>
                <a:gd name="T8" fmla="*/ 233649 w 647"/>
                <a:gd name="T9" fmla="*/ 42680 h 470"/>
                <a:gd name="T10" fmla="*/ 244072 w 647"/>
                <a:gd name="T11" fmla="*/ 52165 h 470"/>
                <a:gd name="T12" fmla="*/ 246244 w 647"/>
                <a:gd name="T13" fmla="*/ 51111 h 470"/>
                <a:gd name="T14" fmla="*/ 249718 w 647"/>
                <a:gd name="T15" fmla="*/ 44788 h 470"/>
                <a:gd name="T16" fmla="*/ 253192 w 647"/>
                <a:gd name="T17" fmla="*/ 41099 h 470"/>
                <a:gd name="T18" fmla="*/ 261878 w 647"/>
                <a:gd name="T19" fmla="*/ 42153 h 470"/>
                <a:gd name="T20" fmla="*/ 270998 w 647"/>
                <a:gd name="T21" fmla="*/ 41626 h 470"/>
                <a:gd name="T22" fmla="*/ 277947 w 647"/>
                <a:gd name="T23" fmla="*/ 44261 h 470"/>
                <a:gd name="T24" fmla="*/ 280553 w 647"/>
                <a:gd name="T25" fmla="*/ 54272 h 470"/>
                <a:gd name="T26" fmla="*/ 280553 w 647"/>
                <a:gd name="T27" fmla="*/ 64811 h 470"/>
                <a:gd name="T28" fmla="*/ 268393 w 647"/>
                <a:gd name="T29" fmla="*/ 69026 h 470"/>
                <a:gd name="T30" fmla="*/ 254495 w 647"/>
                <a:gd name="T31" fmla="*/ 76930 h 470"/>
                <a:gd name="T32" fmla="*/ 243204 w 647"/>
                <a:gd name="T33" fmla="*/ 86941 h 470"/>
                <a:gd name="T34" fmla="*/ 218883 w 647"/>
                <a:gd name="T35" fmla="*/ 112760 h 470"/>
                <a:gd name="T36" fmla="*/ 212369 w 647"/>
                <a:gd name="T37" fmla="*/ 119610 h 470"/>
                <a:gd name="T38" fmla="*/ 205854 w 647"/>
                <a:gd name="T39" fmla="*/ 133836 h 470"/>
                <a:gd name="T40" fmla="*/ 205420 w 647"/>
                <a:gd name="T41" fmla="*/ 148590 h 470"/>
                <a:gd name="T42" fmla="*/ 205420 w 647"/>
                <a:gd name="T43" fmla="*/ 163871 h 470"/>
                <a:gd name="T44" fmla="*/ 201077 w 647"/>
                <a:gd name="T45" fmla="*/ 179151 h 470"/>
                <a:gd name="T46" fmla="*/ 195431 w 647"/>
                <a:gd name="T47" fmla="*/ 186528 h 470"/>
                <a:gd name="T48" fmla="*/ 178494 w 647"/>
                <a:gd name="T49" fmla="*/ 202335 h 470"/>
                <a:gd name="T50" fmla="*/ 166334 w 647"/>
                <a:gd name="T51" fmla="*/ 216562 h 470"/>
                <a:gd name="T52" fmla="*/ 162425 w 647"/>
                <a:gd name="T53" fmla="*/ 223939 h 470"/>
                <a:gd name="T54" fmla="*/ 160254 w 647"/>
                <a:gd name="T55" fmla="*/ 227627 h 470"/>
                <a:gd name="T56" fmla="*/ 134631 w 647"/>
                <a:gd name="T57" fmla="*/ 226046 h 470"/>
                <a:gd name="T58" fmla="*/ 111613 w 647"/>
                <a:gd name="T59" fmla="*/ 228681 h 470"/>
                <a:gd name="T60" fmla="*/ 97281 w 647"/>
                <a:gd name="T61" fmla="*/ 235004 h 470"/>
                <a:gd name="T62" fmla="*/ 83818 w 647"/>
                <a:gd name="T63" fmla="*/ 246069 h 470"/>
                <a:gd name="T64" fmla="*/ 77738 w 647"/>
                <a:gd name="T65" fmla="*/ 247123 h 470"/>
                <a:gd name="T66" fmla="*/ 73395 w 647"/>
                <a:gd name="T67" fmla="*/ 242908 h 470"/>
                <a:gd name="T68" fmla="*/ 66447 w 647"/>
                <a:gd name="T69" fmla="*/ 227627 h 470"/>
                <a:gd name="T70" fmla="*/ 60801 w 647"/>
                <a:gd name="T71" fmla="*/ 218143 h 470"/>
                <a:gd name="T72" fmla="*/ 52984 w 647"/>
                <a:gd name="T73" fmla="*/ 210766 h 470"/>
                <a:gd name="T74" fmla="*/ 49509 w 647"/>
                <a:gd name="T75" fmla="*/ 199701 h 470"/>
                <a:gd name="T76" fmla="*/ 54721 w 647"/>
                <a:gd name="T77" fmla="*/ 177043 h 470"/>
                <a:gd name="T78" fmla="*/ 55155 w 647"/>
                <a:gd name="T79" fmla="*/ 140686 h 470"/>
                <a:gd name="T80" fmla="*/ 63841 w 647"/>
                <a:gd name="T81" fmla="*/ 108544 h 470"/>
                <a:gd name="T82" fmla="*/ 72961 w 647"/>
                <a:gd name="T83" fmla="*/ 78510 h 470"/>
                <a:gd name="T84" fmla="*/ 74698 w 647"/>
                <a:gd name="T85" fmla="*/ 69026 h 470"/>
                <a:gd name="T86" fmla="*/ 50378 w 647"/>
                <a:gd name="T87" fmla="*/ 64811 h 470"/>
                <a:gd name="T88" fmla="*/ 26926 w 647"/>
                <a:gd name="T89" fmla="*/ 57434 h 470"/>
                <a:gd name="T90" fmla="*/ 7383 w 647"/>
                <a:gd name="T91" fmla="*/ 49003 h 470"/>
                <a:gd name="T92" fmla="*/ 0 w 647"/>
                <a:gd name="T93" fmla="*/ 20023 h 470"/>
                <a:gd name="T94" fmla="*/ 9989 w 647"/>
                <a:gd name="T95" fmla="*/ 17915 h 470"/>
                <a:gd name="T96" fmla="*/ 22149 w 647"/>
                <a:gd name="T97" fmla="*/ 10538 h 470"/>
                <a:gd name="T98" fmla="*/ 31703 w 647"/>
                <a:gd name="T99" fmla="*/ 2108 h 470"/>
                <a:gd name="T100" fmla="*/ 37349 w 647"/>
                <a:gd name="T101" fmla="*/ 0 h 470"/>
                <a:gd name="T102" fmla="*/ 57327 w 647"/>
                <a:gd name="T103" fmla="*/ 3688 h 470"/>
                <a:gd name="T104" fmla="*/ 74264 w 647"/>
                <a:gd name="T105" fmla="*/ 8958 h 470"/>
                <a:gd name="T106" fmla="*/ 90767 w 647"/>
                <a:gd name="T107" fmla="*/ 10538 h 470"/>
                <a:gd name="T108" fmla="*/ 102059 w 647"/>
                <a:gd name="T109" fmla="*/ 15281 h 470"/>
                <a:gd name="T110" fmla="*/ 112047 w 647"/>
                <a:gd name="T111" fmla="*/ 19496 h 470"/>
                <a:gd name="T112" fmla="*/ 167202 w 647"/>
                <a:gd name="T113" fmla="*/ 13700 h 4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Freeform 24">
              <a:extLst>
                <a:ext uri="{FF2B5EF4-FFF2-40B4-BE49-F238E27FC236}">
                  <a16:creationId xmlns:a16="http://schemas.microsoft.com/office/drawing/2014/main" id="{61FA5C94-02F6-4939-BF5F-EB1756D63CCC}"/>
                </a:ext>
              </a:extLst>
            </p:cNvPr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7951788" y="3013076"/>
              <a:ext cx="207962" cy="455613"/>
            </a:xfrm>
            <a:custGeom>
              <a:avLst/>
              <a:gdLst>
                <a:gd name="T0" fmla="*/ 164546 w 479"/>
                <a:gd name="T1" fmla="*/ 187389 h 868"/>
                <a:gd name="T2" fmla="*/ 144575 w 479"/>
                <a:gd name="T3" fmla="*/ 194213 h 868"/>
                <a:gd name="T4" fmla="*/ 136326 w 479"/>
                <a:gd name="T5" fmla="*/ 204711 h 868"/>
                <a:gd name="T6" fmla="*/ 137194 w 479"/>
                <a:gd name="T7" fmla="*/ 224657 h 868"/>
                <a:gd name="T8" fmla="*/ 152824 w 479"/>
                <a:gd name="T9" fmla="*/ 258251 h 868"/>
                <a:gd name="T10" fmla="*/ 155863 w 479"/>
                <a:gd name="T11" fmla="*/ 278197 h 868"/>
                <a:gd name="T12" fmla="*/ 158902 w 479"/>
                <a:gd name="T13" fmla="*/ 291319 h 868"/>
                <a:gd name="T14" fmla="*/ 140233 w 479"/>
                <a:gd name="T15" fmla="*/ 276097 h 868"/>
                <a:gd name="T16" fmla="*/ 134155 w 479"/>
                <a:gd name="T17" fmla="*/ 258251 h 868"/>
                <a:gd name="T18" fmla="*/ 116789 w 479"/>
                <a:gd name="T19" fmla="*/ 245128 h 868"/>
                <a:gd name="T20" fmla="*/ 91173 w 479"/>
                <a:gd name="T21" fmla="*/ 230431 h 868"/>
                <a:gd name="T22" fmla="*/ 83793 w 479"/>
                <a:gd name="T23" fmla="*/ 213109 h 868"/>
                <a:gd name="T24" fmla="*/ 67729 w 479"/>
                <a:gd name="T25" fmla="*/ 250377 h 868"/>
                <a:gd name="T26" fmla="*/ 67729 w 479"/>
                <a:gd name="T27" fmla="*/ 275047 h 868"/>
                <a:gd name="T28" fmla="*/ 57309 w 479"/>
                <a:gd name="T29" fmla="*/ 301817 h 868"/>
                <a:gd name="T30" fmla="*/ 55572 w 479"/>
                <a:gd name="T31" fmla="*/ 325963 h 868"/>
                <a:gd name="T32" fmla="*/ 66860 w 479"/>
                <a:gd name="T33" fmla="*/ 341185 h 868"/>
                <a:gd name="T34" fmla="*/ 75978 w 479"/>
                <a:gd name="T35" fmla="*/ 359556 h 868"/>
                <a:gd name="T36" fmla="*/ 80319 w 479"/>
                <a:gd name="T37" fmla="*/ 383177 h 868"/>
                <a:gd name="T38" fmla="*/ 98120 w 479"/>
                <a:gd name="T39" fmla="*/ 409422 h 868"/>
                <a:gd name="T40" fmla="*/ 121999 w 479"/>
                <a:gd name="T41" fmla="*/ 433042 h 868"/>
                <a:gd name="T42" fmla="*/ 147614 w 479"/>
                <a:gd name="T43" fmla="*/ 446165 h 868"/>
                <a:gd name="T44" fmla="*/ 129379 w 479"/>
                <a:gd name="T45" fmla="*/ 455088 h 868"/>
                <a:gd name="T46" fmla="*/ 116789 w 479"/>
                <a:gd name="T47" fmla="*/ 453513 h 868"/>
                <a:gd name="T48" fmla="*/ 99422 w 479"/>
                <a:gd name="T49" fmla="*/ 441441 h 868"/>
                <a:gd name="T50" fmla="*/ 86832 w 479"/>
                <a:gd name="T51" fmla="*/ 431993 h 868"/>
                <a:gd name="T52" fmla="*/ 59480 w 479"/>
                <a:gd name="T53" fmla="*/ 398399 h 868"/>
                <a:gd name="T54" fmla="*/ 36035 w 479"/>
                <a:gd name="T55" fmla="*/ 383177 h 868"/>
                <a:gd name="T56" fmla="*/ 32128 w 479"/>
                <a:gd name="T57" fmla="*/ 361131 h 868"/>
                <a:gd name="T58" fmla="*/ 34733 w 479"/>
                <a:gd name="T59" fmla="*/ 342760 h 868"/>
                <a:gd name="T60" fmla="*/ 38206 w 479"/>
                <a:gd name="T61" fmla="*/ 323863 h 868"/>
                <a:gd name="T62" fmla="*/ 52099 w 479"/>
                <a:gd name="T63" fmla="*/ 261400 h 868"/>
                <a:gd name="T64" fmla="*/ 46889 w 479"/>
                <a:gd name="T65" fmla="*/ 212060 h 868"/>
                <a:gd name="T66" fmla="*/ 26918 w 479"/>
                <a:gd name="T67" fmla="*/ 167443 h 868"/>
                <a:gd name="T68" fmla="*/ 27786 w 479"/>
                <a:gd name="T69" fmla="*/ 149596 h 868"/>
                <a:gd name="T70" fmla="*/ 32128 w 479"/>
                <a:gd name="T71" fmla="*/ 139098 h 868"/>
                <a:gd name="T72" fmla="*/ 24313 w 479"/>
                <a:gd name="T73" fmla="*/ 106030 h 868"/>
                <a:gd name="T74" fmla="*/ 9986 w 479"/>
                <a:gd name="T75" fmla="*/ 82934 h 868"/>
                <a:gd name="T76" fmla="*/ 434 w 479"/>
                <a:gd name="T77" fmla="*/ 53540 h 868"/>
                <a:gd name="T78" fmla="*/ 4776 w 479"/>
                <a:gd name="T79" fmla="*/ 23096 h 868"/>
                <a:gd name="T80" fmla="*/ 21274 w 479"/>
                <a:gd name="T81" fmla="*/ 8398 h 868"/>
                <a:gd name="T82" fmla="*/ 52099 w 479"/>
                <a:gd name="T83" fmla="*/ 0 h 868"/>
                <a:gd name="T84" fmla="*/ 67729 w 479"/>
                <a:gd name="T85" fmla="*/ 14697 h 868"/>
                <a:gd name="T86" fmla="*/ 77714 w 479"/>
                <a:gd name="T87" fmla="*/ 18896 h 868"/>
                <a:gd name="T88" fmla="*/ 85529 w 479"/>
                <a:gd name="T89" fmla="*/ 71386 h 868"/>
                <a:gd name="T90" fmla="*/ 92476 w 479"/>
                <a:gd name="T91" fmla="*/ 87133 h 868"/>
                <a:gd name="T92" fmla="*/ 100291 w 479"/>
                <a:gd name="T93" fmla="*/ 81359 h 868"/>
                <a:gd name="T94" fmla="*/ 112013 w 479"/>
                <a:gd name="T95" fmla="*/ 66137 h 868"/>
                <a:gd name="T96" fmla="*/ 121999 w 479"/>
                <a:gd name="T97" fmla="*/ 74011 h 868"/>
                <a:gd name="T98" fmla="*/ 129379 w 479"/>
                <a:gd name="T99" fmla="*/ 71386 h 868"/>
                <a:gd name="T100" fmla="*/ 137194 w 479"/>
                <a:gd name="T101" fmla="*/ 56689 h 868"/>
                <a:gd name="T102" fmla="*/ 150219 w 479"/>
                <a:gd name="T103" fmla="*/ 56689 h 868"/>
                <a:gd name="T104" fmla="*/ 168019 w 479"/>
                <a:gd name="T105" fmla="*/ 82409 h 868"/>
                <a:gd name="T106" fmla="*/ 197108 w 479"/>
                <a:gd name="T107" fmla="*/ 129125 h 868"/>
                <a:gd name="T108" fmla="*/ 207528 w 479"/>
                <a:gd name="T109" fmla="*/ 161144 h 868"/>
                <a:gd name="T110" fmla="*/ 203186 w 479"/>
                <a:gd name="T111" fmla="*/ 177416 h 8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" name="Freeform 25">
              <a:extLst>
                <a:ext uri="{FF2B5EF4-FFF2-40B4-BE49-F238E27FC236}">
                  <a16:creationId xmlns:a16="http://schemas.microsoft.com/office/drawing/2014/main" id="{759DCD49-FED2-4CCE-BEC7-315689B05EEC}"/>
                </a:ext>
              </a:extLst>
            </p:cNvPr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4060826" y="5400675"/>
              <a:ext cx="23813" cy="57150"/>
            </a:xfrm>
            <a:custGeom>
              <a:avLst/>
              <a:gdLst>
                <a:gd name="T0" fmla="*/ 0 w 53"/>
                <a:gd name="T1" fmla="*/ 24063 h 19"/>
                <a:gd name="T2" fmla="*/ 3145 w 53"/>
                <a:gd name="T3" fmla="*/ 39103 h 19"/>
                <a:gd name="T4" fmla="*/ 6290 w 53"/>
                <a:gd name="T5" fmla="*/ 51134 h 19"/>
                <a:gd name="T6" fmla="*/ 9885 w 53"/>
                <a:gd name="T7" fmla="*/ 57150 h 19"/>
                <a:gd name="T8" fmla="*/ 13030 w 53"/>
                <a:gd name="T9" fmla="*/ 57150 h 19"/>
                <a:gd name="T10" fmla="*/ 15726 w 53"/>
                <a:gd name="T11" fmla="*/ 54142 h 19"/>
                <a:gd name="T12" fmla="*/ 18871 w 53"/>
                <a:gd name="T13" fmla="*/ 45118 h 19"/>
                <a:gd name="T14" fmla="*/ 21117 w 53"/>
                <a:gd name="T15" fmla="*/ 36095 h 19"/>
                <a:gd name="T16" fmla="*/ 23813 w 53"/>
                <a:gd name="T17" fmla="*/ 24063 h 19"/>
                <a:gd name="T18" fmla="*/ 21117 w 53"/>
                <a:gd name="T19" fmla="*/ 15039 h 19"/>
                <a:gd name="T20" fmla="*/ 18871 w 53"/>
                <a:gd name="T21" fmla="*/ 6016 h 19"/>
                <a:gd name="T22" fmla="*/ 15726 w 53"/>
                <a:gd name="T23" fmla="*/ 3008 h 19"/>
                <a:gd name="T24" fmla="*/ 13030 w 53"/>
                <a:gd name="T25" fmla="*/ 0 h 19"/>
                <a:gd name="T26" fmla="*/ 9885 w 53"/>
                <a:gd name="T27" fmla="*/ 0 h 19"/>
                <a:gd name="T28" fmla="*/ 6290 w 53"/>
                <a:gd name="T29" fmla="*/ 3008 h 19"/>
                <a:gd name="T30" fmla="*/ 3145 w 53"/>
                <a:gd name="T31" fmla="*/ 9024 h 19"/>
                <a:gd name="T32" fmla="*/ 0 w 53"/>
                <a:gd name="T33" fmla="*/ 24063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Line 26" descr="Horizontal dunkel">
              <a:extLst>
                <a:ext uri="{FF2B5EF4-FFF2-40B4-BE49-F238E27FC236}">
                  <a16:creationId xmlns:a16="http://schemas.microsoft.com/office/drawing/2014/main" id="{598CEFA9-A2AE-4993-9B0A-2202FD4084A5}"/>
                </a:ext>
              </a:extLst>
            </p:cNvPr>
            <p:cNvSpPr>
              <a:spLocks noChangeShapeType="1"/>
            </p:cNvSpPr>
            <p:nvPr>
              <p:custDataLst>
                <p:tags r:id="rId21"/>
              </p:custDataLst>
            </p:nvPr>
          </p:nvSpPr>
          <p:spPr bwMode="auto">
            <a:xfrm>
              <a:off x="2522539" y="2322514"/>
              <a:ext cx="3175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Freeform 27">
              <a:extLst>
                <a:ext uri="{FF2B5EF4-FFF2-40B4-BE49-F238E27FC236}">
                  <a16:creationId xmlns:a16="http://schemas.microsoft.com/office/drawing/2014/main" id="{555B8E63-805F-44E1-970A-22AFB6DBE8C4}"/>
                </a:ext>
              </a:extLst>
            </p:cNvPr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2525714" y="2319338"/>
              <a:ext cx="3175" cy="55562"/>
            </a:xfrm>
            <a:custGeom>
              <a:avLst/>
              <a:gdLst>
                <a:gd name="T0" fmla="*/ 0 w 6"/>
                <a:gd name="T1" fmla="*/ 55562 h 24"/>
                <a:gd name="T2" fmla="*/ 0 w 6"/>
                <a:gd name="T3" fmla="*/ 43987 h 24"/>
                <a:gd name="T4" fmla="*/ 529 w 6"/>
                <a:gd name="T5" fmla="*/ 32411 h 24"/>
                <a:gd name="T6" fmla="*/ 1588 w 6"/>
                <a:gd name="T7" fmla="*/ 18521 h 24"/>
                <a:gd name="T8" fmla="*/ 3175 w 6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" name="Freeform 28">
              <a:extLst>
                <a:ext uri="{FF2B5EF4-FFF2-40B4-BE49-F238E27FC236}">
                  <a16:creationId xmlns:a16="http://schemas.microsoft.com/office/drawing/2014/main" id="{CAAF8541-F1D5-4FEE-B4DF-9E1896EA42BC}"/>
                </a:ext>
              </a:extLst>
            </p:cNvPr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2501901" y="2373313"/>
              <a:ext cx="23813" cy="57150"/>
            </a:xfrm>
            <a:custGeom>
              <a:avLst/>
              <a:gdLst>
                <a:gd name="T0" fmla="*/ 0 w 47"/>
                <a:gd name="T1" fmla="*/ 20472 h 67"/>
                <a:gd name="T2" fmla="*/ 0 w 47"/>
                <a:gd name="T3" fmla="*/ 25590 h 67"/>
                <a:gd name="T4" fmla="*/ 1013 w 47"/>
                <a:gd name="T5" fmla="*/ 30707 h 67"/>
                <a:gd name="T6" fmla="*/ 1520 w 47"/>
                <a:gd name="T7" fmla="*/ 35825 h 67"/>
                <a:gd name="T8" fmla="*/ 2533 w 47"/>
                <a:gd name="T9" fmla="*/ 40090 h 67"/>
                <a:gd name="T10" fmla="*/ 4560 w 47"/>
                <a:gd name="T11" fmla="*/ 49473 h 67"/>
                <a:gd name="T12" fmla="*/ 7093 w 47"/>
                <a:gd name="T13" fmla="*/ 57150 h 67"/>
                <a:gd name="T14" fmla="*/ 23813 w 47"/>
                <a:gd name="T15" fmla="*/ 57150 h 67"/>
                <a:gd name="T16" fmla="*/ 23813 w 47"/>
                <a:gd name="T17" fmla="*/ 0 h 67"/>
                <a:gd name="T18" fmla="*/ 18240 w 47"/>
                <a:gd name="T19" fmla="*/ 1706 h 67"/>
                <a:gd name="T20" fmla="*/ 13173 w 47"/>
                <a:gd name="T21" fmla="*/ 3412 h 67"/>
                <a:gd name="T22" fmla="*/ 9120 w 47"/>
                <a:gd name="T23" fmla="*/ 5971 h 67"/>
                <a:gd name="T24" fmla="*/ 5573 w 47"/>
                <a:gd name="T25" fmla="*/ 7677 h 67"/>
                <a:gd name="T26" fmla="*/ 3040 w 47"/>
                <a:gd name="T27" fmla="*/ 10236 h 67"/>
                <a:gd name="T28" fmla="*/ 1520 w 47"/>
                <a:gd name="T29" fmla="*/ 13648 h 67"/>
                <a:gd name="T30" fmla="*/ 0 w 47"/>
                <a:gd name="T31" fmla="*/ 17060 h 67"/>
                <a:gd name="T32" fmla="*/ 0 w 47"/>
                <a:gd name="T33" fmla="*/ 20472 h 6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Freeform 29">
              <a:extLst>
                <a:ext uri="{FF2B5EF4-FFF2-40B4-BE49-F238E27FC236}">
                  <a16:creationId xmlns:a16="http://schemas.microsoft.com/office/drawing/2014/main" id="{4424951B-0473-4DD5-9899-690FDD5C24CB}"/>
                </a:ext>
              </a:extLst>
            </p:cNvPr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3827463" y="2368550"/>
              <a:ext cx="49212" cy="57150"/>
            </a:xfrm>
            <a:custGeom>
              <a:avLst/>
              <a:gdLst>
                <a:gd name="T0" fmla="*/ 0 w 112"/>
                <a:gd name="T1" fmla="*/ 57150 h 36"/>
                <a:gd name="T2" fmla="*/ 25924 w 112"/>
                <a:gd name="T3" fmla="*/ 57150 h 36"/>
                <a:gd name="T4" fmla="*/ 29439 w 112"/>
                <a:gd name="T5" fmla="*/ 47625 h 36"/>
                <a:gd name="T6" fmla="*/ 32954 w 112"/>
                <a:gd name="T7" fmla="*/ 41275 h 36"/>
                <a:gd name="T8" fmla="*/ 36909 w 112"/>
                <a:gd name="T9" fmla="*/ 36513 h 36"/>
                <a:gd name="T10" fmla="*/ 39985 w 112"/>
                <a:gd name="T11" fmla="*/ 31750 h 36"/>
                <a:gd name="T12" fmla="*/ 43061 w 112"/>
                <a:gd name="T13" fmla="*/ 26988 h 36"/>
                <a:gd name="T14" fmla="*/ 45697 w 112"/>
                <a:gd name="T15" fmla="*/ 20638 h 36"/>
                <a:gd name="T16" fmla="*/ 47015 w 112"/>
                <a:gd name="T17" fmla="*/ 17463 h 36"/>
                <a:gd name="T18" fmla="*/ 47894 w 112"/>
                <a:gd name="T19" fmla="*/ 12700 h 36"/>
                <a:gd name="T20" fmla="*/ 48773 w 112"/>
                <a:gd name="T21" fmla="*/ 6350 h 36"/>
                <a:gd name="T22" fmla="*/ 49212 w 112"/>
                <a:gd name="T23" fmla="*/ 0 h 36"/>
                <a:gd name="T24" fmla="*/ 43939 w 112"/>
                <a:gd name="T25" fmla="*/ 0 h 36"/>
                <a:gd name="T26" fmla="*/ 37348 w 112"/>
                <a:gd name="T27" fmla="*/ 1588 h 36"/>
                <a:gd name="T28" fmla="*/ 29439 w 112"/>
                <a:gd name="T29" fmla="*/ 4763 h 36"/>
                <a:gd name="T30" fmla="*/ 21091 w 112"/>
                <a:gd name="T31" fmla="*/ 11113 h 36"/>
                <a:gd name="T32" fmla="*/ 17576 w 112"/>
                <a:gd name="T33" fmla="*/ 14288 h 36"/>
                <a:gd name="T34" fmla="*/ 13621 w 112"/>
                <a:gd name="T35" fmla="*/ 17463 h 36"/>
                <a:gd name="T36" fmla="*/ 10106 w 112"/>
                <a:gd name="T37" fmla="*/ 22225 h 36"/>
                <a:gd name="T38" fmla="*/ 7470 w 112"/>
                <a:gd name="T39" fmla="*/ 28575 h 36"/>
                <a:gd name="T40" fmla="*/ 4394 w 112"/>
                <a:gd name="T41" fmla="*/ 34925 h 36"/>
                <a:gd name="T42" fmla="*/ 2636 w 112"/>
                <a:gd name="T43" fmla="*/ 41275 h 36"/>
                <a:gd name="T44" fmla="*/ 439 w 112"/>
                <a:gd name="T45" fmla="*/ 49213 h 36"/>
                <a:gd name="T46" fmla="*/ 0 w 112"/>
                <a:gd name="T47" fmla="*/ 57150 h 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" name="Freeform 30">
              <a:extLst>
                <a:ext uri="{FF2B5EF4-FFF2-40B4-BE49-F238E27FC236}">
                  <a16:creationId xmlns:a16="http://schemas.microsoft.com/office/drawing/2014/main" id="{9D2C74B1-4CC9-496B-8BCC-B6C976A571B7}"/>
                </a:ext>
              </a:extLst>
            </p:cNvPr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6565901" y="1925639"/>
              <a:ext cx="874713" cy="452437"/>
            </a:xfrm>
            <a:custGeom>
              <a:avLst/>
              <a:gdLst>
                <a:gd name="T0" fmla="*/ 188809 w 2006"/>
                <a:gd name="T1" fmla="*/ 401059 h 863"/>
                <a:gd name="T2" fmla="*/ 179652 w 2006"/>
                <a:gd name="T3" fmla="*/ 400535 h 863"/>
                <a:gd name="T4" fmla="*/ 170059 w 2006"/>
                <a:gd name="T5" fmla="*/ 416263 h 863"/>
                <a:gd name="T6" fmla="*/ 163518 w 2006"/>
                <a:gd name="T7" fmla="*/ 415214 h 863"/>
                <a:gd name="T8" fmla="*/ 161338 w 2006"/>
                <a:gd name="T9" fmla="*/ 393720 h 863"/>
                <a:gd name="T10" fmla="*/ 141280 w 2006"/>
                <a:gd name="T11" fmla="*/ 379565 h 863"/>
                <a:gd name="T12" fmla="*/ 136047 w 2006"/>
                <a:gd name="T13" fmla="*/ 371177 h 863"/>
                <a:gd name="T14" fmla="*/ 125582 w 2006"/>
                <a:gd name="T15" fmla="*/ 362788 h 863"/>
                <a:gd name="T16" fmla="*/ 109448 w 2006"/>
                <a:gd name="T17" fmla="*/ 336051 h 863"/>
                <a:gd name="T18" fmla="*/ 101163 w 2006"/>
                <a:gd name="T19" fmla="*/ 319799 h 863"/>
                <a:gd name="T20" fmla="*/ 110320 w 2006"/>
                <a:gd name="T21" fmla="*/ 311411 h 863"/>
                <a:gd name="T22" fmla="*/ 121657 w 2006"/>
                <a:gd name="T23" fmla="*/ 300401 h 863"/>
                <a:gd name="T24" fmla="*/ 147384 w 2006"/>
                <a:gd name="T25" fmla="*/ 285198 h 863"/>
                <a:gd name="T26" fmla="*/ 139099 w 2006"/>
                <a:gd name="T27" fmla="*/ 255315 h 863"/>
                <a:gd name="T28" fmla="*/ 112500 w 2006"/>
                <a:gd name="T29" fmla="*/ 249024 h 863"/>
                <a:gd name="T30" fmla="*/ 91134 w 2006"/>
                <a:gd name="T31" fmla="*/ 246403 h 863"/>
                <a:gd name="T32" fmla="*/ 68460 w 2006"/>
                <a:gd name="T33" fmla="*/ 259509 h 863"/>
                <a:gd name="T34" fmla="*/ 46221 w 2006"/>
                <a:gd name="T35" fmla="*/ 264752 h 863"/>
                <a:gd name="T36" fmla="*/ 11773 w 2006"/>
                <a:gd name="T37" fmla="*/ 216520 h 863"/>
                <a:gd name="T38" fmla="*/ 8721 w 2006"/>
                <a:gd name="T39" fmla="*/ 148366 h 863"/>
                <a:gd name="T40" fmla="*/ 49273 w 2006"/>
                <a:gd name="T41" fmla="*/ 135784 h 863"/>
                <a:gd name="T42" fmla="*/ 127326 w 2006"/>
                <a:gd name="T43" fmla="*/ 116386 h 863"/>
                <a:gd name="T44" fmla="*/ 217152 w 2006"/>
                <a:gd name="T45" fmla="*/ 132638 h 863"/>
                <a:gd name="T46" fmla="*/ 312647 w 2006"/>
                <a:gd name="T47" fmla="*/ 132638 h 863"/>
                <a:gd name="T48" fmla="*/ 286920 w 2006"/>
                <a:gd name="T49" fmla="*/ 96988 h 863"/>
                <a:gd name="T50" fmla="*/ 361920 w 2006"/>
                <a:gd name="T51" fmla="*/ 35650 h 863"/>
                <a:gd name="T52" fmla="*/ 457851 w 2006"/>
                <a:gd name="T53" fmla="*/ 6815 h 863"/>
                <a:gd name="T54" fmla="*/ 512793 w 2006"/>
                <a:gd name="T55" fmla="*/ 31980 h 863"/>
                <a:gd name="T56" fmla="*/ 565119 w 2006"/>
                <a:gd name="T57" fmla="*/ 58193 h 863"/>
                <a:gd name="T58" fmla="*/ 628782 w 2006"/>
                <a:gd name="T59" fmla="*/ 51902 h 863"/>
                <a:gd name="T60" fmla="*/ 718172 w 2006"/>
                <a:gd name="T61" fmla="*/ 142075 h 863"/>
                <a:gd name="T62" fmla="*/ 781835 w 2006"/>
                <a:gd name="T63" fmla="*/ 138929 h 863"/>
                <a:gd name="T64" fmla="*/ 872097 w 2006"/>
                <a:gd name="T65" fmla="*/ 177724 h 863"/>
                <a:gd name="T66" fmla="*/ 872969 w 2006"/>
                <a:gd name="T67" fmla="*/ 199743 h 863"/>
                <a:gd name="T68" fmla="*/ 863812 w 2006"/>
                <a:gd name="T69" fmla="*/ 209180 h 863"/>
                <a:gd name="T70" fmla="*/ 854655 w 2006"/>
                <a:gd name="T71" fmla="*/ 211801 h 863"/>
                <a:gd name="T72" fmla="*/ 855963 w 2006"/>
                <a:gd name="T73" fmla="*/ 222811 h 863"/>
                <a:gd name="T74" fmla="*/ 865556 w 2006"/>
                <a:gd name="T75" fmla="*/ 244305 h 863"/>
                <a:gd name="T76" fmla="*/ 862940 w 2006"/>
                <a:gd name="T77" fmla="*/ 250597 h 863"/>
                <a:gd name="T78" fmla="*/ 845498 w 2006"/>
                <a:gd name="T79" fmla="*/ 252169 h 863"/>
                <a:gd name="T80" fmla="*/ 825440 w 2006"/>
                <a:gd name="T81" fmla="*/ 248500 h 863"/>
                <a:gd name="T82" fmla="*/ 812794 w 2006"/>
                <a:gd name="T83" fmla="*/ 248500 h 863"/>
                <a:gd name="T84" fmla="*/ 818899 w 2006"/>
                <a:gd name="T85" fmla="*/ 287295 h 863"/>
                <a:gd name="T86" fmla="*/ 819771 w 2006"/>
                <a:gd name="T87" fmla="*/ 307217 h 863"/>
                <a:gd name="T88" fmla="*/ 780091 w 2006"/>
                <a:gd name="T89" fmla="*/ 308265 h 863"/>
                <a:gd name="T90" fmla="*/ 770933 w 2006"/>
                <a:gd name="T91" fmla="*/ 316653 h 863"/>
                <a:gd name="T92" fmla="*/ 782707 w 2006"/>
                <a:gd name="T93" fmla="*/ 324517 h 863"/>
                <a:gd name="T94" fmla="*/ 790992 w 2006"/>
                <a:gd name="T95" fmla="*/ 340769 h 863"/>
                <a:gd name="T96" fmla="*/ 799713 w 2006"/>
                <a:gd name="T97" fmla="*/ 361216 h 863"/>
                <a:gd name="T98" fmla="*/ 801021 w 2006"/>
                <a:gd name="T99" fmla="*/ 370128 h 863"/>
                <a:gd name="T100" fmla="*/ 801021 w 2006"/>
                <a:gd name="T101" fmla="*/ 395293 h 863"/>
                <a:gd name="T102" fmla="*/ 759160 w 2006"/>
                <a:gd name="T103" fmla="*/ 387953 h 863"/>
                <a:gd name="T104" fmla="*/ 643171 w 2006"/>
                <a:gd name="T105" fmla="*/ 400535 h 863"/>
                <a:gd name="T106" fmla="*/ 573840 w 2006"/>
                <a:gd name="T107" fmla="*/ 416787 h 863"/>
                <a:gd name="T108" fmla="*/ 497967 w 2006"/>
                <a:gd name="T109" fmla="*/ 439330 h 863"/>
                <a:gd name="T110" fmla="*/ 419915 w 2006"/>
                <a:gd name="T111" fmla="*/ 365410 h 863"/>
                <a:gd name="T112" fmla="*/ 298257 w 2006"/>
                <a:gd name="T113" fmla="*/ 307217 h 863"/>
                <a:gd name="T114" fmla="*/ 254652 w 2006"/>
                <a:gd name="T115" fmla="*/ 436185 h 86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" name="Freeform 31">
              <a:extLst>
                <a:ext uri="{FF2B5EF4-FFF2-40B4-BE49-F238E27FC236}">
                  <a16:creationId xmlns:a16="http://schemas.microsoft.com/office/drawing/2014/main" id="{E3AB5ECC-69A5-4C8B-9B40-5DAE1110583A}"/>
                </a:ext>
              </a:extLst>
            </p:cNvPr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6796089" y="2228850"/>
              <a:ext cx="409575" cy="249238"/>
            </a:xfrm>
            <a:custGeom>
              <a:avLst/>
              <a:gdLst>
                <a:gd name="T0" fmla="*/ 275062 w 950"/>
                <a:gd name="T1" fmla="*/ 235924 h 468"/>
                <a:gd name="T2" fmla="*/ 240571 w 950"/>
                <a:gd name="T3" fmla="*/ 222610 h 468"/>
                <a:gd name="T4" fmla="*/ 203063 w 950"/>
                <a:gd name="T5" fmla="*/ 200242 h 468"/>
                <a:gd name="T6" fmla="*/ 169004 w 950"/>
                <a:gd name="T7" fmla="*/ 163496 h 468"/>
                <a:gd name="T8" fmla="*/ 131495 w 950"/>
                <a:gd name="T9" fmla="*/ 137400 h 468"/>
                <a:gd name="T10" fmla="*/ 109076 w 950"/>
                <a:gd name="T11" fmla="*/ 111305 h 468"/>
                <a:gd name="T12" fmla="*/ 80190 w 950"/>
                <a:gd name="T13" fmla="*/ 91600 h 468"/>
                <a:gd name="T14" fmla="*/ 57341 w 950"/>
                <a:gd name="T15" fmla="*/ 101186 h 468"/>
                <a:gd name="T16" fmla="*/ 42682 w 950"/>
                <a:gd name="T17" fmla="*/ 127814 h 468"/>
                <a:gd name="T18" fmla="*/ 17245 w 950"/>
                <a:gd name="T19" fmla="*/ 131010 h 468"/>
                <a:gd name="T20" fmla="*/ 0 w 950"/>
                <a:gd name="T21" fmla="*/ 12781 h 468"/>
                <a:gd name="T22" fmla="*/ 34059 w 950"/>
                <a:gd name="T23" fmla="*/ 3195 h 468"/>
                <a:gd name="T24" fmla="*/ 57341 w 950"/>
                <a:gd name="T25" fmla="*/ 29291 h 468"/>
                <a:gd name="T26" fmla="*/ 67688 w 950"/>
                <a:gd name="T27" fmla="*/ 7988 h 468"/>
                <a:gd name="T28" fmla="*/ 143136 w 950"/>
                <a:gd name="T29" fmla="*/ 62310 h 468"/>
                <a:gd name="T30" fmla="*/ 188836 w 950"/>
                <a:gd name="T31" fmla="*/ 62310 h 468"/>
                <a:gd name="T32" fmla="*/ 226344 w 950"/>
                <a:gd name="T33" fmla="*/ 71896 h 468"/>
                <a:gd name="T34" fmla="*/ 257386 w 950"/>
                <a:gd name="T35" fmla="*/ 121424 h 468"/>
                <a:gd name="T36" fmla="*/ 289289 w 950"/>
                <a:gd name="T37" fmla="*/ 134205 h 468"/>
                <a:gd name="T38" fmla="*/ 314726 w 950"/>
                <a:gd name="T39" fmla="*/ 137400 h 468"/>
                <a:gd name="T40" fmla="*/ 341025 w 950"/>
                <a:gd name="T41" fmla="*/ 114500 h 468"/>
                <a:gd name="T42" fmla="*/ 363444 w 950"/>
                <a:gd name="T43" fmla="*/ 104382 h 468"/>
                <a:gd name="T44" fmla="*/ 355252 w 950"/>
                <a:gd name="T45" fmla="*/ 134205 h 468"/>
                <a:gd name="T46" fmla="*/ 375084 w 950"/>
                <a:gd name="T47" fmla="*/ 127814 h 468"/>
                <a:gd name="T48" fmla="*/ 409575 w 950"/>
                <a:gd name="T49" fmla="*/ 150714 h 468"/>
                <a:gd name="T50" fmla="*/ 380689 w 950"/>
                <a:gd name="T51" fmla="*/ 170419 h 468"/>
                <a:gd name="T52" fmla="*/ 355252 w 950"/>
                <a:gd name="T53" fmla="*/ 150714 h 468"/>
                <a:gd name="T54" fmla="*/ 329385 w 950"/>
                <a:gd name="T55" fmla="*/ 147519 h 468"/>
                <a:gd name="T56" fmla="*/ 317744 w 950"/>
                <a:gd name="T57" fmla="*/ 170419 h 468"/>
                <a:gd name="T58" fmla="*/ 294894 w 950"/>
                <a:gd name="T59" fmla="*/ 190124 h 468"/>
                <a:gd name="T60" fmla="*/ 306103 w 950"/>
                <a:gd name="T61" fmla="*/ 206633 h 468"/>
                <a:gd name="T62" fmla="*/ 320331 w 950"/>
                <a:gd name="T63" fmla="*/ 232729 h 468"/>
                <a:gd name="T64" fmla="*/ 309121 w 950"/>
                <a:gd name="T65" fmla="*/ 249238 h 468"/>
                <a:gd name="T66" fmla="*/ 303086 w 950"/>
                <a:gd name="T67" fmla="*/ 247640 h 468"/>
                <a:gd name="T68" fmla="*/ 294894 w 950"/>
                <a:gd name="T69" fmla="*/ 245510 h 468"/>
                <a:gd name="T70" fmla="*/ 283685 w 950"/>
                <a:gd name="T71" fmla="*/ 245510 h 46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" name="Freeform 32">
              <a:extLst>
                <a:ext uri="{FF2B5EF4-FFF2-40B4-BE49-F238E27FC236}">
                  <a16:creationId xmlns:a16="http://schemas.microsoft.com/office/drawing/2014/main" id="{627D6A69-1B4D-4E4C-B63C-BF210CFA73CC}"/>
                </a:ext>
              </a:extLst>
            </p:cNvPr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5603876" y="3232151"/>
              <a:ext cx="296863" cy="288925"/>
            </a:xfrm>
            <a:custGeom>
              <a:avLst/>
              <a:gdLst>
                <a:gd name="T0" fmla="*/ 2655 w 671"/>
                <a:gd name="T1" fmla="*/ 201563 h 549"/>
                <a:gd name="T2" fmla="*/ 3539 w 671"/>
                <a:gd name="T3" fmla="*/ 166303 h 549"/>
                <a:gd name="T4" fmla="*/ 7521 w 671"/>
                <a:gd name="T5" fmla="*/ 151041 h 549"/>
                <a:gd name="T6" fmla="*/ 23006 w 671"/>
                <a:gd name="T7" fmla="*/ 125253 h 549"/>
                <a:gd name="T8" fmla="*/ 31412 w 671"/>
                <a:gd name="T9" fmla="*/ 107886 h 549"/>
                <a:gd name="T10" fmla="*/ 32297 w 671"/>
                <a:gd name="T11" fmla="*/ 87888 h 549"/>
                <a:gd name="T12" fmla="*/ 32297 w 671"/>
                <a:gd name="T13" fmla="*/ 72100 h 549"/>
                <a:gd name="T14" fmla="*/ 23891 w 671"/>
                <a:gd name="T15" fmla="*/ 56838 h 549"/>
                <a:gd name="T16" fmla="*/ 26988 w 671"/>
                <a:gd name="T17" fmla="*/ 41576 h 549"/>
                <a:gd name="T18" fmla="*/ 33624 w 671"/>
                <a:gd name="T19" fmla="*/ 26314 h 549"/>
                <a:gd name="T20" fmla="*/ 42472 w 671"/>
                <a:gd name="T21" fmla="*/ 13157 h 549"/>
                <a:gd name="T22" fmla="*/ 53090 w 671"/>
                <a:gd name="T23" fmla="*/ 3684 h 549"/>
                <a:gd name="T24" fmla="*/ 64593 w 671"/>
                <a:gd name="T25" fmla="*/ 0 h 549"/>
                <a:gd name="T26" fmla="*/ 76538 w 671"/>
                <a:gd name="T27" fmla="*/ 2631 h 549"/>
                <a:gd name="T28" fmla="*/ 91138 w 671"/>
                <a:gd name="T29" fmla="*/ 13683 h 549"/>
                <a:gd name="T30" fmla="*/ 104411 w 671"/>
                <a:gd name="T31" fmla="*/ 23682 h 549"/>
                <a:gd name="T32" fmla="*/ 114586 w 671"/>
                <a:gd name="T33" fmla="*/ 26314 h 549"/>
                <a:gd name="T34" fmla="*/ 120338 w 671"/>
                <a:gd name="T35" fmla="*/ 23156 h 549"/>
                <a:gd name="T36" fmla="*/ 125647 w 671"/>
                <a:gd name="T37" fmla="*/ 18420 h 549"/>
                <a:gd name="T38" fmla="*/ 132726 w 671"/>
                <a:gd name="T39" fmla="*/ 16841 h 549"/>
                <a:gd name="T40" fmla="*/ 140689 w 671"/>
                <a:gd name="T41" fmla="*/ 20525 h 549"/>
                <a:gd name="T42" fmla="*/ 149095 w 671"/>
                <a:gd name="T43" fmla="*/ 34208 h 549"/>
                <a:gd name="T44" fmla="*/ 156174 w 671"/>
                <a:gd name="T45" fmla="*/ 41576 h 549"/>
                <a:gd name="T46" fmla="*/ 163695 w 671"/>
                <a:gd name="T47" fmla="*/ 42628 h 549"/>
                <a:gd name="T48" fmla="*/ 168562 w 671"/>
                <a:gd name="T49" fmla="*/ 39471 h 549"/>
                <a:gd name="T50" fmla="*/ 175640 w 671"/>
                <a:gd name="T51" fmla="*/ 29471 h 549"/>
                <a:gd name="T52" fmla="*/ 185373 w 671"/>
                <a:gd name="T53" fmla="*/ 19998 h 549"/>
                <a:gd name="T54" fmla="*/ 202628 w 671"/>
                <a:gd name="T55" fmla="*/ 11578 h 549"/>
                <a:gd name="T56" fmla="*/ 215458 w 671"/>
                <a:gd name="T57" fmla="*/ 13157 h 549"/>
                <a:gd name="T58" fmla="*/ 226076 w 671"/>
                <a:gd name="T59" fmla="*/ 18420 h 549"/>
                <a:gd name="T60" fmla="*/ 237579 w 671"/>
                <a:gd name="T61" fmla="*/ 22630 h 549"/>
                <a:gd name="T62" fmla="*/ 252621 w 671"/>
                <a:gd name="T63" fmla="*/ 20525 h 549"/>
                <a:gd name="T64" fmla="*/ 285803 w 671"/>
                <a:gd name="T65" fmla="*/ 35260 h 549"/>
                <a:gd name="T66" fmla="*/ 294208 w 671"/>
                <a:gd name="T67" fmla="*/ 55259 h 549"/>
                <a:gd name="T68" fmla="*/ 275627 w 671"/>
                <a:gd name="T69" fmla="*/ 96308 h 549"/>
                <a:gd name="T70" fmla="*/ 262354 w 671"/>
                <a:gd name="T71" fmla="*/ 122622 h 549"/>
                <a:gd name="T72" fmla="*/ 252179 w 671"/>
                <a:gd name="T73" fmla="*/ 153146 h 549"/>
                <a:gd name="T74" fmla="*/ 243330 w 671"/>
                <a:gd name="T75" fmla="*/ 180512 h 549"/>
                <a:gd name="T76" fmla="*/ 232270 w 671"/>
                <a:gd name="T77" fmla="*/ 214194 h 549"/>
                <a:gd name="T78" fmla="*/ 228288 w 671"/>
                <a:gd name="T79" fmla="*/ 222088 h 549"/>
                <a:gd name="T80" fmla="*/ 221209 w 671"/>
                <a:gd name="T81" fmla="*/ 231035 h 549"/>
                <a:gd name="T82" fmla="*/ 213246 w 671"/>
                <a:gd name="T83" fmla="*/ 233140 h 549"/>
                <a:gd name="T84" fmla="*/ 203070 w 671"/>
                <a:gd name="T85" fmla="*/ 227351 h 549"/>
                <a:gd name="T86" fmla="*/ 194664 w 671"/>
                <a:gd name="T87" fmla="*/ 221562 h 549"/>
                <a:gd name="T88" fmla="*/ 180507 w 671"/>
                <a:gd name="T89" fmla="*/ 223141 h 549"/>
                <a:gd name="T90" fmla="*/ 168562 w 671"/>
                <a:gd name="T91" fmla="*/ 232087 h 549"/>
                <a:gd name="T92" fmla="*/ 161040 w 671"/>
                <a:gd name="T93" fmla="*/ 246823 h 549"/>
                <a:gd name="T94" fmla="*/ 151307 w 671"/>
                <a:gd name="T95" fmla="*/ 274189 h 549"/>
                <a:gd name="T96" fmla="*/ 143786 w 671"/>
                <a:gd name="T97" fmla="*/ 288925 h 549"/>
                <a:gd name="T98" fmla="*/ 101314 w 671"/>
                <a:gd name="T99" fmla="*/ 287346 h 549"/>
                <a:gd name="T100" fmla="*/ 96005 w 671"/>
                <a:gd name="T101" fmla="*/ 288399 h 549"/>
                <a:gd name="T102" fmla="*/ 79193 w 671"/>
                <a:gd name="T103" fmla="*/ 285767 h 549"/>
                <a:gd name="T104" fmla="*/ 71229 w 671"/>
                <a:gd name="T105" fmla="*/ 284189 h 549"/>
                <a:gd name="T106" fmla="*/ 63708 w 671"/>
                <a:gd name="T107" fmla="*/ 279452 h 549"/>
                <a:gd name="T108" fmla="*/ 57072 w 671"/>
                <a:gd name="T109" fmla="*/ 271032 h 549"/>
                <a:gd name="T110" fmla="*/ 52648 w 671"/>
                <a:gd name="T111" fmla="*/ 261032 h 549"/>
                <a:gd name="T112" fmla="*/ 49993 w 671"/>
                <a:gd name="T113" fmla="*/ 248402 h 549"/>
                <a:gd name="T114" fmla="*/ 44242 w 671"/>
                <a:gd name="T115" fmla="*/ 242087 h 549"/>
                <a:gd name="T116" fmla="*/ 36721 w 671"/>
                <a:gd name="T117" fmla="*/ 235245 h 549"/>
                <a:gd name="T118" fmla="*/ 27872 w 671"/>
                <a:gd name="T119" fmla="*/ 227351 h 549"/>
                <a:gd name="T120" fmla="*/ 17254 w 671"/>
                <a:gd name="T121" fmla="*/ 225772 h 549"/>
                <a:gd name="T122" fmla="*/ 0 w 671"/>
                <a:gd name="T123" fmla="*/ 230508 h 54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" name="Freeform 33">
              <a:extLst>
                <a:ext uri="{FF2B5EF4-FFF2-40B4-BE49-F238E27FC236}">
                  <a16:creationId xmlns:a16="http://schemas.microsoft.com/office/drawing/2014/main" id="{7487EAE6-14D6-4707-ABA1-D07166B8B74B}"/>
                </a:ext>
              </a:extLst>
            </p:cNvPr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6446838" y="3097213"/>
              <a:ext cx="152400" cy="169862"/>
            </a:xfrm>
            <a:custGeom>
              <a:avLst/>
              <a:gdLst>
                <a:gd name="T0" fmla="*/ 138778 w 358"/>
                <a:gd name="T1" fmla="*/ 168304 h 327"/>
                <a:gd name="T2" fmla="*/ 140906 w 358"/>
                <a:gd name="T3" fmla="*/ 166745 h 327"/>
                <a:gd name="T4" fmla="*/ 143460 w 358"/>
                <a:gd name="T5" fmla="*/ 165187 h 327"/>
                <a:gd name="T6" fmla="*/ 147292 w 358"/>
                <a:gd name="T7" fmla="*/ 165187 h 327"/>
                <a:gd name="T8" fmla="*/ 151549 w 358"/>
                <a:gd name="T9" fmla="*/ 168304 h 327"/>
                <a:gd name="T10" fmla="*/ 135798 w 358"/>
                <a:gd name="T11" fmla="*/ 148045 h 327"/>
                <a:gd name="T12" fmla="*/ 118344 w 358"/>
                <a:gd name="T13" fmla="*/ 122072 h 327"/>
                <a:gd name="T14" fmla="*/ 107702 w 358"/>
                <a:gd name="T15" fmla="*/ 105969 h 327"/>
                <a:gd name="T16" fmla="*/ 98762 w 358"/>
                <a:gd name="T17" fmla="*/ 96619 h 327"/>
                <a:gd name="T18" fmla="*/ 93228 w 358"/>
                <a:gd name="T19" fmla="*/ 94021 h 327"/>
                <a:gd name="T20" fmla="*/ 88545 w 358"/>
                <a:gd name="T21" fmla="*/ 93502 h 327"/>
                <a:gd name="T22" fmla="*/ 85565 w 358"/>
                <a:gd name="T23" fmla="*/ 92983 h 327"/>
                <a:gd name="T24" fmla="*/ 84714 w 358"/>
                <a:gd name="T25" fmla="*/ 90385 h 327"/>
                <a:gd name="T26" fmla="*/ 84288 w 358"/>
                <a:gd name="T27" fmla="*/ 88307 h 327"/>
                <a:gd name="T28" fmla="*/ 83011 w 358"/>
                <a:gd name="T29" fmla="*/ 87788 h 327"/>
                <a:gd name="T30" fmla="*/ 78328 w 358"/>
                <a:gd name="T31" fmla="*/ 89346 h 327"/>
                <a:gd name="T32" fmla="*/ 72794 w 358"/>
                <a:gd name="T33" fmla="*/ 89346 h 327"/>
                <a:gd name="T34" fmla="*/ 70240 w 358"/>
                <a:gd name="T35" fmla="*/ 87269 h 327"/>
                <a:gd name="T36" fmla="*/ 68112 w 358"/>
                <a:gd name="T37" fmla="*/ 83632 h 327"/>
                <a:gd name="T38" fmla="*/ 64706 w 358"/>
                <a:gd name="T39" fmla="*/ 74802 h 327"/>
                <a:gd name="T40" fmla="*/ 60875 w 358"/>
                <a:gd name="T41" fmla="*/ 68049 h 327"/>
                <a:gd name="T42" fmla="*/ 56618 w 358"/>
                <a:gd name="T43" fmla="*/ 61815 h 327"/>
                <a:gd name="T44" fmla="*/ 54064 w 358"/>
                <a:gd name="T45" fmla="*/ 54543 h 327"/>
                <a:gd name="T46" fmla="*/ 51935 w 358"/>
                <a:gd name="T47" fmla="*/ 43634 h 327"/>
                <a:gd name="T48" fmla="*/ 50658 w 358"/>
                <a:gd name="T49" fmla="*/ 27531 h 327"/>
                <a:gd name="T50" fmla="*/ 49807 w 358"/>
                <a:gd name="T51" fmla="*/ 11947 h 327"/>
                <a:gd name="T52" fmla="*/ 47678 w 358"/>
                <a:gd name="T53" fmla="*/ 0 h 327"/>
                <a:gd name="T54" fmla="*/ 31076 w 358"/>
                <a:gd name="T55" fmla="*/ 13506 h 327"/>
                <a:gd name="T56" fmla="*/ 25968 w 358"/>
                <a:gd name="T57" fmla="*/ 17142 h 327"/>
                <a:gd name="T58" fmla="*/ 14048 w 358"/>
                <a:gd name="T59" fmla="*/ 25973 h 327"/>
                <a:gd name="T60" fmla="*/ 8940 w 358"/>
                <a:gd name="T61" fmla="*/ 31687 h 327"/>
                <a:gd name="T62" fmla="*/ 7237 w 358"/>
                <a:gd name="T63" fmla="*/ 37401 h 327"/>
                <a:gd name="T64" fmla="*/ 6811 w 358"/>
                <a:gd name="T65" fmla="*/ 43115 h 327"/>
                <a:gd name="T66" fmla="*/ 8514 w 358"/>
                <a:gd name="T67" fmla="*/ 48309 h 327"/>
                <a:gd name="T68" fmla="*/ 9365 w 358"/>
                <a:gd name="T69" fmla="*/ 51946 h 327"/>
                <a:gd name="T70" fmla="*/ 8514 w 358"/>
                <a:gd name="T71" fmla="*/ 57140 h 327"/>
                <a:gd name="T72" fmla="*/ 6385 w 358"/>
                <a:gd name="T73" fmla="*/ 63893 h 327"/>
                <a:gd name="T74" fmla="*/ 2980 w 358"/>
                <a:gd name="T75" fmla="*/ 70646 h 327"/>
                <a:gd name="T76" fmla="*/ 0 w 358"/>
                <a:gd name="T77" fmla="*/ 80516 h 327"/>
                <a:gd name="T78" fmla="*/ 0 w 358"/>
                <a:gd name="T79" fmla="*/ 90385 h 327"/>
                <a:gd name="T80" fmla="*/ 2128 w 358"/>
                <a:gd name="T81" fmla="*/ 94541 h 327"/>
                <a:gd name="T82" fmla="*/ 4683 w 358"/>
                <a:gd name="T83" fmla="*/ 97138 h 327"/>
                <a:gd name="T84" fmla="*/ 8514 w 358"/>
                <a:gd name="T85" fmla="*/ 96619 h 327"/>
                <a:gd name="T86" fmla="*/ 18731 w 358"/>
                <a:gd name="T87" fmla="*/ 87269 h 327"/>
                <a:gd name="T88" fmla="*/ 25542 w 358"/>
                <a:gd name="T89" fmla="*/ 83632 h 327"/>
                <a:gd name="T90" fmla="*/ 32353 w 358"/>
                <a:gd name="T91" fmla="*/ 77918 h 327"/>
                <a:gd name="T92" fmla="*/ 39590 w 358"/>
                <a:gd name="T93" fmla="*/ 82593 h 327"/>
                <a:gd name="T94" fmla="*/ 46827 w 358"/>
                <a:gd name="T95" fmla="*/ 85191 h 327"/>
                <a:gd name="T96" fmla="*/ 60449 w 358"/>
                <a:gd name="T97" fmla="*/ 93502 h 327"/>
                <a:gd name="T98" fmla="*/ 69389 w 358"/>
                <a:gd name="T99" fmla="*/ 98697 h 327"/>
                <a:gd name="T100" fmla="*/ 83437 w 358"/>
                <a:gd name="T101" fmla="*/ 108566 h 327"/>
                <a:gd name="T102" fmla="*/ 93228 w 358"/>
                <a:gd name="T103" fmla="*/ 116878 h 327"/>
                <a:gd name="T104" fmla="*/ 104296 w 358"/>
                <a:gd name="T105" fmla="*/ 126747 h 327"/>
                <a:gd name="T106" fmla="*/ 108979 w 358"/>
                <a:gd name="T107" fmla="*/ 131942 h 327"/>
                <a:gd name="T108" fmla="*/ 113661 w 358"/>
                <a:gd name="T109" fmla="*/ 140253 h 327"/>
                <a:gd name="T110" fmla="*/ 114513 w 358"/>
                <a:gd name="T111" fmla="*/ 144928 h 327"/>
                <a:gd name="T112" fmla="*/ 114513 w 358"/>
                <a:gd name="T113" fmla="*/ 148564 h 327"/>
                <a:gd name="T114" fmla="*/ 114939 w 358"/>
                <a:gd name="T115" fmla="*/ 150642 h 327"/>
                <a:gd name="T116" fmla="*/ 117493 w 358"/>
                <a:gd name="T117" fmla="*/ 151681 h 327"/>
                <a:gd name="T118" fmla="*/ 124304 w 358"/>
                <a:gd name="T119" fmla="*/ 156876 h 327"/>
                <a:gd name="T120" fmla="*/ 135372 w 358"/>
                <a:gd name="T121" fmla="*/ 166745 h 3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4" name="Freeform 34">
              <a:extLst>
                <a:ext uri="{FF2B5EF4-FFF2-40B4-BE49-F238E27FC236}">
                  <a16:creationId xmlns:a16="http://schemas.microsoft.com/office/drawing/2014/main" id="{250868EC-4ABD-4AE8-BF56-A341FD21DAD2}"/>
                </a:ext>
              </a:extLst>
            </p:cNvPr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5908676" y="2101850"/>
              <a:ext cx="125413" cy="57150"/>
            </a:xfrm>
            <a:custGeom>
              <a:avLst/>
              <a:gdLst>
                <a:gd name="T0" fmla="*/ 54117 w 292"/>
                <a:gd name="T1" fmla="*/ 0 h 99"/>
                <a:gd name="T2" fmla="*/ 65713 w 292"/>
                <a:gd name="T3" fmla="*/ 0 h 99"/>
                <a:gd name="T4" fmla="*/ 85040 w 292"/>
                <a:gd name="T5" fmla="*/ 577 h 99"/>
                <a:gd name="T6" fmla="*/ 107374 w 292"/>
                <a:gd name="T7" fmla="*/ 3464 h 99"/>
                <a:gd name="T8" fmla="*/ 125413 w 292"/>
                <a:gd name="T9" fmla="*/ 4041 h 99"/>
                <a:gd name="T10" fmla="*/ 124554 w 292"/>
                <a:gd name="T11" fmla="*/ 11545 h 99"/>
                <a:gd name="T12" fmla="*/ 122407 w 292"/>
                <a:gd name="T13" fmla="*/ 19050 h 99"/>
                <a:gd name="T14" fmla="*/ 119830 w 292"/>
                <a:gd name="T15" fmla="*/ 31750 h 99"/>
                <a:gd name="T16" fmla="*/ 57982 w 292"/>
                <a:gd name="T17" fmla="*/ 40409 h 99"/>
                <a:gd name="T18" fmla="*/ 42520 w 292"/>
                <a:gd name="T19" fmla="*/ 51377 h 99"/>
                <a:gd name="T20" fmla="*/ 33930 w 292"/>
                <a:gd name="T21" fmla="*/ 55418 h 99"/>
                <a:gd name="T22" fmla="*/ 28347 w 292"/>
                <a:gd name="T23" fmla="*/ 56573 h 99"/>
                <a:gd name="T24" fmla="*/ 23622 w 292"/>
                <a:gd name="T25" fmla="*/ 56573 h 99"/>
                <a:gd name="T26" fmla="*/ 19327 w 292"/>
                <a:gd name="T27" fmla="*/ 54264 h 99"/>
                <a:gd name="T28" fmla="*/ 14173 w 292"/>
                <a:gd name="T29" fmla="*/ 49645 h 99"/>
                <a:gd name="T30" fmla="*/ 8590 w 292"/>
                <a:gd name="T31" fmla="*/ 44450 h 99"/>
                <a:gd name="T32" fmla="*/ 3006 w 292"/>
                <a:gd name="T33" fmla="*/ 39832 h 99"/>
                <a:gd name="T34" fmla="*/ 429 w 292"/>
                <a:gd name="T35" fmla="*/ 32905 h 99"/>
                <a:gd name="T36" fmla="*/ 0 w 292"/>
                <a:gd name="T37" fmla="*/ 24245 h 99"/>
                <a:gd name="T38" fmla="*/ 429 w 292"/>
                <a:gd name="T39" fmla="*/ 14432 h 99"/>
                <a:gd name="T40" fmla="*/ 1288 w 292"/>
                <a:gd name="T41" fmla="*/ 11545 h 99"/>
                <a:gd name="T42" fmla="*/ 3865 w 292"/>
                <a:gd name="T43" fmla="*/ 10391 h 99"/>
                <a:gd name="T44" fmla="*/ 6442 w 292"/>
                <a:gd name="T45" fmla="*/ 12123 h 99"/>
                <a:gd name="T46" fmla="*/ 10737 w 292"/>
                <a:gd name="T47" fmla="*/ 16164 h 99"/>
                <a:gd name="T48" fmla="*/ 15032 w 292"/>
                <a:gd name="T49" fmla="*/ 18473 h 99"/>
                <a:gd name="T50" fmla="*/ 19327 w 292"/>
                <a:gd name="T51" fmla="*/ 19627 h 99"/>
                <a:gd name="T52" fmla="*/ 23193 w 292"/>
                <a:gd name="T53" fmla="*/ 19050 h 99"/>
                <a:gd name="T54" fmla="*/ 28776 w 292"/>
                <a:gd name="T55" fmla="*/ 16741 h 99"/>
                <a:gd name="T56" fmla="*/ 34789 w 292"/>
                <a:gd name="T57" fmla="*/ 10968 h 99"/>
                <a:gd name="T58" fmla="*/ 37796 w 292"/>
                <a:gd name="T59" fmla="*/ 6350 h 99"/>
                <a:gd name="T60" fmla="*/ 40373 w 292"/>
                <a:gd name="T61" fmla="*/ 3464 h 99"/>
                <a:gd name="T62" fmla="*/ 46815 w 292"/>
                <a:gd name="T63" fmla="*/ 577 h 9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" name="Freeform 35">
              <a:extLst>
                <a:ext uri="{FF2B5EF4-FFF2-40B4-BE49-F238E27FC236}">
                  <a16:creationId xmlns:a16="http://schemas.microsoft.com/office/drawing/2014/main" id="{77DA8565-D123-4F2D-91F9-C540EC90C4E2}"/>
                </a:ext>
              </a:extLst>
            </p:cNvPr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6772275" y="2822575"/>
              <a:ext cx="19050" cy="57150"/>
            </a:xfrm>
            <a:custGeom>
              <a:avLst/>
              <a:gdLst>
                <a:gd name="T0" fmla="*/ 17278 w 43"/>
                <a:gd name="T1" fmla="*/ 57150 h 93"/>
                <a:gd name="T2" fmla="*/ 13734 w 43"/>
                <a:gd name="T3" fmla="*/ 55921 h 93"/>
                <a:gd name="T4" fmla="*/ 11519 w 43"/>
                <a:gd name="T5" fmla="*/ 54692 h 93"/>
                <a:gd name="T6" fmla="*/ 9303 w 43"/>
                <a:gd name="T7" fmla="*/ 53463 h 93"/>
                <a:gd name="T8" fmla="*/ 7974 w 43"/>
                <a:gd name="T9" fmla="*/ 51619 h 93"/>
                <a:gd name="T10" fmla="*/ 6645 w 43"/>
                <a:gd name="T11" fmla="*/ 48547 h 93"/>
                <a:gd name="T12" fmla="*/ 6202 w 43"/>
                <a:gd name="T13" fmla="*/ 44860 h 93"/>
                <a:gd name="T14" fmla="*/ 5759 w 43"/>
                <a:gd name="T15" fmla="*/ 39944 h 93"/>
                <a:gd name="T16" fmla="*/ 4873 w 43"/>
                <a:gd name="T17" fmla="*/ 33798 h 93"/>
                <a:gd name="T18" fmla="*/ 4873 w 43"/>
                <a:gd name="T19" fmla="*/ 29497 h 93"/>
                <a:gd name="T20" fmla="*/ 3987 w 43"/>
                <a:gd name="T21" fmla="*/ 25810 h 93"/>
                <a:gd name="T22" fmla="*/ 2658 w 43"/>
                <a:gd name="T23" fmla="*/ 23352 h 93"/>
                <a:gd name="T24" fmla="*/ 1772 w 43"/>
                <a:gd name="T25" fmla="*/ 22123 h 93"/>
                <a:gd name="T26" fmla="*/ 886 w 43"/>
                <a:gd name="T27" fmla="*/ 20894 h 93"/>
                <a:gd name="T28" fmla="*/ 0 w 43"/>
                <a:gd name="T29" fmla="*/ 19665 h 93"/>
                <a:gd name="T30" fmla="*/ 886 w 43"/>
                <a:gd name="T31" fmla="*/ 17821 h 93"/>
                <a:gd name="T32" fmla="*/ 2215 w 43"/>
                <a:gd name="T33" fmla="*/ 14748 h 93"/>
                <a:gd name="T34" fmla="*/ 2658 w 43"/>
                <a:gd name="T35" fmla="*/ 17206 h 93"/>
                <a:gd name="T36" fmla="*/ 3101 w 43"/>
                <a:gd name="T37" fmla="*/ 17821 h 93"/>
                <a:gd name="T38" fmla="*/ 3544 w 43"/>
                <a:gd name="T39" fmla="*/ 18435 h 93"/>
                <a:gd name="T40" fmla="*/ 3987 w 43"/>
                <a:gd name="T41" fmla="*/ 17821 h 93"/>
                <a:gd name="T42" fmla="*/ 4873 w 43"/>
                <a:gd name="T43" fmla="*/ 15363 h 93"/>
                <a:gd name="T44" fmla="*/ 6202 w 43"/>
                <a:gd name="T45" fmla="*/ 11676 h 93"/>
                <a:gd name="T46" fmla="*/ 7088 w 43"/>
                <a:gd name="T47" fmla="*/ 7374 h 93"/>
                <a:gd name="T48" fmla="*/ 8860 w 43"/>
                <a:gd name="T49" fmla="*/ 3687 h 93"/>
                <a:gd name="T50" fmla="*/ 9747 w 43"/>
                <a:gd name="T51" fmla="*/ 2458 h 93"/>
                <a:gd name="T52" fmla="*/ 11076 w 43"/>
                <a:gd name="T53" fmla="*/ 1229 h 93"/>
                <a:gd name="T54" fmla="*/ 12405 w 43"/>
                <a:gd name="T55" fmla="*/ 0 h 93"/>
                <a:gd name="T56" fmla="*/ 14177 w 43"/>
                <a:gd name="T57" fmla="*/ 0 h 93"/>
                <a:gd name="T58" fmla="*/ 14620 w 43"/>
                <a:gd name="T59" fmla="*/ 6145 h 93"/>
                <a:gd name="T60" fmla="*/ 14620 w 43"/>
                <a:gd name="T61" fmla="*/ 9832 h 93"/>
                <a:gd name="T62" fmla="*/ 14620 w 43"/>
                <a:gd name="T63" fmla="*/ 12290 h 93"/>
                <a:gd name="T64" fmla="*/ 14177 w 43"/>
                <a:gd name="T65" fmla="*/ 14134 h 93"/>
                <a:gd name="T66" fmla="*/ 14177 w 43"/>
                <a:gd name="T67" fmla="*/ 16592 h 93"/>
                <a:gd name="T68" fmla="*/ 14177 w 43"/>
                <a:gd name="T69" fmla="*/ 19050 h 93"/>
                <a:gd name="T70" fmla="*/ 15506 w 43"/>
                <a:gd name="T71" fmla="*/ 22123 h 93"/>
                <a:gd name="T72" fmla="*/ 17278 w 43"/>
                <a:gd name="T73" fmla="*/ 26424 h 93"/>
                <a:gd name="T74" fmla="*/ 16835 w 43"/>
                <a:gd name="T75" fmla="*/ 27039 h 93"/>
                <a:gd name="T76" fmla="*/ 16392 w 43"/>
                <a:gd name="T77" fmla="*/ 27653 h 93"/>
                <a:gd name="T78" fmla="*/ 16392 w 43"/>
                <a:gd name="T79" fmla="*/ 29497 h 93"/>
                <a:gd name="T80" fmla="*/ 16835 w 43"/>
                <a:gd name="T81" fmla="*/ 31340 h 93"/>
                <a:gd name="T82" fmla="*/ 17278 w 43"/>
                <a:gd name="T83" fmla="*/ 36256 h 93"/>
                <a:gd name="T84" fmla="*/ 18164 w 43"/>
                <a:gd name="T85" fmla="*/ 41787 h 93"/>
                <a:gd name="T86" fmla="*/ 18607 w 43"/>
                <a:gd name="T87" fmla="*/ 46703 h 93"/>
                <a:gd name="T88" fmla="*/ 19050 w 43"/>
                <a:gd name="T89" fmla="*/ 52234 h 93"/>
                <a:gd name="T90" fmla="*/ 19050 w 43"/>
                <a:gd name="T91" fmla="*/ 54077 h 93"/>
                <a:gd name="T92" fmla="*/ 18607 w 43"/>
                <a:gd name="T93" fmla="*/ 55921 h 93"/>
                <a:gd name="T94" fmla="*/ 17721 w 43"/>
                <a:gd name="T95" fmla="*/ 56535 h 93"/>
                <a:gd name="T96" fmla="*/ 17278 w 43"/>
                <a:gd name="T97" fmla="*/ 57150 h 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" name="Freeform 36">
              <a:extLst>
                <a:ext uri="{FF2B5EF4-FFF2-40B4-BE49-F238E27FC236}">
                  <a16:creationId xmlns:a16="http://schemas.microsoft.com/office/drawing/2014/main" id="{58F71794-2AC4-4D7F-9FAF-3C3F67A9ECD7}"/>
                </a:ext>
              </a:extLst>
            </p:cNvPr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6891339" y="2827338"/>
              <a:ext cx="14287" cy="57150"/>
            </a:xfrm>
            <a:custGeom>
              <a:avLst/>
              <a:gdLst>
                <a:gd name="T0" fmla="*/ 14287 w 40"/>
                <a:gd name="T1" fmla="*/ 57150 h 56"/>
                <a:gd name="T2" fmla="*/ 13215 w 40"/>
                <a:gd name="T3" fmla="*/ 46945 h 56"/>
                <a:gd name="T4" fmla="*/ 11787 w 40"/>
                <a:gd name="T5" fmla="*/ 38780 h 56"/>
                <a:gd name="T6" fmla="*/ 10001 w 40"/>
                <a:gd name="T7" fmla="*/ 32657 h 56"/>
                <a:gd name="T8" fmla="*/ 8215 w 40"/>
                <a:gd name="T9" fmla="*/ 28575 h 56"/>
                <a:gd name="T10" fmla="*/ 3929 w 40"/>
                <a:gd name="T11" fmla="*/ 21431 h 56"/>
                <a:gd name="T12" fmla="*/ 0 w 40"/>
                <a:gd name="T13" fmla="*/ 12246 h 56"/>
                <a:gd name="T14" fmla="*/ 4643 w 40"/>
                <a:gd name="T15" fmla="*/ 4082 h 56"/>
                <a:gd name="T16" fmla="*/ 7144 w 40"/>
                <a:gd name="T17" fmla="*/ 0 h 56"/>
                <a:gd name="T18" fmla="*/ 10001 w 40"/>
                <a:gd name="T19" fmla="*/ 12246 h 56"/>
                <a:gd name="T20" fmla="*/ 12501 w 40"/>
                <a:gd name="T21" fmla="*/ 22452 h 56"/>
                <a:gd name="T22" fmla="*/ 13215 w 40"/>
                <a:gd name="T23" fmla="*/ 25513 h 56"/>
                <a:gd name="T24" fmla="*/ 13930 w 40"/>
                <a:gd name="T25" fmla="*/ 29596 h 56"/>
                <a:gd name="T26" fmla="*/ 13930 w 40"/>
                <a:gd name="T27" fmla="*/ 33678 h 56"/>
                <a:gd name="T28" fmla="*/ 14287 w 40"/>
                <a:gd name="T29" fmla="*/ 37760 h 56"/>
                <a:gd name="T30" fmla="*/ 14287 w 40"/>
                <a:gd name="T31" fmla="*/ 44904 h 56"/>
                <a:gd name="T32" fmla="*/ 14287 w 40"/>
                <a:gd name="T33" fmla="*/ 46945 h 56"/>
                <a:gd name="T34" fmla="*/ 14287 w 40"/>
                <a:gd name="T35" fmla="*/ 50006 h 56"/>
                <a:gd name="T36" fmla="*/ 14287 w 40"/>
                <a:gd name="T37" fmla="*/ 57150 h 5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" name="Freeform 37">
              <a:extLst>
                <a:ext uri="{FF2B5EF4-FFF2-40B4-BE49-F238E27FC236}">
                  <a16:creationId xmlns:a16="http://schemas.microsoft.com/office/drawing/2014/main" id="{23F17C37-BC35-40CA-B6AE-BCDF09CA4DD4}"/>
                </a:ext>
              </a:extLst>
            </p:cNvPr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8378825" y="3487738"/>
              <a:ext cx="44450" cy="57150"/>
            </a:xfrm>
            <a:custGeom>
              <a:avLst/>
              <a:gdLst>
                <a:gd name="T0" fmla="*/ 0 w 106"/>
                <a:gd name="T1" fmla="*/ 5635 h 71"/>
                <a:gd name="T2" fmla="*/ 5032 w 106"/>
                <a:gd name="T3" fmla="*/ 8049 h 71"/>
                <a:gd name="T4" fmla="*/ 10064 w 106"/>
                <a:gd name="T5" fmla="*/ 9659 h 71"/>
                <a:gd name="T6" fmla="*/ 14677 w 106"/>
                <a:gd name="T7" fmla="*/ 10464 h 71"/>
                <a:gd name="T8" fmla="*/ 18870 w 106"/>
                <a:gd name="T9" fmla="*/ 10464 h 71"/>
                <a:gd name="T10" fmla="*/ 22644 w 106"/>
                <a:gd name="T11" fmla="*/ 8854 h 71"/>
                <a:gd name="T12" fmla="*/ 25580 w 106"/>
                <a:gd name="T13" fmla="*/ 6439 h 71"/>
                <a:gd name="T14" fmla="*/ 28515 w 106"/>
                <a:gd name="T15" fmla="*/ 4025 h 71"/>
                <a:gd name="T16" fmla="*/ 31031 w 106"/>
                <a:gd name="T17" fmla="*/ 0 h 71"/>
                <a:gd name="T18" fmla="*/ 35225 w 106"/>
                <a:gd name="T19" fmla="*/ 12879 h 71"/>
                <a:gd name="T20" fmla="*/ 39418 w 106"/>
                <a:gd name="T21" fmla="*/ 24148 h 71"/>
                <a:gd name="T22" fmla="*/ 42353 w 106"/>
                <a:gd name="T23" fmla="*/ 35417 h 71"/>
                <a:gd name="T24" fmla="*/ 44031 w 106"/>
                <a:gd name="T25" fmla="*/ 44271 h 71"/>
                <a:gd name="T26" fmla="*/ 44450 w 106"/>
                <a:gd name="T27" fmla="*/ 48296 h 71"/>
                <a:gd name="T28" fmla="*/ 44450 w 106"/>
                <a:gd name="T29" fmla="*/ 50711 h 71"/>
                <a:gd name="T30" fmla="*/ 44031 w 106"/>
                <a:gd name="T31" fmla="*/ 53930 h 71"/>
                <a:gd name="T32" fmla="*/ 43192 w 106"/>
                <a:gd name="T33" fmla="*/ 55540 h 71"/>
                <a:gd name="T34" fmla="*/ 42353 w 106"/>
                <a:gd name="T35" fmla="*/ 56345 h 71"/>
                <a:gd name="T36" fmla="*/ 41095 w 106"/>
                <a:gd name="T37" fmla="*/ 56345 h 71"/>
                <a:gd name="T38" fmla="*/ 38579 w 106"/>
                <a:gd name="T39" fmla="*/ 56345 h 71"/>
                <a:gd name="T40" fmla="*/ 36483 w 106"/>
                <a:gd name="T41" fmla="*/ 54735 h 71"/>
                <a:gd name="T42" fmla="*/ 31031 w 106"/>
                <a:gd name="T43" fmla="*/ 56345 h 71"/>
                <a:gd name="T44" fmla="*/ 26418 w 106"/>
                <a:gd name="T45" fmla="*/ 57150 h 71"/>
                <a:gd name="T46" fmla="*/ 22225 w 106"/>
                <a:gd name="T47" fmla="*/ 55540 h 71"/>
                <a:gd name="T48" fmla="*/ 18870 w 106"/>
                <a:gd name="T49" fmla="*/ 53125 h 71"/>
                <a:gd name="T50" fmla="*/ 15516 w 106"/>
                <a:gd name="T51" fmla="*/ 49906 h 71"/>
                <a:gd name="T52" fmla="*/ 13419 w 106"/>
                <a:gd name="T53" fmla="*/ 45881 h 71"/>
                <a:gd name="T54" fmla="*/ 11322 w 106"/>
                <a:gd name="T55" fmla="*/ 41051 h 71"/>
                <a:gd name="T56" fmla="*/ 10064 w 106"/>
                <a:gd name="T57" fmla="*/ 36222 h 71"/>
                <a:gd name="T58" fmla="*/ 8806 w 106"/>
                <a:gd name="T59" fmla="*/ 30587 h 71"/>
                <a:gd name="T60" fmla="*/ 8387 w 106"/>
                <a:gd name="T61" fmla="*/ 24148 h 71"/>
                <a:gd name="T62" fmla="*/ 7967 w 106"/>
                <a:gd name="T63" fmla="*/ 19318 h 71"/>
                <a:gd name="T64" fmla="*/ 7548 w 106"/>
                <a:gd name="T65" fmla="*/ 15294 h 71"/>
                <a:gd name="T66" fmla="*/ 7548 w 106"/>
                <a:gd name="T67" fmla="*/ 11269 h 71"/>
                <a:gd name="T68" fmla="*/ 7967 w 106"/>
                <a:gd name="T69" fmla="*/ 8049 h 71"/>
                <a:gd name="T70" fmla="*/ 8387 w 106"/>
                <a:gd name="T71" fmla="*/ 5635 h 71"/>
                <a:gd name="T72" fmla="*/ 8806 w 106"/>
                <a:gd name="T73" fmla="*/ 5635 h 71"/>
                <a:gd name="T74" fmla="*/ 8387 w 106"/>
                <a:gd name="T75" fmla="*/ 8049 h 71"/>
                <a:gd name="T76" fmla="*/ 7967 w 106"/>
                <a:gd name="T77" fmla="*/ 12879 h 71"/>
                <a:gd name="T78" fmla="*/ 7967 w 106"/>
                <a:gd name="T79" fmla="*/ 13684 h 71"/>
                <a:gd name="T80" fmla="*/ 7967 w 106"/>
                <a:gd name="T81" fmla="*/ 13684 h 71"/>
                <a:gd name="T82" fmla="*/ 8387 w 106"/>
                <a:gd name="T83" fmla="*/ 13684 h 71"/>
                <a:gd name="T84" fmla="*/ 8806 w 106"/>
                <a:gd name="T85" fmla="*/ 13684 h 71"/>
                <a:gd name="T86" fmla="*/ 9645 w 106"/>
                <a:gd name="T87" fmla="*/ 10464 h 71"/>
                <a:gd name="T88" fmla="*/ 11322 w 106"/>
                <a:gd name="T89" fmla="*/ 5635 h 71"/>
                <a:gd name="T90" fmla="*/ 0 w 106"/>
                <a:gd name="T91" fmla="*/ 5635 h 7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38" name="Group 38">
              <a:extLst>
                <a:ext uri="{FF2B5EF4-FFF2-40B4-BE49-F238E27FC236}">
                  <a16:creationId xmlns:a16="http://schemas.microsoft.com/office/drawing/2014/main" id="{2E0A8BF6-460B-477D-8B40-30D988394888}"/>
                </a:ext>
              </a:extLst>
            </p:cNvPr>
            <p:cNvGrpSpPr>
              <a:grpSpLocks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4230689" y="5295901"/>
              <a:ext cx="65087" cy="55563"/>
              <a:chOff x="1654" y="3671"/>
              <a:chExt cx="49" cy="17"/>
            </a:xfrm>
          </p:grpSpPr>
          <p:sp>
            <p:nvSpPr>
              <p:cNvPr id="549" name="Freeform 39">
                <a:extLst>
                  <a:ext uri="{FF2B5EF4-FFF2-40B4-BE49-F238E27FC236}">
                    <a16:creationId xmlns:a16="http://schemas.microsoft.com/office/drawing/2014/main" id="{BB1E6D40-B108-406C-9720-792DD9A65A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9 w 59"/>
                  <a:gd name="T1" fmla="*/ 14 h 43"/>
                  <a:gd name="T2" fmla="*/ 20 w 59"/>
                  <a:gd name="T3" fmla="*/ 6 h 43"/>
                  <a:gd name="T4" fmla="*/ 19 w 59"/>
                  <a:gd name="T5" fmla="*/ 5 h 43"/>
                  <a:gd name="T6" fmla="*/ 17 w 59"/>
                  <a:gd name="T7" fmla="*/ 3 h 43"/>
                  <a:gd name="T8" fmla="*/ 16 w 59"/>
                  <a:gd name="T9" fmla="*/ 2 h 43"/>
                  <a:gd name="T10" fmla="*/ 16 w 59"/>
                  <a:gd name="T11" fmla="*/ 0 h 43"/>
                  <a:gd name="T12" fmla="*/ 14 w 59"/>
                  <a:gd name="T13" fmla="*/ 0 h 43"/>
                  <a:gd name="T14" fmla="*/ 12 w 59"/>
                  <a:gd name="T15" fmla="*/ 1 h 43"/>
                  <a:gd name="T16" fmla="*/ 11 w 59"/>
                  <a:gd name="T17" fmla="*/ 2 h 43"/>
                  <a:gd name="T18" fmla="*/ 10 w 59"/>
                  <a:gd name="T19" fmla="*/ 3 h 43"/>
                  <a:gd name="T20" fmla="*/ 9 w 59"/>
                  <a:gd name="T21" fmla="*/ 3 h 43"/>
                  <a:gd name="T22" fmla="*/ 9 w 59"/>
                  <a:gd name="T23" fmla="*/ 4 h 43"/>
                  <a:gd name="T24" fmla="*/ 7 w 59"/>
                  <a:gd name="T25" fmla="*/ 4 h 43"/>
                  <a:gd name="T26" fmla="*/ 4 w 59"/>
                  <a:gd name="T27" fmla="*/ 5 h 43"/>
                  <a:gd name="T28" fmla="*/ 2 w 59"/>
                  <a:gd name="T29" fmla="*/ 7 h 43"/>
                  <a:gd name="T30" fmla="*/ 0 w 59"/>
                  <a:gd name="T31" fmla="*/ 8 h 43"/>
                  <a:gd name="T32" fmla="*/ 2 w 59"/>
                  <a:gd name="T33" fmla="*/ 9 h 43"/>
                  <a:gd name="T34" fmla="*/ 3 w 59"/>
                  <a:gd name="T35" fmla="*/ 11 h 43"/>
                  <a:gd name="T36" fmla="*/ 6 w 59"/>
                  <a:gd name="T37" fmla="*/ 13 h 43"/>
                  <a:gd name="T38" fmla="*/ 9 w 59"/>
                  <a:gd name="T39" fmla="*/ 14 h 4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50" name="Freeform 40">
                <a:extLst>
                  <a:ext uri="{FF2B5EF4-FFF2-40B4-BE49-F238E27FC236}">
                    <a16:creationId xmlns:a16="http://schemas.microsoft.com/office/drawing/2014/main" id="{8AD1BAD2-2D7F-4534-A452-9BD62FC1B5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1 h 51"/>
                  <a:gd name="T2" fmla="*/ 8 w 67"/>
                  <a:gd name="T3" fmla="*/ 0 h 51"/>
                  <a:gd name="T4" fmla="*/ 13 w 67"/>
                  <a:gd name="T5" fmla="*/ 0 h 51"/>
                  <a:gd name="T6" fmla="*/ 15 w 67"/>
                  <a:gd name="T7" fmla="*/ 0 h 51"/>
                  <a:gd name="T8" fmla="*/ 17 w 67"/>
                  <a:gd name="T9" fmla="*/ 1 h 51"/>
                  <a:gd name="T10" fmla="*/ 19 w 67"/>
                  <a:gd name="T11" fmla="*/ 1 h 51"/>
                  <a:gd name="T12" fmla="*/ 22 w 67"/>
                  <a:gd name="T13" fmla="*/ 3 h 51"/>
                  <a:gd name="T14" fmla="*/ 18 w 67"/>
                  <a:gd name="T15" fmla="*/ 4 h 51"/>
                  <a:gd name="T16" fmla="*/ 15 w 67"/>
                  <a:gd name="T17" fmla="*/ 6 h 51"/>
                  <a:gd name="T18" fmla="*/ 14 w 67"/>
                  <a:gd name="T19" fmla="*/ 7 h 51"/>
                  <a:gd name="T20" fmla="*/ 12 w 67"/>
                  <a:gd name="T21" fmla="*/ 8 h 51"/>
                  <a:gd name="T22" fmla="*/ 10 w 67"/>
                  <a:gd name="T23" fmla="*/ 9 h 51"/>
                  <a:gd name="T24" fmla="*/ 7 w 67"/>
                  <a:gd name="T25" fmla="*/ 9 h 51"/>
                  <a:gd name="T26" fmla="*/ 8 w 67"/>
                  <a:gd name="T27" fmla="*/ 9 h 51"/>
                  <a:gd name="T28" fmla="*/ 11 w 67"/>
                  <a:gd name="T29" fmla="*/ 9 h 51"/>
                  <a:gd name="T30" fmla="*/ 10 w 67"/>
                  <a:gd name="T31" fmla="*/ 11 h 51"/>
                  <a:gd name="T32" fmla="*/ 8 w 67"/>
                  <a:gd name="T33" fmla="*/ 13 h 51"/>
                  <a:gd name="T34" fmla="*/ 7 w 67"/>
                  <a:gd name="T35" fmla="*/ 15 h 51"/>
                  <a:gd name="T36" fmla="*/ 7 w 67"/>
                  <a:gd name="T37" fmla="*/ 15 h 51"/>
                  <a:gd name="T38" fmla="*/ 4 w 67"/>
                  <a:gd name="T39" fmla="*/ 16 h 51"/>
                  <a:gd name="T40" fmla="*/ 0 w 67"/>
                  <a:gd name="T41" fmla="*/ 17 h 51"/>
                  <a:gd name="T42" fmla="*/ 0 w 67"/>
                  <a:gd name="T43" fmla="*/ 1 h 5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39" name="Freeform 41">
              <a:extLst>
                <a:ext uri="{FF2B5EF4-FFF2-40B4-BE49-F238E27FC236}">
                  <a16:creationId xmlns:a16="http://schemas.microsoft.com/office/drawing/2014/main" id="{F121159A-DFD6-4249-867D-43713A250EDD}"/>
                </a:ext>
              </a:extLst>
            </p:cNvPr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3878263" y="3090864"/>
              <a:ext cx="31750" cy="58737"/>
            </a:xfrm>
            <a:custGeom>
              <a:avLst/>
              <a:gdLst>
                <a:gd name="T0" fmla="*/ 0 w 80"/>
                <a:gd name="T1" fmla="*/ 25913 h 34"/>
                <a:gd name="T2" fmla="*/ 397 w 80"/>
                <a:gd name="T3" fmla="*/ 32824 h 34"/>
                <a:gd name="T4" fmla="*/ 794 w 80"/>
                <a:gd name="T5" fmla="*/ 36279 h 34"/>
                <a:gd name="T6" fmla="*/ 1588 w 80"/>
                <a:gd name="T7" fmla="*/ 41461 h 34"/>
                <a:gd name="T8" fmla="*/ 2778 w 80"/>
                <a:gd name="T9" fmla="*/ 44917 h 34"/>
                <a:gd name="T10" fmla="*/ 5159 w 80"/>
                <a:gd name="T11" fmla="*/ 50099 h 34"/>
                <a:gd name="T12" fmla="*/ 8731 w 80"/>
                <a:gd name="T13" fmla="*/ 53554 h 34"/>
                <a:gd name="T14" fmla="*/ 15875 w 80"/>
                <a:gd name="T15" fmla="*/ 57009 h 34"/>
                <a:gd name="T16" fmla="*/ 21431 w 80"/>
                <a:gd name="T17" fmla="*/ 58737 h 34"/>
                <a:gd name="T18" fmla="*/ 23019 w 80"/>
                <a:gd name="T19" fmla="*/ 57009 h 34"/>
                <a:gd name="T20" fmla="*/ 24606 w 80"/>
                <a:gd name="T21" fmla="*/ 55282 h 34"/>
                <a:gd name="T22" fmla="*/ 25797 w 80"/>
                <a:gd name="T23" fmla="*/ 50099 h 34"/>
                <a:gd name="T24" fmla="*/ 26591 w 80"/>
                <a:gd name="T25" fmla="*/ 46644 h 34"/>
                <a:gd name="T26" fmla="*/ 28972 w 80"/>
                <a:gd name="T27" fmla="*/ 36279 h 34"/>
                <a:gd name="T28" fmla="*/ 31750 w 80"/>
                <a:gd name="T29" fmla="*/ 25913 h 34"/>
                <a:gd name="T30" fmla="*/ 29766 w 80"/>
                <a:gd name="T31" fmla="*/ 17276 h 34"/>
                <a:gd name="T32" fmla="*/ 27781 w 80"/>
                <a:gd name="T33" fmla="*/ 12093 h 34"/>
                <a:gd name="T34" fmla="*/ 25797 w 80"/>
                <a:gd name="T35" fmla="*/ 6910 h 34"/>
                <a:gd name="T36" fmla="*/ 23813 w 80"/>
                <a:gd name="T37" fmla="*/ 3455 h 34"/>
                <a:gd name="T38" fmla="*/ 21828 w 80"/>
                <a:gd name="T39" fmla="*/ 0 h 34"/>
                <a:gd name="T40" fmla="*/ 20241 w 80"/>
                <a:gd name="T41" fmla="*/ 0 h 34"/>
                <a:gd name="T42" fmla="*/ 17859 w 80"/>
                <a:gd name="T43" fmla="*/ 1728 h 34"/>
                <a:gd name="T44" fmla="*/ 16272 w 80"/>
                <a:gd name="T45" fmla="*/ 3455 h 34"/>
                <a:gd name="T46" fmla="*/ 13494 w 80"/>
                <a:gd name="T47" fmla="*/ 3455 h 34"/>
                <a:gd name="T48" fmla="*/ 8334 w 80"/>
                <a:gd name="T49" fmla="*/ 3455 h 34"/>
                <a:gd name="T50" fmla="*/ 5159 w 80"/>
                <a:gd name="T51" fmla="*/ 5183 h 34"/>
                <a:gd name="T52" fmla="*/ 2778 w 80"/>
                <a:gd name="T53" fmla="*/ 8638 h 34"/>
                <a:gd name="T54" fmla="*/ 1588 w 80"/>
                <a:gd name="T55" fmla="*/ 12093 h 34"/>
                <a:gd name="T56" fmla="*/ 794 w 80"/>
                <a:gd name="T57" fmla="*/ 15548 h 34"/>
                <a:gd name="T58" fmla="*/ 397 w 80"/>
                <a:gd name="T59" fmla="*/ 19003 h 34"/>
                <a:gd name="T60" fmla="*/ 0 w 80"/>
                <a:gd name="T61" fmla="*/ 25913 h 3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0" name="Freeform 42">
              <a:extLst>
                <a:ext uri="{FF2B5EF4-FFF2-40B4-BE49-F238E27FC236}">
                  <a16:creationId xmlns:a16="http://schemas.microsoft.com/office/drawing/2014/main" id="{912D2744-021C-4D54-9E7C-B42AA2CCF37F}"/>
                </a:ext>
              </a:extLst>
            </p:cNvPr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3933825" y="3097214"/>
              <a:ext cx="1588" cy="58737"/>
            </a:xfrm>
            <a:custGeom>
              <a:avLst/>
              <a:gdLst>
                <a:gd name="T0" fmla="*/ 0 w 7"/>
                <a:gd name="T1" fmla="*/ 0 h 13"/>
                <a:gd name="T2" fmla="*/ 1588 w 7"/>
                <a:gd name="T3" fmla="*/ 58737 h 13"/>
                <a:gd name="T4" fmla="*/ 1588 w 7"/>
                <a:gd name="T5" fmla="*/ 31628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1" name="Freeform 43">
              <a:extLst>
                <a:ext uri="{FF2B5EF4-FFF2-40B4-BE49-F238E27FC236}">
                  <a16:creationId xmlns:a16="http://schemas.microsoft.com/office/drawing/2014/main" id="{64608E2E-7CCA-4164-8DDC-B97B5DC2345E}"/>
                </a:ext>
              </a:extLst>
            </p:cNvPr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3946525" y="3098800"/>
              <a:ext cx="6350" cy="58738"/>
            </a:xfrm>
            <a:custGeom>
              <a:avLst/>
              <a:gdLst>
                <a:gd name="T0" fmla="*/ 0 w 20"/>
                <a:gd name="T1" fmla="*/ 0 h 6"/>
                <a:gd name="T2" fmla="*/ 2223 w 20"/>
                <a:gd name="T3" fmla="*/ 29369 h 6"/>
                <a:gd name="T4" fmla="*/ 6350 w 20"/>
                <a:gd name="T5" fmla="*/ 58738 h 6"/>
                <a:gd name="T6" fmla="*/ 0 w 20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2" name="Freeform 44">
              <a:extLst>
                <a:ext uri="{FF2B5EF4-FFF2-40B4-BE49-F238E27FC236}">
                  <a16:creationId xmlns:a16="http://schemas.microsoft.com/office/drawing/2014/main" id="{B57FAAA2-16A3-4AE0-A75D-43C215AF6DAA}"/>
                </a:ext>
              </a:extLst>
            </p:cNvPr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3960814" y="3089275"/>
              <a:ext cx="7937" cy="57150"/>
            </a:xfrm>
            <a:custGeom>
              <a:avLst/>
              <a:gdLst>
                <a:gd name="T0" fmla="*/ 0 w 14"/>
                <a:gd name="T1" fmla="*/ 57150 h 12"/>
                <a:gd name="T2" fmla="*/ 7937 w 14"/>
                <a:gd name="T3" fmla="*/ 0 h 12"/>
                <a:gd name="T4" fmla="*/ 0 w 14"/>
                <a:gd name="T5" fmla="*/ 57150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3" name="Freeform 45">
              <a:extLst>
                <a:ext uri="{FF2B5EF4-FFF2-40B4-BE49-F238E27FC236}">
                  <a16:creationId xmlns:a16="http://schemas.microsoft.com/office/drawing/2014/main" id="{2D2C3341-DFE7-4BF8-A2EB-459D38ECB1C7}"/>
                </a:ext>
              </a:extLst>
            </p:cNvPr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3940176" y="3081339"/>
              <a:ext cx="11113" cy="58737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33564 h 7"/>
                <a:gd name="T4" fmla="*/ 823 w 27"/>
                <a:gd name="T5" fmla="*/ 50346 h 7"/>
                <a:gd name="T6" fmla="*/ 2881 w 27"/>
                <a:gd name="T7" fmla="*/ 58737 h 7"/>
                <a:gd name="T8" fmla="*/ 4116 w 27"/>
                <a:gd name="T9" fmla="*/ 58737 h 7"/>
                <a:gd name="T10" fmla="*/ 6174 w 27"/>
                <a:gd name="T11" fmla="*/ 50346 h 7"/>
                <a:gd name="T12" fmla="*/ 7820 w 27"/>
                <a:gd name="T13" fmla="*/ 33564 h 7"/>
                <a:gd name="T14" fmla="*/ 9467 w 27"/>
                <a:gd name="T15" fmla="*/ 16782 h 7"/>
                <a:gd name="T16" fmla="*/ 11113 w 27"/>
                <a:gd name="T17" fmla="*/ 0 h 7"/>
                <a:gd name="T18" fmla="*/ 0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4" name="Freeform 46">
              <a:extLst>
                <a:ext uri="{FF2B5EF4-FFF2-40B4-BE49-F238E27FC236}">
                  <a16:creationId xmlns:a16="http://schemas.microsoft.com/office/drawing/2014/main" id="{CFF5644B-C3A8-4855-8A4B-B1968ABF528B}"/>
                </a:ext>
              </a:extLst>
            </p:cNvPr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3989389" y="3109914"/>
              <a:ext cx="14287" cy="60325"/>
            </a:xfrm>
            <a:custGeom>
              <a:avLst/>
              <a:gdLst>
                <a:gd name="T0" fmla="*/ 0 w 27"/>
                <a:gd name="T1" fmla="*/ 0 h 6"/>
                <a:gd name="T2" fmla="*/ 5821 w 27"/>
                <a:gd name="T3" fmla="*/ 30163 h 6"/>
                <a:gd name="T4" fmla="*/ 14287 w 27"/>
                <a:gd name="T5" fmla="*/ 60325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5" name="Line 47">
              <a:extLst>
                <a:ext uri="{FF2B5EF4-FFF2-40B4-BE49-F238E27FC236}">
                  <a16:creationId xmlns:a16="http://schemas.microsoft.com/office/drawing/2014/main" id="{06D40D7C-2543-4E56-8B8E-BF189FBE37DA}"/>
                </a:ext>
              </a:extLst>
            </p:cNvPr>
            <p:cNvSpPr>
              <a:spLocks noChangeShapeType="1"/>
            </p:cNvSpPr>
            <p:nvPr>
              <p:custDataLst>
                <p:tags r:id="rId40"/>
              </p:custDataLst>
            </p:nvPr>
          </p:nvSpPr>
          <p:spPr bwMode="auto">
            <a:xfrm flipH="1" flipV="1">
              <a:off x="3997325" y="3106739"/>
              <a:ext cx="6350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6" name="Line 48">
              <a:extLst>
                <a:ext uri="{FF2B5EF4-FFF2-40B4-BE49-F238E27FC236}">
                  <a16:creationId xmlns:a16="http://schemas.microsoft.com/office/drawing/2014/main" id="{1DBE370F-7192-4AAF-9835-4199A1931782}"/>
                </a:ext>
              </a:extLst>
            </p:cNvPr>
            <p:cNvSpPr>
              <a:spLocks noChangeShapeType="1"/>
            </p:cNvSpPr>
            <p:nvPr>
              <p:custDataLst>
                <p:tags r:id="rId41"/>
              </p:custDataLst>
            </p:nvPr>
          </p:nvSpPr>
          <p:spPr bwMode="auto">
            <a:xfrm flipH="1">
              <a:off x="3997325" y="3132138"/>
              <a:ext cx="6350" cy="1111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7" name="Freeform 49">
              <a:extLst>
                <a:ext uri="{FF2B5EF4-FFF2-40B4-BE49-F238E27FC236}">
                  <a16:creationId xmlns:a16="http://schemas.microsoft.com/office/drawing/2014/main" id="{440E1504-938D-461C-AF94-99C8359D7B57}"/>
                </a:ext>
              </a:extLst>
            </p:cNvPr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3997326" y="3127375"/>
              <a:ext cx="11113" cy="58738"/>
            </a:xfrm>
            <a:custGeom>
              <a:avLst/>
              <a:gdLst>
                <a:gd name="T0" fmla="*/ 0 w 20"/>
                <a:gd name="T1" fmla="*/ 58738 h 24"/>
                <a:gd name="T2" fmla="*/ 1111 w 20"/>
                <a:gd name="T3" fmla="*/ 58738 h 24"/>
                <a:gd name="T4" fmla="*/ 3334 w 20"/>
                <a:gd name="T5" fmla="*/ 53843 h 24"/>
                <a:gd name="T6" fmla="*/ 5001 w 20"/>
                <a:gd name="T7" fmla="*/ 48948 h 24"/>
                <a:gd name="T8" fmla="*/ 6668 w 20"/>
                <a:gd name="T9" fmla="*/ 39159 h 24"/>
                <a:gd name="T10" fmla="*/ 8335 w 20"/>
                <a:gd name="T11" fmla="*/ 31816 h 24"/>
                <a:gd name="T12" fmla="*/ 10002 w 20"/>
                <a:gd name="T13" fmla="*/ 22027 h 24"/>
                <a:gd name="T14" fmla="*/ 10557 w 20"/>
                <a:gd name="T15" fmla="*/ 9790 h 24"/>
                <a:gd name="T16" fmla="*/ 11113 w 20"/>
                <a:gd name="T17" fmla="*/ 0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" name="Freeform 50">
              <a:extLst>
                <a:ext uri="{FF2B5EF4-FFF2-40B4-BE49-F238E27FC236}">
                  <a16:creationId xmlns:a16="http://schemas.microsoft.com/office/drawing/2014/main" id="{005998EF-9318-4E80-9D20-EA6F7696EFD6}"/>
                </a:ext>
              </a:extLst>
            </p:cNvPr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4003676" y="3155951"/>
              <a:ext cx="17463" cy="55563"/>
            </a:xfrm>
            <a:custGeom>
              <a:avLst/>
              <a:gdLst>
                <a:gd name="T0" fmla="*/ 6879 w 33"/>
                <a:gd name="T1" fmla="*/ 15558 h 25"/>
                <a:gd name="T2" fmla="*/ 0 w 33"/>
                <a:gd name="T3" fmla="*/ 42228 h 25"/>
                <a:gd name="T4" fmla="*/ 5292 w 33"/>
                <a:gd name="T5" fmla="*/ 44450 h 25"/>
                <a:gd name="T6" fmla="*/ 10054 w 33"/>
                <a:gd name="T7" fmla="*/ 48895 h 25"/>
                <a:gd name="T8" fmla="*/ 14288 w 33"/>
                <a:gd name="T9" fmla="*/ 55563 h 25"/>
                <a:gd name="T10" fmla="*/ 17463 w 33"/>
                <a:gd name="T11" fmla="*/ 55563 h 25"/>
                <a:gd name="T12" fmla="*/ 17463 w 33"/>
                <a:gd name="T13" fmla="*/ 0 h 25"/>
                <a:gd name="T14" fmla="*/ 14288 w 33"/>
                <a:gd name="T15" fmla="*/ 0 h 25"/>
                <a:gd name="T16" fmla="*/ 6879 w 33"/>
                <a:gd name="T17" fmla="*/ 15558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" name="Freeform 51">
              <a:extLst>
                <a:ext uri="{FF2B5EF4-FFF2-40B4-BE49-F238E27FC236}">
                  <a16:creationId xmlns:a16="http://schemas.microsoft.com/office/drawing/2014/main" id="{02A33532-D529-420C-9A07-DDE41E8005C5}"/>
                </a:ext>
              </a:extLst>
            </p:cNvPr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4010026" y="3203575"/>
              <a:ext cx="15875" cy="57150"/>
            </a:xfrm>
            <a:custGeom>
              <a:avLst/>
              <a:gdLst>
                <a:gd name="T0" fmla="*/ 0 w 40"/>
                <a:gd name="T1" fmla="*/ 0 h 18"/>
                <a:gd name="T2" fmla="*/ 1191 w 40"/>
                <a:gd name="T3" fmla="*/ 19050 h 18"/>
                <a:gd name="T4" fmla="*/ 2381 w 40"/>
                <a:gd name="T5" fmla="*/ 34925 h 18"/>
                <a:gd name="T6" fmla="*/ 3969 w 40"/>
                <a:gd name="T7" fmla="*/ 44450 h 18"/>
                <a:gd name="T8" fmla="*/ 5953 w 40"/>
                <a:gd name="T9" fmla="*/ 50800 h 18"/>
                <a:gd name="T10" fmla="*/ 10716 w 40"/>
                <a:gd name="T11" fmla="*/ 57150 h 18"/>
                <a:gd name="T12" fmla="*/ 15875 w 40"/>
                <a:gd name="T13" fmla="*/ 57150 h 18"/>
                <a:gd name="T14" fmla="*/ 15875 w 40"/>
                <a:gd name="T15" fmla="*/ 0 h 18"/>
                <a:gd name="T16" fmla="*/ 11906 w 40"/>
                <a:gd name="T17" fmla="*/ 0 h 18"/>
                <a:gd name="T18" fmla="*/ 7938 w 40"/>
                <a:gd name="T19" fmla="*/ 0 h 18"/>
                <a:gd name="T20" fmla="*/ 3969 w 40"/>
                <a:gd name="T21" fmla="*/ 0 h 18"/>
                <a:gd name="T22" fmla="*/ 0 w 4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0" name="Freeform 52">
              <a:extLst>
                <a:ext uri="{FF2B5EF4-FFF2-40B4-BE49-F238E27FC236}">
                  <a16:creationId xmlns:a16="http://schemas.microsoft.com/office/drawing/2014/main" id="{9BAD89B8-87F4-42E0-9103-5AD9E28BAB23}"/>
                </a:ext>
              </a:extLst>
            </p:cNvPr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4019551" y="3228975"/>
              <a:ext cx="3175" cy="57150"/>
            </a:xfrm>
            <a:custGeom>
              <a:avLst/>
              <a:gdLst>
                <a:gd name="T0" fmla="*/ 1155 w 11"/>
                <a:gd name="T1" fmla="*/ 57150 h 32"/>
                <a:gd name="T2" fmla="*/ 1732 w 11"/>
                <a:gd name="T3" fmla="*/ 50006 h 32"/>
                <a:gd name="T4" fmla="*/ 2309 w 11"/>
                <a:gd name="T5" fmla="*/ 44648 h 32"/>
                <a:gd name="T6" fmla="*/ 2598 w 11"/>
                <a:gd name="T7" fmla="*/ 39291 h 32"/>
                <a:gd name="T8" fmla="*/ 2886 w 11"/>
                <a:gd name="T9" fmla="*/ 32147 h 32"/>
                <a:gd name="T10" fmla="*/ 3175 w 11"/>
                <a:gd name="T11" fmla="*/ 16073 h 32"/>
                <a:gd name="T12" fmla="*/ 3175 w 11"/>
                <a:gd name="T13" fmla="*/ 0 h 32"/>
                <a:gd name="T14" fmla="*/ 1732 w 11"/>
                <a:gd name="T15" fmla="*/ 5358 h 32"/>
                <a:gd name="T16" fmla="*/ 866 w 11"/>
                <a:gd name="T17" fmla="*/ 12502 h 32"/>
                <a:gd name="T18" fmla="*/ 289 w 11"/>
                <a:gd name="T19" fmla="*/ 19645 h 32"/>
                <a:gd name="T20" fmla="*/ 0 w 11"/>
                <a:gd name="T21" fmla="*/ 28575 h 32"/>
                <a:gd name="T22" fmla="*/ 0 w 11"/>
                <a:gd name="T23" fmla="*/ 35719 h 32"/>
                <a:gd name="T24" fmla="*/ 289 w 11"/>
                <a:gd name="T25" fmla="*/ 42863 h 32"/>
                <a:gd name="T26" fmla="*/ 577 w 11"/>
                <a:gd name="T27" fmla="*/ 50006 h 32"/>
                <a:gd name="T28" fmla="*/ 1155 w 11"/>
                <a:gd name="T29" fmla="*/ 57150 h 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" name="Freeform 53">
              <a:extLst>
                <a:ext uri="{FF2B5EF4-FFF2-40B4-BE49-F238E27FC236}">
                  <a16:creationId xmlns:a16="http://schemas.microsoft.com/office/drawing/2014/main" id="{376F5968-6293-4B9E-8E90-97AC3C9A8468}"/>
                </a:ext>
              </a:extLst>
            </p:cNvPr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4041775" y="3259138"/>
              <a:ext cx="1588" cy="55562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55562 h 24"/>
                <a:gd name="T4" fmla="*/ 1588 w 14"/>
                <a:gd name="T5" fmla="*/ 27781 h 24"/>
                <a:gd name="T6" fmla="*/ 0 w 14"/>
                <a:gd name="T7" fmla="*/ 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2" name="Freeform 54">
              <a:extLst>
                <a:ext uri="{FF2B5EF4-FFF2-40B4-BE49-F238E27FC236}">
                  <a16:creationId xmlns:a16="http://schemas.microsoft.com/office/drawing/2014/main" id="{E8C2D56C-7D37-44CB-9621-79124D743E01}"/>
                </a:ext>
              </a:extLst>
            </p:cNvPr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4003676" y="3271839"/>
              <a:ext cx="15875" cy="58737"/>
            </a:xfrm>
            <a:custGeom>
              <a:avLst/>
              <a:gdLst>
                <a:gd name="T0" fmla="*/ 0 w 27"/>
                <a:gd name="T1" fmla="*/ 39158 h 18"/>
                <a:gd name="T2" fmla="*/ 4116 w 27"/>
                <a:gd name="T3" fmla="*/ 48948 h 18"/>
                <a:gd name="T4" fmla="*/ 7644 w 27"/>
                <a:gd name="T5" fmla="*/ 58737 h 18"/>
                <a:gd name="T6" fmla="*/ 12935 w 27"/>
                <a:gd name="T7" fmla="*/ 22842 h 18"/>
                <a:gd name="T8" fmla="*/ 15875 w 27"/>
                <a:gd name="T9" fmla="*/ 0 h 18"/>
                <a:gd name="T10" fmla="*/ 12935 w 27"/>
                <a:gd name="T11" fmla="*/ 0 h 18"/>
                <a:gd name="T12" fmla="*/ 10583 w 27"/>
                <a:gd name="T13" fmla="*/ 3263 h 18"/>
                <a:gd name="T14" fmla="*/ 7644 w 27"/>
                <a:gd name="T15" fmla="*/ 6526 h 18"/>
                <a:gd name="T16" fmla="*/ 5880 w 27"/>
                <a:gd name="T17" fmla="*/ 13053 h 18"/>
                <a:gd name="T18" fmla="*/ 2940 w 27"/>
                <a:gd name="T19" fmla="*/ 26105 h 18"/>
                <a:gd name="T20" fmla="*/ 0 w 27"/>
                <a:gd name="T21" fmla="*/ 39158 h 1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3" name="Freeform 55">
              <a:extLst>
                <a:ext uri="{FF2B5EF4-FFF2-40B4-BE49-F238E27FC236}">
                  <a16:creationId xmlns:a16="http://schemas.microsoft.com/office/drawing/2014/main" id="{EEE80CBF-209D-4D85-AE96-5F7CDC555E9C}"/>
                </a:ext>
              </a:extLst>
            </p:cNvPr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3989388" y="3336925"/>
              <a:ext cx="23812" cy="57150"/>
            </a:xfrm>
            <a:custGeom>
              <a:avLst/>
              <a:gdLst>
                <a:gd name="T0" fmla="*/ 0 w 47"/>
                <a:gd name="T1" fmla="*/ 41988 h 49"/>
                <a:gd name="T2" fmla="*/ 507 w 47"/>
                <a:gd name="T3" fmla="*/ 45487 h 49"/>
                <a:gd name="T4" fmla="*/ 1013 w 47"/>
                <a:gd name="T5" fmla="*/ 47819 h 49"/>
                <a:gd name="T6" fmla="*/ 2027 w 47"/>
                <a:gd name="T7" fmla="*/ 50152 h 49"/>
                <a:gd name="T8" fmla="*/ 3040 w 47"/>
                <a:gd name="T9" fmla="*/ 52485 h 49"/>
                <a:gd name="T10" fmla="*/ 6080 w 47"/>
                <a:gd name="T11" fmla="*/ 55984 h 49"/>
                <a:gd name="T12" fmla="*/ 7093 w 47"/>
                <a:gd name="T13" fmla="*/ 57150 h 49"/>
                <a:gd name="T14" fmla="*/ 9119 w 47"/>
                <a:gd name="T15" fmla="*/ 57150 h 49"/>
                <a:gd name="T16" fmla="*/ 12159 w 47"/>
                <a:gd name="T17" fmla="*/ 53651 h 49"/>
                <a:gd name="T18" fmla="*/ 14693 w 47"/>
                <a:gd name="T19" fmla="*/ 48986 h 49"/>
                <a:gd name="T20" fmla="*/ 17732 w 47"/>
                <a:gd name="T21" fmla="*/ 45487 h 49"/>
                <a:gd name="T22" fmla="*/ 19759 w 47"/>
                <a:gd name="T23" fmla="*/ 40821 h 49"/>
                <a:gd name="T24" fmla="*/ 22292 w 47"/>
                <a:gd name="T25" fmla="*/ 36156 h 49"/>
                <a:gd name="T26" fmla="*/ 23305 w 47"/>
                <a:gd name="T27" fmla="*/ 31491 h 49"/>
                <a:gd name="T28" fmla="*/ 23812 w 47"/>
                <a:gd name="T29" fmla="*/ 27992 h 49"/>
                <a:gd name="T30" fmla="*/ 23812 w 47"/>
                <a:gd name="T31" fmla="*/ 13996 h 49"/>
                <a:gd name="T32" fmla="*/ 23812 w 47"/>
                <a:gd name="T33" fmla="*/ 0 h 49"/>
                <a:gd name="T34" fmla="*/ 13679 w 47"/>
                <a:gd name="T35" fmla="*/ 0 h 49"/>
                <a:gd name="T36" fmla="*/ 8613 w 47"/>
                <a:gd name="T37" fmla="*/ 9331 h 49"/>
                <a:gd name="T38" fmla="*/ 4560 w 47"/>
                <a:gd name="T39" fmla="*/ 18661 h 49"/>
                <a:gd name="T40" fmla="*/ 2533 w 47"/>
                <a:gd name="T41" fmla="*/ 23327 h 49"/>
                <a:gd name="T42" fmla="*/ 1013 w 47"/>
                <a:gd name="T43" fmla="*/ 29158 h 49"/>
                <a:gd name="T44" fmla="*/ 507 w 47"/>
                <a:gd name="T45" fmla="*/ 34990 h 49"/>
                <a:gd name="T46" fmla="*/ 0 w 47"/>
                <a:gd name="T47" fmla="*/ 41988 h 4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4" name="Freeform 56">
              <a:extLst>
                <a:ext uri="{FF2B5EF4-FFF2-40B4-BE49-F238E27FC236}">
                  <a16:creationId xmlns:a16="http://schemas.microsoft.com/office/drawing/2014/main" id="{AAB7E491-D8A8-49CC-B6DE-895CE15F0050}"/>
                </a:ext>
              </a:extLst>
            </p:cNvPr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4008438" y="3313113"/>
              <a:ext cx="12700" cy="57150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25400 h 9"/>
                <a:gd name="T4" fmla="*/ 1465 w 26"/>
                <a:gd name="T5" fmla="*/ 44450 h 9"/>
                <a:gd name="T6" fmla="*/ 2931 w 26"/>
                <a:gd name="T7" fmla="*/ 50800 h 9"/>
                <a:gd name="T8" fmla="*/ 5373 w 26"/>
                <a:gd name="T9" fmla="*/ 57150 h 9"/>
                <a:gd name="T10" fmla="*/ 7327 w 26"/>
                <a:gd name="T11" fmla="*/ 50800 h 9"/>
                <a:gd name="T12" fmla="*/ 9769 w 26"/>
                <a:gd name="T13" fmla="*/ 44450 h 9"/>
                <a:gd name="T14" fmla="*/ 11235 w 26"/>
                <a:gd name="T15" fmla="*/ 25400 h 9"/>
                <a:gd name="T16" fmla="*/ 12700 w 26"/>
                <a:gd name="T17" fmla="*/ 0 h 9"/>
                <a:gd name="T18" fmla="*/ 0 w 26"/>
                <a:gd name="T19" fmla="*/ 0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5" name="Freeform 57">
              <a:extLst>
                <a:ext uri="{FF2B5EF4-FFF2-40B4-BE49-F238E27FC236}">
                  <a16:creationId xmlns:a16="http://schemas.microsoft.com/office/drawing/2014/main" id="{B0BFACE1-616C-4728-A480-5E999A1C052E}"/>
                </a:ext>
              </a:extLst>
            </p:cNvPr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3490914" y="2984500"/>
              <a:ext cx="15875" cy="57150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57150 h 18"/>
                <a:gd name="T4" fmla="*/ 2442 w 39"/>
                <a:gd name="T5" fmla="*/ 57150 h 18"/>
                <a:gd name="T6" fmla="*/ 5292 w 39"/>
                <a:gd name="T7" fmla="*/ 57150 h 18"/>
                <a:gd name="T8" fmla="*/ 9362 w 39"/>
                <a:gd name="T9" fmla="*/ 53975 h 18"/>
                <a:gd name="T10" fmla="*/ 12212 w 39"/>
                <a:gd name="T11" fmla="*/ 44450 h 18"/>
                <a:gd name="T12" fmla="*/ 13840 w 39"/>
                <a:gd name="T13" fmla="*/ 38100 h 18"/>
                <a:gd name="T14" fmla="*/ 15061 w 39"/>
                <a:gd name="T15" fmla="*/ 31750 h 18"/>
                <a:gd name="T16" fmla="*/ 15468 w 39"/>
                <a:gd name="T17" fmla="*/ 25400 h 18"/>
                <a:gd name="T18" fmla="*/ 15875 w 39"/>
                <a:gd name="T19" fmla="*/ 19050 h 18"/>
                <a:gd name="T20" fmla="*/ 11804 w 39"/>
                <a:gd name="T21" fmla="*/ 15875 h 18"/>
                <a:gd name="T22" fmla="*/ 7734 w 39"/>
                <a:gd name="T23" fmla="*/ 9525 h 18"/>
                <a:gd name="T24" fmla="*/ 4071 w 39"/>
                <a:gd name="T25" fmla="*/ 0 h 18"/>
                <a:gd name="T26" fmla="*/ 0 w 39"/>
                <a:gd name="T27" fmla="*/ 0 h 1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56" name="Group 58">
              <a:extLst>
                <a:ext uri="{FF2B5EF4-FFF2-40B4-BE49-F238E27FC236}">
                  <a16:creationId xmlns:a16="http://schemas.microsoft.com/office/drawing/2014/main" id="{8A91C22B-7FF5-4901-8971-92ECA0F3A872}"/>
                </a:ext>
              </a:extLst>
            </p:cNvPr>
            <p:cNvGrpSpPr>
              <a:grpSpLocks/>
            </p:cNvGrpSpPr>
            <p:nvPr>
              <p:custDataLst>
                <p:tags r:id="rId51"/>
              </p:custDataLst>
            </p:nvPr>
          </p:nvGrpSpPr>
          <p:grpSpPr bwMode="auto">
            <a:xfrm>
              <a:off x="3616326" y="2817813"/>
              <a:ext cx="131763" cy="195262"/>
              <a:chOff x="1199" y="2121"/>
              <a:chExt cx="97" cy="123"/>
            </a:xfrm>
          </p:grpSpPr>
          <p:sp>
            <p:nvSpPr>
              <p:cNvPr id="539" name="Freeform 59">
                <a:extLst>
                  <a:ext uri="{FF2B5EF4-FFF2-40B4-BE49-F238E27FC236}">
                    <a16:creationId xmlns:a16="http://schemas.microsoft.com/office/drawing/2014/main" id="{A070FE9C-9AC3-46AA-9B53-38417D3DE3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8 h 25"/>
                  <a:gd name="T2" fmla="*/ 2 w 52"/>
                  <a:gd name="T3" fmla="*/ 8 h 25"/>
                  <a:gd name="T4" fmla="*/ 5 w 52"/>
                  <a:gd name="T5" fmla="*/ 8 h 25"/>
                  <a:gd name="T6" fmla="*/ 7 w 52"/>
                  <a:gd name="T7" fmla="*/ 7 h 25"/>
                  <a:gd name="T8" fmla="*/ 9 w 52"/>
                  <a:gd name="T9" fmla="*/ 6 h 25"/>
                  <a:gd name="T10" fmla="*/ 12 w 52"/>
                  <a:gd name="T11" fmla="*/ 5 h 25"/>
                  <a:gd name="T12" fmla="*/ 13 w 52"/>
                  <a:gd name="T13" fmla="*/ 4 h 25"/>
                  <a:gd name="T14" fmla="*/ 15 w 52"/>
                  <a:gd name="T15" fmla="*/ 2 h 25"/>
                  <a:gd name="T16" fmla="*/ 16 w 52"/>
                  <a:gd name="T17" fmla="*/ 0 h 25"/>
                  <a:gd name="T18" fmla="*/ 12 w 52"/>
                  <a:gd name="T19" fmla="*/ 0 h 25"/>
                  <a:gd name="T20" fmla="*/ 10 w 52"/>
                  <a:gd name="T21" fmla="*/ 0 h 25"/>
                  <a:gd name="T22" fmla="*/ 7 w 52"/>
                  <a:gd name="T23" fmla="*/ 0 h 25"/>
                  <a:gd name="T24" fmla="*/ 5 w 52"/>
                  <a:gd name="T25" fmla="*/ 1 h 25"/>
                  <a:gd name="T26" fmla="*/ 3 w 52"/>
                  <a:gd name="T27" fmla="*/ 2 h 25"/>
                  <a:gd name="T28" fmla="*/ 2 w 52"/>
                  <a:gd name="T29" fmla="*/ 3 h 25"/>
                  <a:gd name="T30" fmla="*/ 1 w 52"/>
                  <a:gd name="T31" fmla="*/ 5 h 25"/>
                  <a:gd name="T32" fmla="*/ 0 w 52"/>
                  <a:gd name="T33" fmla="*/ 8 h 2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0" name="Freeform 60">
                <a:extLst>
                  <a:ext uri="{FF2B5EF4-FFF2-40B4-BE49-F238E27FC236}">
                    <a16:creationId xmlns:a16="http://schemas.microsoft.com/office/drawing/2014/main" id="{0C05B9F7-E26E-48B6-A733-49F5730E95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2 h 13"/>
                  <a:gd name="T4" fmla="*/ 0 w 33"/>
                  <a:gd name="T5" fmla="*/ 4 h 13"/>
                  <a:gd name="T6" fmla="*/ 3 w 33"/>
                  <a:gd name="T7" fmla="*/ 4 h 13"/>
                  <a:gd name="T8" fmla="*/ 5 w 33"/>
                  <a:gd name="T9" fmla="*/ 4 h 13"/>
                  <a:gd name="T10" fmla="*/ 8 w 33"/>
                  <a:gd name="T11" fmla="*/ 3 h 13"/>
                  <a:gd name="T12" fmla="*/ 11 w 33"/>
                  <a:gd name="T13" fmla="*/ 2 h 13"/>
                  <a:gd name="T14" fmla="*/ 8 w 33"/>
                  <a:gd name="T15" fmla="*/ 1 h 13"/>
                  <a:gd name="T16" fmla="*/ 5 w 33"/>
                  <a:gd name="T17" fmla="*/ 0 h 13"/>
                  <a:gd name="T18" fmla="*/ 3 w 33"/>
                  <a:gd name="T19" fmla="*/ 0 h 13"/>
                  <a:gd name="T20" fmla="*/ 0 w 33"/>
                  <a:gd name="T21" fmla="*/ 0 h 1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1" name="Freeform 61">
                <a:extLst>
                  <a:ext uri="{FF2B5EF4-FFF2-40B4-BE49-F238E27FC236}">
                    <a16:creationId xmlns:a16="http://schemas.microsoft.com/office/drawing/2014/main" id="{C3D744A3-2FCE-422B-AFB9-584EC1379B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8 w 67"/>
                  <a:gd name="T1" fmla="*/ 6 h 86"/>
                  <a:gd name="T2" fmla="*/ 0 w 67"/>
                  <a:gd name="T3" fmla="*/ 0 h 86"/>
                  <a:gd name="T4" fmla="*/ 8 w 67"/>
                  <a:gd name="T5" fmla="*/ 0 h 86"/>
                  <a:gd name="T6" fmla="*/ 9 w 67"/>
                  <a:gd name="T7" fmla="*/ 1 h 86"/>
                  <a:gd name="T8" fmla="*/ 10 w 67"/>
                  <a:gd name="T9" fmla="*/ 3 h 86"/>
                  <a:gd name="T10" fmla="*/ 11 w 67"/>
                  <a:gd name="T11" fmla="*/ 4 h 86"/>
                  <a:gd name="T12" fmla="*/ 12 w 67"/>
                  <a:gd name="T13" fmla="*/ 5 h 86"/>
                  <a:gd name="T14" fmla="*/ 14 w 67"/>
                  <a:gd name="T15" fmla="*/ 6 h 86"/>
                  <a:gd name="T16" fmla="*/ 16 w 67"/>
                  <a:gd name="T17" fmla="*/ 6 h 86"/>
                  <a:gd name="T18" fmla="*/ 17 w 67"/>
                  <a:gd name="T19" fmla="*/ 10 h 86"/>
                  <a:gd name="T20" fmla="*/ 19 w 67"/>
                  <a:gd name="T21" fmla="*/ 13 h 86"/>
                  <a:gd name="T22" fmla="*/ 19 w 67"/>
                  <a:gd name="T23" fmla="*/ 15 h 86"/>
                  <a:gd name="T24" fmla="*/ 20 w 67"/>
                  <a:gd name="T25" fmla="*/ 16 h 86"/>
                  <a:gd name="T26" fmla="*/ 20 w 67"/>
                  <a:gd name="T27" fmla="*/ 18 h 86"/>
                  <a:gd name="T28" fmla="*/ 20 w 67"/>
                  <a:gd name="T29" fmla="*/ 20 h 86"/>
                  <a:gd name="T30" fmla="*/ 19 w 67"/>
                  <a:gd name="T31" fmla="*/ 24 h 86"/>
                  <a:gd name="T32" fmla="*/ 18 w 67"/>
                  <a:gd name="T33" fmla="*/ 28 h 86"/>
                  <a:gd name="T34" fmla="*/ 16 w 67"/>
                  <a:gd name="T35" fmla="*/ 22 h 86"/>
                  <a:gd name="T36" fmla="*/ 15 w 67"/>
                  <a:gd name="T37" fmla="*/ 18 h 86"/>
                  <a:gd name="T38" fmla="*/ 15 w 67"/>
                  <a:gd name="T39" fmla="*/ 15 h 86"/>
                  <a:gd name="T40" fmla="*/ 15 w 67"/>
                  <a:gd name="T41" fmla="*/ 13 h 86"/>
                  <a:gd name="T42" fmla="*/ 15 w 67"/>
                  <a:gd name="T43" fmla="*/ 11 h 86"/>
                  <a:gd name="T44" fmla="*/ 16 w 67"/>
                  <a:gd name="T45" fmla="*/ 10 h 86"/>
                  <a:gd name="T46" fmla="*/ 13 w 67"/>
                  <a:gd name="T47" fmla="*/ 10 h 86"/>
                  <a:gd name="T48" fmla="*/ 10 w 67"/>
                  <a:gd name="T49" fmla="*/ 9 h 86"/>
                  <a:gd name="T50" fmla="*/ 10 w 67"/>
                  <a:gd name="T51" fmla="*/ 9 h 86"/>
                  <a:gd name="T52" fmla="*/ 8 w 67"/>
                  <a:gd name="T53" fmla="*/ 8 h 86"/>
                  <a:gd name="T54" fmla="*/ 8 w 67"/>
                  <a:gd name="T55" fmla="*/ 7 h 86"/>
                  <a:gd name="T56" fmla="*/ 8 w 67"/>
                  <a:gd name="T57" fmla="*/ 6 h 8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2" name="Freeform 62">
                <a:extLst>
                  <a:ext uri="{FF2B5EF4-FFF2-40B4-BE49-F238E27FC236}">
                    <a16:creationId xmlns:a16="http://schemas.microsoft.com/office/drawing/2014/main" id="{C0CE4649-4603-421B-9D3C-4A4D32A51B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9 w 49"/>
                  <a:gd name="T1" fmla="*/ 4 h 86"/>
                  <a:gd name="T2" fmla="*/ 7 w 49"/>
                  <a:gd name="T3" fmla="*/ 2 h 86"/>
                  <a:gd name="T4" fmla="*/ 5 w 49"/>
                  <a:gd name="T5" fmla="*/ 0 h 86"/>
                  <a:gd name="T6" fmla="*/ 3 w 49"/>
                  <a:gd name="T7" fmla="*/ 2 h 86"/>
                  <a:gd name="T8" fmla="*/ 2 w 49"/>
                  <a:gd name="T9" fmla="*/ 4 h 86"/>
                  <a:gd name="T10" fmla="*/ 0 w 49"/>
                  <a:gd name="T11" fmla="*/ 7 h 86"/>
                  <a:gd name="T12" fmla="*/ 0 w 49"/>
                  <a:gd name="T13" fmla="*/ 10 h 86"/>
                  <a:gd name="T14" fmla="*/ 0 w 49"/>
                  <a:gd name="T15" fmla="*/ 12 h 86"/>
                  <a:gd name="T16" fmla="*/ 1 w 49"/>
                  <a:gd name="T17" fmla="*/ 14 h 86"/>
                  <a:gd name="T18" fmla="*/ 2 w 49"/>
                  <a:gd name="T19" fmla="*/ 16 h 86"/>
                  <a:gd name="T20" fmla="*/ 3 w 49"/>
                  <a:gd name="T21" fmla="*/ 19 h 86"/>
                  <a:gd name="T22" fmla="*/ 4 w 49"/>
                  <a:gd name="T23" fmla="*/ 21 h 86"/>
                  <a:gd name="T24" fmla="*/ 6 w 49"/>
                  <a:gd name="T25" fmla="*/ 24 h 86"/>
                  <a:gd name="T26" fmla="*/ 7 w 49"/>
                  <a:gd name="T27" fmla="*/ 26 h 86"/>
                  <a:gd name="T28" fmla="*/ 9 w 49"/>
                  <a:gd name="T29" fmla="*/ 28 h 86"/>
                  <a:gd name="T30" fmla="*/ 10 w 49"/>
                  <a:gd name="T31" fmla="*/ 26 h 86"/>
                  <a:gd name="T32" fmla="*/ 12 w 49"/>
                  <a:gd name="T33" fmla="*/ 22 h 86"/>
                  <a:gd name="T34" fmla="*/ 14 w 49"/>
                  <a:gd name="T35" fmla="*/ 19 h 86"/>
                  <a:gd name="T36" fmla="*/ 15 w 49"/>
                  <a:gd name="T37" fmla="*/ 15 h 86"/>
                  <a:gd name="T38" fmla="*/ 16 w 49"/>
                  <a:gd name="T39" fmla="*/ 13 h 86"/>
                  <a:gd name="T40" fmla="*/ 16 w 49"/>
                  <a:gd name="T41" fmla="*/ 11 h 86"/>
                  <a:gd name="T42" fmla="*/ 16 w 49"/>
                  <a:gd name="T43" fmla="*/ 8 h 86"/>
                  <a:gd name="T44" fmla="*/ 16 w 49"/>
                  <a:gd name="T45" fmla="*/ 7 h 86"/>
                  <a:gd name="T46" fmla="*/ 14 w 49"/>
                  <a:gd name="T47" fmla="*/ 6 h 86"/>
                  <a:gd name="T48" fmla="*/ 13 w 49"/>
                  <a:gd name="T49" fmla="*/ 5 h 86"/>
                  <a:gd name="T50" fmla="*/ 11 w 49"/>
                  <a:gd name="T51" fmla="*/ 4 h 86"/>
                  <a:gd name="T52" fmla="*/ 9 w 49"/>
                  <a:gd name="T53" fmla="*/ 4 h 8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3" name="Freeform 63">
                <a:extLst>
                  <a:ext uri="{FF2B5EF4-FFF2-40B4-BE49-F238E27FC236}">
                    <a16:creationId xmlns:a16="http://schemas.microsoft.com/office/drawing/2014/main" id="{945B0093-C303-4181-84EC-D331EB5391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4 h 12"/>
                  <a:gd name="T2" fmla="*/ 2 w 6"/>
                  <a:gd name="T3" fmla="*/ 0 h 12"/>
                  <a:gd name="T4" fmla="*/ 1 w 6"/>
                  <a:gd name="T5" fmla="*/ 0 h 12"/>
                  <a:gd name="T6" fmla="*/ 1 w 6"/>
                  <a:gd name="T7" fmla="*/ 1 h 12"/>
                  <a:gd name="T8" fmla="*/ 0 w 6"/>
                  <a:gd name="T9" fmla="*/ 1 h 12"/>
                  <a:gd name="T10" fmla="*/ 0 w 6"/>
                  <a:gd name="T11" fmla="*/ 2 h 12"/>
                  <a:gd name="T12" fmla="*/ 0 w 6"/>
                  <a:gd name="T13" fmla="*/ 3 h 12"/>
                  <a:gd name="T14" fmla="*/ 0 w 6"/>
                  <a:gd name="T15" fmla="*/ 4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4" name="Freeform 64">
                <a:extLst>
                  <a:ext uri="{FF2B5EF4-FFF2-40B4-BE49-F238E27FC236}">
                    <a16:creationId xmlns:a16="http://schemas.microsoft.com/office/drawing/2014/main" id="{FF4E2E34-CE18-4639-B65B-426F209FBF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4 w 39"/>
                  <a:gd name="T3" fmla="*/ 3 h 48"/>
                  <a:gd name="T4" fmla="*/ 7 w 39"/>
                  <a:gd name="T5" fmla="*/ 5 h 48"/>
                  <a:gd name="T6" fmla="*/ 11 w 39"/>
                  <a:gd name="T7" fmla="*/ 8 h 48"/>
                  <a:gd name="T8" fmla="*/ 13 w 39"/>
                  <a:gd name="T9" fmla="*/ 9 h 48"/>
                  <a:gd name="T10" fmla="*/ 12 w 39"/>
                  <a:gd name="T11" fmla="*/ 12 h 48"/>
                  <a:gd name="T12" fmla="*/ 11 w 39"/>
                  <a:gd name="T13" fmla="*/ 15 h 48"/>
                  <a:gd name="T14" fmla="*/ 6 w 39"/>
                  <a:gd name="T15" fmla="*/ 11 h 48"/>
                  <a:gd name="T16" fmla="*/ 3 w 39"/>
                  <a:gd name="T17" fmla="*/ 8 h 48"/>
                  <a:gd name="T18" fmla="*/ 1 w 39"/>
                  <a:gd name="T19" fmla="*/ 7 h 48"/>
                  <a:gd name="T20" fmla="*/ 1 w 39"/>
                  <a:gd name="T21" fmla="*/ 5 h 48"/>
                  <a:gd name="T22" fmla="*/ 0 w 39"/>
                  <a:gd name="T23" fmla="*/ 3 h 48"/>
                  <a:gd name="T24" fmla="*/ 0 w 39"/>
                  <a:gd name="T25" fmla="*/ 0 h 4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5" name="Freeform 65">
                <a:extLst>
                  <a:ext uri="{FF2B5EF4-FFF2-40B4-BE49-F238E27FC236}">
                    <a16:creationId xmlns:a16="http://schemas.microsoft.com/office/drawing/2014/main" id="{FB6A4CA9-5B5D-43B0-8D8D-D206E24A69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3 w 16"/>
                  <a:gd name="T1" fmla="*/ 0 h 43"/>
                  <a:gd name="T2" fmla="*/ 4 w 16"/>
                  <a:gd name="T3" fmla="*/ 3 h 43"/>
                  <a:gd name="T4" fmla="*/ 6 w 16"/>
                  <a:gd name="T5" fmla="*/ 5 h 43"/>
                  <a:gd name="T6" fmla="*/ 6 w 16"/>
                  <a:gd name="T7" fmla="*/ 7 h 43"/>
                  <a:gd name="T8" fmla="*/ 6 w 16"/>
                  <a:gd name="T9" fmla="*/ 9 h 43"/>
                  <a:gd name="T10" fmla="*/ 6 w 16"/>
                  <a:gd name="T11" fmla="*/ 10 h 43"/>
                  <a:gd name="T12" fmla="*/ 4 w 16"/>
                  <a:gd name="T13" fmla="*/ 11 h 43"/>
                  <a:gd name="T14" fmla="*/ 3 w 16"/>
                  <a:gd name="T15" fmla="*/ 13 h 43"/>
                  <a:gd name="T16" fmla="*/ 0 w 16"/>
                  <a:gd name="T17" fmla="*/ 14 h 43"/>
                  <a:gd name="T18" fmla="*/ 1 w 16"/>
                  <a:gd name="T19" fmla="*/ 9 h 43"/>
                  <a:gd name="T20" fmla="*/ 2 w 16"/>
                  <a:gd name="T21" fmla="*/ 6 h 43"/>
                  <a:gd name="T22" fmla="*/ 2 w 16"/>
                  <a:gd name="T23" fmla="*/ 3 h 43"/>
                  <a:gd name="T24" fmla="*/ 3 w 16"/>
                  <a:gd name="T25" fmla="*/ 0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6" name="Freeform 66">
                <a:extLst>
                  <a:ext uri="{FF2B5EF4-FFF2-40B4-BE49-F238E27FC236}">
                    <a16:creationId xmlns:a16="http://schemas.microsoft.com/office/drawing/2014/main" id="{E0FF9265-10C9-4ADF-918F-67F38558B7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8 w 24"/>
                  <a:gd name="T1" fmla="*/ 12 h 37"/>
                  <a:gd name="T2" fmla="*/ 6 w 24"/>
                  <a:gd name="T3" fmla="*/ 9 h 37"/>
                  <a:gd name="T4" fmla="*/ 5 w 24"/>
                  <a:gd name="T5" fmla="*/ 6 h 37"/>
                  <a:gd name="T6" fmla="*/ 4 w 24"/>
                  <a:gd name="T7" fmla="*/ 3 h 37"/>
                  <a:gd name="T8" fmla="*/ 4 w 24"/>
                  <a:gd name="T9" fmla="*/ 0 h 37"/>
                  <a:gd name="T10" fmla="*/ 2 w 24"/>
                  <a:gd name="T11" fmla="*/ 3 h 37"/>
                  <a:gd name="T12" fmla="*/ 1 w 24"/>
                  <a:gd name="T13" fmla="*/ 6 h 37"/>
                  <a:gd name="T14" fmla="*/ 0 w 24"/>
                  <a:gd name="T15" fmla="*/ 8 h 37"/>
                  <a:gd name="T16" fmla="*/ 0 w 24"/>
                  <a:gd name="T17" fmla="*/ 10 h 37"/>
                  <a:gd name="T18" fmla="*/ 0 w 24"/>
                  <a:gd name="T19" fmla="*/ 11 h 37"/>
                  <a:gd name="T20" fmla="*/ 1 w 24"/>
                  <a:gd name="T21" fmla="*/ 11 h 37"/>
                  <a:gd name="T22" fmla="*/ 1 w 24"/>
                  <a:gd name="T23" fmla="*/ 12 h 37"/>
                  <a:gd name="T24" fmla="*/ 2 w 24"/>
                  <a:gd name="T25" fmla="*/ 12 h 37"/>
                  <a:gd name="T26" fmla="*/ 5 w 24"/>
                  <a:gd name="T27" fmla="*/ 12 h 37"/>
                  <a:gd name="T28" fmla="*/ 8 w 24"/>
                  <a:gd name="T29" fmla="*/ 12 h 3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7" name="Freeform 67">
                <a:extLst>
                  <a:ext uri="{FF2B5EF4-FFF2-40B4-BE49-F238E27FC236}">
                    <a16:creationId xmlns:a16="http://schemas.microsoft.com/office/drawing/2014/main" id="{29FA9C07-D875-4B40-B9BB-28F77DEBFC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11 w 34"/>
                  <a:gd name="T1" fmla="*/ 0 h 55"/>
                  <a:gd name="T2" fmla="*/ 11 w 34"/>
                  <a:gd name="T3" fmla="*/ 4 h 55"/>
                  <a:gd name="T4" fmla="*/ 11 w 34"/>
                  <a:gd name="T5" fmla="*/ 8 h 55"/>
                  <a:gd name="T6" fmla="*/ 11 w 34"/>
                  <a:gd name="T7" fmla="*/ 10 h 55"/>
                  <a:gd name="T8" fmla="*/ 10 w 34"/>
                  <a:gd name="T9" fmla="*/ 12 h 55"/>
                  <a:gd name="T10" fmla="*/ 9 w 34"/>
                  <a:gd name="T11" fmla="*/ 13 h 55"/>
                  <a:gd name="T12" fmla="*/ 8 w 34"/>
                  <a:gd name="T13" fmla="*/ 15 h 55"/>
                  <a:gd name="T14" fmla="*/ 6 w 34"/>
                  <a:gd name="T15" fmla="*/ 16 h 55"/>
                  <a:gd name="T16" fmla="*/ 5 w 34"/>
                  <a:gd name="T17" fmla="*/ 16 h 55"/>
                  <a:gd name="T18" fmla="*/ 3 w 34"/>
                  <a:gd name="T19" fmla="*/ 17 h 55"/>
                  <a:gd name="T20" fmla="*/ 0 w 34"/>
                  <a:gd name="T21" fmla="*/ 17 h 55"/>
                  <a:gd name="T22" fmla="*/ 3 w 34"/>
                  <a:gd name="T23" fmla="*/ 11 h 55"/>
                  <a:gd name="T24" fmla="*/ 5 w 34"/>
                  <a:gd name="T25" fmla="*/ 6 h 55"/>
                  <a:gd name="T26" fmla="*/ 6 w 34"/>
                  <a:gd name="T27" fmla="*/ 5 h 55"/>
                  <a:gd name="T28" fmla="*/ 7 w 34"/>
                  <a:gd name="T29" fmla="*/ 3 h 55"/>
                  <a:gd name="T30" fmla="*/ 9 w 34"/>
                  <a:gd name="T31" fmla="*/ 2 h 55"/>
                  <a:gd name="T32" fmla="*/ 11 w 34"/>
                  <a:gd name="T33" fmla="*/ 0 h 5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8" name="Freeform 68">
                <a:extLst>
                  <a:ext uri="{FF2B5EF4-FFF2-40B4-BE49-F238E27FC236}">
                    <a16:creationId xmlns:a16="http://schemas.microsoft.com/office/drawing/2014/main" id="{D02D130F-15A7-4F24-AF37-F8E8199469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1 w 33"/>
                  <a:gd name="T3" fmla="*/ 1 h 12"/>
                  <a:gd name="T4" fmla="*/ 2 w 33"/>
                  <a:gd name="T5" fmla="*/ 2 h 12"/>
                  <a:gd name="T6" fmla="*/ 3 w 33"/>
                  <a:gd name="T7" fmla="*/ 3 h 12"/>
                  <a:gd name="T8" fmla="*/ 5 w 33"/>
                  <a:gd name="T9" fmla="*/ 4 h 12"/>
                  <a:gd name="T10" fmla="*/ 8 w 33"/>
                  <a:gd name="T11" fmla="*/ 4 h 12"/>
                  <a:gd name="T12" fmla="*/ 11 w 33"/>
                  <a:gd name="T13" fmla="*/ 4 h 12"/>
                  <a:gd name="T14" fmla="*/ 9 w 33"/>
                  <a:gd name="T15" fmla="*/ 3 h 12"/>
                  <a:gd name="T16" fmla="*/ 6 w 33"/>
                  <a:gd name="T17" fmla="*/ 1 h 12"/>
                  <a:gd name="T18" fmla="*/ 3 w 33"/>
                  <a:gd name="T19" fmla="*/ 0 h 12"/>
                  <a:gd name="T20" fmla="*/ 0 w 33"/>
                  <a:gd name="T21" fmla="*/ 0 h 1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57" name="Freeform 69">
              <a:extLst>
                <a:ext uri="{FF2B5EF4-FFF2-40B4-BE49-F238E27FC236}">
                  <a16:creationId xmlns:a16="http://schemas.microsoft.com/office/drawing/2014/main" id="{B32BB43C-6C25-427B-AEF7-A9DB07208E8C}"/>
                </a:ext>
              </a:extLst>
            </p:cNvPr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9429750" y="4244975"/>
              <a:ext cx="12700" cy="57150"/>
            </a:xfrm>
            <a:custGeom>
              <a:avLst/>
              <a:gdLst>
                <a:gd name="T0" fmla="*/ 0 w 33"/>
                <a:gd name="T1" fmla="*/ 57150 h 62"/>
                <a:gd name="T2" fmla="*/ 0 w 33"/>
                <a:gd name="T3" fmla="*/ 48854 h 62"/>
                <a:gd name="T4" fmla="*/ 0 w 33"/>
                <a:gd name="T5" fmla="*/ 41480 h 62"/>
                <a:gd name="T6" fmla="*/ 0 w 33"/>
                <a:gd name="T7" fmla="*/ 34106 h 62"/>
                <a:gd name="T8" fmla="*/ 0 w 33"/>
                <a:gd name="T9" fmla="*/ 28575 h 62"/>
                <a:gd name="T10" fmla="*/ 0 w 33"/>
                <a:gd name="T11" fmla="*/ 23966 h 62"/>
                <a:gd name="T12" fmla="*/ 770 w 33"/>
                <a:gd name="T13" fmla="*/ 20279 h 62"/>
                <a:gd name="T14" fmla="*/ 1539 w 33"/>
                <a:gd name="T15" fmla="*/ 15670 h 62"/>
                <a:gd name="T16" fmla="*/ 3079 w 33"/>
                <a:gd name="T17" fmla="*/ 11983 h 62"/>
                <a:gd name="T18" fmla="*/ 5388 w 33"/>
                <a:gd name="T19" fmla="*/ 5531 h 62"/>
                <a:gd name="T20" fmla="*/ 7697 w 33"/>
                <a:gd name="T21" fmla="*/ 0 h 62"/>
                <a:gd name="T22" fmla="*/ 10006 w 33"/>
                <a:gd name="T23" fmla="*/ 5531 h 62"/>
                <a:gd name="T24" fmla="*/ 12700 w 33"/>
                <a:gd name="T25" fmla="*/ 11983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" name="Freeform 70">
              <a:extLst>
                <a:ext uri="{FF2B5EF4-FFF2-40B4-BE49-F238E27FC236}">
                  <a16:creationId xmlns:a16="http://schemas.microsoft.com/office/drawing/2014/main" id="{6EE5077B-64CA-443D-95A0-E0D5F640B8EA}"/>
                </a:ext>
              </a:extLst>
            </p:cNvPr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9439276" y="4335464"/>
              <a:ext cx="9525" cy="58737"/>
            </a:xfrm>
            <a:custGeom>
              <a:avLst/>
              <a:gdLst>
                <a:gd name="T0" fmla="*/ 0 w 26"/>
                <a:gd name="T1" fmla="*/ 58737 h 18"/>
                <a:gd name="T2" fmla="*/ 0 w 26"/>
                <a:gd name="T3" fmla="*/ 0 h 18"/>
                <a:gd name="T4" fmla="*/ 9525 w 26"/>
                <a:gd name="T5" fmla="*/ 0 h 18"/>
                <a:gd name="T6" fmla="*/ 2198 w 26"/>
                <a:gd name="T7" fmla="*/ 39158 h 18"/>
                <a:gd name="T8" fmla="*/ 2198 w 26"/>
                <a:gd name="T9" fmla="*/ 19579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" name="Freeform 71">
              <a:extLst>
                <a:ext uri="{FF2B5EF4-FFF2-40B4-BE49-F238E27FC236}">
                  <a16:creationId xmlns:a16="http://schemas.microsoft.com/office/drawing/2014/main" id="{B113934C-DC35-435A-B97B-7748EF2867E7}"/>
                </a:ext>
              </a:extLst>
            </p:cNvPr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9553575" y="4244976"/>
              <a:ext cx="77788" cy="130175"/>
            </a:xfrm>
            <a:custGeom>
              <a:avLst/>
              <a:gdLst>
                <a:gd name="T0" fmla="*/ 77788 w 180"/>
                <a:gd name="T1" fmla="*/ 120412 h 240"/>
                <a:gd name="T2" fmla="*/ 75627 w 180"/>
                <a:gd name="T3" fmla="*/ 120954 h 240"/>
                <a:gd name="T4" fmla="*/ 73899 w 180"/>
                <a:gd name="T5" fmla="*/ 120954 h 240"/>
                <a:gd name="T6" fmla="*/ 72170 w 180"/>
                <a:gd name="T7" fmla="*/ 122039 h 240"/>
                <a:gd name="T8" fmla="*/ 70874 w 180"/>
                <a:gd name="T9" fmla="*/ 123124 h 240"/>
                <a:gd name="T10" fmla="*/ 68281 w 180"/>
                <a:gd name="T11" fmla="*/ 125836 h 240"/>
                <a:gd name="T12" fmla="*/ 66120 w 180"/>
                <a:gd name="T13" fmla="*/ 130175 h 240"/>
                <a:gd name="T14" fmla="*/ 60502 w 180"/>
                <a:gd name="T15" fmla="*/ 125836 h 240"/>
                <a:gd name="T16" fmla="*/ 56612 w 180"/>
                <a:gd name="T17" fmla="*/ 120954 h 240"/>
                <a:gd name="T18" fmla="*/ 53155 w 180"/>
                <a:gd name="T19" fmla="*/ 116073 h 240"/>
                <a:gd name="T20" fmla="*/ 50994 w 180"/>
                <a:gd name="T21" fmla="*/ 111734 h 240"/>
                <a:gd name="T22" fmla="*/ 48401 w 180"/>
                <a:gd name="T23" fmla="*/ 105767 h 240"/>
                <a:gd name="T24" fmla="*/ 45808 w 180"/>
                <a:gd name="T25" fmla="*/ 100343 h 240"/>
                <a:gd name="T26" fmla="*/ 42351 w 180"/>
                <a:gd name="T27" fmla="*/ 94377 h 240"/>
                <a:gd name="T28" fmla="*/ 37598 w 180"/>
                <a:gd name="T29" fmla="*/ 87326 h 240"/>
                <a:gd name="T30" fmla="*/ 35437 w 180"/>
                <a:gd name="T31" fmla="*/ 82987 h 240"/>
                <a:gd name="T32" fmla="*/ 32412 w 180"/>
                <a:gd name="T33" fmla="*/ 79190 h 240"/>
                <a:gd name="T34" fmla="*/ 30251 w 180"/>
                <a:gd name="T35" fmla="*/ 75393 h 240"/>
                <a:gd name="T36" fmla="*/ 26794 w 180"/>
                <a:gd name="T37" fmla="*/ 72139 h 240"/>
                <a:gd name="T38" fmla="*/ 20743 w 180"/>
                <a:gd name="T39" fmla="*/ 65630 h 240"/>
                <a:gd name="T40" fmla="*/ 14261 w 180"/>
                <a:gd name="T41" fmla="*/ 59664 h 240"/>
                <a:gd name="T42" fmla="*/ 11668 w 180"/>
                <a:gd name="T43" fmla="*/ 56409 h 240"/>
                <a:gd name="T44" fmla="*/ 9075 w 180"/>
                <a:gd name="T45" fmla="*/ 53155 h 240"/>
                <a:gd name="T46" fmla="*/ 6482 w 180"/>
                <a:gd name="T47" fmla="*/ 49900 h 240"/>
                <a:gd name="T48" fmla="*/ 4322 w 180"/>
                <a:gd name="T49" fmla="*/ 45561 h 240"/>
                <a:gd name="T50" fmla="*/ 2593 w 180"/>
                <a:gd name="T51" fmla="*/ 41764 h 240"/>
                <a:gd name="T52" fmla="*/ 1729 w 180"/>
                <a:gd name="T53" fmla="*/ 36883 h 240"/>
                <a:gd name="T54" fmla="*/ 432 w 180"/>
                <a:gd name="T55" fmla="*/ 32544 h 240"/>
                <a:gd name="T56" fmla="*/ 0 w 180"/>
                <a:gd name="T57" fmla="*/ 27120 h 240"/>
                <a:gd name="T58" fmla="*/ 0 w 180"/>
                <a:gd name="T59" fmla="*/ 18984 h 240"/>
                <a:gd name="T60" fmla="*/ 0 w 180"/>
                <a:gd name="T61" fmla="*/ 13560 h 240"/>
                <a:gd name="T62" fmla="*/ 0 w 180"/>
                <a:gd name="T63" fmla="*/ 8136 h 240"/>
                <a:gd name="T64" fmla="*/ 0 w 180"/>
                <a:gd name="T65" fmla="*/ 0 h 240"/>
                <a:gd name="T66" fmla="*/ 4322 w 180"/>
                <a:gd name="T67" fmla="*/ 4339 h 240"/>
                <a:gd name="T68" fmla="*/ 8211 w 180"/>
                <a:gd name="T69" fmla="*/ 9221 h 240"/>
                <a:gd name="T70" fmla="*/ 11668 w 180"/>
                <a:gd name="T71" fmla="*/ 14645 h 240"/>
                <a:gd name="T72" fmla="*/ 14693 w 180"/>
                <a:gd name="T73" fmla="*/ 20611 h 240"/>
                <a:gd name="T74" fmla="*/ 17718 w 180"/>
                <a:gd name="T75" fmla="*/ 26035 h 240"/>
                <a:gd name="T76" fmla="*/ 19879 w 180"/>
                <a:gd name="T77" fmla="*/ 31459 h 240"/>
                <a:gd name="T78" fmla="*/ 22040 w 180"/>
                <a:gd name="T79" fmla="*/ 35798 h 240"/>
                <a:gd name="T80" fmla="*/ 23336 w 180"/>
                <a:gd name="T81" fmla="*/ 40137 h 240"/>
                <a:gd name="T82" fmla="*/ 25929 w 180"/>
                <a:gd name="T83" fmla="*/ 46646 h 240"/>
                <a:gd name="T84" fmla="*/ 28522 w 180"/>
                <a:gd name="T85" fmla="*/ 53155 h 240"/>
                <a:gd name="T86" fmla="*/ 31980 w 180"/>
                <a:gd name="T87" fmla="*/ 58036 h 240"/>
                <a:gd name="T88" fmla="*/ 35437 w 180"/>
                <a:gd name="T89" fmla="*/ 62918 h 240"/>
                <a:gd name="T90" fmla="*/ 43216 w 180"/>
                <a:gd name="T91" fmla="*/ 72139 h 240"/>
                <a:gd name="T92" fmla="*/ 51427 w 180"/>
                <a:gd name="T93" fmla="*/ 80817 h 240"/>
                <a:gd name="T94" fmla="*/ 60070 w 180"/>
                <a:gd name="T95" fmla="*/ 88953 h 240"/>
                <a:gd name="T96" fmla="*/ 66984 w 180"/>
                <a:gd name="T97" fmla="*/ 97631 h 240"/>
                <a:gd name="T98" fmla="*/ 70441 w 180"/>
                <a:gd name="T99" fmla="*/ 102513 h 240"/>
                <a:gd name="T100" fmla="*/ 73034 w 180"/>
                <a:gd name="T101" fmla="*/ 107937 h 240"/>
                <a:gd name="T102" fmla="*/ 75627 w 180"/>
                <a:gd name="T103" fmla="*/ 113903 h 240"/>
                <a:gd name="T104" fmla="*/ 77788 w 180"/>
                <a:gd name="T105" fmla="*/ 120412 h 2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" name="Freeform 72">
              <a:extLst>
                <a:ext uri="{FF2B5EF4-FFF2-40B4-BE49-F238E27FC236}">
                  <a16:creationId xmlns:a16="http://schemas.microsoft.com/office/drawing/2014/main" id="{479C0310-AE41-4D0B-B62F-AFB031E56BCE}"/>
                </a:ext>
              </a:extLst>
            </p:cNvPr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9553575" y="4217988"/>
              <a:ext cx="14288" cy="57150"/>
            </a:xfrm>
            <a:custGeom>
              <a:avLst/>
              <a:gdLst>
                <a:gd name="T0" fmla="*/ 0 w 27"/>
                <a:gd name="T1" fmla="*/ 0 h 30"/>
                <a:gd name="T2" fmla="*/ 529 w 27"/>
                <a:gd name="T3" fmla="*/ 9525 h 30"/>
                <a:gd name="T4" fmla="*/ 1588 w 27"/>
                <a:gd name="T5" fmla="*/ 20955 h 30"/>
                <a:gd name="T6" fmla="*/ 2117 w 27"/>
                <a:gd name="T7" fmla="*/ 26670 h 30"/>
                <a:gd name="T8" fmla="*/ 2117 w 27"/>
                <a:gd name="T9" fmla="*/ 36195 h 30"/>
                <a:gd name="T10" fmla="*/ 1588 w 27"/>
                <a:gd name="T11" fmla="*/ 45720 h 30"/>
                <a:gd name="T12" fmla="*/ 0 w 27"/>
                <a:gd name="T13" fmla="*/ 57150 h 30"/>
                <a:gd name="T14" fmla="*/ 8996 w 27"/>
                <a:gd name="T15" fmla="*/ 51435 h 30"/>
                <a:gd name="T16" fmla="*/ 14288 w 27"/>
                <a:gd name="T17" fmla="*/ 45720 h 30"/>
                <a:gd name="T18" fmla="*/ 12171 w 27"/>
                <a:gd name="T19" fmla="*/ 38100 h 30"/>
                <a:gd name="T20" fmla="*/ 8996 w 27"/>
                <a:gd name="T21" fmla="*/ 22860 h 30"/>
                <a:gd name="T22" fmla="*/ 5821 w 27"/>
                <a:gd name="T23" fmla="*/ 15240 h 30"/>
                <a:gd name="T24" fmla="*/ 3704 w 27"/>
                <a:gd name="T25" fmla="*/ 7620 h 30"/>
                <a:gd name="T26" fmla="*/ 2117 w 27"/>
                <a:gd name="T27" fmla="*/ 1905 h 30"/>
                <a:gd name="T28" fmla="*/ 0 w 27"/>
                <a:gd name="T29" fmla="*/ 0 h 3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61" name="Group 73">
              <a:extLst>
                <a:ext uri="{FF2B5EF4-FFF2-40B4-BE49-F238E27FC236}">
                  <a16:creationId xmlns:a16="http://schemas.microsoft.com/office/drawing/2014/main" id="{003E3824-85E2-4973-A4F8-048E83290C48}"/>
                </a:ext>
              </a:extLst>
            </p:cNvPr>
            <p:cNvGrpSpPr>
              <a:grpSpLocks/>
            </p:cNvGrpSpPr>
            <p:nvPr>
              <p:custDataLst>
                <p:tags r:id="rId56"/>
              </p:custDataLst>
            </p:nvPr>
          </p:nvGrpSpPr>
          <p:grpSpPr bwMode="auto">
            <a:xfrm>
              <a:off x="9244014" y="4738688"/>
              <a:ext cx="458787" cy="404812"/>
              <a:chOff x="5372" y="3323"/>
              <a:chExt cx="341" cy="253"/>
            </a:xfrm>
            <a:solidFill>
              <a:srgbClr val="0070C0"/>
            </a:solidFill>
          </p:grpSpPr>
          <p:sp>
            <p:nvSpPr>
              <p:cNvPr id="536" name="Freeform 74">
                <a:extLst>
                  <a:ext uri="{FF2B5EF4-FFF2-40B4-BE49-F238E27FC236}">
                    <a16:creationId xmlns:a16="http://schemas.microsoft.com/office/drawing/2014/main" id="{A534EFA8-4134-49FF-AE6F-64A3DA1996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10 h 33"/>
                  <a:gd name="T2" fmla="*/ 1 w 53"/>
                  <a:gd name="T3" fmla="*/ 9 h 33"/>
                  <a:gd name="T4" fmla="*/ 2 w 53"/>
                  <a:gd name="T5" fmla="*/ 7 h 33"/>
                  <a:gd name="T6" fmla="*/ 5 w 53"/>
                  <a:gd name="T7" fmla="*/ 5 h 33"/>
                  <a:gd name="T8" fmla="*/ 6 w 53"/>
                  <a:gd name="T9" fmla="*/ 4 h 33"/>
                  <a:gd name="T10" fmla="*/ 9 w 53"/>
                  <a:gd name="T11" fmla="*/ 2 h 33"/>
                  <a:gd name="T12" fmla="*/ 11 w 53"/>
                  <a:gd name="T13" fmla="*/ 1 h 33"/>
                  <a:gd name="T14" fmla="*/ 14 w 53"/>
                  <a:gd name="T15" fmla="*/ 0 h 33"/>
                  <a:gd name="T16" fmla="*/ 16 w 53"/>
                  <a:gd name="T17" fmla="*/ 0 h 33"/>
                  <a:gd name="T18" fmla="*/ 16 w 53"/>
                  <a:gd name="T19" fmla="*/ 6 h 33"/>
                  <a:gd name="T20" fmla="*/ 11 w 53"/>
                  <a:gd name="T21" fmla="*/ 8 h 33"/>
                  <a:gd name="T22" fmla="*/ 8 w 53"/>
                  <a:gd name="T23" fmla="*/ 10 h 33"/>
                  <a:gd name="T24" fmla="*/ 6 w 53"/>
                  <a:gd name="T25" fmla="*/ 11 h 33"/>
                  <a:gd name="T26" fmla="*/ 5 w 53"/>
                  <a:gd name="T27" fmla="*/ 11 h 33"/>
                  <a:gd name="T28" fmla="*/ 3 w 53"/>
                  <a:gd name="T29" fmla="*/ 11 h 33"/>
                  <a:gd name="T30" fmla="*/ 0 w 53"/>
                  <a:gd name="T31" fmla="*/ 10 h 3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7" name="Freeform 75">
                <a:extLst>
                  <a:ext uri="{FF2B5EF4-FFF2-40B4-BE49-F238E27FC236}">
                    <a16:creationId xmlns:a16="http://schemas.microsoft.com/office/drawing/2014/main" id="{8DDB78E5-6391-4770-B5C1-91D002E9D0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8 w 631"/>
                  <a:gd name="T1" fmla="*/ 97 h 358"/>
                  <a:gd name="T2" fmla="*/ 16 w 631"/>
                  <a:gd name="T3" fmla="*/ 95 h 358"/>
                  <a:gd name="T4" fmla="*/ 21 w 631"/>
                  <a:gd name="T5" fmla="*/ 91 h 358"/>
                  <a:gd name="T6" fmla="*/ 25 w 631"/>
                  <a:gd name="T7" fmla="*/ 83 h 358"/>
                  <a:gd name="T8" fmla="*/ 32 w 631"/>
                  <a:gd name="T9" fmla="*/ 84 h 358"/>
                  <a:gd name="T10" fmla="*/ 40 w 631"/>
                  <a:gd name="T11" fmla="*/ 83 h 358"/>
                  <a:gd name="T12" fmla="*/ 45 w 631"/>
                  <a:gd name="T13" fmla="*/ 81 h 358"/>
                  <a:gd name="T14" fmla="*/ 52 w 631"/>
                  <a:gd name="T15" fmla="*/ 75 h 358"/>
                  <a:gd name="T16" fmla="*/ 58 w 631"/>
                  <a:gd name="T17" fmla="*/ 68 h 358"/>
                  <a:gd name="T18" fmla="*/ 68 w 631"/>
                  <a:gd name="T19" fmla="*/ 63 h 358"/>
                  <a:gd name="T20" fmla="*/ 83 w 631"/>
                  <a:gd name="T21" fmla="*/ 57 h 358"/>
                  <a:gd name="T22" fmla="*/ 105 w 631"/>
                  <a:gd name="T23" fmla="*/ 50 h 358"/>
                  <a:gd name="T24" fmla="*/ 116 w 631"/>
                  <a:gd name="T25" fmla="*/ 45 h 358"/>
                  <a:gd name="T26" fmla="*/ 125 w 631"/>
                  <a:gd name="T27" fmla="*/ 42 h 358"/>
                  <a:gd name="T28" fmla="*/ 130 w 631"/>
                  <a:gd name="T29" fmla="*/ 42 h 358"/>
                  <a:gd name="T30" fmla="*/ 141 w 631"/>
                  <a:gd name="T31" fmla="*/ 35 h 358"/>
                  <a:gd name="T32" fmla="*/ 150 w 631"/>
                  <a:gd name="T33" fmla="*/ 26 h 358"/>
                  <a:gd name="T34" fmla="*/ 153 w 631"/>
                  <a:gd name="T35" fmla="*/ 21 h 358"/>
                  <a:gd name="T36" fmla="*/ 161 w 631"/>
                  <a:gd name="T37" fmla="*/ 19 h 358"/>
                  <a:gd name="T38" fmla="*/ 172 w 631"/>
                  <a:gd name="T39" fmla="*/ 12 h 358"/>
                  <a:gd name="T40" fmla="*/ 182 w 631"/>
                  <a:gd name="T41" fmla="*/ 4 h 358"/>
                  <a:gd name="T42" fmla="*/ 189 w 631"/>
                  <a:gd name="T43" fmla="*/ 0 h 358"/>
                  <a:gd name="T44" fmla="*/ 193 w 631"/>
                  <a:gd name="T45" fmla="*/ 7 h 358"/>
                  <a:gd name="T46" fmla="*/ 198 w 631"/>
                  <a:gd name="T47" fmla="*/ 10 h 358"/>
                  <a:gd name="T48" fmla="*/ 200 w 631"/>
                  <a:gd name="T49" fmla="*/ 15 h 358"/>
                  <a:gd name="T50" fmla="*/ 192 w 631"/>
                  <a:gd name="T51" fmla="*/ 29 h 358"/>
                  <a:gd name="T52" fmla="*/ 182 w 631"/>
                  <a:gd name="T53" fmla="*/ 41 h 358"/>
                  <a:gd name="T54" fmla="*/ 169 w 631"/>
                  <a:gd name="T55" fmla="*/ 50 h 358"/>
                  <a:gd name="T56" fmla="*/ 156 w 631"/>
                  <a:gd name="T57" fmla="*/ 57 h 358"/>
                  <a:gd name="T58" fmla="*/ 142 w 631"/>
                  <a:gd name="T59" fmla="*/ 59 h 358"/>
                  <a:gd name="T60" fmla="*/ 140 w 631"/>
                  <a:gd name="T61" fmla="*/ 64 h 358"/>
                  <a:gd name="T62" fmla="*/ 139 w 631"/>
                  <a:gd name="T63" fmla="*/ 65 h 358"/>
                  <a:gd name="T64" fmla="*/ 126 w 631"/>
                  <a:gd name="T65" fmla="*/ 65 h 358"/>
                  <a:gd name="T66" fmla="*/ 117 w 631"/>
                  <a:gd name="T67" fmla="*/ 69 h 358"/>
                  <a:gd name="T68" fmla="*/ 111 w 631"/>
                  <a:gd name="T69" fmla="*/ 69 h 358"/>
                  <a:gd name="T70" fmla="*/ 108 w 631"/>
                  <a:gd name="T71" fmla="*/ 67 h 358"/>
                  <a:gd name="T72" fmla="*/ 100 w 631"/>
                  <a:gd name="T73" fmla="*/ 79 h 358"/>
                  <a:gd name="T74" fmla="*/ 87 w 631"/>
                  <a:gd name="T75" fmla="*/ 92 h 358"/>
                  <a:gd name="T76" fmla="*/ 70 w 631"/>
                  <a:gd name="T77" fmla="*/ 103 h 358"/>
                  <a:gd name="T78" fmla="*/ 53 w 631"/>
                  <a:gd name="T79" fmla="*/ 112 h 358"/>
                  <a:gd name="T80" fmla="*/ 35 w 631"/>
                  <a:gd name="T81" fmla="*/ 117 h 358"/>
                  <a:gd name="T82" fmla="*/ 23 w 631"/>
                  <a:gd name="T83" fmla="*/ 116 h 358"/>
                  <a:gd name="T84" fmla="*/ 18 w 631"/>
                  <a:gd name="T85" fmla="*/ 114 h 358"/>
                  <a:gd name="T86" fmla="*/ 11 w 631"/>
                  <a:gd name="T87" fmla="*/ 111 h 35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8" name="Freeform 76">
                <a:extLst>
                  <a:ext uri="{FF2B5EF4-FFF2-40B4-BE49-F238E27FC236}">
                    <a16:creationId xmlns:a16="http://schemas.microsoft.com/office/drawing/2014/main" id="{C31721A1-D77F-4FD0-B56E-F0FDA9CBB6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19 w 359"/>
                  <a:gd name="T1" fmla="*/ 94 h 431"/>
                  <a:gd name="T2" fmla="*/ 31 w 359"/>
                  <a:gd name="T3" fmla="*/ 88 h 431"/>
                  <a:gd name="T4" fmla="*/ 53 w 359"/>
                  <a:gd name="T5" fmla="*/ 68 h 431"/>
                  <a:gd name="T6" fmla="*/ 56 w 359"/>
                  <a:gd name="T7" fmla="*/ 55 h 431"/>
                  <a:gd name="T8" fmla="*/ 58 w 359"/>
                  <a:gd name="T9" fmla="*/ 49 h 431"/>
                  <a:gd name="T10" fmla="*/ 62 w 359"/>
                  <a:gd name="T11" fmla="*/ 45 h 431"/>
                  <a:gd name="T12" fmla="*/ 61 w 359"/>
                  <a:gd name="T13" fmla="*/ 41 h 431"/>
                  <a:gd name="T14" fmla="*/ 58 w 359"/>
                  <a:gd name="T15" fmla="*/ 31 h 431"/>
                  <a:gd name="T16" fmla="*/ 56 w 359"/>
                  <a:gd name="T17" fmla="*/ 11 h 431"/>
                  <a:gd name="T18" fmla="*/ 59 w 359"/>
                  <a:gd name="T19" fmla="*/ 0 h 431"/>
                  <a:gd name="T20" fmla="*/ 63 w 359"/>
                  <a:gd name="T21" fmla="*/ 4 h 431"/>
                  <a:gd name="T22" fmla="*/ 67 w 359"/>
                  <a:gd name="T23" fmla="*/ 9 h 431"/>
                  <a:gd name="T24" fmla="*/ 75 w 359"/>
                  <a:gd name="T25" fmla="*/ 18 h 431"/>
                  <a:gd name="T26" fmla="*/ 77 w 359"/>
                  <a:gd name="T27" fmla="*/ 24 h 431"/>
                  <a:gd name="T28" fmla="*/ 77 w 359"/>
                  <a:gd name="T29" fmla="*/ 29 h 431"/>
                  <a:gd name="T30" fmla="*/ 73 w 359"/>
                  <a:gd name="T31" fmla="*/ 33 h 431"/>
                  <a:gd name="T32" fmla="*/ 66 w 359"/>
                  <a:gd name="T33" fmla="*/ 39 h 431"/>
                  <a:gd name="T34" fmla="*/ 64 w 359"/>
                  <a:gd name="T35" fmla="*/ 43 h 431"/>
                  <a:gd name="T36" fmla="*/ 64 w 359"/>
                  <a:gd name="T37" fmla="*/ 49 h 431"/>
                  <a:gd name="T38" fmla="*/ 66 w 359"/>
                  <a:gd name="T39" fmla="*/ 52 h 431"/>
                  <a:gd name="T40" fmla="*/ 73 w 359"/>
                  <a:gd name="T41" fmla="*/ 52 h 431"/>
                  <a:gd name="T42" fmla="*/ 75 w 359"/>
                  <a:gd name="T43" fmla="*/ 50 h 431"/>
                  <a:gd name="T44" fmla="*/ 75 w 359"/>
                  <a:gd name="T45" fmla="*/ 44 h 431"/>
                  <a:gd name="T46" fmla="*/ 84 w 359"/>
                  <a:gd name="T47" fmla="*/ 63 h 431"/>
                  <a:gd name="T48" fmla="*/ 88 w 359"/>
                  <a:gd name="T49" fmla="*/ 68 h 431"/>
                  <a:gd name="T50" fmla="*/ 94 w 359"/>
                  <a:gd name="T51" fmla="*/ 72 h 431"/>
                  <a:gd name="T52" fmla="*/ 97 w 359"/>
                  <a:gd name="T53" fmla="*/ 71 h 431"/>
                  <a:gd name="T54" fmla="*/ 101 w 359"/>
                  <a:gd name="T55" fmla="*/ 67 h 431"/>
                  <a:gd name="T56" fmla="*/ 110 w 359"/>
                  <a:gd name="T57" fmla="*/ 63 h 431"/>
                  <a:gd name="T58" fmla="*/ 115 w 359"/>
                  <a:gd name="T59" fmla="*/ 67 h 431"/>
                  <a:gd name="T60" fmla="*/ 111 w 359"/>
                  <a:gd name="T61" fmla="*/ 79 h 431"/>
                  <a:gd name="T62" fmla="*/ 104 w 359"/>
                  <a:gd name="T63" fmla="*/ 85 h 431"/>
                  <a:gd name="T64" fmla="*/ 95 w 359"/>
                  <a:gd name="T65" fmla="*/ 90 h 431"/>
                  <a:gd name="T66" fmla="*/ 80 w 359"/>
                  <a:gd name="T67" fmla="*/ 94 h 431"/>
                  <a:gd name="T68" fmla="*/ 67 w 359"/>
                  <a:gd name="T69" fmla="*/ 98 h 431"/>
                  <a:gd name="T70" fmla="*/ 62 w 359"/>
                  <a:gd name="T71" fmla="*/ 101 h 431"/>
                  <a:gd name="T72" fmla="*/ 58 w 359"/>
                  <a:gd name="T73" fmla="*/ 111 h 431"/>
                  <a:gd name="T74" fmla="*/ 53 w 359"/>
                  <a:gd name="T75" fmla="*/ 116 h 431"/>
                  <a:gd name="T76" fmla="*/ 35 w 359"/>
                  <a:gd name="T77" fmla="*/ 129 h 431"/>
                  <a:gd name="T78" fmla="*/ 16 w 359"/>
                  <a:gd name="T79" fmla="*/ 139 h 431"/>
                  <a:gd name="T80" fmla="*/ 6 w 359"/>
                  <a:gd name="T81" fmla="*/ 141 h 431"/>
                  <a:gd name="T82" fmla="*/ 2 w 359"/>
                  <a:gd name="T83" fmla="*/ 139 h 431"/>
                  <a:gd name="T84" fmla="*/ 0 w 359"/>
                  <a:gd name="T85" fmla="*/ 136 h 431"/>
                  <a:gd name="T86" fmla="*/ 0 w 359"/>
                  <a:gd name="T87" fmla="*/ 132 h 431"/>
                  <a:gd name="T88" fmla="*/ 3 w 359"/>
                  <a:gd name="T89" fmla="*/ 128 h 431"/>
                  <a:gd name="T90" fmla="*/ 18 w 359"/>
                  <a:gd name="T91" fmla="*/ 122 h 431"/>
                  <a:gd name="T92" fmla="*/ 24 w 359"/>
                  <a:gd name="T93" fmla="*/ 115 h 431"/>
                  <a:gd name="T94" fmla="*/ 23 w 359"/>
                  <a:gd name="T95" fmla="*/ 110 h 431"/>
                  <a:gd name="T96" fmla="*/ 21 w 359"/>
                  <a:gd name="T97" fmla="*/ 107 h 431"/>
                  <a:gd name="T98" fmla="*/ 16 w 359"/>
                  <a:gd name="T99" fmla="*/ 105 h 431"/>
                  <a:gd name="T100" fmla="*/ 6 w 359"/>
                  <a:gd name="T101" fmla="*/ 105 h 43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62" name="Freeform 77">
              <a:extLst>
                <a:ext uri="{FF2B5EF4-FFF2-40B4-BE49-F238E27FC236}">
                  <a16:creationId xmlns:a16="http://schemas.microsoft.com/office/drawing/2014/main" id="{3B5A232D-7542-42D0-B1DA-135ECE06766D}"/>
                </a:ext>
              </a:extLst>
            </p:cNvPr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8886826" y="3395663"/>
              <a:ext cx="9525" cy="57150"/>
            </a:xfrm>
            <a:custGeom>
              <a:avLst/>
              <a:gdLst>
                <a:gd name="T0" fmla="*/ 0 w 21"/>
                <a:gd name="T1" fmla="*/ 39636 h 62"/>
                <a:gd name="T2" fmla="*/ 454 w 21"/>
                <a:gd name="T3" fmla="*/ 26731 h 62"/>
                <a:gd name="T4" fmla="*/ 1361 w 21"/>
                <a:gd name="T5" fmla="*/ 15670 h 62"/>
                <a:gd name="T6" fmla="*/ 1814 w 21"/>
                <a:gd name="T7" fmla="*/ 10140 h 62"/>
                <a:gd name="T8" fmla="*/ 2721 w 21"/>
                <a:gd name="T9" fmla="*/ 6452 h 62"/>
                <a:gd name="T10" fmla="*/ 4082 w 21"/>
                <a:gd name="T11" fmla="*/ 2765 h 62"/>
                <a:gd name="T12" fmla="*/ 6804 w 21"/>
                <a:gd name="T13" fmla="*/ 0 h 62"/>
                <a:gd name="T14" fmla="*/ 6804 w 21"/>
                <a:gd name="T15" fmla="*/ 13827 h 62"/>
                <a:gd name="T16" fmla="*/ 8164 w 21"/>
                <a:gd name="T17" fmla="*/ 28575 h 62"/>
                <a:gd name="T18" fmla="*/ 9071 w 21"/>
                <a:gd name="T19" fmla="*/ 40558 h 62"/>
                <a:gd name="T20" fmla="*/ 9525 w 21"/>
                <a:gd name="T21" fmla="*/ 45167 h 62"/>
                <a:gd name="T22" fmla="*/ 4536 w 21"/>
                <a:gd name="T23" fmla="*/ 50698 h 62"/>
                <a:gd name="T24" fmla="*/ 0 w 21"/>
                <a:gd name="T25" fmla="*/ 57150 h 62"/>
                <a:gd name="T26" fmla="*/ 0 w 21"/>
                <a:gd name="T27" fmla="*/ 39636 h 6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" name="Freeform 78">
              <a:extLst>
                <a:ext uri="{FF2B5EF4-FFF2-40B4-BE49-F238E27FC236}">
                  <a16:creationId xmlns:a16="http://schemas.microsoft.com/office/drawing/2014/main" id="{493A2B1A-3D9D-408E-8E9C-284D630EFF08}"/>
                </a:ext>
              </a:extLst>
            </p:cNvPr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9613900" y="4297363"/>
              <a:ext cx="14288" cy="57150"/>
            </a:xfrm>
            <a:custGeom>
              <a:avLst/>
              <a:gdLst>
                <a:gd name="T0" fmla="*/ 0 w 33"/>
                <a:gd name="T1" fmla="*/ 0 h 24"/>
                <a:gd name="T2" fmla="*/ 2165 w 33"/>
                <a:gd name="T3" fmla="*/ 11906 h 24"/>
                <a:gd name="T4" fmla="*/ 4330 w 33"/>
                <a:gd name="T5" fmla="*/ 23813 h 24"/>
                <a:gd name="T6" fmla="*/ 4763 w 33"/>
                <a:gd name="T7" fmla="*/ 30956 h 24"/>
                <a:gd name="T8" fmla="*/ 5196 w 33"/>
                <a:gd name="T9" fmla="*/ 38100 h 24"/>
                <a:gd name="T10" fmla="*/ 5629 w 33"/>
                <a:gd name="T11" fmla="*/ 47625 h 24"/>
                <a:gd name="T12" fmla="*/ 5629 w 33"/>
                <a:gd name="T13" fmla="*/ 57150 h 24"/>
                <a:gd name="T14" fmla="*/ 14288 w 33"/>
                <a:gd name="T15" fmla="*/ 0 h 24"/>
                <a:gd name="T16" fmla="*/ 10391 w 33"/>
                <a:gd name="T17" fmla="*/ 0 h 24"/>
                <a:gd name="T18" fmla="*/ 6928 w 33"/>
                <a:gd name="T19" fmla="*/ 0 h 24"/>
                <a:gd name="T20" fmla="*/ 3897 w 33"/>
                <a:gd name="T21" fmla="*/ 0 h 24"/>
                <a:gd name="T22" fmla="*/ 0 w 33"/>
                <a:gd name="T23" fmla="*/ 0 h 2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4" name="Freeform 79">
              <a:extLst>
                <a:ext uri="{FF2B5EF4-FFF2-40B4-BE49-F238E27FC236}">
                  <a16:creationId xmlns:a16="http://schemas.microsoft.com/office/drawing/2014/main" id="{35EC0818-2F70-4CE1-9910-665A906E1411}"/>
                </a:ext>
              </a:extLst>
            </p:cNvPr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9636126" y="4306889"/>
              <a:ext cx="17463" cy="58737"/>
            </a:xfrm>
            <a:custGeom>
              <a:avLst/>
              <a:gdLst>
                <a:gd name="T0" fmla="*/ 13759 w 33"/>
                <a:gd name="T1" fmla="*/ 58737 h 25"/>
                <a:gd name="T2" fmla="*/ 15346 w 33"/>
                <a:gd name="T3" fmla="*/ 51689 h 25"/>
                <a:gd name="T4" fmla="*/ 17463 w 33"/>
                <a:gd name="T5" fmla="*/ 42291 h 25"/>
                <a:gd name="T6" fmla="*/ 17463 w 33"/>
                <a:gd name="T7" fmla="*/ 0 h 25"/>
                <a:gd name="T8" fmla="*/ 13230 w 33"/>
                <a:gd name="T9" fmla="*/ 0 h 25"/>
                <a:gd name="T10" fmla="*/ 8467 w 33"/>
                <a:gd name="T11" fmla="*/ 0 h 25"/>
                <a:gd name="T12" fmla="*/ 3175 w 33"/>
                <a:gd name="T13" fmla="*/ 0 h 25"/>
                <a:gd name="T14" fmla="*/ 0 w 33"/>
                <a:gd name="T15" fmla="*/ 0 h 25"/>
                <a:gd name="T16" fmla="*/ 13759 w 33"/>
                <a:gd name="T17" fmla="*/ 58737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" name="Freeform 80">
              <a:extLst>
                <a:ext uri="{FF2B5EF4-FFF2-40B4-BE49-F238E27FC236}">
                  <a16:creationId xmlns:a16="http://schemas.microsoft.com/office/drawing/2014/main" id="{E3B943E8-D9F7-43C3-AF5B-5222081A65C1}"/>
                </a:ext>
              </a:extLst>
            </p:cNvPr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8950325" y="3384551"/>
              <a:ext cx="1588" cy="55563"/>
            </a:xfrm>
            <a:custGeom>
              <a:avLst/>
              <a:gdLst>
                <a:gd name="T0" fmla="*/ 0 w 7"/>
                <a:gd name="T1" fmla="*/ 0 h 55563"/>
                <a:gd name="T2" fmla="*/ 1588 w 7"/>
                <a:gd name="T3" fmla="*/ 0 h 55563"/>
                <a:gd name="T4" fmla="*/ 0 w 7"/>
                <a:gd name="T5" fmla="*/ 0 h 5556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55563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" name="Freeform 81">
              <a:extLst>
                <a:ext uri="{FF2B5EF4-FFF2-40B4-BE49-F238E27FC236}">
                  <a16:creationId xmlns:a16="http://schemas.microsoft.com/office/drawing/2014/main" id="{3F8A929D-F55E-4D38-8013-F8CC57AC7354}"/>
                </a:ext>
              </a:extLst>
            </p:cNvPr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9009063" y="3328988"/>
              <a:ext cx="6350" cy="57150"/>
            </a:xfrm>
            <a:custGeom>
              <a:avLst/>
              <a:gdLst>
                <a:gd name="T0" fmla="*/ 6350 w 16"/>
                <a:gd name="T1" fmla="*/ 0 h 25"/>
                <a:gd name="T2" fmla="*/ 6350 w 16"/>
                <a:gd name="T3" fmla="*/ 13716 h 25"/>
                <a:gd name="T4" fmla="*/ 5556 w 16"/>
                <a:gd name="T5" fmla="*/ 29718 h 25"/>
                <a:gd name="T6" fmla="*/ 5159 w 16"/>
                <a:gd name="T7" fmla="*/ 36576 h 25"/>
                <a:gd name="T8" fmla="*/ 4366 w 16"/>
                <a:gd name="T9" fmla="*/ 45720 h 25"/>
                <a:gd name="T10" fmla="*/ 2778 w 16"/>
                <a:gd name="T11" fmla="*/ 52578 h 25"/>
                <a:gd name="T12" fmla="*/ 1191 w 16"/>
                <a:gd name="T13" fmla="*/ 57150 h 25"/>
                <a:gd name="T14" fmla="*/ 397 w 16"/>
                <a:gd name="T15" fmla="*/ 54864 h 25"/>
                <a:gd name="T16" fmla="*/ 0 w 16"/>
                <a:gd name="T17" fmla="*/ 48006 h 25"/>
                <a:gd name="T18" fmla="*/ 397 w 16"/>
                <a:gd name="T19" fmla="*/ 41148 h 25"/>
                <a:gd name="T20" fmla="*/ 794 w 16"/>
                <a:gd name="T21" fmla="*/ 29718 h 25"/>
                <a:gd name="T22" fmla="*/ 1588 w 16"/>
                <a:gd name="T23" fmla="*/ 20574 h 25"/>
                <a:gd name="T24" fmla="*/ 2778 w 16"/>
                <a:gd name="T25" fmla="*/ 9144 h 25"/>
                <a:gd name="T26" fmla="*/ 4366 w 16"/>
                <a:gd name="T27" fmla="*/ 2286 h 25"/>
                <a:gd name="T28" fmla="*/ 6350 w 16"/>
                <a:gd name="T29" fmla="*/ 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" name="Freeform 82">
              <a:extLst>
                <a:ext uri="{FF2B5EF4-FFF2-40B4-BE49-F238E27FC236}">
                  <a16:creationId xmlns:a16="http://schemas.microsoft.com/office/drawing/2014/main" id="{229AD396-3332-4CFD-B873-C5D8278DBB34}"/>
                </a:ext>
              </a:extLst>
            </p:cNvPr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9121776" y="3217863"/>
              <a:ext cx="4763" cy="57150"/>
            </a:xfrm>
            <a:custGeom>
              <a:avLst/>
              <a:gdLst>
                <a:gd name="T0" fmla="*/ 0 w 14"/>
                <a:gd name="T1" fmla="*/ 0 h 18"/>
                <a:gd name="T2" fmla="*/ 1021 w 14"/>
                <a:gd name="T3" fmla="*/ 3175 h 18"/>
                <a:gd name="T4" fmla="*/ 1701 w 14"/>
                <a:gd name="T5" fmla="*/ 6350 h 18"/>
                <a:gd name="T6" fmla="*/ 2382 w 14"/>
                <a:gd name="T7" fmla="*/ 12700 h 18"/>
                <a:gd name="T8" fmla="*/ 3062 w 14"/>
                <a:gd name="T9" fmla="*/ 22225 h 18"/>
                <a:gd name="T10" fmla="*/ 4423 w 14"/>
                <a:gd name="T11" fmla="*/ 41275 h 18"/>
                <a:gd name="T12" fmla="*/ 4763 w 14"/>
                <a:gd name="T13" fmla="*/ 57150 h 18"/>
                <a:gd name="T14" fmla="*/ 0 w 14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" name="Freeform 83">
              <a:extLst>
                <a:ext uri="{FF2B5EF4-FFF2-40B4-BE49-F238E27FC236}">
                  <a16:creationId xmlns:a16="http://schemas.microsoft.com/office/drawing/2014/main" id="{B452F0BD-ADB2-49DC-AC0D-2B94A440F91C}"/>
                </a:ext>
              </a:extLst>
            </p:cNvPr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9274175" y="3916364"/>
              <a:ext cx="26988" cy="58737"/>
            </a:xfrm>
            <a:custGeom>
              <a:avLst/>
              <a:gdLst>
                <a:gd name="T0" fmla="*/ 0 w 67"/>
                <a:gd name="T1" fmla="*/ 0 h 74"/>
                <a:gd name="T2" fmla="*/ 403 w 67"/>
                <a:gd name="T3" fmla="*/ 13494 h 74"/>
                <a:gd name="T4" fmla="*/ 1208 w 67"/>
                <a:gd name="T5" fmla="*/ 23812 h 74"/>
                <a:gd name="T6" fmla="*/ 2820 w 67"/>
                <a:gd name="T7" fmla="*/ 32543 h 74"/>
                <a:gd name="T8" fmla="*/ 4834 w 67"/>
                <a:gd name="T9" fmla="*/ 39687 h 74"/>
                <a:gd name="T10" fmla="*/ 6848 w 67"/>
                <a:gd name="T11" fmla="*/ 46037 h 74"/>
                <a:gd name="T12" fmla="*/ 9265 w 67"/>
                <a:gd name="T13" fmla="*/ 50800 h 74"/>
                <a:gd name="T14" fmla="*/ 11279 w 67"/>
                <a:gd name="T15" fmla="*/ 54768 h 74"/>
                <a:gd name="T16" fmla="*/ 13293 w 67"/>
                <a:gd name="T17" fmla="*/ 58737 h 74"/>
                <a:gd name="T18" fmla="*/ 17723 w 67"/>
                <a:gd name="T19" fmla="*/ 51593 h 74"/>
                <a:gd name="T20" fmla="*/ 22154 w 67"/>
                <a:gd name="T21" fmla="*/ 43656 h 74"/>
                <a:gd name="T22" fmla="*/ 23766 w 67"/>
                <a:gd name="T23" fmla="*/ 38893 h 74"/>
                <a:gd name="T24" fmla="*/ 25377 w 67"/>
                <a:gd name="T25" fmla="*/ 34131 h 74"/>
                <a:gd name="T26" fmla="*/ 26585 w 67"/>
                <a:gd name="T27" fmla="*/ 29369 h 74"/>
                <a:gd name="T28" fmla="*/ 26988 w 67"/>
                <a:gd name="T29" fmla="*/ 23812 h 74"/>
                <a:gd name="T30" fmla="*/ 26988 w 67"/>
                <a:gd name="T31" fmla="*/ 19844 h 74"/>
                <a:gd name="T32" fmla="*/ 26988 w 67"/>
                <a:gd name="T33" fmla="*/ 14287 h 74"/>
                <a:gd name="T34" fmla="*/ 26988 w 67"/>
                <a:gd name="T35" fmla="*/ 7144 h 74"/>
                <a:gd name="T36" fmla="*/ 26988 w 67"/>
                <a:gd name="T37" fmla="*/ 0 h 74"/>
                <a:gd name="T38" fmla="*/ 19335 w 67"/>
                <a:gd name="T39" fmla="*/ 0 h 74"/>
                <a:gd name="T40" fmla="*/ 13293 w 67"/>
                <a:gd name="T41" fmla="*/ 0 h 74"/>
                <a:gd name="T42" fmla="*/ 6848 w 67"/>
                <a:gd name="T43" fmla="*/ 0 h 74"/>
                <a:gd name="T44" fmla="*/ 0 w 67"/>
                <a:gd name="T45" fmla="*/ 0 h 7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9" name="Freeform 84">
              <a:extLst>
                <a:ext uri="{FF2B5EF4-FFF2-40B4-BE49-F238E27FC236}">
                  <a16:creationId xmlns:a16="http://schemas.microsoft.com/office/drawing/2014/main" id="{76C37A92-007B-4474-BB19-1CBF90B47572}"/>
                </a:ext>
              </a:extLst>
            </p:cNvPr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9337675" y="3930650"/>
              <a:ext cx="12700" cy="57150"/>
            </a:xfrm>
            <a:custGeom>
              <a:avLst/>
              <a:gdLst>
                <a:gd name="T0" fmla="*/ 0 w 34"/>
                <a:gd name="T1" fmla="*/ 0 h 38"/>
                <a:gd name="T2" fmla="*/ 747 w 34"/>
                <a:gd name="T3" fmla="*/ 4512 h 38"/>
                <a:gd name="T4" fmla="*/ 1494 w 34"/>
                <a:gd name="T5" fmla="*/ 10528 h 38"/>
                <a:gd name="T6" fmla="*/ 1868 w 34"/>
                <a:gd name="T7" fmla="*/ 16543 h 38"/>
                <a:gd name="T8" fmla="*/ 2241 w 34"/>
                <a:gd name="T9" fmla="*/ 24063 h 38"/>
                <a:gd name="T10" fmla="*/ 3735 w 34"/>
                <a:gd name="T11" fmla="*/ 42111 h 38"/>
                <a:gd name="T12" fmla="*/ 4856 w 34"/>
                <a:gd name="T13" fmla="*/ 57150 h 38"/>
                <a:gd name="T14" fmla="*/ 5976 w 34"/>
                <a:gd name="T15" fmla="*/ 55646 h 38"/>
                <a:gd name="T16" fmla="*/ 7471 w 34"/>
                <a:gd name="T17" fmla="*/ 54142 h 38"/>
                <a:gd name="T18" fmla="*/ 8591 w 34"/>
                <a:gd name="T19" fmla="*/ 51134 h 38"/>
                <a:gd name="T20" fmla="*/ 9712 w 34"/>
                <a:gd name="T21" fmla="*/ 46622 h 38"/>
                <a:gd name="T22" fmla="*/ 10459 w 34"/>
                <a:gd name="T23" fmla="*/ 42111 h 38"/>
                <a:gd name="T24" fmla="*/ 11953 w 34"/>
                <a:gd name="T25" fmla="*/ 36095 h 38"/>
                <a:gd name="T26" fmla="*/ 12326 w 34"/>
                <a:gd name="T27" fmla="*/ 31583 h 38"/>
                <a:gd name="T28" fmla="*/ 12700 w 34"/>
                <a:gd name="T29" fmla="*/ 28575 h 38"/>
                <a:gd name="T30" fmla="*/ 11579 w 34"/>
                <a:gd name="T31" fmla="*/ 27071 h 38"/>
                <a:gd name="T32" fmla="*/ 10459 w 34"/>
                <a:gd name="T33" fmla="*/ 25567 h 38"/>
                <a:gd name="T34" fmla="*/ 9712 w 34"/>
                <a:gd name="T35" fmla="*/ 21055 h 38"/>
                <a:gd name="T36" fmla="*/ 8965 w 34"/>
                <a:gd name="T37" fmla="*/ 18047 h 38"/>
                <a:gd name="T38" fmla="*/ 7097 w 34"/>
                <a:gd name="T39" fmla="*/ 9024 h 38"/>
                <a:gd name="T40" fmla="*/ 4856 w 34"/>
                <a:gd name="T41" fmla="*/ 0 h 38"/>
                <a:gd name="T42" fmla="*/ 2241 w 34"/>
                <a:gd name="T43" fmla="*/ 0 h 38"/>
                <a:gd name="T44" fmla="*/ 0 w 34"/>
                <a:gd name="T45" fmla="*/ 0 h 3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0" name="Freeform 85">
              <a:extLst>
                <a:ext uri="{FF2B5EF4-FFF2-40B4-BE49-F238E27FC236}">
                  <a16:creationId xmlns:a16="http://schemas.microsoft.com/office/drawing/2014/main" id="{DAFBA47C-0394-441E-BF45-151E37F3C726}"/>
                </a:ext>
              </a:extLst>
            </p:cNvPr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9194800" y="3706813"/>
              <a:ext cx="25400" cy="55562"/>
            </a:xfrm>
            <a:custGeom>
              <a:avLst/>
              <a:gdLst>
                <a:gd name="T0" fmla="*/ 25400 w 53"/>
                <a:gd name="T1" fmla="*/ 55562 h 23"/>
                <a:gd name="T2" fmla="*/ 25400 w 53"/>
                <a:gd name="T3" fmla="*/ 9663 h 23"/>
                <a:gd name="T4" fmla="*/ 23483 w 53"/>
                <a:gd name="T5" fmla="*/ 4831 h 23"/>
                <a:gd name="T6" fmla="*/ 21566 w 53"/>
                <a:gd name="T7" fmla="*/ 2416 h 23"/>
                <a:gd name="T8" fmla="*/ 20128 w 53"/>
                <a:gd name="T9" fmla="*/ 0 h 23"/>
                <a:gd name="T10" fmla="*/ 18211 w 53"/>
                <a:gd name="T11" fmla="*/ 0 h 23"/>
                <a:gd name="T12" fmla="*/ 14857 w 53"/>
                <a:gd name="T13" fmla="*/ 2416 h 23"/>
                <a:gd name="T14" fmla="*/ 11502 w 53"/>
                <a:gd name="T15" fmla="*/ 9663 h 23"/>
                <a:gd name="T16" fmla="*/ 5272 w 53"/>
                <a:gd name="T17" fmla="*/ 31405 h 23"/>
                <a:gd name="T18" fmla="*/ 0 w 53"/>
                <a:gd name="T19" fmla="*/ 55562 h 23"/>
                <a:gd name="T20" fmla="*/ 25400 w 53"/>
                <a:gd name="T21" fmla="*/ 55562 h 2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" name="Freeform 86">
              <a:extLst>
                <a:ext uri="{FF2B5EF4-FFF2-40B4-BE49-F238E27FC236}">
                  <a16:creationId xmlns:a16="http://schemas.microsoft.com/office/drawing/2014/main" id="{AF6F1BE6-FAFC-4698-B0D3-EEB542154305}"/>
                </a:ext>
              </a:extLst>
            </p:cNvPr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9137651" y="3681413"/>
              <a:ext cx="11113" cy="57150"/>
            </a:xfrm>
            <a:custGeom>
              <a:avLst/>
              <a:gdLst>
                <a:gd name="T0" fmla="*/ 0 w 26"/>
                <a:gd name="T1" fmla="*/ 0 h 12"/>
                <a:gd name="T2" fmla="*/ 1710 w 26"/>
                <a:gd name="T3" fmla="*/ 19050 h 12"/>
                <a:gd name="T4" fmla="*/ 4702 w 26"/>
                <a:gd name="T5" fmla="*/ 38100 h 12"/>
                <a:gd name="T6" fmla="*/ 5984 w 26"/>
                <a:gd name="T7" fmla="*/ 42863 h 12"/>
                <a:gd name="T8" fmla="*/ 7694 w 26"/>
                <a:gd name="T9" fmla="*/ 52388 h 12"/>
                <a:gd name="T10" fmla="*/ 9403 w 26"/>
                <a:gd name="T11" fmla="*/ 52388 h 12"/>
                <a:gd name="T12" fmla="*/ 11113 w 26"/>
                <a:gd name="T13" fmla="*/ 57150 h 12"/>
                <a:gd name="T14" fmla="*/ 8976 w 26"/>
                <a:gd name="T15" fmla="*/ 33338 h 12"/>
                <a:gd name="T16" fmla="*/ 5557 w 26"/>
                <a:gd name="T17" fmla="*/ 14288 h 12"/>
                <a:gd name="T18" fmla="*/ 2137 w 26"/>
                <a:gd name="T19" fmla="*/ 4763 h 12"/>
                <a:gd name="T20" fmla="*/ 0 w 26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" name="Freeform 87">
              <a:extLst>
                <a:ext uri="{FF2B5EF4-FFF2-40B4-BE49-F238E27FC236}">
                  <a16:creationId xmlns:a16="http://schemas.microsoft.com/office/drawing/2014/main" id="{9B2E8B62-D0DB-49C5-898C-4423A3EE35FC}"/>
                </a:ext>
              </a:extLst>
            </p:cNvPr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9337675" y="4013200"/>
              <a:ext cx="31750" cy="57150"/>
            </a:xfrm>
            <a:custGeom>
              <a:avLst/>
              <a:gdLst>
                <a:gd name="T0" fmla="*/ 0 w 73"/>
                <a:gd name="T1" fmla="*/ 0 h 57150"/>
                <a:gd name="T2" fmla="*/ 8699 w 73"/>
                <a:gd name="T3" fmla="*/ 0 h 57150"/>
                <a:gd name="T4" fmla="*/ 16092 w 73"/>
                <a:gd name="T5" fmla="*/ 0 h 57150"/>
                <a:gd name="T6" fmla="*/ 23921 w 73"/>
                <a:gd name="T7" fmla="*/ 0 h 57150"/>
                <a:gd name="T8" fmla="*/ 31750 w 73"/>
                <a:gd name="T9" fmla="*/ 0 h 571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3" h="57150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" name="Freeform 88">
              <a:extLst>
                <a:ext uri="{FF2B5EF4-FFF2-40B4-BE49-F238E27FC236}">
                  <a16:creationId xmlns:a16="http://schemas.microsoft.com/office/drawing/2014/main" id="{F91E7C15-46E3-4C20-8DA3-F1C4F7804A73}"/>
                </a:ext>
              </a:extLst>
            </p:cNvPr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9293226" y="4002088"/>
              <a:ext cx="22225" cy="57150"/>
            </a:xfrm>
            <a:custGeom>
              <a:avLst/>
              <a:gdLst>
                <a:gd name="T0" fmla="*/ 0 w 53"/>
                <a:gd name="T1" fmla="*/ 0 h 3"/>
                <a:gd name="T2" fmla="*/ 5871 w 53"/>
                <a:gd name="T3" fmla="*/ 0 h 3"/>
                <a:gd name="T4" fmla="*/ 11322 w 53"/>
                <a:gd name="T5" fmla="*/ 57150 h 3"/>
                <a:gd name="T6" fmla="*/ 13419 w 53"/>
                <a:gd name="T7" fmla="*/ 57150 h 3"/>
                <a:gd name="T8" fmla="*/ 16354 w 53"/>
                <a:gd name="T9" fmla="*/ 57150 h 3"/>
                <a:gd name="T10" fmla="*/ 18870 w 53"/>
                <a:gd name="T11" fmla="*/ 19050 h 3"/>
                <a:gd name="T12" fmla="*/ 22225 w 53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" name="Line 89">
              <a:extLst>
                <a:ext uri="{FF2B5EF4-FFF2-40B4-BE49-F238E27FC236}">
                  <a16:creationId xmlns:a16="http://schemas.microsoft.com/office/drawing/2014/main" id="{7B2CC334-CC4C-4364-95FF-BB20B8EF9F98}"/>
                </a:ext>
              </a:extLst>
            </p:cNvPr>
            <p:cNvSpPr>
              <a:spLocks noChangeShapeType="1"/>
            </p:cNvSpPr>
            <p:nvPr>
              <p:custDataLst>
                <p:tags r:id="rId69"/>
              </p:custDataLst>
            </p:nvPr>
          </p:nvSpPr>
          <p:spPr bwMode="auto">
            <a:xfrm>
              <a:off x="9326564" y="3987800"/>
              <a:ext cx="20637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5" name="Freeform 90">
              <a:extLst>
                <a:ext uri="{FF2B5EF4-FFF2-40B4-BE49-F238E27FC236}">
                  <a16:creationId xmlns:a16="http://schemas.microsoft.com/office/drawing/2014/main" id="{0F40818F-36CB-478A-A107-11DB2AA63866}"/>
                </a:ext>
              </a:extLst>
            </p:cNvPr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9347200" y="3994150"/>
              <a:ext cx="1588" cy="57150"/>
            </a:xfrm>
            <a:custGeom>
              <a:avLst/>
              <a:gdLst>
                <a:gd name="T0" fmla="*/ 0 w 1588"/>
                <a:gd name="T1" fmla="*/ 0 h 13"/>
                <a:gd name="T2" fmla="*/ 0 w 1588"/>
                <a:gd name="T3" fmla="*/ 26377 h 13"/>
                <a:gd name="T4" fmla="*/ 0 w 1588"/>
                <a:gd name="T5" fmla="*/ 57150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6" name="Freeform 91">
              <a:extLst>
                <a:ext uri="{FF2B5EF4-FFF2-40B4-BE49-F238E27FC236}">
                  <a16:creationId xmlns:a16="http://schemas.microsoft.com/office/drawing/2014/main" id="{F2C6A1BF-80E0-4EE3-9887-6AC53942E6D8}"/>
                </a:ext>
              </a:extLst>
            </p:cNvPr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9301164" y="3987800"/>
              <a:ext cx="14287" cy="58738"/>
            </a:xfrm>
            <a:custGeom>
              <a:avLst/>
              <a:gdLst>
                <a:gd name="T0" fmla="*/ 0 w 26"/>
                <a:gd name="T1" fmla="*/ 0 h 58738"/>
                <a:gd name="T2" fmla="*/ 8243 w 26"/>
                <a:gd name="T3" fmla="*/ 0 h 58738"/>
                <a:gd name="T4" fmla="*/ 14287 w 26"/>
                <a:gd name="T5" fmla="*/ 0 h 5873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6" h="58738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7" name="Freeform 92">
              <a:extLst>
                <a:ext uri="{FF2B5EF4-FFF2-40B4-BE49-F238E27FC236}">
                  <a16:creationId xmlns:a16="http://schemas.microsoft.com/office/drawing/2014/main" id="{570D674E-F3A4-4FFA-9C0B-B8B1E5E45AC9}"/>
                </a:ext>
              </a:extLst>
            </p:cNvPr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9294813" y="3968751"/>
              <a:ext cx="6350" cy="60325"/>
            </a:xfrm>
            <a:custGeom>
              <a:avLst/>
              <a:gdLst>
                <a:gd name="T0" fmla="*/ 6350 w 20"/>
                <a:gd name="T1" fmla="*/ 0 h 25"/>
                <a:gd name="T2" fmla="*/ 0 w 20"/>
                <a:gd name="T3" fmla="*/ 31369 h 25"/>
                <a:gd name="T4" fmla="*/ 1270 w 20"/>
                <a:gd name="T5" fmla="*/ 43434 h 25"/>
                <a:gd name="T6" fmla="*/ 3175 w 20"/>
                <a:gd name="T7" fmla="*/ 50673 h 25"/>
                <a:gd name="T8" fmla="*/ 4445 w 20"/>
                <a:gd name="T9" fmla="*/ 57912 h 25"/>
                <a:gd name="T10" fmla="*/ 6350 w 20"/>
                <a:gd name="T11" fmla="*/ 60325 h 25"/>
                <a:gd name="T12" fmla="*/ 6350 w 20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8" name="Freeform 93">
              <a:extLst>
                <a:ext uri="{FF2B5EF4-FFF2-40B4-BE49-F238E27FC236}">
                  <a16:creationId xmlns:a16="http://schemas.microsoft.com/office/drawing/2014/main" id="{6520C7BF-C7EB-484A-AD4D-8CD26A3A4D7A}"/>
                </a:ext>
              </a:extLst>
            </p:cNvPr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9375775" y="3695700"/>
              <a:ext cx="1588" cy="57150"/>
            </a:xfrm>
            <a:custGeom>
              <a:avLst/>
              <a:gdLst>
                <a:gd name="T0" fmla="*/ 0 w 6"/>
                <a:gd name="T1" fmla="*/ 57150 h 24"/>
                <a:gd name="T2" fmla="*/ 0 w 6"/>
                <a:gd name="T3" fmla="*/ 0 h 24"/>
                <a:gd name="T4" fmla="*/ 1588 w 6"/>
                <a:gd name="T5" fmla="*/ 28575 h 24"/>
                <a:gd name="T6" fmla="*/ 0 w 6"/>
                <a:gd name="T7" fmla="*/ 5715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79" name="Group 94">
              <a:extLst>
                <a:ext uri="{FF2B5EF4-FFF2-40B4-BE49-F238E27FC236}">
                  <a16:creationId xmlns:a16="http://schemas.microsoft.com/office/drawing/2014/main" id="{1EF19A0A-3A29-4922-91E9-6F4B39DC5F81}"/>
                </a:ext>
              </a:extLst>
            </p:cNvPr>
            <p:cNvGrpSpPr>
              <a:grpSpLocks/>
            </p:cNvGrpSpPr>
            <p:nvPr>
              <p:custDataLst>
                <p:tags r:id="rId74"/>
              </p:custDataLst>
            </p:nvPr>
          </p:nvGrpSpPr>
          <p:grpSpPr bwMode="auto">
            <a:xfrm>
              <a:off x="9250363" y="3367088"/>
              <a:ext cx="163512" cy="114300"/>
              <a:chOff x="5379" y="2466"/>
              <a:chExt cx="122" cy="71"/>
            </a:xfrm>
          </p:grpSpPr>
          <p:sp>
            <p:nvSpPr>
              <p:cNvPr id="527" name="Freeform 95">
                <a:extLst>
                  <a:ext uri="{FF2B5EF4-FFF2-40B4-BE49-F238E27FC236}">
                    <a16:creationId xmlns:a16="http://schemas.microsoft.com/office/drawing/2014/main" id="{E2DDB3A2-FFBC-41CB-AB4E-A8526DB72C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6 w 19"/>
                  <a:gd name="T1" fmla="*/ 9 h 25"/>
                  <a:gd name="T2" fmla="*/ 6 w 19"/>
                  <a:gd name="T3" fmla="*/ 7 h 25"/>
                  <a:gd name="T4" fmla="*/ 5 w 19"/>
                  <a:gd name="T5" fmla="*/ 4 h 25"/>
                  <a:gd name="T6" fmla="*/ 5 w 19"/>
                  <a:gd name="T7" fmla="*/ 3 h 25"/>
                  <a:gd name="T8" fmla="*/ 5 w 19"/>
                  <a:gd name="T9" fmla="*/ 2 h 25"/>
                  <a:gd name="T10" fmla="*/ 5 w 19"/>
                  <a:gd name="T11" fmla="*/ 1 h 25"/>
                  <a:gd name="T12" fmla="*/ 6 w 19"/>
                  <a:gd name="T13" fmla="*/ 0 h 25"/>
                  <a:gd name="T14" fmla="*/ 0 w 19"/>
                  <a:gd name="T15" fmla="*/ 0 h 25"/>
                  <a:gd name="T16" fmla="*/ 0 w 19"/>
                  <a:gd name="T17" fmla="*/ 3 h 25"/>
                  <a:gd name="T18" fmla="*/ 2 w 19"/>
                  <a:gd name="T19" fmla="*/ 5 h 25"/>
                  <a:gd name="T20" fmla="*/ 2 w 19"/>
                  <a:gd name="T21" fmla="*/ 7 h 25"/>
                  <a:gd name="T22" fmla="*/ 3 w 19"/>
                  <a:gd name="T23" fmla="*/ 8 h 25"/>
                  <a:gd name="T24" fmla="*/ 5 w 19"/>
                  <a:gd name="T25" fmla="*/ 9 h 25"/>
                  <a:gd name="T26" fmla="*/ 6 w 19"/>
                  <a:gd name="T27" fmla="*/ 9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8" name="Freeform 96">
                <a:extLst>
                  <a:ext uri="{FF2B5EF4-FFF2-40B4-BE49-F238E27FC236}">
                    <a16:creationId xmlns:a16="http://schemas.microsoft.com/office/drawing/2014/main" id="{D5520B8A-0B0E-4194-8B96-72322B35F7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7 w 26"/>
                  <a:gd name="T1" fmla="*/ 6 h 18"/>
                  <a:gd name="T2" fmla="*/ 2 w 26"/>
                  <a:gd name="T3" fmla="*/ 6 h 18"/>
                  <a:gd name="T4" fmla="*/ 1 w 26"/>
                  <a:gd name="T5" fmla="*/ 3 h 18"/>
                  <a:gd name="T6" fmla="*/ 0 w 26"/>
                  <a:gd name="T7" fmla="*/ 0 h 18"/>
                  <a:gd name="T8" fmla="*/ 2 w 26"/>
                  <a:gd name="T9" fmla="*/ 1 h 18"/>
                  <a:gd name="T10" fmla="*/ 4 w 26"/>
                  <a:gd name="T11" fmla="*/ 2 h 18"/>
                  <a:gd name="T12" fmla="*/ 5 w 26"/>
                  <a:gd name="T13" fmla="*/ 4 h 18"/>
                  <a:gd name="T14" fmla="*/ 7 w 26"/>
                  <a:gd name="T15" fmla="*/ 6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9" name="Freeform 97">
                <a:extLst>
                  <a:ext uri="{FF2B5EF4-FFF2-40B4-BE49-F238E27FC236}">
                    <a16:creationId xmlns:a16="http://schemas.microsoft.com/office/drawing/2014/main" id="{A56A2FF7-3250-426F-A7D6-54312ADA95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6 h 18"/>
                  <a:gd name="T2" fmla="*/ 5 w 13"/>
                  <a:gd name="T3" fmla="*/ 0 h 18"/>
                  <a:gd name="T4" fmla="*/ 0 w 13"/>
                  <a:gd name="T5" fmla="*/ 6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0" name="Freeform 98">
                <a:extLst>
                  <a:ext uri="{FF2B5EF4-FFF2-40B4-BE49-F238E27FC236}">
                    <a16:creationId xmlns:a16="http://schemas.microsoft.com/office/drawing/2014/main" id="{46AF10FD-A5E9-4632-833A-B3DE1C758B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8 h 24"/>
                  <a:gd name="T2" fmla="*/ 1 w 26"/>
                  <a:gd name="T3" fmla="*/ 8 h 24"/>
                  <a:gd name="T4" fmla="*/ 2 w 26"/>
                  <a:gd name="T5" fmla="*/ 7 h 24"/>
                  <a:gd name="T6" fmla="*/ 3 w 26"/>
                  <a:gd name="T7" fmla="*/ 6 h 24"/>
                  <a:gd name="T8" fmla="*/ 5 w 26"/>
                  <a:gd name="T9" fmla="*/ 5 h 24"/>
                  <a:gd name="T10" fmla="*/ 6 w 26"/>
                  <a:gd name="T11" fmla="*/ 4 h 24"/>
                  <a:gd name="T12" fmla="*/ 7 w 26"/>
                  <a:gd name="T13" fmla="*/ 3 h 24"/>
                  <a:gd name="T14" fmla="*/ 8 w 26"/>
                  <a:gd name="T15" fmla="*/ 1 h 24"/>
                  <a:gd name="T16" fmla="*/ 8 w 26"/>
                  <a:gd name="T17" fmla="*/ 0 h 24"/>
                  <a:gd name="T18" fmla="*/ 0 w 26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1" name="Freeform 99">
                <a:extLst>
                  <a:ext uri="{FF2B5EF4-FFF2-40B4-BE49-F238E27FC236}">
                    <a16:creationId xmlns:a16="http://schemas.microsoft.com/office/drawing/2014/main" id="{FA05EB33-5D79-46A4-AA8C-35CC14E3F7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2 h 6"/>
                  <a:gd name="T2" fmla="*/ 3 w 34"/>
                  <a:gd name="T3" fmla="*/ 2 h 6"/>
                  <a:gd name="T4" fmla="*/ 6 w 34"/>
                  <a:gd name="T5" fmla="*/ 2 h 6"/>
                  <a:gd name="T6" fmla="*/ 8 w 34"/>
                  <a:gd name="T7" fmla="*/ 1 h 6"/>
                  <a:gd name="T8" fmla="*/ 11 w 34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2" name="Line 100">
                <a:extLst>
                  <a:ext uri="{FF2B5EF4-FFF2-40B4-BE49-F238E27FC236}">
                    <a16:creationId xmlns:a16="http://schemas.microsoft.com/office/drawing/2014/main" id="{F98534F9-4ED5-41B4-AFD5-7FECB08C5C3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3" name="Freeform 101">
                <a:extLst>
                  <a:ext uri="{FF2B5EF4-FFF2-40B4-BE49-F238E27FC236}">
                    <a16:creationId xmlns:a16="http://schemas.microsoft.com/office/drawing/2014/main" id="{10A92CD7-87AA-459D-9E21-85F87F0062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0 w 1"/>
                  <a:gd name="T1" fmla="*/ 7 h 19"/>
                  <a:gd name="T2" fmla="*/ 0 w 1"/>
                  <a:gd name="T3" fmla="*/ 3 h 19"/>
                  <a:gd name="T4" fmla="*/ 0 w 1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4" name="Line 102">
                <a:extLst>
                  <a:ext uri="{FF2B5EF4-FFF2-40B4-BE49-F238E27FC236}">
                    <a16:creationId xmlns:a16="http://schemas.microsoft.com/office/drawing/2014/main" id="{DFB1DAFD-B8D1-4447-B302-80C5F0554A0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5" name="Freeform 103">
                <a:extLst>
                  <a:ext uri="{FF2B5EF4-FFF2-40B4-BE49-F238E27FC236}">
                    <a16:creationId xmlns:a16="http://schemas.microsoft.com/office/drawing/2014/main" id="{AD6E55E0-8093-4BCF-8726-F8184A4094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4 w 14"/>
                  <a:gd name="T1" fmla="*/ 0 h 6"/>
                  <a:gd name="T2" fmla="*/ 2 w 14"/>
                  <a:gd name="T3" fmla="*/ 1 h 6"/>
                  <a:gd name="T4" fmla="*/ 0 w 14"/>
                  <a:gd name="T5" fmla="*/ 2 h 6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80" name="Freeform 104">
              <a:extLst>
                <a:ext uri="{FF2B5EF4-FFF2-40B4-BE49-F238E27FC236}">
                  <a16:creationId xmlns:a16="http://schemas.microsoft.com/office/drawing/2014/main" id="{67F40013-A2A6-4C39-918C-5E03EC789BE3}"/>
                </a:ext>
              </a:extLst>
            </p:cNvPr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7834313" y="3228975"/>
              <a:ext cx="6350" cy="57150"/>
            </a:xfrm>
            <a:custGeom>
              <a:avLst/>
              <a:gdLst>
                <a:gd name="T0" fmla="*/ 3175 w 26"/>
                <a:gd name="T1" fmla="*/ 57150 h 111"/>
                <a:gd name="T2" fmla="*/ 2198 w 26"/>
                <a:gd name="T3" fmla="*/ 53031 h 111"/>
                <a:gd name="T4" fmla="*/ 977 w 26"/>
                <a:gd name="T5" fmla="*/ 48912 h 111"/>
                <a:gd name="T6" fmla="*/ 488 w 26"/>
                <a:gd name="T7" fmla="*/ 46853 h 111"/>
                <a:gd name="T8" fmla="*/ 244 w 26"/>
                <a:gd name="T9" fmla="*/ 44793 h 111"/>
                <a:gd name="T10" fmla="*/ 0 w 26"/>
                <a:gd name="T11" fmla="*/ 41189 h 111"/>
                <a:gd name="T12" fmla="*/ 0 w 26"/>
                <a:gd name="T13" fmla="*/ 38100 h 111"/>
                <a:gd name="T14" fmla="*/ 0 w 26"/>
                <a:gd name="T15" fmla="*/ 31407 h 111"/>
                <a:gd name="T16" fmla="*/ 244 w 26"/>
                <a:gd name="T17" fmla="*/ 26258 h 111"/>
                <a:gd name="T18" fmla="*/ 733 w 26"/>
                <a:gd name="T19" fmla="*/ 21109 h 111"/>
                <a:gd name="T20" fmla="*/ 1221 w 26"/>
                <a:gd name="T21" fmla="*/ 16991 h 111"/>
                <a:gd name="T22" fmla="*/ 2198 w 26"/>
                <a:gd name="T23" fmla="*/ 12357 h 111"/>
                <a:gd name="T24" fmla="*/ 3419 w 26"/>
                <a:gd name="T25" fmla="*/ 8753 h 111"/>
                <a:gd name="T26" fmla="*/ 4885 w 26"/>
                <a:gd name="T27" fmla="*/ 4634 h 111"/>
                <a:gd name="T28" fmla="*/ 6350 w 26"/>
                <a:gd name="T29" fmla="*/ 0 h 111"/>
                <a:gd name="T30" fmla="*/ 6350 w 26"/>
                <a:gd name="T31" fmla="*/ 3089 h 111"/>
                <a:gd name="T32" fmla="*/ 6350 w 26"/>
                <a:gd name="T33" fmla="*/ 6693 h 111"/>
                <a:gd name="T34" fmla="*/ 6350 w 26"/>
                <a:gd name="T35" fmla="*/ 11327 h 111"/>
                <a:gd name="T36" fmla="*/ 6350 w 26"/>
                <a:gd name="T37" fmla="*/ 16476 h 111"/>
                <a:gd name="T38" fmla="*/ 6106 w 26"/>
                <a:gd name="T39" fmla="*/ 22654 h 111"/>
                <a:gd name="T40" fmla="*/ 5373 w 26"/>
                <a:gd name="T41" fmla="*/ 28832 h 111"/>
                <a:gd name="T42" fmla="*/ 4396 w 26"/>
                <a:gd name="T43" fmla="*/ 34496 h 111"/>
                <a:gd name="T44" fmla="*/ 3175 w 26"/>
                <a:gd name="T45" fmla="*/ 41189 h 111"/>
                <a:gd name="T46" fmla="*/ 3175 w 26"/>
                <a:gd name="T47" fmla="*/ 57150 h 11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" name="Freeform 105">
              <a:extLst>
                <a:ext uri="{FF2B5EF4-FFF2-40B4-BE49-F238E27FC236}">
                  <a16:creationId xmlns:a16="http://schemas.microsoft.com/office/drawing/2014/main" id="{6EE822BE-8A64-4CD5-8A86-C0D8CBC526EE}"/>
                </a:ext>
              </a:extLst>
            </p:cNvPr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4733926" y="5368925"/>
              <a:ext cx="53975" cy="58738"/>
            </a:xfrm>
            <a:custGeom>
              <a:avLst/>
              <a:gdLst>
                <a:gd name="T0" fmla="*/ 0 w 126"/>
                <a:gd name="T1" fmla="*/ 18000 h 62"/>
                <a:gd name="T2" fmla="*/ 4712 w 126"/>
                <a:gd name="T3" fmla="*/ 18948 h 62"/>
                <a:gd name="T4" fmla="*/ 8996 w 126"/>
                <a:gd name="T5" fmla="*/ 19895 h 62"/>
                <a:gd name="T6" fmla="*/ 12423 w 126"/>
                <a:gd name="T7" fmla="*/ 21790 h 62"/>
                <a:gd name="T8" fmla="*/ 15421 w 126"/>
                <a:gd name="T9" fmla="*/ 24632 h 62"/>
                <a:gd name="T10" fmla="*/ 21419 w 126"/>
                <a:gd name="T11" fmla="*/ 31264 h 62"/>
                <a:gd name="T12" fmla="*/ 26131 w 126"/>
                <a:gd name="T13" fmla="*/ 37895 h 62"/>
                <a:gd name="T14" fmla="*/ 29986 w 126"/>
                <a:gd name="T15" fmla="*/ 45475 h 62"/>
                <a:gd name="T16" fmla="*/ 33841 w 126"/>
                <a:gd name="T17" fmla="*/ 52106 h 62"/>
                <a:gd name="T18" fmla="*/ 35983 w 126"/>
                <a:gd name="T19" fmla="*/ 54948 h 62"/>
                <a:gd name="T20" fmla="*/ 38125 w 126"/>
                <a:gd name="T21" fmla="*/ 56843 h 62"/>
                <a:gd name="T22" fmla="*/ 40695 w 126"/>
                <a:gd name="T23" fmla="*/ 57791 h 62"/>
                <a:gd name="T24" fmla="*/ 42837 w 126"/>
                <a:gd name="T25" fmla="*/ 58738 h 62"/>
                <a:gd name="T26" fmla="*/ 44979 w 126"/>
                <a:gd name="T27" fmla="*/ 57791 h 62"/>
                <a:gd name="T28" fmla="*/ 46693 w 126"/>
                <a:gd name="T29" fmla="*/ 56843 h 62"/>
                <a:gd name="T30" fmla="*/ 48406 w 126"/>
                <a:gd name="T31" fmla="*/ 54948 h 62"/>
                <a:gd name="T32" fmla="*/ 50120 w 126"/>
                <a:gd name="T33" fmla="*/ 53054 h 62"/>
                <a:gd name="T34" fmla="*/ 52262 w 126"/>
                <a:gd name="T35" fmla="*/ 48317 h 62"/>
                <a:gd name="T36" fmla="*/ 53975 w 126"/>
                <a:gd name="T37" fmla="*/ 46422 h 62"/>
                <a:gd name="T38" fmla="*/ 47121 w 126"/>
                <a:gd name="T39" fmla="*/ 31264 h 62"/>
                <a:gd name="T40" fmla="*/ 41124 w 126"/>
                <a:gd name="T41" fmla="*/ 19895 h 62"/>
                <a:gd name="T42" fmla="*/ 38125 w 126"/>
                <a:gd name="T43" fmla="*/ 14211 h 62"/>
                <a:gd name="T44" fmla="*/ 34698 w 126"/>
                <a:gd name="T45" fmla="*/ 8526 h 62"/>
                <a:gd name="T46" fmla="*/ 30843 w 126"/>
                <a:gd name="T47" fmla="*/ 4737 h 62"/>
                <a:gd name="T48" fmla="*/ 26131 w 126"/>
                <a:gd name="T49" fmla="*/ 0 h 62"/>
                <a:gd name="T50" fmla="*/ 0 w 126"/>
                <a:gd name="T51" fmla="*/ 0 h 62"/>
                <a:gd name="T52" fmla="*/ 0 w 126"/>
                <a:gd name="T53" fmla="*/ 8526 h 62"/>
                <a:gd name="T54" fmla="*/ 0 w 126"/>
                <a:gd name="T55" fmla="*/ 18000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2" name="Freeform 106">
              <a:extLst>
                <a:ext uri="{FF2B5EF4-FFF2-40B4-BE49-F238E27FC236}">
                  <a16:creationId xmlns:a16="http://schemas.microsoft.com/office/drawing/2014/main" id="{8A1D28E3-21B1-4451-994A-39AB9FD77CA1}"/>
                </a:ext>
              </a:extLst>
            </p:cNvPr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7035801" y="5207001"/>
              <a:ext cx="30163" cy="55563"/>
            </a:xfrm>
            <a:custGeom>
              <a:avLst/>
              <a:gdLst>
                <a:gd name="T0" fmla="*/ 0 w 66"/>
                <a:gd name="T1" fmla="*/ 0 h 44"/>
                <a:gd name="T2" fmla="*/ 5941 w 66"/>
                <a:gd name="T3" fmla="*/ 1263 h 44"/>
                <a:gd name="T4" fmla="*/ 10511 w 66"/>
                <a:gd name="T5" fmla="*/ 2526 h 44"/>
                <a:gd name="T6" fmla="*/ 14624 w 66"/>
                <a:gd name="T7" fmla="*/ 5051 h 44"/>
                <a:gd name="T8" fmla="*/ 17367 w 66"/>
                <a:gd name="T9" fmla="*/ 8840 h 44"/>
                <a:gd name="T10" fmla="*/ 20109 w 66"/>
                <a:gd name="T11" fmla="*/ 11365 h 44"/>
                <a:gd name="T12" fmla="*/ 22851 w 66"/>
                <a:gd name="T13" fmla="*/ 13891 h 44"/>
                <a:gd name="T14" fmla="*/ 26050 w 66"/>
                <a:gd name="T15" fmla="*/ 15154 h 44"/>
                <a:gd name="T16" fmla="*/ 30163 w 66"/>
                <a:gd name="T17" fmla="*/ 16416 h 44"/>
                <a:gd name="T18" fmla="*/ 29706 w 66"/>
                <a:gd name="T19" fmla="*/ 21468 h 44"/>
                <a:gd name="T20" fmla="*/ 28335 w 66"/>
                <a:gd name="T21" fmla="*/ 26519 h 44"/>
                <a:gd name="T22" fmla="*/ 27421 w 66"/>
                <a:gd name="T23" fmla="*/ 31570 h 44"/>
                <a:gd name="T24" fmla="*/ 26050 w 66"/>
                <a:gd name="T25" fmla="*/ 35358 h 44"/>
                <a:gd name="T26" fmla="*/ 22394 w 66"/>
                <a:gd name="T27" fmla="*/ 42935 h 44"/>
                <a:gd name="T28" fmla="*/ 18281 w 66"/>
                <a:gd name="T29" fmla="*/ 49249 h 44"/>
                <a:gd name="T30" fmla="*/ 14167 w 66"/>
                <a:gd name="T31" fmla="*/ 53037 h 44"/>
                <a:gd name="T32" fmla="*/ 9597 w 66"/>
                <a:gd name="T33" fmla="*/ 55563 h 44"/>
                <a:gd name="T34" fmla="*/ 4570 w 66"/>
                <a:gd name="T35" fmla="*/ 55563 h 44"/>
                <a:gd name="T36" fmla="*/ 0 w 66"/>
                <a:gd name="T37" fmla="*/ 54300 h 44"/>
                <a:gd name="T38" fmla="*/ 0 w 66"/>
                <a:gd name="T39" fmla="*/ 39147 h 44"/>
                <a:gd name="T40" fmla="*/ 0 w 66"/>
                <a:gd name="T41" fmla="*/ 27782 h 44"/>
                <a:gd name="T42" fmla="*/ 0 w 66"/>
                <a:gd name="T43" fmla="*/ 15154 h 44"/>
                <a:gd name="T44" fmla="*/ 0 w 66"/>
                <a:gd name="T45" fmla="*/ 0 h 4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3" name="Freeform 107">
              <a:extLst>
                <a:ext uri="{FF2B5EF4-FFF2-40B4-BE49-F238E27FC236}">
                  <a16:creationId xmlns:a16="http://schemas.microsoft.com/office/drawing/2014/main" id="{8845C328-C107-48BB-8179-48B6D8252761}"/>
                </a:ext>
              </a:extLst>
            </p:cNvPr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9190039" y="1978025"/>
              <a:ext cx="20637" cy="57150"/>
            </a:xfrm>
            <a:custGeom>
              <a:avLst/>
              <a:gdLst>
                <a:gd name="T0" fmla="*/ 20637 w 46"/>
                <a:gd name="T1" fmla="*/ 0 h 16"/>
                <a:gd name="T2" fmla="*/ 17945 w 46"/>
                <a:gd name="T3" fmla="*/ 25003 h 16"/>
                <a:gd name="T4" fmla="*/ 15702 w 46"/>
                <a:gd name="T5" fmla="*/ 46434 h 16"/>
                <a:gd name="T6" fmla="*/ 13908 w 46"/>
                <a:gd name="T7" fmla="*/ 50006 h 16"/>
                <a:gd name="T8" fmla="*/ 13010 w 46"/>
                <a:gd name="T9" fmla="*/ 53578 h 16"/>
                <a:gd name="T10" fmla="*/ 11664 w 46"/>
                <a:gd name="T11" fmla="*/ 57150 h 16"/>
                <a:gd name="T12" fmla="*/ 10319 w 46"/>
                <a:gd name="T13" fmla="*/ 57150 h 16"/>
                <a:gd name="T14" fmla="*/ 7178 w 46"/>
                <a:gd name="T15" fmla="*/ 50006 h 16"/>
                <a:gd name="T16" fmla="*/ 4935 w 46"/>
                <a:gd name="T17" fmla="*/ 39291 h 16"/>
                <a:gd name="T18" fmla="*/ 2243 w 46"/>
                <a:gd name="T19" fmla="*/ 21431 h 16"/>
                <a:gd name="T20" fmla="*/ 0 w 46"/>
                <a:gd name="T21" fmla="*/ 0 h 16"/>
                <a:gd name="T22" fmla="*/ 20637 w 46"/>
                <a:gd name="T23" fmla="*/ 0 h 1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4" name="Freeform 108">
              <a:extLst>
                <a:ext uri="{FF2B5EF4-FFF2-40B4-BE49-F238E27FC236}">
                  <a16:creationId xmlns:a16="http://schemas.microsoft.com/office/drawing/2014/main" id="{F75BB123-3BA5-4870-8ADF-BD388ED30CAA}"/>
                </a:ext>
              </a:extLst>
            </p:cNvPr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9366251" y="2011363"/>
              <a:ext cx="15875" cy="57150"/>
            </a:xfrm>
            <a:custGeom>
              <a:avLst/>
              <a:gdLst>
                <a:gd name="T0" fmla="*/ 15875 w 39"/>
                <a:gd name="T1" fmla="*/ 54952 h 26"/>
                <a:gd name="T2" fmla="*/ 14654 w 39"/>
                <a:gd name="T3" fmla="*/ 57150 h 26"/>
                <a:gd name="T4" fmla="*/ 13026 w 39"/>
                <a:gd name="T5" fmla="*/ 57150 h 26"/>
                <a:gd name="T6" fmla="*/ 11397 w 39"/>
                <a:gd name="T7" fmla="*/ 57150 h 26"/>
                <a:gd name="T8" fmla="*/ 10176 w 39"/>
                <a:gd name="T9" fmla="*/ 54952 h 26"/>
                <a:gd name="T10" fmla="*/ 7327 w 39"/>
                <a:gd name="T11" fmla="*/ 48358 h 26"/>
                <a:gd name="T12" fmla="*/ 4885 w 39"/>
                <a:gd name="T13" fmla="*/ 39565 h 26"/>
                <a:gd name="T14" fmla="*/ 2849 w 39"/>
                <a:gd name="T15" fmla="*/ 28575 h 26"/>
                <a:gd name="T16" fmla="*/ 1221 w 39"/>
                <a:gd name="T17" fmla="*/ 15387 h 26"/>
                <a:gd name="T18" fmla="*/ 407 w 39"/>
                <a:gd name="T19" fmla="*/ 6594 h 26"/>
                <a:gd name="T20" fmla="*/ 0 w 39"/>
                <a:gd name="T21" fmla="*/ 0 h 26"/>
                <a:gd name="T22" fmla="*/ 4478 w 39"/>
                <a:gd name="T23" fmla="*/ 13188 h 26"/>
                <a:gd name="T24" fmla="*/ 8955 w 39"/>
                <a:gd name="T25" fmla="*/ 28575 h 26"/>
                <a:gd name="T26" fmla="*/ 13433 w 39"/>
                <a:gd name="T27" fmla="*/ 43962 h 26"/>
                <a:gd name="T28" fmla="*/ 15875 w 39"/>
                <a:gd name="T29" fmla="*/ 54952 h 2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5" name="Freeform 109">
              <a:extLst>
                <a:ext uri="{FF2B5EF4-FFF2-40B4-BE49-F238E27FC236}">
                  <a16:creationId xmlns:a16="http://schemas.microsoft.com/office/drawing/2014/main" id="{F53F71AE-4E1B-469A-AB8E-2449AC4669DD}"/>
                </a:ext>
              </a:extLst>
            </p:cNvPr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8815388" y="2241550"/>
              <a:ext cx="4762" cy="58738"/>
            </a:xfrm>
            <a:custGeom>
              <a:avLst/>
              <a:gdLst>
                <a:gd name="T0" fmla="*/ 4762 w 11"/>
                <a:gd name="T1" fmla="*/ 0 h 25"/>
                <a:gd name="T2" fmla="*/ 4762 w 11"/>
                <a:gd name="T3" fmla="*/ 11748 h 25"/>
                <a:gd name="T4" fmla="*/ 4329 w 11"/>
                <a:gd name="T5" fmla="*/ 28194 h 25"/>
                <a:gd name="T6" fmla="*/ 3896 w 11"/>
                <a:gd name="T7" fmla="*/ 46990 h 25"/>
                <a:gd name="T8" fmla="*/ 1732 w 11"/>
                <a:gd name="T9" fmla="*/ 58738 h 25"/>
                <a:gd name="T10" fmla="*/ 866 w 11"/>
                <a:gd name="T11" fmla="*/ 54039 h 25"/>
                <a:gd name="T12" fmla="*/ 433 w 11"/>
                <a:gd name="T13" fmla="*/ 46990 h 25"/>
                <a:gd name="T14" fmla="*/ 0 w 11"/>
                <a:gd name="T15" fmla="*/ 35243 h 25"/>
                <a:gd name="T16" fmla="*/ 0 w 11"/>
                <a:gd name="T17" fmla="*/ 28194 h 25"/>
                <a:gd name="T18" fmla="*/ 433 w 11"/>
                <a:gd name="T19" fmla="*/ 21146 h 25"/>
                <a:gd name="T20" fmla="*/ 1299 w 11"/>
                <a:gd name="T21" fmla="*/ 11748 h 25"/>
                <a:gd name="T22" fmla="*/ 2597 w 11"/>
                <a:gd name="T23" fmla="*/ 4699 h 25"/>
                <a:gd name="T24" fmla="*/ 4762 w 11"/>
                <a:gd name="T25" fmla="*/ 0 h 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6" name="Freeform 110">
              <a:extLst>
                <a:ext uri="{FF2B5EF4-FFF2-40B4-BE49-F238E27FC236}">
                  <a16:creationId xmlns:a16="http://schemas.microsoft.com/office/drawing/2014/main" id="{5EF521EA-DE1C-4142-986E-F798C29D4D69}"/>
                </a:ext>
              </a:extLst>
            </p:cNvPr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8629650" y="2803525"/>
              <a:ext cx="14288" cy="58738"/>
            </a:xfrm>
            <a:custGeom>
              <a:avLst/>
              <a:gdLst>
                <a:gd name="T0" fmla="*/ 14288 w 20"/>
                <a:gd name="T1" fmla="*/ 0 h 31"/>
                <a:gd name="T2" fmla="*/ 11430 w 20"/>
                <a:gd name="T3" fmla="*/ 22737 h 31"/>
                <a:gd name="T4" fmla="*/ 7144 w 20"/>
                <a:gd name="T5" fmla="*/ 37895 h 31"/>
                <a:gd name="T6" fmla="*/ 3572 w 20"/>
                <a:gd name="T7" fmla="*/ 49264 h 31"/>
                <a:gd name="T8" fmla="*/ 0 w 20"/>
                <a:gd name="T9" fmla="*/ 58738 h 31"/>
                <a:gd name="T10" fmla="*/ 0 w 20"/>
                <a:gd name="T11" fmla="*/ 47369 h 31"/>
                <a:gd name="T12" fmla="*/ 714 w 20"/>
                <a:gd name="T13" fmla="*/ 36001 h 31"/>
                <a:gd name="T14" fmla="*/ 1429 w 20"/>
                <a:gd name="T15" fmla="*/ 24632 h 31"/>
                <a:gd name="T16" fmla="*/ 3572 w 20"/>
                <a:gd name="T17" fmla="*/ 17053 h 31"/>
                <a:gd name="T18" fmla="*/ 5715 w 20"/>
                <a:gd name="T19" fmla="*/ 11369 h 31"/>
                <a:gd name="T20" fmla="*/ 7858 w 20"/>
                <a:gd name="T21" fmla="*/ 5684 h 31"/>
                <a:gd name="T22" fmla="*/ 11430 w 20"/>
                <a:gd name="T23" fmla="*/ 0 h 31"/>
                <a:gd name="T24" fmla="*/ 14288 w 20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" name="Freeform 111">
              <a:extLst>
                <a:ext uri="{FF2B5EF4-FFF2-40B4-BE49-F238E27FC236}">
                  <a16:creationId xmlns:a16="http://schemas.microsoft.com/office/drawing/2014/main" id="{F7175AAE-4907-47F2-B13A-652EFC5422E0}"/>
                </a:ext>
              </a:extLst>
            </p:cNvPr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8647114" y="2738438"/>
              <a:ext cx="15875" cy="57150"/>
            </a:xfrm>
            <a:custGeom>
              <a:avLst/>
              <a:gdLst>
                <a:gd name="T0" fmla="*/ 7938 w 26"/>
                <a:gd name="T1" fmla="*/ 57150 h 37"/>
                <a:gd name="T2" fmla="*/ 0 w 26"/>
                <a:gd name="T3" fmla="*/ 18535 h 37"/>
                <a:gd name="T4" fmla="*/ 3663 w 26"/>
                <a:gd name="T5" fmla="*/ 10812 h 37"/>
                <a:gd name="T6" fmla="*/ 7938 w 26"/>
                <a:gd name="T7" fmla="*/ 6178 h 37"/>
                <a:gd name="T8" fmla="*/ 12822 w 26"/>
                <a:gd name="T9" fmla="*/ 1545 h 37"/>
                <a:gd name="T10" fmla="*/ 15875 w 26"/>
                <a:gd name="T11" fmla="*/ 0 h 37"/>
                <a:gd name="T12" fmla="*/ 15875 w 26"/>
                <a:gd name="T13" fmla="*/ 9268 h 37"/>
                <a:gd name="T14" fmla="*/ 15264 w 26"/>
                <a:gd name="T15" fmla="*/ 16991 h 37"/>
                <a:gd name="T16" fmla="*/ 14654 w 26"/>
                <a:gd name="T17" fmla="*/ 26258 h 37"/>
                <a:gd name="T18" fmla="*/ 14043 w 26"/>
                <a:gd name="T19" fmla="*/ 32436 h 37"/>
                <a:gd name="T20" fmla="*/ 10990 w 26"/>
                <a:gd name="T21" fmla="*/ 44793 h 37"/>
                <a:gd name="T22" fmla="*/ 7938 w 26"/>
                <a:gd name="T23" fmla="*/ 57150 h 3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8" name="Freeform 112">
              <a:extLst>
                <a:ext uri="{FF2B5EF4-FFF2-40B4-BE49-F238E27FC236}">
                  <a16:creationId xmlns:a16="http://schemas.microsoft.com/office/drawing/2014/main" id="{E7A89262-0B11-48E3-9A60-D064F3A97D97}"/>
                </a:ext>
              </a:extLst>
            </p:cNvPr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8535989" y="2587626"/>
              <a:ext cx="1587" cy="60325"/>
            </a:xfrm>
            <a:custGeom>
              <a:avLst/>
              <a:gdLst>
                <a:gd name="T0" fmla="*/ 0 w 7"/>
                <a:gd name="T1" fmla="*/ 60325 h 18"/>
                <a:gd name="T2" fmla="*/ 0 w 7"/>
                <a:gd name="T3" fmla="*/ 0 h 18"/>
                <a:gd name="T4" fmla="*/ 1587 w 7"/>
                <a:gd name="T5" fmla="*/ 40217 h 18"/>
                <a:gd name="T6" fmla="*/ 0 w 7"/>
                <a:gd name="T7" fmla="*/ 60325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9" name="Freeform 113">
              <a:extLst>
                <a:ext uri="{FF2B5EF4-FFF2-40B4-BE49-F238E27FC236}">
                  <a16:creationId xmlns:a16="http://schemas.microsoft.com/office/drawing/2014/main" id="{921C106D-51B0-4D5B-B788-3A174CB1D1CC}"/>
                </a:ext>
              </a:extLst>
            </p:cNvPr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5387976" y="1714500"/>
              <a:ext cx="9525" cy="57150"/>
            </a:xfrm>
            <a:custGeom>
              <a:avLst/>
              <a:gdLst>
                <a:gd name="T0" fmla="*/ 0 w 33"/>
                <a:gd name="T1" fmla="*/ 22123 h 31"/>
                <a:gd name="T2" fmla="*/ 5484 w 33"/>
                <a:gd name="T3" fmla="*/ 0 h 31"/>
                <a:gd name="T4" fmla="*/ 6927 w 33"/>
                <a:gd name="T5" fmla="*/ 9218 h 31"/>
                <a:gd name="T6" fmla="*/ 8082 w 33"/>
                <a:gd name="T7" fmla="*/ 22123 h 31"/>
                <a:gd name="T8" fmla="*/ 9236 w 33"/>
                <a:gd name="T9" fmla="*/ 40558 h 31"/>
                <a:gd name="T10" fmla="*/ 9525 w 33"/>
                <a:gd name="T11" fmla="*/ 57150 h 31"/>
                <a:gd name="T12" fmla="*/ 7793 w 33"/>
                <a:gd name="T13" fmla="*/ 55306 h 31"/>
                <a:gd name="T14" fmla="*/ 6350 w 33"/>
                <a:gd name="T15" fmla="*/ 51619 h 31"/>
                <a:gd name="T16" fmla="*/ 4618 w 33"/>
                <a:gd name="T17" fmla="*/ 46089 h 31"/>
                <a:gd name="T18" fmla="*/ 3175 w 33"/>
                <a:gd name="T19" fmla="*/ 40558 h 31"/>
                <a:gd name="T20" fmla="*/ 866 w 33"/>
                <a:gd name="T21" fmla="*/ 27653 h 31"/>
                <a:gd name="T22" fmla="*/ 0 w 33"/>
                <a:gd name="T23" fmla="*/ 22123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0" name="Freeform 114">
              <a:extLst>
                <a:ext uri="{FF2B5EF4-FFF2-40B4-BE49-F238E27FC236}">
                  <a16:creationId xmlns:a16="http://schemas.microsoft.com/office/drawing/2014/main" id="{2C7E1FF9-EB76-45BE-95E0-851928B3C6E9}"/>
                </a:ext>
              </a:extLst>
            </p:cNvPr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5373689" y="1482725"/>
              <a:ext cx="3175" cy="57150"/>
            </a:xfrm>
            <a:custGeom>
              <a:avLst/>
              <a:gdLst>
                <a:gd name="T0" fmla="*/ 3175 w 14"/>
                <a:gd name="T1" fmla="*/ 0 h 6"/>
                <a:gd name="T2" fmla="*/ 0 w 14"/>
                <a:gd name="T3" fmla="*/ 57150 h 6"/>
                <a:gd name="T4" fmla="*/ 3175 w 14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1" name="Freeform 115">
              <a:extLst>
                <a:ext uri="{FF2B5EF4-FFF2-40B4-BE49-F238E27FC236}">
                  <a16:creationId xmlns:a16="http://schemas.microsoft.com/office/drawing/2014/main" id="{88249D6C-C5C9-4C4C-B822-E0FF177DE751}"/>
                </a:ext>
              </a:extLst>
            </p:cNvPr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6854825" y="3260726"/>
              <a:ext cx="25400" cy="55563"/>
            </a:xfrm>
            <a:custGeom>
              <a:avLst/>
              <a:gdLst>
                <a:gd name="T0" fmla="*/ 25400 w 59"/>
                <a:gd name="T1" fmla="*/ 10754 h 31"/>
                <a:gd name="T2" fmla="*/ 24539 w 59"/>
                <a:gd name="T3" fmla="*/ 19716 h 31"/>
                <a:gd name="T4" fmla="*/ 22817 w 59"/>
                <a:gd name="T5" fmla="*/ 26885 h 31"/>
                <a:gd name="T6" fmla="*/ 21095 w 59"/>
                <a:gd name="T7" fmla="*/ 34055 h 31"/>
                <a:gd name="T8" fmla="*/ 19373 w 59"/>
                <a:gd name="T9" fmla="*/ 43017 h 31"/>
                <a:gd name="T10" fmla="*/ 17220 w 59"/>
                <a:gd name="T11" fmla="*/ 48394 h 31"/>
                <a:gd name="T12" fmla="*/ 15498 w 59"/>
                <a:gd name="T13" fmla="*/ 51978 h 31"/>
                <a:gd name="T14" fmla="*/ 12915 w 59"/>
                <a:gd name="T15" fmla="*/ 55563 h 31"/>
                <a:gd name="T16" fmla="*/ 11193 w 59"/>
                <a:gd name="T17" fmla="*/ 55563 h 31"/>
                <a:gd name="T18" fmla="*/ 9041 w 59"/>
                <a:gd name="T19" fmla="*/ 55563 h 31"/>
                <a:gd name="T20" fmla="*/ 7319 w 59"/>
                <a:gd name="T21" fmla="*/ 53771 h 31"/>
                <a:gd name="T22" fmla="*/ 6027 w 59"/>
                <a:gd name="T23" fmla="*/ 51978 h 31"/>
                <a:gd name="T24" fmla="*/ 4736 w 59"/>
                <a:gd name="T25" fmla="*/ 48394 h 31"/>
                <a:gd name="T26" fmla="*/ 1722 w 59"/>
                <a:gd name="T27" fmla="*/ 35847 h 31"/>
                <a:gd name="T28" fmla="*/ 0 w 59"/>
                <a:gd name="T29" fmla="*/ 21508 h 31"/>
                <a:gd name="T30" fmla="*/ 431 w 59"/>
                <a:gd name="T31" fmla="*/ 16131 h 31"/>
                <a:gd name="T32" fmla="*/ 1292 w 59"/>
                <a:gd name="T33" fmla="*/ 10754 h 31"/>
                <a:gd name="T34" fmla="*/ 2153 w 59"/>
                <a:gd name="T35" fmla="*/ 7169 h 31"/>
                <a:gd name="T36" fmla="*/ 3444 w 59"/>
                <a:gd name="T37" fmla="*/ 5377 h 31"/>
                <a:gd name="T38" fmla="*/ 6888 w 59"/>
                <a:gd name="T39" fmla="*/ 1792 h 31"/>
                <a:gd name="T40" fmla="*/ 10332 w 59"/>
                <a:gd name="T41" fmla="*/ 0 h 31"/>
                <a:gd name="T42" fmla="*/ 14637 w 59"/>
                <a:gd name="T43" fmla="*/ 0 h 31"/>
                <a:gd name="T44" fmla="*/ 18081 w 59"/>
                <a:gd name="T45" fmla="*/ 3585 h 31"/>
                <a:gd name="T46" fmla="*/ 21956 w 59"/>
                <a:gd name="T47" fmla="*/ 7169 h 31"/>
                <a:gd name="T48" fmla="*/ 25400 w 59"/>
                <a:gd name="T49" fmla="*/ 10754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2" name="Freeform 116">
              <a:extLst>
                <a:ext uri="{FF2B5EF4-FFF2-40B4-BE49-F238E27FC236}">
                  <a16:creationId xmlns:a16="http://schemas.microsoft.com/office/drawing/2014/main" id="{418E9497-7D56-4092-94FE-12AE0F64AE8B}"/>
                </a:ext>
              </a:extLst>
            </p:cNvPr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6557963" y="3122614"/>
              <a:ext cx="19050" cy="58737"/>
            </a:xfrm>
            <a:custGeom>
              <a:avLst/>
              <a:gdLst>
                <a:gd name="T0" fmla="*/ 5674 w 47"/>
                <a:gd name="T1" fmla="*/ 0 h 68"/>
                <a:gd name="T2" fmla="*/ 3243 w 47"/>
                <a:gd name="T3" fmla="*/ 8638 h 68"/>
                <a:gd name="T4" fmla="*/ 1621 w 47"/>
                <a:gd name="T5" fmla="*/ 16412 h 68"/>
                <a:gd name="T6" fmla="*/ 811 w 47"/>
                <a:gd name="T7" fmla="*/ 24186 h 68"/>
                <a:gd name="T8" fmla="*/ 0 w 47"/>
                <a:gd name="T9" fmla="*/ 31960 h 68"/>
                <a:gd name="T10" fmla="*/ 0 w 47"/>
                <a:gd name="T11" fmla="*/ 36279 h 68"/>
                <a:gd name="T12" fmla="*/ 811 w 47"/>
                <a:gd name="T13" fmla="*/ 40598 h 68"/>
                <a:gd name="T14" fmla="*/ 1216 w 47"/>
                <a:gd name="T15" fmla="*/ 44053 h 68"/>
                <a:gd name="T16" fmla="*/ 2027 w 47"/>
                <a:gd name="T17" fmla="*/ 47508 h 68"/>
                <a:gd name="T18" fmla="*/ 2837 w 47"/>
                <a:gd name="T19" fmla="*/ 50099 h 68"/>
                <a:gd name="T20" fmla="*/ 3648 w 47"/>
                <a:gd name="T21" fmla="*/ 51827 h 68"/>
                <a:gd name="T22" fmla="*/ 5269 w 47"/>
                <a:gd name="T23" fmla="*/ 53554 h 68"/>
                <a:gd name="T24" fmla="*/ 6485 w 47"/>
                <a:gd name="T25" fmla="*/ 55282 h 68"/>
                <a:gd name="T26" fmla="*/ 8917 w 47"/>
                <a:gd name="T27" fmla="*/ 57873 h 68"/>
                <a:gd name="T28" fmla="*/ 12565 w 47"/>
                <a:gd name="T29" fmla="*/ 58737 h 68"/>
                <a:gd name="T30" fmla="*/ 15807 w 47"/>
                <a:gd name="T31" fmla="*/ 58737 h 68"/>
                <a:gd name="T32" fmla="*/ 19050 w 47"/>
                <a:gd name="T33" fmla="*/ 58737 h 68"/>
                <a:gd name="T34" fmla="*/ 16618 w 47"/>
                <a:gd name="T35" fmla="*/ 50099 h 68"/>
                <a:gd name="T36" fmla="*/ 15402 w 47"/>
                <a:gd name="T37" fmla="*/ 41461 h 68"/>
                <a:gd name="T38" fmla="*/ 14591 w 47"/>
                <a:gd name="T39" fmla="*/ 37143 h 68"/>
                <a:gd name="T40" fmla="*/ 14186 w 47"/>
                <a:gd name="T41" fmla="*/ 32824 h 68"/>
                <a:gd name="T42" fmla="*/ 13376 w 47"/>
                <a:gd name="T43" fmla="*/ 26777 h 68"/>
                <a:gd name="T44" fmla="*/ 13376 w 47"/>
                <a:gd name="T45" fmla="*/ 21594 h 68"/>
                <a:gd name="T46" fmla="*/ 9728 w 47"/>
                <a:gd name="T47" fmla="*/ 11229 h 68"/>
                <a:gd name="T48" fmla="*/ 5674 w 47"/>
                <a:gd name="T49" fmla="*/ 0 h 6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93" name="Group 117">
              <a:extLst>
                <a:ext uri="{FF2B5EF4-FFF2-40B4-BE49-F238E27FC236}">
                  <a16:creationId xmlns:a16="http://schemas.microsoft.com/office/drawing/2014/main" id="{B3C57D41-8FE3-4B43-9F07-A3D628772752}"/>
                </a:ext>
              </a:extLst>
            </p:cNvPr>
            <p:cNvGrpSpPr>
              <a:grpSpLocks/>
            </p:cNvGrpSpPr>
            <p:nvPr>
              <p:custDataLst>
                <p:tags r:id="rId88"/>
              </p:custDataLst>
            </p:nvPr>
          </p:nvGrpSpPr>
          <p:grpSpPr bwMode="auto">
            <a:xfrm>
              <a:off x="7329489" y="3309938"/>
              <a:ext cx="46037" cy="374650"/>
              <a:chOff x="3950" y="2430"/>
              <a:chExt cx="36" cy="234"/>
            </a:xfrm>
          </p:grpSpPr>
          <p:sp>
            <p:nvSpPr>
              <p:cNvPr id="496" name="Freeform 118">
                <a:extLst>
                  <a:ext uri="{FF2B5EF4-FFF2-40B4-BE49-F238E27FC236}">
                    <a16:creationId xmlns:a16="http://schemas.microsoft.com/office/drawing/2014/main" id="{ABCCA866-163D-4434-A8B3-81D01C174E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7" name="Freeform 119">
                <a:extLst>
                  <a:ext uri="{FF2B5EF4-FFF2-40B4-BE49-F238E27FC236}">
                    <a16:creationId xmlns:a16="http://schemas.microsoft.com/office/drawing/2014/main" id="{D0B8692F-3429-40C2-8E12-21D78C1151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8" name="Freeform 120">
                <a:extLst>
                  <a:ext uri="{FF2B5EF4-FFF2-40B4-BE49-F238E27FC236}">
                    <a16:creationId xmlns:a16="http://schemas.microsoft.com/office/drawing/2014/main" id="{9F4565AC-3A77-4E66-8692-BD409C3C95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9" name="Rectangle 121">
                <a:extLst>
                  <a:ext uri="{FF2B5EF4-FFF2-40B4-BE49-F238E27FC236}">
                    <a16:creationId xmlns:a16="http://schemas.microsoft.com/office/drawing/2014/main" id="{B58C8F54-A72C-4505-BE0E-878FD7FFF0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500" name="Line 122">
                <a:extLst>
                  <a:ext uri="{FF2B5EF4-FFF2-40B4-BE49-F238E27FC236}">
                    <a16:creationId xmlns:a16="http://schemas.microsoft.com/office/drawing/2014/main" id="{74AA820C-8435-4A1D-BEFE-11F86B01740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1" name="Freeform 123">
                <a:extLst>
                  <a:ext uri="{FF2B5EF4-FFF2-40B4-BE49-F238E27FC236}">
                    <a16:creationId xmlns:a16="http://schemas.microsoft.com/office/drawing/2014/main" id="{E31EAFD4-F059-4677-9EF5-916995C414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2" name="Freeform 124">
                <a:extLst>
                  <a:ext uri="{FF2B5EF4-FFF2-40B4-BE49-F238E27FC236}">
                    <a16:creationId xmlns:a16="http://schemas.microsoft.com/office/drawing/2014/main" id="{2ABF049E-27E3-49EA-B20C-D20BEA788F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3" name="Line 125">
                <a:extLst>
                  <a:ext uri="{FF2B5EF4-FFF2-40B4-BE49-F238E27FC236}">
                    <a16:creationId xmlns:a16="http://schemas.microsoft.com/office/drawing/2014/main" id="{EC76A9C9-D0EA-4984-B436-E3E084B9CC0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4" name="Freeform 126">
                <a:extLst>
                  <a:ext uri="{FF2B5EF4-FFF2-40B4-BE49-F238E27FC236}">
                    <a16:creationId xmlns:a16="http://schemas.microsoft.com/office/drawing/2014/main" id="{CF04AF1F-D27A-41E7-BAF8-8D732CCEF9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5" name="Freeform 127">
                <a:extLst>
                  <a:ext uri="{FF2B5EF4-FFF2-40B4-BE49-F238E27FC236}">
                    <a16:creationId xmlns:a16="http://schemas.microsoft.com/office/drawing/2014/main" id="{184BA623-40D9-46AA-903C-79EECE0BE5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6" name="Line 128">
                <a:extLst>
                  <a:ext uri="{FF2B5EF4-FFF2-40B4-BE49-F238E27FC236}">
                    <a16:creationId xmlns:a16="http://schemas.microsoft.com/office/drawing/2014/main" id="{5918F24C-1B25-4A9C-90DC-F3689447346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7" name="Freeform 129">
                <a:extLst>
                  <a:ext uri="{FF2B5EF4-FFF2-40B4-BE49-F238E27FC236}">
                    <a16:creationId xmlns:a16="http://schemas.microsoft.com/office/drawing/2014/main" id="{41C31FC0-1717-408F-B200-3E83BF39F2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8" name="Freeform 130">
                <a:extLst>
                  <a:ext uri="{FF2B5EF4-FFF2-40B4-BE49-F238E27FC236}">
                    <a16:creationId xmlns:a16="http://schemas.microsoft.com/office/drawing/2014/main" id="{9E8A7C63-C2AF-4A7E-BD20-03B2C327E5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9" name="Freeform 131">
                <a:extLst>
                  <a:ext uri="{FF2B5EF4-FFF2-40B4-BE49-F238E27FC236}">
                    <a16:creationId xmlns:a16="http://schemas.microsoft.com/office/drawing/2014/main" id="{A519D341-C650-4A84-B4EE-ECEEA65709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0" name="Freeform 132">
                <a:extLst>
                  <a:ext uri="{FF2B5EF4-FFF2-40B4-BE49-F238E27FC236}">
                    <a16:creationId xmlns:a16="http://schemas.microsoft.com/office/drawing/2014/main" id="{5F5E07CB-EE08-4931-8049-1742AA5640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1" name="Freeform 133">
                <a:extLst>
                  <a:ext uri="{FF2B5EF4-FFF2-40B4-BE49-F238E27FC236}">
                    <a16:creationId xmlns:a16="http://schemas.microsoft.com/office/drawing/2014/main" id="{D8163791-B935-4C6D-96D5-58AADBF188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2" name="Freeform 134">
                <a:extLst>
                  <a:ext uri="{FF2B5EF4-FFF2-40B4-BE49-F238E27FC236}">
                    <a16:creationId xmlns:a16="http://schemas.microsoft.com/office/drawing/2014/main" id="{2C44949D-C9D0-4AC4-9A10-627BE9E53B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3" name="Freeform 135">
                <a:extLst>
                  <a:ext uri="{FF2B5EF4-FFF2-40B4-BE49-F238E27FC236}">
                    <a16:creationId xmlns:a16="http://schemas.microsoft.com/office/drawing/2014/main" id="{B922368B-6E5B-4EDB-B494-3A960F2A12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4" name="Rectangle 136">
                <a:extLst>
                  <a:ext uri="{FF2B5EF4-FFF2-40B4-BE49-F238E27FC236}">
                    <a16:creationId xmlns:a16="http://schemas.microsoft.com/office/drawing/2014/main" id="{B8CAEC26-8A63-4631-A39E-6F20A5F500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515" name="Line 137">
                <a:extLst>
                  <a:ext uri="{FF2B5EF4-FFF2-40B4-BE49-F238E27FC236}">
                    <a16:creationId xmlns:a16="http://schemas.microsoft.com/office/drawing/2014/main" id="{B1269C34-D42D-4983-8803-8EAD1FED7F7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6" name="Freeform 138">
                <a:extLst>
                  <a:ext uri="{FF2B5EF4-FFF2-40B4-BE49-F238E27FC236}">
                    <a16:creationId xmlns:a16="http://schemas.microsoft.com/office/drawing/2014/main" id="{AF84815E-3EFB-4E49-B608-B75D230FE8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7" name="Freeform 139">
                <a:extLst>
                  <a:ext uri="{FF2B5EF4-FFF2-40B4-BE49-F238E27FC236}">
                    <a16:creationId xmlns:a16="http://schemas.microsoft.com/office/drawing/2014/main" id="{6DC6FF71-6F81-4E89-9512-49CDCCF65E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8" name="Line 140">
                <a:extLst>
                  <a:ext uri="{FF2B5EF4-FFF2-40B4-BE49-F238E27FC236}">
                    <a16:creationId xmlns:a16="http://schemas.microsoft.com/office/drawing/2014/main" id="{B8B701F5-273E-447E-9FDD-FD5F25053E1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9" name="Freeform 141">
                <a:extLst>
                  <a:ext uri="{FF2B5EF4-FFF2-40B4-BE49-F238E27FC236}">
                    <a16:creationId xmlns:a16="http://schemas.microsoft.com/office/drawing/2014/main" id="{F05DD471-4C69-4B83-96C2-B48281FFDA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0" name="Freeform 142">
                <a:extLst>
                  <a:ext uri="{FF2B5EF4-FFF2-40B4-BE49-F238E27FC236}">
                    <a16:creationId xmlns:a16="http://schemas.microsoft.com/office/drawing/2014/main" id="{0E04C652-A0D1-4A78-9AFA-733DBC4E11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1" name="Line 143">
                <a:extLst>
                  <a:ext uri="{FF2B5EF4-FFF2-40B4-BE49-F238E27FC236}">
                    <a16:creationId xmlns:a16="http://schemas.microsoft.com/office/drawing/2014/main" id="{8429A5DC-9549-4780-A1EA-77740213690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2" name="Freeform 144">
                <a:extLst>
                  <a:ext uri="{FF2B5EF4-FFF2-40B4-BE49-F238E27FC236}">
                    <a16:creationId xmlns:a16="http://schemas.microsoft.com/office/drawing/2014/main" id="{BB478ED7-8D91-466D-982D-62CABDD0A2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3" name="Freeform 145">
                <a:extLst>
                  <a:ext uri="{FF2B5EF4-FFF2-40B4-BE49-F238E27FC236}">
                    <a16:creationId xmlns:a16="http://schemas.microsoft.com/office/drawing/2014/main" id="{D73F7BD3-AEBC-48FF-A6AF-DEE1DD34FA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4" name="Freeform 146">
                <a:extLst>
                  <a:ext uri="{FF2B5EF4-FFF2-40B4-BE49-F238E27FC236}">
                    <a16:creationId xmlns:a16="http://schemas.microsoft.com/office/drawing/2014/main" id="{4FCD600A-3972-4C9D-A191-62D994A148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5" name="Freeform 147">
                <a:extLst>
                  <a:ext uri="{FF2B5EF4-FFF2-40B4-BE49-F238E27FC236}">
                    <a16:creationId xmlns:a16="http://schemas.microsoft.com/office/drawing/2014/main" id="{19FA57BF-7071-42E9-8B85-6F12F08C0E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6" name="Freeform 148">
                <a:extLst>
                  <a:ext uri="{FF2B5EF4-FFF2-40B4-BE49-F238E27FC236}">
                    <a16:creationId xmlns:a16="http://schemas.microsoft.com/office/drawing/2014/main" id="{C9963DB0-643C-4DA2-982F-A5310A212F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5 w 20"/>
                  <a:gd name="T1" fmla="*/ 6 h 18"/>
                  <a:gd name="T2" fmla="*/ 7 w 20"/>
                  <a:gd name="T3" fmla="*/ 0 h 18"/>
                  <a:gd name="T4" fmla="*/ 0 w 20"/>
                  <a:gd name="T5" fmla="*/ 0 h 18"/>
                  <a:gd name="T6" fmla="*/ 5 w 20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94" name="Group 149">
              <a:extLst>
                <a:ext uri="{FF2B5EF4-FFF2-40B4-BE49-F238E27FC236}">
                  <a16:creationId xmlns:a16="http://schemas.microsoft.com/office/drawing/2014/main" id="{17A59D27-B915-4CD7-B31C-4A99327BD96F}"/>
                </a:ext>
              </a:extLst>
            </p:cNvPr>
            <p:cNvGrpSpPr>
              <a:grpSpLocks/>
            </p:cNvGrpSpPr>
            <p:nvPr>
              <p:custDataLst>
                <p:tags r:id="rId89"/>
              </p:custDataLst>
            </p:nvPr>
          </p:nvGrpSpPr>
          <p:grpSpPr bwMode="auto">
            <a:xfrm>
              <a:off x="9394825" y="3810001"/>
              <a:ext cx="185738" cy="214313"/>
              <a:chOff x="5486" y="2743"/>
              <a:chExt cx="137" cy="132"/>
            </a:xfrm>
          </p:grpSpPr>
          <p:sp>
            <p:nvSpPr>
              <p:cNvPr id="487" name="Freeform 150">
                <a:extLst>
                  <a:ext uri="{FF2B5EF4-FFF2-40B4-BE49-F238E27FC236}">
                    <a16:creationId xmlns:a16="http://schemas.microsoft.com/office/drawing/2014/main" id="{392D9F79-EBEE-4907-BBFF-4C43EC1270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10 h 87"/>
                  <a:gd name="T2" fmla="*/ 0 w 40"/>
                  <a:gd name="T3" fmla="*/ 14 h 87"/>
                  <a:gd name="T4" fmla="*/ 1 w 40"/>
                  <a:gd name="T5" fmla="*/ 16 h 87"/>
                  <a:gd name="T6" fmla="*/ 2 w 40"/>
                  <a:gd name="T7" fmla="*/ 19 h 87"/>
                  <a:gd name="T8" fmla="*/ 3 w 40"/>
                  <a:gd name="T9" fmla="*/ 21 h 87"/>
                  <a:gd name="T10" fmla="*/ 5 w 40"/>
                  <a:gd name="T11" fmla="*/ 23 h 87"/>
                  <a:gd name="T12" fmla="*/ 7 w 40"/>
                  <a:gd name="T13" fmla="*/ 25 h 87"/>
                  <a:gd name="T14" fmla="*/ 10 w 40"/>
                  <a:gd name="T15" fmla="*/ 26 h 87"/>
                  <a:gd name="T16" fmla="*/ 13 w 40"/>
                  <a:gd name="T17" fmla="*/ 28 h 87"/>
                  <a:gd name="T18" fmla="*/ 11 w 40"/>
                  <a:gd name="T19" fmla="*/ 26 h 87"/>
                  <a:gd name="T20" fmla="*/ 10 w 40"/>
                  <a:gd name="T21" fmla="*/ 25 h 87"/>
                  <a:gd name="T22" fmla="*/ 9 w 40"/>
                  <a:gd name="T23" fmla="*/ 23 h 87"/>
                  <a:gd name="T24" fmla="*/ 8 w 40"/>
                  <a:gd name="T25" fmla="*/ 21 h 87"/>
                  <a:gd name="T26" fmla="*/ 7 w 40"/>
                  <a:gd name="T27" fmla="*/ 17 h 87"/>
                  <a:gd name="T28" fmla="*/ 7 w 40"/>
                  <a:gd name="T29" fmla="*/ 13 h 87"/>
                  <a:gd name="T30" fmla="*/ 6 w 40"/>
                  <a:gd name="T31" fmla="*/ 9 h 87"/>
                  <a:gd name="T32" fmla="*/ 4 w 40"/>
                  <a:gd name="T33" fmla="*/ 5 h 87"/>
                  <a:gd name="T34" fmla="*/ 4 w 40"/>
                  <a:gd name="T35" fmla="*/ 4 h 87"/>
                  <a:gd name="T36" fmla="*/ 3 w 40"/>
                  <a:gd name="T37" fmla="*/ 2 h 87"/>
                  <a:gd name="T38" fmla="*/ 1 w 40"/>
                  <a:gd name="T39" fmla="*/ 1 h 87"/>
                  <a:gd name="T40" fmla="*/ 0 w 40"/>
                  <a:gd name="T41" fmla="*/ 0 h 87"/>
                  <a:gd name="T42" fmla="*/ 0 w 40"/>
                  <a:gd name="T43" fmla="*/ 3 h 87"/>
                  <a:gd name="T44" fmla="*/ 0 w 40"/>
                  <a:gd name="T45" fmla="*/ 5 h 87"/>
                  <a:gd name="T46" fmla="*/ 0 w 40"/>
                  <a:gd name="T47" fmla="*/ 7 h 87"/>
                  <a:gd name="T48" fmla="*/ 0 w 40"/>
                  <a:gd name="T49" fmla="*/ 10 h 8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88" name="Freeform 151">
                <a:extLst>
                  <a:ext uri="{FF2B5EF4-FFF2-40B4-BE49-F238E27FC236}">
                    <a16:creationId xmlns:a16="http://schemas.microsoft.com/office/drawing/2014/main" id="{4964B0A5-0C54-416A-8482-D47C28ADC0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10 h 37"/>
                  <a:gd name="T2" fmla="*/ 6 w 61"/>
                  <a:gd name="T3" fmla="*/ 10 h 37"/>
                  <a:gd name="T4" fmla="*/ 11 w 61"/>
                  <a:gd name="T5" fmla="*/ 11 h 37"/>
                  <a:gd name="T6" fmla="*/ 16 w 61"/>
                  <a:gd name="T7" fmla="*/ 12 h 37"/>
                  <a:gd name="T8" fmla="*/ 20 w 61"/>
                  <a:gd name="T9" fmla="*/ 12 h 37"/>
                  <a:gd name="T10" fmla="*/ 18 w 61"/>
                  <a:gd name="T11" fmla="*/ 9 h 37"/>
                  <a:gd name="T12" fmla="*/ 16 w 61"/>
                  <a:gd name="T13" fmla="*/ 7 h 37"/>
                  <a:gd name="T14" fmla="*/ 14 w 61"/>
                  <a:gd name="T15" fmla="*/ 6 h 37"/>
                  <a:gd name="T16" fmla="*/ 11 w 61"/>
                  <a:gd name="T17" fmla="*/ 4 h 37"/>
                  <a:gd name="T18" fmla="*/ 9 w 61"/>
                  <a:gd name="T19" fmla="*/ 3 h 37"/>
                  <a:gd name="T20" fmla="*/ 6 w 61"/>
                  <a:gd name="T21" fmla="*/ 2 h 37"/>
                  <a:gd name="T22" fmla="*/ 3 w 61"/>
                  <a:gd name="T23" fmla="*/ 1 h 37"/>
                  <a:gd name="T24" fmla="*/ 0 w 61"/>
                  <a:gd name="T25" fmla="*/ 0 h 37"/>
                  <a:gd name="T26" fmla="*/ 0 w 61"/>
                  <a:gd name="T27" fmla="*/ 10 h 3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89" name="Freeform 152">
                <a:extLst>
                  <a:ext uri="{FF2B5EF4-FFF2-40B4-BE49-F238E27FC236}">
                    <a16:creationId xmlns:a16="http://schemas.microsoft.com/office/drawing/2014/main" id="{6B1C73DF-D267-4FCA-96CD-E12509ACBF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13 w 40"/>
                  <a:gd name="T1" fmla="*/ 10 h 30"/>
                  <a:gd name="T2" fmla="*/ 11 w 40"/>
                  <a:gd name="T3" fmla="*/ 9 h 30"/>
                  <a:gd name="T4" fmla="*/ 8 w 40"/>
                  <a:gd name="T5" fmla="*/ 8 h 30"/>
                  <a:gd name="T6" fmla="*/ 7 w 40"/>
                  <a:gd name="T7" fmla="*/ 7 h 30"/>
                  <a:gd name="T8" fmla="*/ 5 w 40"/>
                  <a:gd name="T9" fmla="*/ 6 h 30"/>
                  <a:gd name="T10" fmla="*/ 4 w 40"/>
                  <a:gd name="T11" fmla="*/ 5 h 30"/>
                  <a:gd name="T12" fmla="*/ 2 w 40"/>
                  <a:gd name="T13" fmla="*/ 4 h 30"/>
                  <a:gd name="T14" fmla="*/ 1 w 40"/>
                  <a:gd name="T15" fmla="*/ 2 h 30"/>
                  <a:gd name="T16" fmla="*/ 0 w 40"/>
                  <a:gd name="T17" fmla="*/ 0 h 30"/>
                  <a:gd name="T18" fmla="*/ 3 w 40"/>
                  <a:gd name="T19" fmla="*/ 1 h 30"/>
                  <a:gd name="T20" fmla="*/ 5 w 40"/>
                  <a:gd name="T21" fmla="*/ 2 h 30"/>
                  <a:gd name="T22" fmla="*/ 7 w 40"/>
                  <a:gd name="T23" fmla="*/ 3 h 30"/>
                  <a:gd name="T24" fmla="*/ 9 w 40"/>
                  <a:gd name="T25" fmla="*/ 5 h 30"/>
                  <a:gd name="T26" fmla="*/ 11 w 40"/>
                  <a:gd name="T27" fmla="*/ 6 h 30"/>
                  <a:gd name="T28" fmla="*/ 12 w 40"/>
                  <a:gd name="T29" fmla="*/ 8 h 30"/>
                  <a:gd name="T30" fmla="*/ 13 w 40"/>
                  <a:gd name="T31" fmla="*/ 9 h 30"/>
                  <a:gd name="T32" fmla="*/ 13 w 40"/>
                  <a:gd name="T33" fmla="*/ 10 h 3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0" name="Freeform 153">
                <a:extLst>
                  <a:ext uri="{FF2B5EF4-FFF2-40B4-BE49-F238E27FC236}">
                    <a16:creationId xmlns:a16="http://schemas.microsoft.com/office/drawing/2014/main" id="{ABCC1DFC-C302-4998-9E70-3E681A6F43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24 w 74"/>
                  <a:gd name="T1" fmla="*/ 26 h 80"/>
                  <a:gd name="T2" fmla="*/ 23 w 74"/>
                  <a:gd name="T3" fmla="*/ 24 h 80"/>
                  <a:gd name="T4" fmla="*/ 23 w 74"/>
                  <a:gd name="T5" fmla="*/ 21 h 80"/>
                  <a:gd name="T6" fmla="*/ 22 w 74"/>
                  <a:gd name="T7" fmla="*/ 20 h 80"/>
                  <a:gd name="T8" fmla="*/ 21 w 74"/>
                  <a:gd name="T9" fmla="*/ 17 h 80"/>
                  <a:gd name="T10" fmla="*/ 19 w 74"/>
                  <a:gd name="T11" fmla="*/ 14 h 80"/>
                  <a:gd name="T12" fmla="*/ 16 w 74"/>
                  <a:gd name="T13" fmla="*/ 11 h 80"/>
                  <a:gd name="T14" fmla="*/ 12 w 74"/>
                  <a:gd name="T15" fmla="*/ 8 h 80"/>
                  <a:gd name="T16" fmla="*/ 9 w 74"/>
                  <a:gd name="T17" fmla="*/ 6 h 80"/>
                  <a:gd name="T18" fmla="*/ 6 w 74"/>
                  <a:gd name="T19" fmla="*/ 3 h 80"/>
                  <a:gd name="T20" fmla="*/ 4 w 74"/>
                  <a:gd name="T21" fmla="*/ 0 h 80"/>
                  <a:gd name="T22" fmla="*/ 3 w 74"/>
                  <a:gd name="T23" fmla="*/ 2 h 80"/>
                  <a:gd name="T24" fmla="*/ 1 w 74"/>
                  <a:gd name="T25" fmla="*/ 3 h 80"/>
                  <a:gd name="T26" fmla="*/ 0 w 74"/>
                  <a:gd name="T27" fmla="*/ 5 h 80"/>
                  <a:gd name="T28" fmla="*/ 0 w 74"/>
                  <a:gd name="T29" fmla="*/ 6 h 80"/>
                  <a:gd name="T30" fmla="*/ 0 w 74"/>
                  <a:gd name="T31" fmla="*/ 8 h 80"/>
                  <a:gd name="T32" fmla="*/ 1 w 74"/>
                  <a:gd name="T33" fmla="*/ 10 h 80"/>
                  <a:gd name="T34" fmla="*/ 1 w 74"/>
                  <a:gd name="T35" fmla="*/ 12 h 80"/>
                  <a:gd name="T36" fmla="*/ 2 w 74"/>
                  <a:gd name="T37" fmla="*/ 13 h 80"/>
                  <a:gd name="T38" fmla="*/ 3 w 74"/>
                  <a:gd name="T39" fmla="*/ 15 h 80"/>
                  <a:gd name="T40" fmla="*/ 5 w 74"/>
                  <a:gd name="T41" fmla="*/ 17 h 80"/>
                  <a:gd name="T42" fmla="*/ 6 w 74"/>
                  <a:gd name="T43" fmla="*/ 18 h 80"/>
                  <a:gd name="T44" fmla="*/ 8 w 74"/>
                  <a:gd name="T45" fmla="*/ 20 h 80"/>
                  <a:gd name="T46" fmla="*/ 10 w 74"/>
                  <a:gd name="T47" fmla="*/ 21 h 80"/>
                  <a:gd name="T48" fmla="*/ 11 w 74"/>
                  <a:gd name="T49" fmla="*/ 22 h 80"/>
                  <a:gd name="T50" fmla="*/ 14 w 74"/>
                  <a:gd name="T51" fmla="*/ 23 h 80"/>
                  <a:gd name="T52" fmla="*/ 15 w 74"/>
                  <a:gd name="T53" fmla="*/ 24 h 80"/>
                  <a:gd name="T54" fmla="*/ 18 w 74"/>
                  <a:gd name="T55" fmla="*/ 25 h 80"/>
                  <a:gd name="T56" fmla="*/ 19 w 74"/>
                  <a:gd name="T57" fmla="*/ 26 h 80"/>
                  <a:gd name="T58" fmla="*/ 22 w 74"/>
                  <a:gd name="T59" fmla="*/ 26 h 80"/>
                  <a:gd name="T60" fmla="*/ 24 w 74"/>
                  <a:gd name="T61" fmla="*/ 26 h 8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1" name="Freeform 154">
                <a:extLst>
                  <a:ext uri="{FF2B5EF4-FFF2-40B4-BE49-F238E27FC236}">
                    <a16:creationId xmlns:a16="http://schemas.microsoft.com/office/drawing/2014/main" id="{2A212FE8-C985-42BC-B8F5-5B323A0563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16 w 86"/>
                  <a:gd name="T1" fmla="*/ 27 h 80"/>
                  <a:gd name="T2" fmla="*/ 26 w 86"/>
                  <a:gd name="T3" fmla="*/ 27 h 80"/>
                  <a:gd name="T4" fmla="*/ 26 w 86"/>
                  <a:gd name="T5" fmla="*/ 21 h 80"/>
                  <a:gd name="T6" fmla="*/ 24 w 86"/>
                  <a:gd name="T7" fmla="*/ 20 h 80"/>
                  <a:gd name="T8" fmla="*/ 22 w 86"/>
                  <a:gd name="T9" fmla="*/ 19 h 80"/>
                  <a:gd name="T10" fmla="*/ 20 w 86"/>
                  <a:gd name="T11" fmla="*/ 18 h 80"/>
                  <a:gd name="T12" fmla="*/ 18 w 86"/>
                  <a:gd name="T13" fmla="*/ 17 h 80"/>
                  <a:gd name="T14" fmla="*/ 15 w 86"/>
                  <a:gd name="T15" fmla="*/ 14 h 80"/>
                  <a:gd name="T16" fmla="*/ 13 w 86"/>
                  <a:gd name="T17" fmla="*/ 11 h 80"/>
                  <a:gd name="T18" fmla="*/ 10 w 86"/>
                  <a:gd name="T19" fmla="*/ 8 h 80"/>
                  <a:gd name="T20" fmla="*/ 7 w 86"/>
                  <a:gd name="T21" fmla="*/ 5 h 80"/>
                  <a:gd name="T22" fmla="*/ 4 w 86"/>
                  <a:gd name="T23" fmla="*/ 2 h 80"/>
                  <a:gd name="T24" fmla="*/ 0 w 86"/>
                  <a:gd name="T25" fmla="*/ 0 h 80"/>
                  <a:gd name="T26" fmla="*/ 0 w 86"/>
                  <a:gd name="T27" fmla="*/ 3 h 80"/>
                  <a:gd name="T28" fmla="*/ 2 w 86"/>
                  <a:gd name="T29" fmla="*/ 7 h 80"/>
                  <a:gd name="T30" fmla="*/ 3 w 86"/>
                  <a:gd name="T31" fmla="*/ 11 h 80"/>
                  <a:gd name="T32" fmla="*/ 5 w 86"/>
                  <a:gd name="T33" fmla="*/ 15 h 80"/>
                  <a:gd name="T34" fmla="*/ 8 w 86"/>
                  <a:gd name="T35" fmla="*/ 19 h 80"/>
                  <a:gd name="T36" fmla="*/ 11 w 86"/>
                  <a:gd name="T37" fmla="*/ 23 h 80"/>
                  <a:gd name="T38" fmla="*/ 12 w 86"/>
                  <a:gd name="T39" fmla="*/ 24 h 80"/>
                  <a:gd name="T40" fmla="*/ 14 w 86"/>
                  <a:gd name="T41" fmla="*/ 26 h 80"/>
                  <a:gd name="T42" fmla="*/ 15 w 86"/>
                  <a:gd name="T43" fmla="*/ 27 h 80"/>
                  <a:gd name="T44" fmla="*/ 16 w 86"/>
                  <a:gd name="T45" fmla="*/ 27 h 8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2" name="Freeform 155">
                <a:extLst>
                  <a:ext uri="{FF2B5EF4-FFF2-40B4-BE49-F238E27FC236}">
                    <a16:creationId xmlns:a16="http://schemas.microsoft.com/office/drawing/2014/main" id="{838806A6-81A1-4874-A055-8821ABCE32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2 h 31"/>
                  <a:gd name="T2" fmla="*/ 1 w 74"/>
                  <a:gd name="T3" fmla="*/ 4 h 31"/>
                  <a:gd name="T4" fmla="*/ 2 w 74"/>
                  <a:gd name="T5" fmla="*/ 5 h 31"/>
                  <a:gd name="T6" fmla="*/ 3 w 74"/>
                  <a:gd name="T7" fmla="*/ 6 h 31"/>
                  <a:gd name="T8" fmla="*/ 5 w 74"/>
                  <a:gd name="T9" fmla="*/ 7 h 31"/>
                  <a:gd name="T10" fmla="*/ 6 w 74"/>
                  <a:gd name="T11" fmla="*/ 9 h 31"/>
                  <a:gd name="T12" fmla="*/ 8 w 74"/>
                  <a:gd name="T13" fmla="*/ 9 h 31"/>
                  <a:gd name="T14" fmla="*/ 10 w 74"/>
                  <a:gd name="T15" fmla="*/ 10 h 31"/>
                  <a:gd name="T16" fmla="*/ 11 w 74"/>
                  <a:gd name="T17" fmla="*/ 10 h 31"/>
                  <a:gd name="T18" fmla="*/ 16 w 74"/>
                  <a:gd name="T19" fmla="*/ 11 h 31"/>
                  <a:gd name="T20" fmla="*/ 20 w 74"/>
                  <a:gd name="T21" fmla="*/ 11 h 31"/>
                  <a:gd name="T22" fmla="*/ 21 w 74"/>
                  <a:gd name="T23" fmla="*/ 11 h 31"/>
                  <a:gd name="T24" fmla="*/ 23 w 74"/>
                  <a:gd name="T25" fmla="*/ 10 h 31"/>
                  <a:gd name="T26" fmla="*/ 24 w 74"/>
                  <a:gd name="T27" fmla="*/ 10 h 31"/>
                  <a:gd name="T28" fmla="*/ 25 w 74"/>
                  <a:gd name="T29" fmla="*/ 9 h 31"/>
                  <a:gd name="T30" fmla="*/ 22 w 74"/>
                  <a:gd name="T31" fmla="*/ 6 h 31"/>
                  <a:gd name="T32" fmla="*/ 19 w 74"/>
                  <a:gd name="T33" fmla="*/ 5 h 31"/>
                  <a:gd name="T34" fmla="*/ 17 w 74"/>
                  <a:gd name="T35" fmla="*/ 4 h 31"/>
                  <a:gd name="T36" fmla="*/ 16 w 74"/>
                  <a:gd name="T37" fmla="*/ 3 h 31"/>
                  <a:gd name="T38" fmla="*/ 15 w 74"/>
                  <a:gd name="T39" fmla="*/ 2 h 31"/>
                  <a:gd name="T40" fmla="*/ 14 w 74"/>
                  <a:gd name="T41" fmla="*/ 0 h 31"/>
                  <a:gd name="T42" fmla="*/ 11 w 74"/>
                  <a:gd name="T43" fmla="*/ 0 h 31"/>
                  <a:gd name="T44" fmla="*/ 9 w 74"/>
                  <a:gd name="T45" fmla="*/ 0 h 31"/>
                  <a:gd name="T46" fmla="*/ 7 w 74"/>
                  <a:gd name="T47" fmla="*/ 0 h 31"/>
                  <a:gd name="T48" fmla="*/ 6 w 74"/>
                  <a:gd name="T49" fmla="*/ 0 h 31"/>
                  <a:gd name="T50" fmla="*/ 5 w 74"/>
                  <a:gd name="T51" fmla="*/ 0 h 31"/>
                  <a:gd name="T52" fmla="*/ 3 w 74"/>
                  <a:gd name="T53" fmla="*/ 0 h 31"/>
                  <a:gd name="T54" fmla="*/ 2 w 74"/>
                  <a:gd name="T55" fmla="*/ 1 h 31"/>
                  <a:gd name="T56" fmla="*/ 0 w 74"/>
                  <a:gd name="T57" fmla="*/ 2 h 31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3" name="Freeform 156">
                <a:extLst>
                  <a:ext uri="{FF2B5EF4-FFF2-40B4-BE49-F238E27FC236}">
                    <a16:creationId xmlns:a16="http://schemas.microsoft.com/office/drawing/2014/main" id="{4DF09951-A6E3-498C-8834-3C0061CB6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6 w 20"/>
                  <a:gd name="T1" fmla="*/ 0 h 1"/>
                  <a:gd name="T2" fmla="*/ 0 w 20"/>
                  <a:gd name="T3" fmla="*/ 0 h 1"/>
                  <a:gd name="T4" fmla="*/ 3 w 20"/>
                  <a:gd name="T5" fmla="*/ 0 h 1"/>
                  <a:gd name="T6" fmla="*/ 6 w 20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4" name="Freeform 157">
                <a:extLst>
                  <a:ext uri="{FF2B5EF4-FFF2-40B4-BE49-F238E27FC236}">
                    <a16:creationId xmlns:a16="http://schemas.microsoft.com/office/drawing/2014/main" id="{3FB3134B-6C2B-41DC-BE64-BEB7E0E7E4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2 w 100"/>
                  <a:gd name="T1" fmla="*/ 8 h 65"/>
                  <a:gd name="T2" fmla="*/ 11 w 100"/>
                  <a:gd name="T3" fmla="*/ 13 h 65"/>
                  <a:gd name="T4" fmla="*/ 20 w 100"/>
                  <a:gd name="T5" fmla="*/ 18 h 65"/>
                  <a:gd name="T6" fmla="*/ 23 w 100"/>
                  <a:gd name="T7" fmla="*/ 19 h 65"/>
                  <a:gd name="T8" fmla="*/ 27 w 100"/>
                  <a:gd name="T9" fmla="*/ 21 h 65"/>
                  <a:gd name="T10" fmla="*/ 28 w 100"/>
                  <a:gd name="T11" fmla="*/ 21 h 65"/>
                  <a:gd name="T12" fmla="*/ 29 w 100"/>
                  <a:gd name="T13" fmla="*/ 21 h 65"/>
                  <a:gd name="T14" fmla="*/ 31 w 100"/>
                  <a:gd name="T15" fmla="*/ 21 h 65"/>
                  <a:gd name="T16" fmla="*/ 32 w 100"/>
                  <a:gd name="T17" fmla="*/ 20 h 65"/>
                  <a:gd name="T18" fmla="*/ 30 w 100"/>
                  <a:gd name="T19" fmla="*/ 19 h 65"/>
                  <a:gd name="T20" fmla="*/ 28 w 100"/>
                  <a:gd name="T21" fmla="*/ 18 h 65"/>
                  <a:gd name="T22" fmla="*/ 27 w 100"/>
                  <a:gd name="T23" fmla="*/ 17 h 65"/>
                  <a:gd name="T24" fmla="*/ 25 w 100"/>
                  <a:gd name="T25" fmla="*/ 15 h 65"/>
                  <a:gd name="T26" fmla="*/ 21 w 100"/>
                  <a:gd name="T27" fmla="*/ 11 h 65"/>
                  <a:gd name="T28" fmla="*/ 18 w 100"/>
                  <a:gd name="T29" fmla="*/ 7 h 65"/>
                  <a:gd name="T30" fmla="*/ 17 w 100"/>
                  <a:gd name="T31" fmla="*/ 5 h 65"/>
                  <a:gd name="T32" fmla="*/ 15 w 100"/>
                  <a:gd name="T33" fmla="*/ 3 h 65"/>
                  <a:gd name="T34" fmla="*/ 13 w 100"/>
                  <a:gd name="T35" fmla="*/ 1 h 65"/>
                  <a:gd name="T36" fmla="*/ 11 w 100"/>
                  <a:gd name="T37" fmla="*/ 0 h 65"/>
                  <a:gd name="T38" fmla="*/ 9 w 100"/>
                  <a:gd name="T39" fmla="*/ 0 h 65"/>
                  <a:gd name="T40" fmla="*/ 6 w 100"/>
                  <a:gd name="T41" fmla="*/ 0 h 65"/>
                  <a:gd name="T42" fmla="*/ 3 w 100"/>
                  <a:gd name="T43" fmla="*/ 1 h 65"/>
                  <a:gd name="T44" fmla="*/ 0 w 100"/>
                  <a:gd name="T45" fmla="*/ 2 h 65"/>
                  <a:gd name="T46" fmla="*/ 2 w 100"/>
                  <a:gd name="T47" fmla="*/ 8 h 6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5" name="Freeform 158">
                <a:extLst>
                  <a:ext uri="{FF2B5EF4-FFF2-40B4-BE49-F238E27FC236}">
                    <a16:creationId xmlns:a16="http://schemas.microsoft.com/office/drawing/2014/main" id="{C0791114-2A26-401D-86D5-66AFAD5987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22 w 79"/>
                  <a:gd name="T1" fmla="*/ 28 h 104"/>
                  <a:gd name="T2" fmla="*/ 17 w 79"/>
                  <a:gd name="T3" fmla="*/ 20 h 104"/>
                  <a:gd name="T4" fmla="*/ 13 w 79"/>
                  <a:gd name="T5" fmla="*/ 13 h 104"/>
                  <a:gd name="T6" fmla="*/ 9 w 79"/>
                  <a:gd name="T7" fmla="*/ 7 h 104"/>
                  <a:gd name="T8" fmla="*/ 4 w 79"/>
                  <a:gd name="T9" fmla="*/ 0 h 104"/>
                  <a:gd name="T10" fmla="*/ 2 w 79"/>
                  <a:gd name="T11" fmla="*/ 5 h 104"/>
                  <a:gd name="T12" fmla="*/ 1 w 79"/>
                  <a:gd name="T13" fmla="*/ 11 h 104"/>
                  <a:gd name="T14" fmla="*/ 0 w 79"/>
                  <a:gd name="T15" fmla="*/ 13 h 104"/>
                  <a:gd name="T16" fmla="*/ 0 w 79"/>
                  <a:gd name="T17" fmla="*/ 16 h 104"/>
                  <a:gd name="T18" fmla="*/ 0 w 79"/>
                  <a:gd name="T19" fmla="*/ 18 h 104"/>
                  <a:gd name="T20" fmla="*/ 0 w 79"/>
                  <a:gd name="T21" fmla="*/ 20 h 104"/>
                  <a:gd name="T22" fmla="*/ 0 w 79"/>
                  <a:gd name="T23" fmla="*/ 22 h 104"/>
                  <a:gd name="T24" fmla="*/ 1 w 79"/>
                  <a:gd name="T25" fmla="*/ 24 h 104"/>
                  <a:gd name="T26" fmla="*/ 2 w 79"/>
                  <a:gd name="T27" fmla="*/ 26 h 104"/>
                  <a:gd name="T28" fmla="*/ 3 w 79"/>
                  <a:gd name="T29" fmla="*/ 27 h 104"/>
                  <a:gd name="T30" fmla="*/ 4 w 79"/>
                  <a:gd name="T31" fmla="*/ 29 h 104"/>
                  <a:gd name="T32" fmla="*/ 6 w 79"/>
                  <a:gd name="T33" fmla="*/ 29 h 104"/>
                  <a:gd name="T34" fmla="*/ 8 w 79"/>
                  <a:gd name="T35" fmla="*/ 30 h 104"/>
                  <a:gd name="T36" fmla="*/ 10 w 79"/>
                  <a:gd name="T37" fmla="*/ 30 h 104"/>
                  <a:gd name="T38" fmla="*/ 13 w 79"/>
                  <a:gd name="T39" fmla="*/ 30 h 104"/>
                  <a:gd name="T40" fmla="*/ 16 w 79"/>
                  <a:gd name="T41" fmla="*/ 31 h 104"/>
                  <a:gd name="T42" fmla="*/ 20 w 79"/>
                  <a:gd name="T43" fmla="*/ 33 h 104"/>
                  <a:gd name="T44" fmla="*/ 24 w 79"/>
                  <a:gd name="T45" fmla="*/ 34 h 104"/>
                  <a:gd name="T46" fmla="*/ 22 w 79"/>
                  <a:gd name="T47" fmla="*/ 28 h 10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95" name="Freeform 159">
              <a:extLst>
                <a:ext uri="{FF2B5EF4-FFF2-40B4-BE49-F238E27FC236}">
                  <a16:creationId xmlns:a16="http://schemas.microsoft.com/office/drawing/2014/main" id="{DBC85868-4352-468E-94D1-83ABECB2118D}"/>
                </a:ext>
              </a:extLst>
            </p:cNvPr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5740401" y="3548063"/>
              <a:ext cx="11113" cy="55562"/>
            </a:xfrm>
            <a:custGeom>
              <a:avLst/>
              <a:gdLst>
                <a:gd name="T0" fmla="*/ 11113 w 27"/>
                <a:gd name="T1" fmla="*/ 0 h 19"/>
                <a:gd name="T2" fmla="*/ 11113 w 27"/>
                <a:gd name="T3" fmla="*/ 35092 h 19"/>
                <a:gd name="T4" fmla="*/ 11113 w 27"/>
                <a:gd name="T5" fmla="*/ 55562 h 19"/>
                <a:gd name="T6" fmla="*/ 3704 w 27"/>
                <a:gd name="T7" fmla="*/ 55562 h 19"/>
                <a:gd name="T8" fmla="*/ 0 w 27"/>
                <a:gd name="T9" fmla="*/ 55562 h 19"/>
                <a:gd name="T10" fmla="*/ 3704 w 27"/>
                <a:gd name="T11" fmla="*/ 35092 h 19"/>
                <a:gd name="T12" fmla="*/ 11113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6" name="Freeform 160">
              <a:extLst>
                <a:ext uri="{FF2B5EF4-FFF2-40B4-BE49-F238E27FC236}">
                  <a16:creationId xmlns:a16="http://schemas.microsoft.com/office/drawing/2014/main" id="{7DEBC851-7279-4AE0-9FD8-DD0218E2050E}"/>
                </a:ext>
              </a:extLst>
            </p:cNvPr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5664200" y="3687763"/>
              <a:ext cx="14288" cy="57150"/>
            </a:xfrm>
            <a:custGeom>
              <a:avLst/>
              <a:gdLst>
                <a:gd name="T0" fmla="*/ 0 w 39"/>
                <a:gd name="T1" fmla="*/ 0 h 35"/>
                <a:gd name="T2" fmla="*/ 14288 w 39"/>
                <a:gd name="T3" fmla="*/ 0 h 35"/>
                <a:gd name="T4" fmla="*/ 13189 w 39"/>
                <a:gd name="T5" fmla="*/ 14696 h 35"/>
                <a:gd name="T6" fmla="*/ 12090 w 39"/>
                <a:gd name="T7" fmla="*/ 31024 h 35"/>
                <a:gd name="T8" fmla="*/ 9892 w 39"/>
                <a:gd name="T9" fmla="*/ 45720 h 35"/>
                <a:gd name="T10" fmla="*/ 8060 w 39"/>
                <a:gd name="T11" fmla="*/ 55517 h 35"/>
                <a:gd name="T12" fmla="*/ 6961 w 39"/>
                <a:gd name="T13" fmla="*/ 57150 h 35"/>
                <a:gd name="T14" fmla="*/ 5862 w 39"/>
                <a:gd name="T15" fmla="*/ 57150 h 35"/>
                <a:gd name="T16" fmla="*/ 4763 w 39"/>
                <a:gd name="T17" fmla="*/ 55517 h 35"/>
                <a:gd name="T18" fmla="*/ 4030 w 39"/>
                <a:gd name="T19" fmla="*/ 50619 h 35"/>
                <a:gd name="T20" fmla="*/ 2565 w 39"/>
                <a:gd name="T21" fmla="*/ 42454 h 35"/>
                <a:gd name="T22" fmla="*/ 1832 w 39"/>
                <a:gd name="T23" fmla="*/ 32657 h 35"/>
                <a:gd name="T24" fmla="*/ 733 w 39"/>
                <a:gd name="T25" fmla="*/ 17961 h 35"/>
                <a:gd name="T26" fmla="*/ 0 w 39"/>
                <a:gd name="T27" fmla="*/ 0 h 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7" name="Freeform 161">
              <a:extLst>
                <a:ext uri="{FF2B5EF4-FFF2-40B4-BE49-F238E27FC236}">
                  <a16:creationId xmlns:a16="http://schemas.microsoft.com/office/drawing/2014/main" id="{1015680F-C515-41FE-8682-B30AC495AF4D}"/>
                </a:ext>
              </a:extLst>
            </p:cNvPr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7462838" y="2014539"/>
              <a:ext cx="728662" cy="331787"/>
            </a:xfrm>
            <a:custGeom>
              <a:avLst/>
              <a:gdLst>
                <a:gd name="T0" fmla="*/ 13813 w 1688"/>
                <a:gd name="T1" fmla="*/ 113756 h 630"/>
                <a:gd name="T2" fmla="*/ 37124 w 1688"/>
                <a:gd name="T3" fmla="*/ 131135 h 630"/>
                <a:gd name="T4" fmla="*/ 66909 w 1688"/>
                <a:gd name="T5" fmla="*/ 139035 h 630"/>
                <a:gd name="T6" fmla="*/ 82449 w 1688"/>
                <a:gd name="T7" fmla="*/ 147988 h 630"/>
                <a:gd name="T8" fmla="*/ 102738 w 1688"/>
                <a:gd name="T9" fmla="*/ 174320 h 630"/>
                <a:gd name="T10" fmla="*/ 109213 w 1688"/>
                <a:gd name="T11" fmla="*/ 183799 h 630"/>
                <a:gd name="T12" fmla="*/ 109645 w 1688"/>
                <a:gd name="T13" fmla="*/ 203285 h 630"/>
                <a:gd name="T14" fmla="*/ 117846 w 1688"/>
                <a:gd name="T15" fmla="*/ 214872 h 630"/>
                <a:gd name="T16" fmla="*/ 147200 w 1688"/>
                <a:gd name="T17" fmla="*/ 219085 h 630"/>
                <a:gd name="T18" fmla="*/ 199864 w 1688"/>
                <a:gd name="T19" fmla="*/ 238044 h 630"/>
                <a:gd name="T20" fmla="*/ 235693 w 1688"/>
                <a:gd name="T21" fmla="*/ 246997 h 630"/>
                <a:gd name="T22" fmla="*/ 248211 w 1688"/>
                <a:gd name="T23" fmla="*/ 268589 h 630"/>
                <a:gd name="T24" fmla="*/ 268500 w 1688"/>
                <a:gd name="T25" fmla="*/ 285442 h 630"/>
                <a:gd name="T26" fmla="*/ 289220 w 1688"/>
                <a:gd name="T27" fmla="*/ 292289 h 630"/>
                <a:gd name="T28" fmla="*/ 395843 w 1688"/>
                <a:gd name="T29" fmla="*/ 303348 h 630"/>
                <a:gd name="T30" fmla="*/ 447644 w 1688"/>
                <a:gd name="T31" fmla="*/ 323361 h 630"/>
                <a:gd name="T32" fmla="*/ 482177 w 1688"/>
                <a:gd name="T33" fmla="*/ 331787 h 630"/>
                <a:gd name="T34" fmla="*/ 499444 w 1688"/>
                <a:gd name="T35" fmla="*/ 322834 h 630"/>
                <a:gd name="T36" fmla="*/ 580167 w 1688"/>
                <a:gd name="T37" fmla="*/ 297028 h 630"/>
                <a:gd name="T38" fmla="*/ 602182 w 1688"/>
                <a:gd name="T39" fmla="*/ 268589 h 630"/>
                <a:gd name="T40" fmla="*/ 605636 w 1688"/>
                <a:gd name="T41" fmla="*/ 254370 h 630"/>
                <a:gd name="T42" fmla="*/ 598297 w 1688"/>
                <a:gd name="T43" fmla="*/ 239624 h 630"/>
                <a:gd name="T44" fmla="*/ 591390 w 1688"/>
                <a:gd name="T45" fmla="*/ 218558 h 630"/>
                <a:gd name="T46" fmla="*/ 647076 w 1688"/>
                <a:gd name="T47" fmla="*/ 207499 h 630"/>
                <a:gd name="T48" fmla="*/ 688085 w 1688"/>
                <a:gd name="T49" fmla="*/ 180640 h 630"/>
                <a:gd name="T50" fmla="*/ 712690 w 1688"/>
                <a:gd name="T51" fmla="*/ 171160 h 630"/>
                <a:gd name="T52" fmla="*/ 728662 w 1688"/>
                <a:gd name="T53" fmla="*/ 156414 h 630"/>
                <a:gd name="T54" fmla="*/ 714849 w 1688"/>
                <a:gd name="T55" fmla="*/ 146934 h 630"/>
                <a:gd name="T56" fmla="*/ 698877 w 1688"/>
                <a:gd name="T57" fmla="*/ 132715 h 630"/>
                <a:gd name="T58" fmla="*/ 683336 w 1688"/>
                <a:gd name="T59" fmla="*/ 130608 h 630"/>
                <a:gd name="T60" fmla="*/ 670386 w 1688"/>
                <a:gd name="T61" fmla="*/ 135875 h 630"/>
                <a:gd name="T62" fmla="*/ 646213 w 1688"/>
                <a:gd name="T63" fmla="*/ 134821 h 630"/>
                <a:gd name="T64" fmla="*/ 628946 w 1688"/>
                <a:gd name="T65" fmla="*/ 123762 h 630"/>
                <a:gd name="T66" fmla="*/ 619017 w 1688"/>
                <a:gd name="T67" fmla="*/ 98483 h 630"/>
                <a:gd name="T68" fmla="*/ 590095 w 1688"/>
                <a:gd name="T69" fmla="*/ 65304 h 630"/>
                <a:gd name="T70" fmla="*/ 555130 w 1688"/>
                <a:gd name="T71" fmla="*/ 63198 h 630"/>
                <a:gd name="T72" fmla="*/ 543906 w 1688"/>
                <a:gd name="T73" fmla="*/ 77417 h 630"/>
                <a:gd name="T74" fmla="*/ 533546 w 1688"/>
                <a:gd name="T75" fmla="*/ 86897 h 630"/>
                <a:gd name="T76" fmla="*/ 504193 w 1688"/>
                <a:gd name="T77" fmla="*/ 87950 h 630"/>
                <a:gd name="T78" fmla="*/ 450665 w 1688"/>
                <a:gd name="T79" fmla="*/ 87950 h 630"/>
                <a:gd name="T80" fmla="*/ 425628 w 1688"/>
                <a:gd name="T81" fmla="*/ 73730 h 630"/>
                <a:gd name="T82" fmla="*/ 398001 w 1688"/>
                <a:gd name="T83" fmla="*/ 56878 h 630"/>
                <a:gd name="T84" fmla="*/ 367784 w 1688"/>
                <a:gd name="T85" fmla="*/ 52665 h 630"/>
                <a:gd name="T86" fmla="*/ 345769 w 1688"/>
                <a:gd name="T87" fmla="*/ 60038 h 630"/>
                <a:gd name="T88" fmla="*/ 319437 w 1688"/>
                <a:gd name="T89" fmla="*/ 61091 h 630"/>
                <a:gd name="T90" fmla="*/ 298717 w 1688"/>
                <a:gd name="T91" fmla="*/ 53191 h 630"/>
                <a:gd name="T92" fmla="*/ 285767 w 1688"/>
                <a:gd name="T93" fmla="*/ 35812 h 630"/>
                <a:gd name="T94" fmla="*/ 192526 w 1688"/>
                <a:gd name="T95" fmla="*/ 3687 h 630"/>
                <a:gd name="T96" fmla="*/ 192526 w 1688"/>
                <a:gd name="T97" fmla="*/ 23172 h 630"/>
                <a:gd name="T98" fmla="*/ 203317 w 1688"/>
                <a:gd name="T99" fmla="*/ 41605 h 630"/>
                <a:gd name="T100" fmla="*/ 211519 w 1688"/>
                <a:gd name="T101" fmla="*/ 55824 h 630"/>
                <a:gd name="T102" fmla="*/ 132523 w 1688"/>
                <a:gd name="T103" fmla="*/ 64251 h 630"/>
                <a:gd name="T104" fmla="*/ 126912 w 1688"/>
                <a:gd name="T105" fmla="*/ 45818 h 630"/>
                <a:gd name="T106" fmla="*/ 97126 w 1688"/>
                <a:gd name="T107" fmla="*/ 51085 h 630"/>
                <a:gd name="T108" fmla="*/ 79859 w 1688"/>
                <a:gd name="T109" fmla="*/ 46345 h 630"/>
                <a:gd name="T110" fmla="*/ 59571 w 1688"/>
                <a:gd name="T111" fmla="*/ 51085 h 630"/>
                <a:gd name="T112" fmla="*/ 29354 w 1688"/>
                <a:gd name="T113" fmla="*/ 75310 h 630"/>
                <a:gd name="T114" fmla="*/ 13382 w 1688"/>
                <a:gd name="T115" fmla="*/ 79524 h 630"/>
                <a:gd name="T116" fmla="*/ 1727 w 1688"/>
                <a:gd name="T117" fmla="*/ 89003 h 6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8" name="Freeform 162">
              <a:extLst>
                <a:ext uri="{FF2B5EF4-FFF2-40B4-BE49-F238E27FC236}">
                  <a16:creationId xmlns:a16="http://schemas.microsoft.com/office/drawing/2014/main" id="{6988697D-8560-4447-B758-F26651136D01}"/>
                </a:ext>
              </a:extLst>
            </p:cNvPr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3789363" y="3981451"/>
              <a:ext cx="328612" cy="415925"/>
            </a:xfrm>
            <a:custGeom>
              <a:avLst/>
              <a:gdLst>
                <a:gd name="T0" fmla="*/ 11272 w 758"/>
                <a:gd name="T1" fmla="*/ 41854 h 795"/>
                <a:gd name="T2" fmla="*/ 21243 w 758"/>
                <a:gd name="T3" fmla="*/ 46039 h 795"/>
                <a:gd name="T4" fmla="*/ 31214 w 758"/>
                <a:gd name="T5" fmla="*/ 56503 h 795"/>
                <a:gd name="T6" fmla="*/ 38150 w 758"/>
                <a:gd name="T7" fmla="*/ 70106 h 795"/>
                <a:gd name="T8" fmla="*/ 40318 w 758"/>
                <a:gd name="T9" fmla="*/ 88417 h 795"/>
                <a:gd name="T10" fmla="*/ 36416 w 758"/>
                <a:gd name="T11" fmla="*/ 97311 h 795"/>
                <a:gd name="T12" fmla="*/ 35116 w 758"/>
                <a:gd name="T13" fmla="*/ 107251 h 795"/>
                <a:gd name="T14" fmla="*/ 38150 w 758"/>
                <a:gd name="T15" fmla="*/ 125562 h 795"/>
                <a:gd name="T16" fmla="*/ 41185 w 758"/>
                <a:gd name="T17" fmla="*/ 145443 h 795"/>
                <a:gd name="T18" fmla="*/ 35983 w 758"/>
                <a:gd name="T19" fmla="*/ 161138 h 795"/>
                <a:gd name="T20" fmla="*/ 35116 w 758"/>
                <a:gd name="T21" fmla="*/ 184158 h 795"/>
                <a:gd name="T22" fmla="*/ 40318 w 758"/>
                <a:gd name="T23" fmla="*/ 204039 h 795"/>
                <a:gd name="T24" fmla="*/ 42919 w 758"/>
                <a:gd name="T25" fmla="*/ 217118 h 795"/>
                <a:gd name="T26" fmla="*/ 33815 w 758"/>
                <a:gd name="T27" fmla="*/ 239091 h 795"/>
                <a:gd name="T28" fmla="*/ 48988 w 758"/>
                <a:gd name="T29" fmla="*/ 276760 h 795"/>
                <a:gd name="T30" fmla="*/ 59826 w 758"/>
                <a:gd name="T31" fmla="*/ 301873 h 795"/>
                <a:gd name="T32" fmla="*/ 63295 w 758"/>
                <a:gd name="T33" fmla="*/ 325416 h 795"/>
                <a:gd name="T34" fmla="*/ 65896 w 758"/>
                <a:gd name="T35" fmla="*/ 344773 h 795"/>
                <a:gd name="T36" fmla="*/ 81069 w 758"/>
                <a:gd name="T37" fmla="*/ 386104 h 795"/>
                <a:gd name="T38" fmla="*/ 92774 w 758"/>
                <a:gd name="T39" fmla="*/ 409124 h 795"/>
                <a:gd name="T40" fmla="*/ 99711 w 758"/>
                <a:gd name="T41" fmla="*/ 415402 h 795"/>
                <a:gd name="T42" fmla="*/ 108815 w 758"/>
                <a:gd name="T43" fmla="*/ 413309 h 795"/>
                <a:gd name="T44" fmla="*/ 125289 w 758"/>
                <a:gd name="T45" fmla="*/ 398137 h 795"/>
                <a:gd name="T46" fmla="*/ 140462 w 758"/>
                <a:gd name="T47" fmla="*/ 390289 h 795"/>
                <a:gd name="T48" fmla="*/ 153901 w 758"/>
                <a:gd name="T49" fmla="*/ 391336 h 795"/>
                <a:gd name="T50" fmla="*/ 168208 w 758"/>
                <a:gd name="T51" fmla="*/ 402846 h 795"/>
                <a:gd name="T52" fmla="*/ 181213 w 758"/>
                <a:gd name="T53" fmla="*/ 408077 h 795"/>
                <a:gd name="T54" fmla="*/ 189450 w 758"/>
                <a:gd name="T55" fmla="*/ 396567 h 795"/>
                <a:gd name="T56" fmla="*/ 207225 w 758"/>
                <a:gd name="T57" fmla="*/ 389766 h 795"/>
                <a:gd name="T58" fmla="*/ 227601 w 758"/>
                <a:gd name="T59" fmla="*/ 325416 h 795"/>
                <a:gd name="T60" fmla="*/ 233670 w 758"/>
                <a:gd name="T61" fmla="*/ 313906 h 795"/>
                <a:gd name="T62" fmla="*/ 249277 w 758"/>
                <a:gd name="T63" fmla="*/ 305535 h 795"/>
                <a:gd name="T64" fmla="*/ 288294 w 758"/>
                <a:gd name="T65" fmla="*/ 299780 h 795"/>
                <a:gd name="T66" fmla="*/ 297832 w 758"/>
                <a:gd name="T67" fmla="*/ 302919 h 795"/>
                <a:gd name="T68" fmla="*/ 305202 w 758"/>
                <a:gd name="T69" fmla="*/ 306058 h 795"/>
                <a:gd name="T70" fmla="*/ 322543 w 758"/>
                <a:gd name="T71" fmla="*/ 299780 h 795"/>
                <a:gd name="T72" fmla="*/ 328178 w 758"/>
                <a:gd name="T73" fmla="*/ 283038 h 795"/>
                <a:gd name="T74" fmla="*/ 326011 w 758"/>
                <a:gd name="T75" fmla="*/ 261065 h 795"/>
                <a:gd name="T76" fmla="*/ 314739 w 758"/>
                <a:gd name="T77" fmla="*/ 241707 h 795"/>
                <a:gd name="T78" fmla="*/ 307803 w 758"/>
                <a:gd name="T79" fmla="*/ 227582 h 795"/>
                <a:gd name="T80" fmla="*/ 290895 w 758"/>
                <a:gd name="T81" fmla="*/ 209794 h 795"/>
                <a:gd name="T82" fmla="*/ 274421 w 758"/>
                <a:gd name="T83" fmla="*/ 208747 h 795"/>
                <a:gd name="T84" fmla="*/ 262283 w 758"/>
                <a:gd name="T85" fmla="*/ 197761 h 795"/>
                <a:gd name="T86" fmla="*/ 255780 w 758"/>
                <a:gd name="T87" fmla="*/ 182588 h 795"/>
                <a:gd name="T88" fmla="*/ 253612 w 758"/>
                <a:gd name="T89" fmla="*/ 162708 h 795"/>
                <a:gd name="T90" fmla="*/ 252745 w 758"/>
                <a:gd name="T91" fmla="*/ 140734 h 795"/>
                <a:gd name="T92" fmla="*/ 242774 w 758"/>
                <a:gd name="T93" fmla="*/ 126609 h 795"/>
                <a:gd name="T94" fmla="*/ 218063 w 758"/>
                <a:gd name="T95" fmla="*/ 107251 h 795"/>
                <a:gd name="T96" fmla="*/ 190751 w 758"/>
                <a:gd name="T97" fmla="*/ 93125 h 795"/>
                <a:gd name="T98" fmla="*/ 169942 w 758"/>
                <a:gd name="T99" fmla="*/ 87370 h 795"/>
                <a:gd name="T100" fmla="*/ 155635 w 758"/>
                <a:gd name="T101" fmla="*/ 84231 h 795"/>
                <a:gd name="T102" fmla="*/ 143063 w 758"/>
                <a:gd name="T103" fmla="*/ 75861 h 795"/>
                <a:gd name="T104" fmla="*/ 133092 w 758"/>
                <a:gd name="T105" fmla="*/ 63827 h 795"/>
                <a:gd name="T106" fmla="*/ 126589 w 758"/>
                <a:gd name="T107" fmla="*/ 48132 h 795"/>
                <a:gd name="T108" fmla="*/ 120953 w 758"/>
                <a:gd name="T109" fmla="*/ 9940 h 795"/>
                <a:gd name="T110" fmla="*/ 113150 w 758"/>
                <a:gd name="T111" fmla="*/ 1570 h 795"/>
                <a:gd name="T112" fmla="*/ 98410 w 758"/>
                <a:gd name="T113" fmla="*/ 1570 h 795"/>
                <a:gd name="T114" fmla="*/ 75000 w 758"/>
                <a:gd name="T115" fmla="*/ 15695 h 795"/>
                <a:gd name="T116" fmla="*/ 51589 w 758"/>
                <a:gd name="T117" fmla="*/ 34530 h 795"/>
                <a:gd name="T118" fmla="*/ 0 w 758"/>
                <a:gd name="T119" fmla="*/ 41854 h 7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9" name="Freeform 163">
              <a:extLst>
                <a:ext uri="{FF2B5EF4-FFF2-40B4-BE49-F238E27FC236}">
                  <a16:creationId xmlns:a16="http://schemas.microsoft.com/office/drawing/2014/main" id="{A2F522CB-D68D-4128-B20C-C3865794DA48}"/>
                </a:ext>
              </a:extLst>
            </p:cNvPr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4003676" y="3411538"/>
              <a:ext cx="119063" cy="215900"/>
            </a:xfrm>
            <a:custGeom>
              <a:avLst/>
              <a:gdLst>
                <a:gd name="T0" fmla="*/ 98129 w 273"/>
                <a:gd name="T1" fmla="*/ 73010 h 414"/>
                <a:gd name="T2" fmla="*/ 92895 w 273"/>
                <a:gd name="T3" fmla="*/ 69359 h 414"/>
                <a:gd name="T4" fmla="*/ 87662 w 273"/>
                <a:gd name="T5" fmla="*/ 63101 h 414"/>
                <a:gd name="T6" fmla="*/ 82864 w 273"/>
                <a:gd name="T7" fmla="*/ 54757 h 414"/>
                <a:gd name="T8" fmla="*/ 79811 w 273"/>
                <a:gd name="T9" fmla="*/ 50064 h 414"/>
                <a:gd name="T10" fmla="*/ 76759 w 273"/>
                <a:gd name="T11" fmla="*/ 48499 h 414"/>
                <a:gd name="T12" fmla="*/ 72833 w 273"/>
                <a:gd name="T13" fmla="*/ 49021 h 414"/>
                <a:gd name="T14" fmla="*/ 70217 w 273"/>
                <a:gd name="T15" fmla="*/ 52671 h 414"/>
                <a:gd name="T16" fmla="*/ 66728 w 273"/>
                <a:gd name="T17" fmla="*/ 44849 h 414"/>
                <a:gd name="T18" fmla="*/ 61930 w 273"/>
                <a:gd name="T19" fmla="*/ 28161 h 414"/>
                <a:gd name="T20" fmla="*/ 57569 w 273"/>
                <a:gd name="T21" fmla="*/ 18774 h 414"/>
                <a:gd name="T22" fmla="*/ 53644 w 273"/>
                <a:gd name="T23" fmla="*/ 13037 h 414"/>
                <a:gd name="T24" fmla="*/ 48410 w 273"/>
                <a:gd name="T25" fmla="*/ 7301 h 414"/>
                <a:gd name="T26" fmla="*/ 41868 w 273"/>
                <a:gd name="T27" fmla="*/ 2607 h 414"/>
                <a:gd name="T28" fmla="*/ 34890 w 273"/>
                <a:gd name="T29" fmla="*/ 3650 h 414"/>
                <a:gd name="T30" fmla="*/ 30093 w 273"/>
                <a:gd name="T31" fmla="*/ 9908 h 414"/>
                <a:gd name="T32" fmla="*/ 27476 w 273"/>
                <a:gd name="T33" fmla="*/ 13037 h 414"/>
                <a:gd name="T34" fmla="*/ 24859 w 273"/>
                <a:gd name="T35" fmla="*/ 16688 h 414"/>
                <a:gd name="T36" fmla="*/ 24423 w 273"/>
                <a:gd name="T37" fmla="*/ 21903 h 414"/>
                <a:gd name="T38" fmla="*/ 25295 w 273"/>
                <a:gd name="T39" fmla="*/ 30768 h 414"/>
                <a:gd name="T40" fmla="*/ 22679 w 273"/>
                <a:gd name="T41" fmla="*/ 40677 h 414"/>
                <a:gd name="T42" fmla="*/ 14392 w 273"/>
                <a:gd name="T43" fmla="*/ 46935 h 414"/>
                <a:gd name="T44" fmla="*/ 7414 w 273"/>
                <a:gd name="T45" fmla="*/ 54236 h 414"/>
                <a:gd name="T46" fmla="*/ 1745 w 273"/>
                <a:gd name="T47" fmla="*/ 61537 h 414"/>
                <a:gd name="T48" fmla="*/ 17445 w 273"/>
                <a:gd name="T49" fmla="*/ 103257 h 414"/>
                <a:gd name="T50" fmla="*/ 31837 w 273"/>
                <a:gd name="T51" fmla="*/ 106907 h 414"/>
                <a:gd name="T52" fmla="*/ 36635 w 273"/>
                <a:gd name="T53" fmla="*/ 109514 h 414"/>
                <a:gd name="T54" fmla="*/ 40560 w 273"/>
                <a:gd name="T55" fmla="*/ 113686 h 414"/>
                <a:gd name="T56" fmla="*/ 43177 w 273"/>
                <a:gd name="T57" fmla="*/ 117858 h 414"/>
                <a:gd name="T58" fmla="*/ 44921 w 273"/>
                <a:gd name="T59" fmla="*/ 123595 h 414"/>
                <a:gd name="T60" fmla="*/ 46230 w 273"/>
                <a:gd name="T61" fmla="*/ 138197 h 414"/>
                <a:gd name="T62" fmla="*/ 44921 w 273"/>
                <a:gd name="T63" fmla="*/ 145498 h 414"/>
                <a:gd name="T64" fmla="*/ 41868 w 273"/>
                <a:gd name="T65" fmla="*/ 152799 h 414"/>
                <a:gd name="T66" fmla="*/ 38815 w 273"/>
                <a:gd name="T67" fmla="*/ 160100 h 414"/>
                <a:gd name="T68" fmla="*/ 37507 w 273"/>
                <a:gd name="T69" fmla="*/ 167401 h 414"/>
                <a:gd name="T70" fmla="*/ 39688 w 273"/>
                <a:gd name="T71" fmla="*/ 178874 h 414"/>
                <a:gd name="T72" fmla="*/ 46666 w 273"/>
                <a:gd name="T73" fmla="*/ 195040 h 414"/>
                <a:gd name="T74" fmla="*/ 51027 w 273"/>
                <a:gd name="T75" fmla="*/ 202863 h 414"/>
                <a:gd name="T76" fmla="*/ 56261 w 273"/>
                <a:gd name="T77" fmla="*/ 209121 h 414"/>
                <a:gd name="T78" fmla="*/ 61494 w 273"/>
                <a:gd name="T79" fmla="*/ 214336 h 414"/>
                <a:gd name="T80" fmla="*/ 66728 w 273"/>
                <a:gd name="T81" fmla="*/ 215900 h 414"/>
                <a:gd name="T82" fmla="*/ 93768 w 273"/>
                <a:gd name="T83" fmla="*/ 207556 h 414"/>
                <a:gd name="T84" fmla="*/ 111213 w 273"/>
                <a:gd name="T85" fmla="*/ 200777 h 414"/>
                <a:gd name="T86" fmla="*/ 116446 w 273"/>
                <a:gd name="T87" fmla="*/ 196605 h 414"/>
                <a:gd name="T88" fmla="*/ 119063 w 273"/>
                <a:gd name="T89" fmla="*/ 192954 h 414"/>
                <a:gd name="T90" fmla="*/ 117318 w 273"/>
                <a:gd name="T91" fmla="*/ 183567 h 414"/>
                <a:gd name="T92" fmla="*/ 114702 w 273"/>
                <a:gd name="T93" fmla="*/ 174702 h 414"/>
                <a:gd name="T94" fmla="*/ 105543 w 273"/>
                <a:gd name="T95" fmla="*/ 161143 h 414"/>
                <a:gd name="T96" fmla="*/ 96820 w 273"/>
                <a:gd name="T97" fmla="*/ 147062 h 414"/>
                <a:gd name="T98" fmla="*/ 93768 w 273"/>
                <a:gd name="T99" fmla="*/ 138718 h 414"/>
                <a:gd name="T100" fmla="*/ 92459 w 273"/>
                <a:gd name="T101" fmla="*/ 128810 h 414"/>
                <a:gd name="T102" fmla="*/ 93768 w 273"/>
                <a:gd name="T103" fmla="*/ 112122 h 414"/>
                <a:gd name="T104" fmla="*/ 96820 w 273"/>
                <a:gd name="T105" fmla="*/ 99085 h 414"/>
                <a:gd name="T106" fmla="*/ 100309 w 273"/>
                <a:gd name="T107" fmla="*/ 87090 h 414"/>
                <a:gd name="T108" fmla="*/ 101182 w 273"/>
                <a:gd name="T109" fmla="*/ 74053 h 41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100" name="Group 164">
              <a:extLst>
                <a:ext uri="{FF2B5EF4-FFF2-40B4-BE49-F238E27FC236}">
                  <a16:creationId xmlns:a16="http://schemas.microsoft.com/office/drawing/2014/main" id="{C71A2026-B9E2-4832-9CBB-3C94C446A915}"/>
                </a:ext>
              </a:extLst>
            </p:cNvPr>
            <p:cNvGrpSpPr>
              <a:grpSpLocks/>
            </p:cNvGrpSpPr>
            <p:nvPr>
              <p:custDataLst>
                <p:tags r:id="rId95"/>
              </p:custDataLst>
            </p:nvPr>
          </p:nvGrpSpPr>
          <p:grpSpPr bwMode="auto">
            <a:xfrm>
              <a:off x="3717925" y="3246439"/>
              <a:ext cx="323850" cy="401637"/>
              <a:chOff x="1486" y="2412"/>
              <a:chExt cx="244" cy="256"/>
            </a:xfrm>
          </p:grpSpPr>
          <p:sp>
            <p:nvSpPr>
              <p:cNvPr id="483" name="Freeform 165">
                <a:extLst>
                  <a:ext uri="{FF2B5EF4-FFF2-40B4-BE49-F238E27FC236}">
                    <a16:creationId xmlns:a16="http://schemas.microsoft.com/office/drawing/2014/main" id="{C117D566-7608-45BE-87C3-281E7C7F09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6 h 22"/>
                  <a:gd name="T4" fmla="*/ 2 w 54"/>
                  <a:gd name="T5" fmla="*/ 6 h 22"/>
                  <a:gd name="T6" fmla="*/ 3 w 54"/>
                  <a:gd name="T7" fmla="*/ 7 h 22"/>
                  <a:gd name="T8" fmla="*/ 5 w 54"/>
                  <a:gd name="T9" fmla="*/ 7 h 22"/>
                  <a:gd name="T10" fmla="*/ 7 w 54"/>
                  <a:gd name="T11" fmla="*/ 7 h 22"/>
                  <a:gd name="T12" fmla="*/ 8 w 54"/>
                  <a:gd name="T13" fmla="*/ 7 h 22"/>
                  <a:gd name="T14" fmla="*/ 9 w 54"/>
                  <a:gd name="T15" fmla="*/ 7 h 22"/>
                  <a:gd name="T16" fmla="*/ 10 w 54"/>
                  <a:gd name="T17" fmla="*/ 6 h 22"/>
                  <a:gd name="T18" fmla="*/ 11 w 54"/>
                  <a:gd name="T19" fmla="*/ 6 h 22"/>
                  <a:gd name="T20" fmla="*/ 12 w 54"/>
                  <a:gd name="T21" fmla="*/ 5 h 22"/>
                  <a:gd name="T22" fmla="*/ 14 w 54"/>
                  <a:gd name="T23" fmla="*/ 4 h 22"/>
                  <a:gd name="T24" fmla="*/ 16 w 54"/>
                  <a:gd name="T25" fmla="*/ 3 h 22"/>
                  <a:gd name="T26" fmla="*/ 18 w 54"/>
                  <a:gd name="T27" fmla="*/ 2 h 22"/>
                  <a:gd name="T28" fmla="*/ 12 w 54"/>
                  <a:gd name="T29" fmla="*/ 2 h 22"/>
                  <a:gd name="T30" fmla="*/ 7 w 54"/>
                  <a:gd name="T31" fmla="*/ 1 h 22"/>
                  <a:gd name="T32" fmla="*/ 2 w 54"/>
                  <a:gd name="T33" fmla="*/ 0 h 22"/>
                  <a:gd name="T34" fmla="*/ 0 w 54"/>
                  <a:gd name="T35" fmla="*/ 0 h 2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84" name="Freeform 166">
                <a:extLst>
                  <a:ext uri="{FF2B5EF4-FFF2-40B4-BE49-F238E27FC236}">
                    <a16:creationId xmlns:a16="http://schemas.microsoft.com/office/drawing/2014/main" id="{FCFCB677-AB1C-41B8-96BB-5D8B4AD8CC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2 w 6"/>
                  <a:gd name="T1" fmla="*/ 8 h 24"/>
                  <a:gd name="T2" fmla="*/ 2 w 6"/>
                  <a:gd name="T3" fmla="*/ 0 h 24"/>
                  <a:gd name="T4" fmla="*/ 1 w 6"/>
                  <a:gd name="T5" fmla="*/ 0 h 24"/>
                  <a:gd name="T6" fmla="*/ 0 w 6"/>
                  <a:gd name="T7" fmla="*/ 1 h 24"/>
                  <a:gd name="T8" fmla="*/ 0 w 6"/>
                  <a:gd name="T9" fmla="*/ 2 h 24"/>
                  <a:gd name="T10" fmla="*/ 0 w 6"/>
                  <a:gd name="T11" fmla="*/ 4 h 24"/>
                  <a:gd name="T12" fmla="*/ 0 w 6"/>
                  <a:gd name="T13" fmla="*/ 5 h 24"/>
                  <a:gd name="T14" fmla="*/ 0 w 6"/>
                  <a:gd name="T15" fmla="*/ 7 h 24"/>
                  <a:gd name="T16" fmla="*/ 1 w 6"/>
                  <a:gd name="T17" fmla="*/ 8 h 24"/>
                  <a:gd name="T18" fmla="*/ 2 w 6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85" name="Freeform 167">
                <a:extLst>
                  <a:ext uri="{FF2B5EF4-FFF2-40B4-BE49-F238E27FC236}">
                    <a16:creationId xmlns:a16="http://schemas.microsoft.com/office/drawing/2014/main" id="{6C5463BB-7357-4E1B-8321-9C2DCAB9E0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4 h 12"/>
                  <a:gd name="T2" fmla="*/ 8 w 27"/>
                  <a:gd name="T3" fmla="*/ 4 h 12"/>
                  <a:gd name="T4" fmla="*/ 4 w 27"/>
                  <a:gd name="T5" fmla="*/ 0 h 12"/>
                  <a:gd name="T6" fmla="*/ 0 w 27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86" name="Freeform 168">
                <a:extLst>
                  <a:ext uri="{FF2B5EF4-FFF2-40B4-BE49-F238E27FC236}">
                    <a16:creationId xmlns:a16="http://schemas.microsoft.com/office/drawing/2014/main" id="{E38692FA-A911-4017-BFE9-C5D9FB638F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3 w 743"/>
                  <a:gd name="T1" fmla="*/ 69 h 672"/>
                  <a:gd name="T2" fmla="*/ 16 w 743"/>
                  <a:gd name="T3" fmla="*/ 89 h 672"/>
                  <a:gd name="T4" fmla="*/ 40 w 743"/>
                  <a:gd name="T5" fmla="*/ 98 h 672"/>
                  <a:gd name="T6" fmla="*/ 55 w 743"/>
                  <a:gd name="T7" fmla="*/ 105 h 672"/>
                  <a:gd name="T8" fmla="*/ 65 w 743"/>
                  <a:gd name="T9" fmla="*/ 115 h 672"/>
                  <a:gd name="T10" fmla="*/ 97 w 743"/>
                  <a:gd name="T11" fmla="*/ 126 h 672"/>
                  <a:gd name="T12" fmla="*/ 94 w 743"/>
                  <a:gd name="T13" fmla="*/ 140 h 672"/>
                  <a:gd name="T14" fmla="*/ 102 w 743"/>
                  <a:gd name="T15" fmla="*/ 171 h 672"/>
                  <a:gd name="T16" fmla="*/ 100 w 743"/>
                  <a:gd name="T17" fmla="*/ 178 h 672"/>
                  <a:gd name="T18" fmla="*/ 99 w 743"/>
                  <a:gd name="T19" fmla="*/ 189 h 672"/>
                  <a:gd name="T20" fmla="*/ 108 w 743"/>
                  <a:gd name="T21" fmla="*/ 206 h 672"/>
                  <a:gd name="T22" fmla="*/ 122 w 743"/>
                  <a:gd name="T23" fmla="*/ 220 h 672"/>
                  <a:gd name="T24" fmla="*/ 136 w 743"/>
                  <a:gd name="T25" fmla="*/ 224 h 672"/>
                  <a:gd name="T26" fmla="*/ 153 w 743"/>
                  <a:gd name="T27" fmla="*/ 218 h 672"/>
                  <a:gd name="T28" fmla="*/ 166 w 743"/>
                  <a:gd name="T29" fmla="*/ 206 h 672"/>
                  <a:gd name="T30" fmla="*/ 172 w 743"/>
                  <a:gd name="T31" fmla="*/ 195 h 672"/>
                  <a:gd name="T32" fmla="*/ 157 w 743"/>
                  <a:gd name="T33" fmla="*/ 156 h 672"/>
                  <a:gd name="T34" fmla="*/ 189 w 743"/>
                  <a:gd name="T35" fmla="*/ 167 h 672"/>
                  <a:gd name="T36" fmla="*/ 197 w 743"/>
                  <a:gd name="T37" fmla="*/ 159 h 672"/>
                  <a:gd name="T38" fmla="*/ 214 w 743"/>
                  <a:gd name="T39" fmla="*/ 148 h 672"/>
                  <a:gd name="T40" fmla="*/ 220 w 743"/>
                  <a:gd name="T41" fmla="*/ 147 h 672"/>
                  <a:gd name="T42" fmla="*/ 225 w 743"/>
                  <a:gd name="T43" fmla="*/ 145 h 672"/>
                  <a:gd name="T44" fmla="*/ 219 w 743"/>
                  <a:gd name="T45" fmla="*/ 109 h 672"/>
                  <a:gd name="T46" fmla="*/ 233 w 743"/>
                  <a:gd name="T47" fmla="*/ 98 h 672"/>
                  <a:gd name="T48" fmla="*/ 234 w 743"/>
                  <a:gd name="T49" fmla="*/ 84 h 672"/>
                  <a:gd name="T50" fmla="*/ 238 w 743"/>
                  <a:gd name="T51" fmla="*/ 78 h 672"/>
                  <a:gd name="T52" fmla="*/ 239 w 743"/>
                  <a:gd name="T53" fmla="*/ 71 h 672"/>
                  <a:gd name="T54" fmla="*/ 230 w 743"/>
                  <a:gd name="T55" fmla="*/ 65 h 672"/>
                  <a:gd name="T56" fmla="*/ 225 w 743"/>
                  <a:gd name="T57" fmla="*/ 56 h 672"/>
                  <a:gd name="T58" fmla="*/ 220 w 743"/>
                  <a:gd name="T59" fmla="*/ 48 h 672"/>
                  <a:gd name="T60" fmla="*/ 210 w 743"/>
                  <a:gd name="T61" fmla="*/ 51 h 672"/>
                  <a:gd name="T62" fmla="*/ 207 w 743"/>
                  <a:gd name="T63" fmla="*/ 45 h 672"/>
                  <a:gd name="T64" fmla="*/ 198 w 743"/>
                  <a:gd name="T65" fmla="*/ 38 h 672"/>
                  <a:gd name="T66" fmla="*/ 192 w 743"/>
                  <a:gd name="T67" fmla="*/ 32 h 672"/>
                  <a:gd name="T68" fmla="*/ 176 w 743"/>
                  <a:gd name="T69" fmla="*/ 25 h 672"/>
                  <a:gd name="T70" fmla="*/ 161 w 743"/>
                  <a:gd name="T71" fmla="*/ 29 h 672"/>
                  <a:gd name="T72" fmla="*/ 155 w 743"/>
                  <a:gd name="T73" fmla="*/ 34 h 672"/>
                  <a:gd name="T74" fmla="*/ 143 w 743"/>
                  <a:gd name="T75" fmla="*/ 39 h 672"/>
                  <a:gd name="T76" fmla="*/ 137 w 743"/>
                  <a:gd name="T77" fmla="*/ 35 h 672"/>
                  <a:gd name="T78" fmla="*/ 129 w 743"/>
                  <a:gd name="T79" fmla="*/ 34 h 672"/>
                  <a:gd name="T80" fmla="*/ 118 w 743"/>
                  <a:gd name="T81" fmla="*/ 28 h 672"/>
                  <a:gd name="T82" fmla="*/ 104 w 743"/>
                  <a:gd name="T83" fmla="*/ 28 h 672"/>
                  <a:gd name="T84" fmla="*/ 96 w 743"/>
                  <a:gd name="T85" fmla="*/ 31 h 672"/>
                  <a:gd name="T86" fmla="*/ 83 w 743"/>
                  <a:gd name="T87" fmla="*/ 31 h 672"/>
                  <a:gd name="T88" fmla="*/ 77 w 743"/>
                  <a:gd name="T89" fmla="*/ 17 h 672"/>
                  <a:gd name="T90" fmla="*/ 59 w 743"/>
                  <a:gd name="T91" fmla="*/ 7 h 672"/>
                  <a:gd name="T92" fmla="*/ 49 w 743"/>
                  <a:gd name="T93" fmla="*/ 3 h 672"/>
                  <a:gd name="T94" fmla="*/ 45 w 743"/>
                  <a:gd name="T95" fmla="*/ 15 h 672"/>
                  <a:gd name="T96" fmla="*/ 39 w 743"/>
                  <a:gd name="T97" fmla="*/ 23 h 672"/>
                  <a:gd name="T98" fmla="*/ 39 w 743"/>
                  <a:gd name="T99" fmla="*/ 46 h 672"/>
                  <a:gd name="T100" fmla="*/ 34 w 743"/>
                  <a:gd name="T101" fmla="*/ 65 h 672"/>
                  <a:gd name="T102" fmla="*/ 29 w 743"/>
                  <a:gd name="T103" fmla="*/ 63 h 672"/>
                  <a:gd name="T104" fmla="*/ 23 w 743"/>
                  <a:gd name="T105" fmla="*/ 61 h 672"/>
                  <a:gd name="T106" fmla="*/ 19 w 743"/>
                  <a:gd name="T107" fmla="*/ 56 h 672"/>
                  <a:gd name="T108" fmla="*/ 17 w 743"/>
                  <a:gd name="T109" fmla="*/ 40 h 672"/>
                  <a:gd name="T110" fmla="*/ 24 w 743"/>
                  <a:gd name="T111" fmla="*/ 20 h 672"/>
                  <a:gd name="T112" fmla="*/ 32 w 743"/>
                  <a:gd name="T113" fmla="*/ 5 h 672"/>
                  <a:gd name="T114" fmla="*/ 17 w 743"/>
                  <a:gd name="T115" fmla="*/ 10 h 672"/>
                  <a:gd name="T116" fmla="*/ 5 w 743"/>
                  <a:gd name="T117" fmla="*/ 23 h 672"/>
                  <a:gd name="T118" fmla="*/ 0 w 743"/>
                  <a:gd name="T119" fmla="*/ 40 h 67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01" name="Freeform 169">
              <a:extLst>
                <a:ext uri="{FF2B5EF4-FFF2-40B4-BE49-F238E27FC236}">
                  <a16:creationId xmlns:a16="http://schemas.microsoft.com/office/drawing/2014/main" id="{08B691B1-7253-41A1-8344-1FECE124154E}"/>
                </a:ext>
              </a:extLst>
            </p:cNvPr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8739188" y="4786313"/>
              <a:ext cx="31750" cy="11112"/>
            </a:xfrm>
            <a:custGeom>
              <a:avLst/>
              <a:gdLst>
                <a:gd name="T0" fmla="*/ 0 w 79"/>
                <a:gd name="T1" fmla="*/ 11112 h 23"/>
                <a:gd name="T2" fmla="*/ 8842 w 79"/>
                <a:gd name="T3" fmla="*/ 6281 h 23"/>
                <a:gd name="T4" fmla="*/ 18085 w 79"/>
                <a:gd name="T5" fmla="*/ 1933 h 23"/>
                <a:gd name="T6" fmla="*/ 22506 w 79"/>
                <a:gd name="T7" fmla="*/ 483 h 23"/>
                <a:gd name="T8" fmla="*/ 26123 w 79"/>
                <a:gd name="T9" fmla="*/ 0 h 23"/>
                <a:gd name="T10" fmla="*/ 27731 w 79"/>
                <a:gd name="T11" fmla="*/ 0 h 23"/>
                <a:gd name="T12" fmla="*/ 29741 w 79"/>
                <a:gd name="T13" fmla="*/ 483 h 23"/>
                <a:gd name="T14" fmla="*/ 30946 w 79"/>
                <a:gd name="T15" fmla="*/ 966 h 23"/>
                <a:gd name="T16" fmla="*/ 31750 w 79"/>
                <a:gd name="T17" fmla="*/ 1933 h 23"/>
                <a:gd name="T18" fmla="*/ 30946 w 79"/>
                <a:gd name="T19" fmla="*/ 3865 h 23"/>
                <a:gd name="T20" fmla="*/ 30142 w 79"/>
                <a:gd name="T21" fmla="*/ 6281 h 23"/>
                <a:gd name="T22" fmla="*/ 28937 w 79"/>
                <a:gd name="T23" fmla="*/ 7730 h 23"/>
                <a:gd name="T24" fmla="*/ 27329 w 79"/>
                <a:gd name="T25" fmla="*/ 9179 h 23"/>
                <a:gd name="T26" fmla="*/ 25722 w 79"/>
                <a:gd name="T27" fmla="*/ 10146 h 23"/>
                <a:gd name="T28" fmla="*/ 23712 w 79"/>
                <a:gd name="T29" fmla="*/ 10629 h 23"/>
                <a:gd name="T30" fmla="*/ 21301 w 79"/>
                <a:gd name="T31" fmla="*/ 11112 h 23"/>
                <a:gd name="T32" fmla="*/ 18487 w 79"/>
                <a:gd name="T33" fmla="*/ 11112 h 23"/>
                <a:gd name="T34" fmla="*/ 14870 w 79"/>
                <a:gd name="T35" fmla="*/ 11112 h 23"/>
                <a:gd name="T36" fmla="*/ 12861 w 79"/>
                <a:gd name="T37" fmla="*/ 10146 h 23"/>
                <a:gd name="T38" fmla="*/ 10449 w 79"/>
                <a:gd name="T39" fmla="*/ 9663 h 23"/>
                <a:gd name="T40" fmla="*/ 9244 w 79"/>
                <a:gd name="T41" fmla="*/ 9179 h 23"/>
                <a:gd name="T42" fmla="*/ 7636 w 79"/>
                <a:gd name="T43" fmla="*/ 8696 h 23"/>
                <a:gd name="T44" fmla="*/ 5627 w 79"/>
                <a:gd name="T45" fmla="*/ 8696 h 23"/>
                <a:gd name="T46" fmla="*/ 3617 w 79"/>
                <a:gd name="T47" fmla="*/ 9663 h 23"/>
                <a:gd name="T48" fmla="*/ 0 w 79"/>
                <a:gd name="T49" fmla="*/ 11112 h 2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" name="Freeform 170">
              <a:extLst>
                <a:ext uri="{FF2B5EF4-FFF2-40B4-BE49-F238E27FC236}">
                  <a16:creationId xmlns:a16="http://schemas.microsoft.com/office/drawing/2014/main" id="{B6B9CAC4-FA8D-4A60-93C0-0B6471EC29A4}"/>
                </a:ext>
              </a:extLst>
            </p:cNvPr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8855075" y="4919663"/>
              <a:ext cx="1588" cy="4762"/>
            </a:xfrm>
            <a:custGeom>
              <a:avLst/>
              <a:gdLst>
                <a:gd name="T0" fmla="*/ 0 w 1588"/>
                <a:gd name="T1" fmla="*/ 0 h 6"/>
                <a:gd name="T2" fmla="*/ 0 w 1588"/>
                <a:gd name="T3" fmla="*/ 4762 h 6"/>
                <a:gd name="T4" fmla="*/ 0 w 1588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" name="Line 171">
              <a:extLst>
                <a:ext uri="{FF2B5EF4-FFF2-40B4-BE49-F238E27FC236}">
                  <a16:creationId xmlns:a16="http://schemas.microsoft.com/office/drawing/2014/main" id="{B15878B4-8C9D-4E28-9314-F5A395850C94}"/>
                </a:ext>
              </a:extLst>
            </p:cNvPr>
            <p:cNvSpPr>
              <a:spLocks noChangeShapeType="1"/>
            </p:cNvSpPr>
            <p:nvPr>
              <p:custDataLst>
                <p:tags r:id="rId98"/>
              </p:custDataLst>
            </p:nvPr>
          </p:nvSpPr>
          <p:spPr bwMode="auto">
            <a:xfrm flipV="1">
              <a:off x="8945564" y="4918075"/>
              <a:ext cx="1587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4" name="Freeform 172">
              <a:extLst>
                <a:ext uri="{FF2B5EF4-FFF2-40B4-BE49-F238E27FC236}">
                  <a16:creationId xmlns:a16="http://schemas.microsoft.com/office/drawing/2014/main" id="{F29D43DC-3DAC-4FFD-B916-BBCAE3333453}"/>
                </a:ext>
              </a:extLst>
            </p:cNvPr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8945564" y="4918076"/>
              <a:ext cx="3175" cy="15875"/>
            </a:xfrm>
            <a:custGeom>
              <a:avLst/>
              <a:gdLst>
                <a:gd name="T0" fmla="*/ 0 w 5"/>
                <a:gd name="T1" fmla="*/ 0 h 30"/>
                <a:gd name="T2" fmla="*/ 1270 w 5"/>
                <a:gd name="T3" fmla="*/ 529 h 30"/>
                <a:gd name="T4" fmla="*/ 2540 w 5"/>
                <a:gd name="T5" fmla="*/ 2117 h 30"/>
                <a:gd name="T6" fmla="*/ 3175 w 5"/>
                <a:gd name="T7" fmla="*/ 4233 h 30"/>
                <a:gd name="T8" fmla="*/ 3175 w 5"/>
                <a:gd name="T9" fmla="*/ 6879 h 30"/>
                <a:gd name="T10" fmla="*/ 3175 w 5"/>
                <a:gd name="T11" fmla="*/ 9525 h 30"/>
                <a:gd name="T12" fmla="*/ 2540 w 5"/>
                <a:gd name="T13" fmla="*/ 12171 h 30"/>
                <a:gd name="T14" fmla="*/ 1270 w 5"/>
                <a:gd name="T15" fmla="*/ 14287 h 30"/>
                <a:gd name="T16" fmla="*/ 0 w 5"/>
                <a:gd name="T17" fmla="*/ 15875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5" name="Freeform 173">
              <a:extLst>
                <a:ext uri="{FF2B5EF4-FFF2-40B4-BE49-F238E27FC236}">
                  <a16:creationId xmlns:a16="http://schemas.microsoft.com/office/drawing/2014/main" id="{B08E4598-0F09-4A24-974A-8D5FA4E7B526}"/>
                </a:ext>
              </a:extLst>
            </p:cNvPr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9244014" y="4387851"/>
              <a:ext cx="22225" cy="28575"/>
            </a:xfrm>
            <a:custGeom>
              <a:avLst/>
              <a:gdLst>
                <a:gd name="T0" fmla="*/ 0 w 53"/>
                <a:gd name="T1" fmla="*/ 6235 h 55"/>
                <a:gd name="T2" fmla="*/ 419 w 53"/>
                <a:gd name="T3" fmla="*/ 8832 h 55"/>
                <a:gd name="T4" fmla="*/ 2097 w 53"/>
                <a:gd name="T5" fmla="*/ 11430 h 55"/>
                <a:gd name="T6" fmla="*/ 3774 w 53"/>
                <a:gd name="T7" fmla="*/ 14028 h 55"/>
                <a:gd name="T8" fmla="*/ 6290 w 53"/>
                <a:gd name="T9" fmla="*/ 17145 h 55"/>
                <a:gd name="T10" fmla="*/ 10903 w 53"/>
                <a:gd name="T11" fmla="*/ 22860 h 55"/>
                <a:gd name="T12" fmla="*/ 13838 w 53"/>
                <a:gd name="T13" fmla="*/ 28575 h 55"/>
                <a:gd name="T14" fmla="*/ 22225 w 53"/>
                <a:gd name="T15" fmla="*/ 28575 h 55"/>
                <a:gd name="T16" fmla="*/ 16774 w 53"/>
                <a:gd name="T17" fmla="*/ 21301 h 55"/>
                <a:gd name="T18" fmla="*/ 11742 w 53"/>
                <a:gd name="T19" fmla="*/ 15067 h 55"/>
                <a:gd name="T20" fmla="*/ 9645 w 53"/>
                <a:gd name="T21" fmla="*/ 11950 h 55"/>
                <a:gd name="T22" fmla="*/ 7967 w 53"/>
                <a:gd name="T23" fmla="*/ 8313 h 55"/>
                <a:gd name="T24" fmla="*/ 6709 w 53"/>
                <a:gd name="T25" fmla="*/ 4156 h 55"/>
                <a:gd name="T26" fmla="*/ 5871 w 53"/>
                <a:gd name="T27" fmla="*/ 0 h 55"/>
                <a:gd name="T28" fmla="*/ 2935 w 53"/>
                <a:gd name="T29" fmla="*/ 3117 h 55"/>
                <a:gd name="T30" fmla="*/ 0 w 53"/>
                <a:gd name="T31" fmla="*/ 6235 h 5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6" name="Freeform 174">
              <a:extLst>
                <a:ext uri="{FF2B5EF4-FFF2-40B4-BE49-F238E27FC236}">
                  <a16:creationId xmlns:a16="http://schemas.microsoft.com/office/drawing/2014/main" id="{43DA5540-0568-4DBB-A90C-BDFCAD810951}"/>
                </a:ext>
              </a:extLst>
            </p:cNvPr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9250364" y="4314825"/>
              <a:ext cx="26987" cy="39688"/>
            </a:xfrm>
            <a:custGeom>
              <a:avLst/>
              <a:gdLst>
                <a:gd name="T0" fmla="*/ 0 w 65"/>
                <a:gd name="T1" fmla="*/ 16934 h 75"/>
                <a:gd name="T2" fmla="*/ 3737 w 65"/>
                <a:gd name="T3" fmla="*/ 22754 h 75"/>
                <a:gd name="T4" fmla="*/ 8304 w 65"/>
                <a:gd name="T5" fmla="*/ 29105 h 75"/>
                <a:gd name="T6" fmla="*/ 10795 w 65"/>
                <a:gd name="T7" fmla="*/ 32280 h 75"/>
                <a:gd name="T8" fmla="*/ 13286 w 65"/>
                <a:gd name="T9" fmla="*/ 35455 h 75"/>
                <a:gd name="T10" fmla="*/ 16192 w 65"/>
                <a:gd name="T11" fmla="*/ 37571 h 75"/>
                <a:gd name="T12" fmla="*/ 19098 w 65"/>
                <a:gd name="T13" fmla="*/ 39688 h 75"/>
                <a:gd name="T14" fmla="*/ 21174 w 65"/>
                <a:gd name="T15" fmla="*/ 32280 h 75"/>
                <a:gd name="T16" fmla="*/ 24081 w 65"/>
                <a:gd name="T17" fmla="*/ 25400 h 75"/>
                <a:gd name="T18" fmla="*/ 25326 w 65"/>
                <a:gd name="T19" fmla="*/ 22225 h 75"/>
                <a:gd name="T20" fmla="*/ 26157 w 65"/>
                <a:gd name="T21" fmla="*/ 19050 h 75"/>
                <a:gd name="T22" fmla="*/ 26987 w 65"/>
                <a:gd name="T23" fmla="*/ 16404 h 75"/>
                <a:gd name="T24" fmla="*/ 26987 w 65"/>
                <a:gd name="T25" fmla="*/ 13759 h 75"/>
                <a:gd name="T26" fmla="*/ 26987 w 65"/>
                <a:gd name="T27" fmla="*/ 11113 h 75"/>
                <a:gd name="T28" fmla="*/ 26157 w 65"/>
                <a:gd name="T29" fmla="*/ 9525 h 75"/>
                <a:gd name="T30" fmla="*/ 25326 w 65"/>
                <a:gd name="T31" fmla="*/ 6879 h 75"/>
                <a:gd name="T32" fmla="*/ 24081 w 65"/>
                <a:gd name="T33" fmla="*/ 5292 h 75"/>
                <a:gd name="T34" fmla="*/ 21174 w 65"/>
                <a:gd name="T35" fmla="*/ 2646 h 75"/>
                <a:gd name="T36" fmla="*/ 19098 w 65"/>
                <a:gd name="T37" fmla="*/ 0 h 75"/>
                <a:gd name="T38" fmla="*/ 14116 w 65"/>
                <a:gd name="T39" fmla="*/ 0 h 75"/>
                <a:gd name="T40" fmla="*/ 10795 w 65"/>
                <a:gd name="T41" fmla="*/ 0 h 75"/>
                <a:gd name="T42" fmla="*/ 10380 w 65"/>
                <a:gd name="T43" fmla="*/ 1058 h 75"/>
                <a:gd name="T44" fmla="*/ 9964 w 65"/>
                <a:gd name="T45" fmla="*/ 3704 h 75"/>
                <a:gd name="T46" fmla="*/ 9549 w 65"/>
                <a:gd name="T47" fmla="*/ 4763 h 75"/>
                <a:gd name="T48" fmla="*/ 9549 w 65"/>
                <a:gd name="T49" fmla="*/ 5821 h 75"/>
                <a:gd name="T50" fmla="*/ 9964 w 65"/>
                <a:gd name="T51" fmla="*/ 6350 h 75"/>
                <a:gd name="T52" fmla="*/ 10795 w 65"/>
                <a:gd name="T53" fmla="*/ 6879 h 7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7" name="Freeform 175">
              <a:extLst>
                <a:ext uri="{FF2B5EF4-FFF2-40B4-BE49-F238E27FC236}">
                  <a16:creationId xmlns:a16="http://schemas.microsoft.com/office/drawing/2014/main" id="{3C0FE65B-91A8-4F0D-8987-E4F48170418B}"/>
                </a:ext>
              </a:extLst>
            </p:cNvPr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9226551" y="4291013"/>
              <a:ext cx="17463" cy="30162"/>
            </a:xfrm>
            <a:custGeom>
              <a:avLst/>
              <a:gdLst>
                <a:gd name="T0" fmla="*/ 0 w 40"/>
                <a:gd name="T1" fmla="*/ 30162 h 62"/>
                <a:gd name="T2" fmla="*/ 1310 w 40"/>
                <a:gd name="T3" fmla="*/ 25297 h 62"/>
                <a:gd name="T4" fmla="*/ 3056 w 40"/>
                <a:gd name="T5" fmla="*/ 20919 h 62"/>
                <a:gd name="T6" fmla="*/ 5239 w 40"/>
                <a:gd name="T7" fmla="*/ 16054 h 62"/>
                <a:gd name="T8" fmla="*/ 7422 w 40"/>
                <a:gd name="T9" fmla="*/ 12162 h 62"/>
                <a:gd name="T10" fmla="*/ 10041 w 40"/>
                <a:gd name="T11" fmla="*/ 8270 h 62"/>
                <a:gd name="T12" fmla="*/ 12661 w 40"/>
                <a:gd name="T13" fmla="*/ 4378 h 62"/>
                <a:gd name="T14" fmla="*/ 15280 w 40"/>
                <a:gd name="T15" fmla="*/ 1459 h 62"/>
                <a:gd name="T16" fmla="*/ 17463 w 40"/>
                <a:gd name="T17" fmla="*/ 0 h 6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8" name="Freeform 176">
              <a:extLst>
                <a:ext uri="{FF2B5EF4-FFF2-40B4-BE49-F238E27FC236}">
                  <a16:creationId xmlns:a16="http://schemas.microsoft.com/office/drawing/2014/main" id="{0039009B-7C2D-4436-89B7-6AA1BBC54735}"/>
                </a:ext>
              </a:extLst>
            </p:cNvPr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9145588" y="4168776"/>
              <a:ext cx="68262" cy="138113"/>
            </a:xfrm>
            <a:custGeom>
              <a:avLst/>
              <a:gdLst>
                <a:gd name="T0" fmla="*/ 68262 w 159"/>
                <a:gd name="T1" fmla="*/ 138113 h 259"/>
                <a:gd name="T2" fmla="*/ 68262 w 159"/>
                <a:gd name="T3" fmla="*/ 133847 h 259"/>
                <a:gd name="T4" fmla="*/ 68262 w 159"/>
                <a:gd name="T5" fmla="*/ 130114 h 259"/>
                <a:gd name="T6" fmla="*/ 68262 w 159"/>
                <a:gd name="T7" fmla="*/ 125848 h 259"/>
                <a:gd name="T8" fmla="*/ 68262 w 159"/>
                <a:gd name="T9" fmla="*/ 121582 h 259"/>
                <a:gd name="T10" fmla="*/ 68262 w 159"/>
                <a:gd name="T11" fmla="*/ 119449 h 259"/>
                <a:gd name="T12" fmla="*/ 67833 w 159"/>
                <a:gd name="T13" fmla="*/ 116783 h 259"/>
                <a:gd name="T14" fmla="*/ 66974 w 159"/>
                <a:gd name="T15" fmla="*/ 114650 h 259"/>
                <a:gd name="T16" fmla="*/ 65686 w 159"/>
                <a:gd name="T17" fmla="*/ 111984 h 259"/>
                <a:gd name="T18" fmla="*/ 62252 w 159"/>
                <a:gd name="T19" fmla="*/ 107717 h 259"/>
                <a:gd name="T20" fmla="*/ 57958 w 159"/>
                <a:gd name="T21" fmla="*/ 103985 h 259"/>
                <a:gd name="T22" fmla="*/ 53236 w 159"/>
                <a:gd name="T23" fmla="*/ 100785 h 259"/>
                <a:gd name="T24" fmla="*/ 48084 w 159"/>
                <a:gd name="T25" fmla="*/ 98119 h 259"/>
                <a:gd name="T26" fmla="*/ 42503 w 159"/>
                <a:gd name="T27" fmla="*/ 95986 h 259"/>
                <a:gd name="T28" fmla="*/ 37351 w 159"/>
                <a:gd name="T29" fmla="*/ 95453 h 259"/>
                <a:gd name="T30" fmla="*/ 36492 w 159"/>
                <a:gd name="T31" fmla="*/ 94919 h 259"/>
                <a:gd name="T32" fmla="*/ 35204 w 159"/>
                <a:gd name="T33" fmla="*/ 94386 h 259"/>
                <a:gd name="T34" fmla="*/ 34775 w 159"/>
                <a:gd name="T35" fmla="*/ 93320 h 259"/>
                <a:gd name="T36" fmla="*/ 34346 w 159"/>
                <a:gd name="T37" fmla="*/ 92253 h 259"/>
                <a:gd name="T38" fmla="*/ 34346 w 159"/>
                <a:gd name="T39" fmla="*/ 89054 h 259"/>
                <a:gd name="T40" fmla="*/ 34775 w 159"/>
                <a:gd name="T41" fmla="*/ 85854 h 259"/>
                <a:gd name="T42" fmla="*/ 36492 w 159"/>
                <a:gd name="T43" fmla="*/ 78922 h 259"/>
                <a:gd name="T44" fmla="*/ 37351 w 159"/>
                <a:gd name="T45" fmla="*/ 75722 h 259"/>
                <a:gd name="T46" fmla="*/ 31340 w 159"/>
                <a:gd name="T47" fmla="*/ 75189 h 259"/>
                <a:gd name="T48" fmla="*/ 25330 w 159"/>
                <a:gd name="T49" fmla="*/ 74122 h 259"/>
                <a:gd name="T50" fmla="*/ 20607 w 159"/>
                <a:gd name="T51" fmla="*/ 71989 h 259"/>
                <a:gd name="T52" fmla="*/ 17173 w 159"/>
                <a:gd name="T53" fmla="*/ 68790 h 259"/>
                <a:gd name="T54" fmla="*/ 13309 w 159"/>
                <a:gd name="T55" fmla="*/ 64524 h 259"/>
                <a:gd name="T56" fmla="*/ 10304 w 159"/>
                <a:gd name="T57" fmla="*/ 60258 h 259"/>
                <a:gd name="T58" fmla="*/ 7728 w 159"/>
                <a:gd name="T59" fmla="*/ 55459 h 259"/>
                <a:gd name="T60" fmla="*/ 5581 w 159"/>
                <a:gd name="T61" fmla="*/ 50126 h 259"/>
                <a:gd name="T62" fmla="*/ 3864 w 159"/>
                <a:gd name="T63" fmla="*/ 44793 h 259"/>
                <a:gd name="T64" fmla="*/ 3005 w 159"/>
                <a:gd name="T65" fmla="*/ 38928 h 259"/>
                <a:gd name="T66" fmla="*/ 2147 w 159"/>
                <a:gd name="T67" fmla="*/ 31995 h 259"/>
                <a:gd name="T68" fmla="*/ 859 w 159"/>
                <a:gd name="T69" fmla="*/ 25596 h 259"/>
                <a:gd name="T70" fmla="*/ 0 w 159"/>
                <a:gd name="T71" fmla="*/ 13331 h 259"/>
                <a:gd name="T72" fmla="*/ 0 w 159"/>
                <a:gd name="T73" fmla="*/ 0 h 25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9" name="Line 177">
              <a:extLst>
                <a:ext uri="{FF2B5EF4-FFF2-40B4-BE49-F238E27FC236}">
                  <a16:creationId xmlns:a16="http://schemas.microsoft.com/office/drawing/2014/main" id="{25D6D4A7-F7B2-4021-8A73-BEC12F75F4B3}"/>
                </a:ext>
              </a:extLst>
            </p:cNvPr>
            <p:cNvSpPr>
              <a:spLocks noChangeShapeType="1"/>
            </p:cNvSpPr>
            <p:nvPr>
              <p:custDataLst>
                <p:tags r:id="rId104"/>
              </p:custDataLst>
            </p:nvPr>
          </p:nvSpPr>
          <p:spPr bwMode="auto">
            <a:xfrm flipH="1" flipV="1">
              <a:off x="9139238" y="4135439"/>
              <a:ext cx="6350" cy="33337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0" name="Freeform 178">
              <a:extLst>
                <a:ext uri="{FF2B5EF4-FFF2-40B4-BE49-F238E27FC236}">
                  <a16:creationId xmlns:a16="http://schemas.microsoft.com/office/drawing/2014/main" id="{F4F42DC0-4255-4E29-BA02-C4C637847B9A}"/>
                </a:ext>
              </a:extLst>
            </p:cNvPr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9139238" y="4119564"/>
              <a:ext cx="6350" cy="15875"/>
            </a:xfrm>
            <a:custGeom>
              <a:avLst/>
              <a:gdLst>
                <a:gd name="T0" fmla="*/ 0 w 13"/>
                <a:gd name="T1" fmla="*/ 15875 h 25"/>
                <a:gd name="T2" fmla="*/ 488 w 13"/>
                <a:gd name="T3" fmla="*/ 12065 h 25"/>
                <a:gd name="T4" fmla="*/ 1954 w 13"/>
                <a:gd name="T5" fmla="*/ 8255 h 25"/>
                <a:gd name="T6" fmla="*/ 3908 w 13"/>
                <a:gd name="T7" fmla="*/ 3810 h 25"/>
                <a:gd name="T8" fmla="*/ 6350 w 13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1" name="Line 179">
              <a:extLst>
                <a:ext uri="{FF2B5EF4-FFF2-40B4-BE49-F238E27FC236}">
                  <a16:creationId xmlns:a16="http://schemas.microsoft.com/office/drawing/2014/main" id="{27D8E4F2-22D4-4CB1-9294-37A083C01212}"/>
                </a:ext>
              </a:extLst>
            </p:cNvPr>
            <p:cNvSpPr>
              <a:spLocks noChangeShapeType="1"/>
            </p:cNvSpPr>
            <p:nvPr>
              <p:custDataLst>
                <p:tags r:id="rId106"/>
              </p:custDataLst>
            </p:nvPr>
          </p:nvSpPr>
          <p:spPr bwMode="auto">
            <a:xfrm flipV="1">
              <a:off x="9145588" y="4106863"/>
              <a:ext cx="0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2" name="Freeform 180">
              <a:extLst>
                <a:ext uri="{FF2B5EF4-FFF2-40B4-BE49-F238E27FC236}">
                  <a16:creationId xmlns:a16="http://schemas.microsoft.com/office/drawing/2014/main" id="{51FBC14A-EA42-4F44-9ADD-550CB0FEC8E5}"/>
                </a:ext>
              </a:extLst>
            </p:cNvPr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9099550" y="4040189"/>
              <a:ext cx="46038" cy="66675"/>
            </a:xfrm>
            <a:custGeom>
              <a:avLst/>
              <a:gdLst>
                <a:gd name="T0" fmla="*/ 46038 w 100"/>
                <a:gd name="T1" fmla="*/ 66675 h 123"/>
                <a:gd name="T2" fmla="*/ 41434 w 100"/>
                <a:gd name="T3" fmla="*/ 66133 h 123"/>
                <a:gd name="T4" fmla="*/ 34989 w 100"/>
                <a:gd name="T5" fmla="*/ 64507 h 123"/>
                <a:gd name="T6" fmla="*/ 27623 w 100"/>
                <a:gd name="T7" fmla="*/ 61796 h 123"/>
                <a:gd name="T8" fmla="*/ 19796 w 100"/>
                <a:gd name="T9" fmla="*/ 58002 h 123"/>
                <a:gd name="T10" fmla="*/ 15653 w 100"/>
                <a:gd name="T11" fmla="*/ 55834 h 123"/>
                <a:gd name="T12" fmla="*/ 12430 w 100"/>
                <a:gd name="T13" fmla="*/ 53665 h 123"/>
                <a:gd name="T14" fmla="*/ 9208 w 100"/>
                <a:gd name="T15" fmla="*/ 50955 h 123"/>
                <a:gd name="T16" fmla="*/ 5985 w 100"/>
                <a:gd name="T17" fmla="*/ 48245 h 123"/>
                <a:gd name="T18" fmla="*/ 3683 w 100"/>
                <a:gd name="T19" fmla="*/ 45534 h 123"/>
                <a:gd name="T20" fmla="*/ 1842 w 100"/>
                <a:gd name="T21" fmla="*/ 42824 h 123"/>
                <a:gd name="T22" fmla="*/ 460 w 100"/>
                <a:gd name="T23" fmla="*/ 39571 h 123"/>
                <a:gd name="T24" fmla="*/ 0 w 100"/>
                <a:gd name="T25" fmla="*/ 36861 h 123"/>
                <a:gd name="T26" fmla="*/ 921 w 100"/>
                <a:gd name="T27" fmla="*/ 29814 h 123"/>
                <a:gd name="T28" fmla="*/ 3223 w 100"/>
                <a:gd name="T29" fmla="*/ 19515 h 123"/>
                <a:gd name="T30" fmla="*/ 5064 w 100"/>
                <a:gd name="T31" fmla="*/ 9215 h 123"/>
                <a:gd name="T32" fmla="*/ 5985 w 100"/>
                <a:gd name="T33" fmla="*/ 0 h 1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" name="Freeform 181">
              <a:extLst>
                <a:ext uri="{FF2B5EF4-FFF2-40B4-BE49-F238E27FC236}">
                  <a16:creationId xmlns:a16="http://schemas.microsoft.com/office/drawing/2014/main" id="{28AF2590-125D-4CEE-A127-0810AA4FC6FE}"/>
                </a:ext>
              </a:extLst>
            </p:cNvPr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9113839" y="3983038"/>
              <a:ext cx="1587" cy="50800"/>
            </a:xfrm>
            <a:custGeom>
              <a:avLst/>
              <a:gdLst>
                <a:gd name="T0" fmla="*/ 1587 w 5"/>
                <a:gd name="T1" fmla="*/ 0 h 99"/>
                <a:gd name="T2" fmla="*/ 1270 w 5"/>
                <a:gd name="T3" fmla="*/ 17446 h 99"/>
                <a:gd name="T4" fmla="*/ 317 w 5"/>
                <a:gd name="T5" fmla="*/ 30275 h 99"/>
                <a:gd name="T6" fmla="*/ 0 w 5"/>
                <a:gd name="T7" fmla="*/ 35406 h 99"/>
                <a:gd name="T8" fmla="*/ 0 w 5"/>
                <a:gd name="T9" fmla="*/ 40024 h 99"/>
                <a:gd name="T10" fmla="*/ 635 w 5"/>
                <a:gd name="T11" fmla="*/ 44642 h 99"/>
                <a:gd name="T12" fmla="*/ 1587 w 5"/>
                <a:gd name="T13" fmla="*/ 50800 h 9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4" name="Freeform 182">
              <a:extLst>
                <a:ext uri="{FF2B5EF4-FFF2-40B4-BE49-F238E27FC236}">
                  <a16:creationId xmlns:a16="http://schemas.microsoft.com/office/drawing/2014/main" id="{46F4FEE4-74F8-4574-9B05-D39F491E3754}"/>
                </a:ext>
              </a:extLst>
            </p:cNvPr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9120189" y="3976688"/>
              <a:ext cx="7937" cy="36512"/>
            </a:xfrm>
            <a:custGeom>
              <a:avLst/>
              <a:gdLst>
                <a:gd name="T0" fmla="*/ 7937 w 14"/>
                <a:gd name="T1" fmla="*/ 0 h 68"/>
                <a:gd name="T2" fmla="*/ 4535 w 14"/>
                <a:gd name="T3" fmla="*/ 8591 h 68"/>
                <a:gd name="T4" fmla="*/ 2268 w 14"/>
                <a:gd name="T5" fmla="*/ 17719 h 68"/>
                <a:gd name="T6" fmla="*/ 1134 w 14"/>
                <a:gd name="T7" fmla="*/ 27921 h 68"/>
                <a:gd name="T8" fmla="*/ 0 w 14"/>
                <a:gd name="T9" fmla="*/ 36512 h 6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5" name="Freeform 183">
              <a:extLst>
                <a:ext uri="{FF2B5EF4-FFF2-40B4-BE49-F238E27FC236}">
                  <a16:creationId xmlns:a16="http://schemas.microsoft.com/office/drawing/2014/main" id="{A43BB4AA-0F4E-49B0-AB29-60F059878631}"/>
                </a:ext>
              </a:extLst>
            </p:cNvPr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9136064" y="3957639"/>
              <a:ext cx="1587" cy="22225"/>
            </a:xfrm>
            <a:custGeom>
              <a:avLst/>
              <a:gdLst>
                <a:gd name="T0" fmla="*/ 0 w 1587"/>
                <a:gd name="T1" fmla="*/ 0 h 43"/>
                <a:gd name="T2" fmla="*/ 0 w 1587"/>
                <a:gd name="T3" fmla="*/ 6719 h 43"/>
                <a:gd name="T4" fmla="*/ 0 w 1587"/>
                <a:gd name="T5" fmla="*/ 13438 h 43"/>
                <a:gd name="T6" fmla="*/ 0 w 1587"/>
                <a:gd name="T7" fmla="*/ 19124 h 43"/>
                <a:gd name="T8" fmla="*/ 0 w 1587"/>
                <a:gd name="T9" fmla="*/ 22225 h 4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6" name="Line 184">
              <a:extLst>
                <a:ext uri="{FF2B5EF4-FFF2-40B4-BE49-F238E27FC236}">
                  <a16:creationId xmlns:a16="http://schemas.microsoft.com/office/drawing/2014/main" id="{524C4B95-9578-4CE3-A6BE-A8443ECB1268}"/>
                </a:ext>
              </a:extLst>
            </p:cNvPr>
            <p:cNvSpPr>
              <a:spLocks noChangeShapeType="1"/>
            </p:cNvSpPr>
            <p:nvPr>
              <p:custDataLst>
                <p:tags r:id="rId111"/>
              </p:custDataLst>
            </p:nvPr>
          </p:nvSpPr>
          <p:spPr bwMode="auto">
            <a:xfrm flipV="1">
              <a:off x="9136064" y="3976689"/>
              <a:ext cx="1587" cy="317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7" name="Freeform 185">
              <a:extLst>
                <a:ext uri="{FF2B5EF4-FFF2-40B4-BE49-F238E27FC236}">
                  <a16:creationId xmlns:a16="http://schemas.microsoft.com/office/drawing/2014/main" id="{578ECC24-3F30-4F61-9561-730235F04B3A}"/>
                </a:ext>
              </a:extLst>
            </p:cNvPr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9120189" y="3960814"/>
              <a:ext cx="1587" cy="15875"/>
            </a:xfrm>
            <a:custGeom>
              <a:avLst/>
              <a:gdLst>
                <a:gd name="T0" fmla="*/ 0 w 1587"/>
                <a:gd name="T1" fmla="*/ 15875 h 31"/>
                <a:gd name="T2" fmla="*/ 0 w 1587"/>
                <a:gd name="T3" fmla="*/ 11266 h 31"/>
                <a:gd name="T4" fmla="*/ 0 w 1587"/>
                <a:gd name="T5" fmla="*/ 7681 h 31"/>
                <a:gd name="T6" fmla="*/ 0 w 1587"/>
                <a:gd name="T7" fmla="*/ 4097 h 31"/>
                <a:gd name="T8" fmla="*/ 0 w 158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8" name="Freeform 186">
              <a:extLst>
                <a:ext uri="{FF2B5EF4-FFF2-40B4-BE49-F238E27FC236}">
                  <a16:creationId xmlns:a16="http://schemas.microsoft.com/office/drawing/2014/main" id="{F1E52149-5F64-452A-95C6-16123A14A457}"/>
                </a:ext>
              </a:extLst>
            </p:cNvPr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8840789" y="4949826"/>
              <a:ext cx="96837" cy="87313"/>
            </a:xfrm>
            <a:custGeom>
              <a:avLst/>
              <a:gdLst>
                <a:gd name="T0" fmla="*/ 8177 w 225"/>
                <a:gd name="T1" fmla="*/ 82608 h 167"/>
                <a:gd name="T2" fmla="*/ 3013 w 225"/>
                <a:gd name="T3" fmla="*/ 74242 h 167"/>
                <a:gd name="T4" fmla="*/ 0 w 225"/>
                <a:gd name="T5" fmla="*/ 67968 h 167"/>
                <a:gd name="T6" fmla="*/ 430 w 225"/>
                <a:gd name="T7" fmla="*/ 56466 h 167"/>
                <a:gd name="T8" fmla="*/ 4734 w 225"/>
                <a:gd name="T9" fmla="*/ 35553 h 167"/>
                <a:gd name="T10" fmla="*/ 10329 w 225"/>
                <a:gd name="T11" fmla="*/ 20390 h 167"/>
                <a:gd name="T12" fmla="*/ 14633 w 225"/>
                <a:gd name="T13" fmla="*/ 10979 h 167"/>
                <a:gd name="T14" fmla="*/ 18937 w 225"/>
                <a:gd name="T15" fmla="*/ 4705 h 167"/>
                <a:gd name="T16" fmla="*/ 23241 w 225"/>
                <a:gd name="T17" fmla="*/ 523 h 167"/>
                <a:gd name="T18" fmla="*/ 27975 w 225"/>
                <a:gd name="T19" fmla="*/ 523 h 167"/>
                <a:gd name="T20" fmla="*/ 32709 w 225"/>
                <a:gd name="T21" fmla="*/ 1568 h 167"/>
                <a:gd name="T22" fmla="*/ 37874 w 225"/>
                <a:gd name="T23" fmla="*/ 4183 h 167"/>
                <a:gd name="T24" fmla="*/ 43039 w 225"/>
                <a:gd name="T25" fmla="*/ 8888 h 167"/>
                <a:gd name="T26" fmla="*/ 48203 w 225"/>
                <a:gd name="T27" fmla="*/ 12548 h 167"/>
                <a:gd name="T28" fmla="*/ 55089 w 225"/>
                <a:gd name="T29" fmla="*/ 12548 h 167"/>
                <a:gd name="T30" fmla="*/ 62406 w 225"/>
                <a:gd name="T31" fmla="*/ 9934 h 167"/>
                <a:gd name="T32" fmla="*/ 71014 w 225"/>
                <a:gd name="T33" fmla="*/ 3660 h 167"/>
                <a:gd name="T34" fmla="*/ 96837 w 225"/>
                <a:gd name="T35" fmla="*/ 0 h 167"/>
                <a:gd name="T36" fmla="*/ 92533 w 225"/>
                <a:gd name="T37" fmla="*/ 11502 h 167"/>
                <a:gd name="T38" fmla="*/ 86508 w 225"/>
                <a:gd name="T39" fmla="*/ 21436 h 167"/>
                <a:gd name="T40" fmla="*/ 72305 w 225"/>
                <a:gd name="T41" fmla="*/ 37644 h 167"/>
                <a:gd name="T42" fmla="*/ 59393 w 225"/>
                <a:gd name="T43" fmla="*/ 52283 h 167"/>
                <a:gd name="T44" fmla="*/ 55520 w 225"/>
                <a:gd name="T45" fmla="*/ 59603 h 167"/>
                <a:gd name="T46" fmla="*/ 54229 w 225"/>
                <a:gd name="T47" fmla="*/ 67968 h 167"/>
                <a:gd name="T48" fmla="*/ 52938 w 225"/>
                <a:gd name="T49" fmla="*/ 65877 h 167"/>
                <a:gd name="T50" fmla="*/ 51646 w 225"/>
                <a:gd name="T51" fmla="*/ 61171 h 167"/>
                <a:gd name="T52" fmla="*/ 45621 w 225"/>
                <a:gd name="T53" fmla="*/ 63263 h 167"/>
                <a:gd name="T54" fmla="*/ 41748 w 225"/>
                <a:gd name="T55" fmla="*/ 66923 h 167"/>
                <a:gd name="T56" fmla="*/ 34431 w 225"/>
                <a:gd name="T57" fmla="*/ 75811 h 167"/>
                <a:gd name="T58" fmla="*/ 30557 w 225"/>
                <a:gd name="T59" fmla="*/ 79993 h 167"/>
                <a:gd name="T60" fmla="*/ 25823 w 225"/>
                <a:gd name="T61" fmla="*/ 83653 h 167"/>
                <a:gd name="T62" fmla="*/ 19798 w 225"/>
                <a:gd name="T63" fmla="*/ 86267 h 167"/>
                <a:gd name="T64" fmla="*/ 11190 w 225"/>
                <a:gd name="T65" fmla="*/ 87313 h 1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19" name="Freeform 187">
              <a:extLst>
                <a:ext uri="{FF2B5EF4-FFF2-40B4-BE49-F238E27FC236}">
                  <a16:creationId xmlns:a16="http://schemas.microsoft.com/office/drawing/2014/main" id="{64C4C988-EAFE-4BAB-9EFB-203A6D760655}"/>
                </a:ext>
              </a:extLst>
            </p:cNvPr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8978901" y="4168776"/>
              <a:ext cx="3175" cy="17463"/>
            </a:xfrm>
            <a:custGeom>
              <a:avLst/>
              <a:gdLst>
                <a:gd name="T0" fmla="*/ 0 w 7"/>
                <a:gd name="T1" fmla="*/ 17463 h 31"/>
                <a:gd name="T2" fmla="*/ 2268 w 7"/>
                <a:gd name="T3" fmla="*/ 12393 h 31"/>
                <a:gd name="T4" fmla="*/ 2721 w 7"/>
                <a:gd name="T5" fmla="*/ 7323 h 31"/>
                <a:gd name="T6" fmla="*/ 3175 w 7"/>
                <a:gd name="T7" fmla="*/ 3380 h 31"/>
                <a:gd name="T8" fmla="*/ 3175 w 7"/>
                <a:gd name="T9" fmla="*/ 0 h 31"/>
                <a:gd name="T10" fmla="*/ 2721 w 7"/>
                <a:gd name="T11" fmla="*/ 3380 h 31"/>
                <a:gd name="T12" fmla="*/ 1814 w 7"/>
                <a:gd name="T13" fmla="*/ 7323 h 31"/>
                <a:gd name="T14" fmla="*/ 454 w 7"/>
                <a:gd name="T15" fmla="*/ 12393 h 31"/>
                <a:gd name="T16" fmla="*/ 0 w 7"/>
                <a:gd name="T17" fmla="*/ 17463 h 3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0" name="Freeform 188">
              <a:extLst>
                <a:ext uri="{FF2B5EF4-FFF2-40B4-BE49-F238E27FC236}">
                  <a16:creationId xmlns:a16="http://schemas.microsoft.com/office/drawing/2014/main" id="{B1246EEB-C605-43A1-977B-7C532FCC9297}"/>
                </a:ext>
              </a:extLst>
            </p:cNvPr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8912226" y="4090989"/>
              <a:ext cx="15875" cy="15875"/>
            </a:xfrm>
            <a:custGeom>
              <a:avLst/>
              <a:gdLst>
                <a:gd name="T0" fmla="*/ 15875 w 33"/>
                <a:gd name="T1" fmla="*/ 15875 h 31"/>
                <a:gd name="T2" fmla="*/ 15875 w 33"/>
                <a:gd name="T3" fmla="*/ 0 h 31"/>
                <a:gd name="T4" fmla="*/ 12989 w 33"/>
                <a:gd name="T5" fmla="*/ 0 h 31"/>
                <a:gd name="T6" fmla="*/ 10583 w 33"/>
                <a:gd name="T7" fmla="*/ 1024 h 31"/>
                <a:gd name="T8" fmla="*/ 7697 w 33"/>
                <a:gd name="T9" fmla="*/ 2560 h 31"/>
                <a:gd name="T10" fmla="*/ 5292 w 33"/>
                <a:gd name="T11" fmla="*/ 4097 h 31"/>
                <a:gd name="T12" fmla="*/ 2886 w 33"/>
                <a:gd name="T13" fmla="*/ 6145 h 31"/>
                <a:gd name="T14" fmla="*/ 1443 w 33"/>
                <a:gd name="T15" fmla="*/ 8194 h 31"/>
                <a:gd name="T16" fmla="*/ 481 w 33"/>
                <a:gd name="T17" fmla="*/ 10754 h 31"/>
                <a:gd name="T18" fmla="*/ 0 w 33"/>
                <a:gd name="T19" fmla="*/ 12802 h 31"/>
                <a:gd name="T20" fmla="*/ 481 w 33"/>
                <a:gd name="T21" fmla="*/ 13827 h 31"/>
                <a:gd name="T22" fmla="*/ 1443 w 33"/>
                <a:gd name="T23" fmla="*/ 14851 h 31"/>
                <a:gd name="T24" fmla="*/ 2886 w 33"/>
                <a:gd name="T25" fmla="*/ 15363 h 31"/>
                <a:gd name="T26" fmla="*/ 5292 w 33"/>
                <a:gd name="T27" fmla="*/ 15363 h 31"/>
                <a:gd name="T28" fmla="*/ 10583 w 33"/>
                <a:gd name="T29" fmla="*/ 15875 h 31"/>
                <a:gd name="T30" fmla="*/ 15875 w 33"/>
                <a:gd name="T31" fmla="*/ 15875 h 3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1" name="Freeform 189">
              <a:extLst>
                <a:ext uri="{FF2B5EF4-FFF2-40B4-BE49-F238E27FC236}">
                  <a16:creationId xmlns:a16="http://schemas.microsoft.com/office/drawing/2014/main" id="{0ADAD4EE-604C-418B-961F-EB9B467FB0DE}"/>
                </a:ext>
              </a:extLst>
            </p:cNvPr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8928101" y="4003676"/>
              <a:ext cx="3175" cy="9525"/>
            </a:xfrm>
            <a:custGeom>
              <a:avLst/>
              <a:gdLst>
                <a:gd name="T0" fmla="*/ 0 w 13"/>
                <a:gd name="T1" fmla="*/ 9525 h 19"/>
                <a:gd name="T2" fmla="*/ 488 w 13"/>
                <a:gd name="T3" fmla="*/ 9024 h 19"/>
                <a:gd name="T4" fmla="*/ 1221 w 13"/>
                <a:gd name="T5" fmla="*/ 8522 h 19"/>
                <a:gd name="T6" fmla="*/ 1710 w 13"/>
                <a:gd name="T7" fmla="*/ 7520 h 19"/>
                <a:gd name="T8" fmla="*/ 1954 w 13"/>
                <a:gd name="T9" fmla="*/ 6016 h 19"/>
                <a:gd name="T10" fmla="*/ 2931 w 13"/>
                <a:gd name="T11" fmla="*/ 3008 h 19"/>
                <a:gd name="T12" fmla="*/ 3175 w 13"/>
                <a:gd name="T13" fmla="*/ 0 h 19"/>
                <a:gd name="T14" fmla="*/ 0 w 13"/>
                <a:gd name="T15" fmla="*/ 9525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2" name="Freeform 190">
              <a:extLst>
                <a:ext uri="{FF2B5EF4-FFF2-40B4-BE49-F238E27FC236}">
                  <a16:creationId xmlns:a16="http://schemas.microsoft.com/office/drawing/2014/main" id="{E410A7EB-93E4-499F-BD83-4F01134DEB93}"/>
                </a:ext>
              </a:extLst>
            </p:cNvPr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8767763" y="4006851"/>
              <a:ext cx="36512" cy="22225"/>
            </a:xfrm>
            <a:custGeom>
              <a:avLst/>
              <a:gdLst>
                <a:gd name="T0" fmla="*/ 22663 w 87"/>
                <a:gd name="T1" fmla="*/ 22225 h 42"/>
                <a:gd name="T2" fmla="*/ 24761 w 87"/>
                <a:gd name="T3" fmla="*/ 22225 h 42"/>
                <a:gd name="T4" fmla="*/ 26859 w 87"/>
                <a:gd name="T5" fmla="*/ 21696 h 42"/>
                <a:gd name="T6" fmla="*/ 28538 w 87"/>
                <a:gd name="T7" fmla="*/ 21167 h 42"/>
                <a:gd name="T8" fmla="*/ 29797 w 87"/>
                <a:gd name="T9" fmla="*/ 20108 h 42"/>
                <a:gd name="T10" fmla="*/ 31476 w 87"/>
                <a:gd name="T11" fmla="*/ 17992 h 42"/>
                <a:gd name="T12" fmla="*/ 32735 w 87"/>
                <a:gd name="T13" fmla="*/ 14817 h 42"/>
                <a:gd name="T14" fmla="*/ 33155 w 87"/>
                <a:gd name="T15" fmla="*/ 11642 h 42"/>
                <a:gd name="T16" fmla="*/ 33574 w 87"/>
                <a:gd name="T17" fmla="*/ 8467 h 42"/>
                <a:gd name="T18" fmla="*/ 34414 w 87"/>
                <a:gd name="T19" fmla="*/ 5821 h 42"/>
                <a:gd name="T20" fmla="*/ 36512 w 87"/>
                <a:gd name="T21" fmla="*/ 3175 h 42"/>
                <a:gd name="T22" fmla="*/ 32315 w 87"/>
                <a:gd name="T23" fmla="*/ 1058 h 42"/>
                <a:gd name="T24" fmla="*/ 28118 w 87"/>
                <a:gd name="T25" fmla="*/ 0 h 42"/>
                <a:gd name="T26" fmla="*/ 23922 w 87"/>
                <a:gd name="T27" fmla="*/ 0 h 42"/>
                <a:gd name="T28" fmla="*/ 19725 w 87"/>
                <a:gd name="T29" fmla="*/ 0 h 42"/>
                <a:gd name="T30" fmla="*/ 16787 w 87"/>
                <a:gd name="T31" fmla="*/ 0 h 42"/>
                <a:gd name="T32" fmla="*/ 13430 w 87"/>
                <a:gd name="T33" fmla="*/ 1058 h 42"/>
                <a:gd name="T34" fmla="*/ 10492 w 87"/>
                <a:gd name="T35" fmla="*/ 2117 h 42"/>
                <a:gd name="T36" fmla="*/ 7974 w 87"/>
                <a:gd name="T37" fmla="*/ 3175 h 42"/>
                <a:gd name="T38" fmla="*/ 3357 w 87"/>
                <a:gd name="T39" fmla="*/ 6350 h 42"/>
                <a:gd name="T40" fmla="*/ 0 w 87"/>
                <a:gd name="T41" fmla="*/ 9525 h 42"/>
                <a:gd name="T42" fmla="*/ 4616 w 87"/>
                <a:gd name="T43" fmla="*/ 12700 h 42"/>
                <a:gd name="T44" fmla="*/ 11331 w 87"/>
                <a:gd name="T45" fmla="*/ 16933 h 42"/>
                <a:gd name="T46" fmla="*/ 18046 w 87"/>
                <a:gd name="T47" fmla="*/ 20638 h 42"/>
                <a:gd name="T48" fmla="*/ 22663 w 87"/>
                <a:gd name="T49" fmla="*/ 22225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3" name="Freeform 191">
              <a:extLst>
                <a:ext uri="{FF2B5EF4-FFF2-40B4-BE49-F238E27FC236}">
                  <a16:creationId xmlns:a16="http://schemas.microsoft.com/office/drawing/2014/main" id="{ECC069EA-847B-4480-800A-4F4B2C089271}"/>
                </a:ext>
              </a:extLst>
            </p:cNvPr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9012239" y="4470400"/>
              <a:ext cx="1587" cy="14288"/>
            </a:xfrm>
            <a:custGeom>
              <a:avLst/>
              <a:gdLst>
                <a:gd name="T0" fmla="*/ 0 w 7"/>
                <a:gd name="T1" fmla="*/ 0 h 31"/>
                <a:gd name="T2" fmla="*/ 1587 w 7"/>
                <a:gd name="T3" fmla="*/ 0 h 31"/>
                <a:gd name="T4" fmla="*/ 1587 w 7"/>
                <a:gd name="T5" fmla="*/ 8296 h 31"/>
                <a:gd name="T6" fmla="*/ 0 w 7"/>
                <a:gd name="T7" fmla="*/ 14288 h 31"/>
                <a:gd name="T8" fmla="*/ 0 w 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4" name="Freeform 192">
              <a:extLst>
                <a:ext uri="{FF2B5EF4-FFF2-40B4-BE49-F238E27FC236}">
                  <a16:creationId xmlns:a16="http://schemas.microsoft.com/office/drawing/2014/main" id="{32FA77EB-2906-4633-8446-7CE9D0526C96}"/>
                </a:ext>
              </a:extLst>
            </p:cNvPr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8248651" y="3976688"/>
              <a:ext cx="1019175" cy="908050"/>
            </a:xfrm>
            <a:custGeom>
              <a:avLst/>
              <a:gdLst>
                <a:gd name="T0" fmla="*/ 93526 w 2332"/>
                <a:gd name="T1" fmla="*/ 370879 h 1731"/>
                <a:gd name="T2" fmla="*/ 142038 w 2332"/>
                <a:gd name="T3" fmla="*/ 340453 h 1731"/>
                <a:gd name="T4" fmla="*/ 190112 w 2332"/>
                <a:gd name="T5" fmla="*/ 317896 h 1731"/>
                <a:gd name="T6" fmla="*/ 264409 w 2332"/>
                <a:gd name="T7" fmla="*/ 299011 h 1731"/>
                <a:gd name="T8" fmla="*/ 295875 w 2332"/>
                <a:gd name="T9" fmla="*/ 229242 h 1731"/>
                <a:gd name="T10" fmla="*/ 331276 w 2332"/>
                <a:gd name="T11" fmla="*/ 230291 h 1731"/>
                <a:gd name="T12" fmla="*/ 342639 w 2332"/>
                <a:gd name="T13" fmla="*/ 190423 h 1731"/>
                <a:gd name="T14" fmla="*/ 378476 w 2332"/>
                <a:gd name="T15" fmla="*/ 165768 h 1731"/>
                <a:gd name="T16" fmla="*/ 410380 w 2332"/>
                <a:gd name="T17" fmla="*/ 129047 h 1731"/>
                <a:gd name="T18" fmla="*/ 448839 w 2332"/>
                <a:gd name="T19" fmla="*/ 116982 h 1731"/>
                <a:gd name="T20" fmla="*/ 471128 w 2332"/>
                <a:gd name="T21" fmla="*/ 148981 h 1731"/>
                <a:gd name="T22" fmla="*/ 496039 w 2332"/>
                <a:gd name="T23" fmla="*/ 141637 h 1731"/>
                <a:gd name="T24" fmla="*/ 513958 w 2332"/>
                <a:gd name="T25" fmla="*/ 90228 h 1731"/>
                <a:gd name="T26" fmla="*/ 576892 w 2332"/>
                <a:gd name="T27" fmla="*/ 61376 h 1731"/>
                <a:gd name="T28" fmla="*/ 583884 w 2332"/>
                <a:gd name="T29" fmla="*/ 21508 h 1731"/>
                <a:gd name="T30" fmla="*/ 625840 w 2332"/>
                <a:gd name="T31" fmla="*/ 56130 h 1731"/>
                <a:gd name="T32" fmla="*/ 674788 w 2332"/>
                <a:gd name="T33" fmla="*/ 61376 h 1731"/>
                <a:gd name="T34" fmla="*/ 640262 w 2332"/>
                <a:gd name="T35" fmla="*/ 137440 h 1731"/>
                <a:gd name="T36" fmla="*/ 659492 w 2332"/>
                <a:gd name="T37" fmla="*/ 174686 h 1731"/>
                <a:gd name="T38" fmla="*/ 691396 w 2332"/>
                <a:gd name="T39" fmla="*/ 185702 h 1731"/>
                <a:gd name="T40" fmla="*/ 728981 w 2332"/>
                <a:gd name="T41" fmla="*/ 221898 h 1731"/>
                <a:gd name="T42" fmla="*/ 770937 w 2332"/>
                <a:gd name="T43" fmla="*/ 216652 h 1731"/>
                <a:gd name="T44" fmla="*/ 799781 w 2332"/>
                <a:gd name="T45" fmla="*/ 107539 h 1731"/>
                <a:gd name="T46" fmla="*/ 832122 w 2332"/>
                <a:gd name="T47" fmla="*/ 5246 h 1731"/>
                <a:gd name="T48" fmla="*/ 844796 w 2332"/>
                <a:gd name="T49" fmla="*/ 41966 h 1731"/>
                <a:gd name="T50" fmla="*/ 849604 w 2332"/>
                <a:gd name="T51" fmla="*/ 92326 h 1731"/>
                <a:gd name="T52" fmla="*/ 867959 w 2332"/>
                <a:gd name="T53" fmla="*/ 125899 h 1731"/>
                <a:gd name="T54" fmla="*/ 891560 w 2332"/>
                <a:gd name="T55" fmla="*/ 225045 h 1731"/>
                <a:gd name="T56" fmla="*/ 912975 w 2332"/>
                <a:gd name="T57" fmla="*/ 283274 h 1731"/>
                <a:gd name="T58" fmla="*/ 945315 w 2332"/>
                <a:gd name="T59" fmla="*/ 359863 h 1731"/>
                <a:gd name="T60" fmla="*/ 969790 w 2332"/>
                <a:gd name="T61" fmla="*/ 403403 h 1731"/>
                <a:gd name="T62" fmla="*/ 1019175 w 2332"/>
                <a:gd name="T63" fmla="*/ 467926 h 1731"/>
                <a:gd name="T64" fmla="*/ 994701 w 2332"/>
                <a:gd name="T65" fmla="*/ 579662 h 1731"/>
                <a:gd name="T66" fmla="*/ 912100 w 2332"/>
                <a:gd name="T67" fmla="*/ 714480 h 1731"/>
                <a:gd name="T68" fmla="*/ 876263 w 2332"/>
                <a:gd name="T69" fmla="*/ 751200 h 1731"/>
                <a:gd name="T70" fmla="*/ 803278 w 2332"/>
                <a:gd name="T71" fmla="*/ 834609 h 1731"/>
                <a:gd name="T72" fmla="*/ 764381 w 2332"/>
                <a:gd name="T73" fmla="*/ 879198 h 1731"/>
                <a:gd name="T74" fmla="*/ 694455 w 2332"/>
                <a:gd name="T75" fmla="*/ 905427 h 1731"/>
                <a:gd name="T76" fmla="*/ 662988 w 2332"/>
                <a:gd name="T77" fmla="*/ 888116 h 1731"/>
                <a:gd name="T78" fmla="*/ 616225 w 2332"/>
                <a:gd name="T79" fmla="*/ 907001 h 1731"/>
                <a:gd name="T80" fmla="*/ 566840 w 2332"/>
                <a:gd name="T81" fmla="*/ 888116 h 1731"/>
                <a:gd name="T82" fmla="*/ 558973 w 2332"/>
                <a:gd name="T83" fmla="*/ 846674 h 1731"/>
                <a:gd name="T84" fmla="*/ 551980 w 2332"/>
                <a:gd name="T85" fmla="*/ 795265 h 1731"/>
                <a:gd name="T86" fmla="*/ 535373 w 2332"/>
                <a:gd name="T87" fmla="*/ 786872 h 1731"/>
                <a:gd name="T88" fmla="*/ 559410 w 2332"/>
                <a:gd name="T89" fmla="*/ 724971 h 1731"/>
                <a:gd name="T90" fmla="*/ 475498 w 2332"/>
                <a:gd name="T91" fmla="*/ 714480 h 1731"/>
                <a:gd name="T92" fmla="*/ 419995 w 2332"/>
                <a:gd name="T93" fmla="*/ 672513 h 1731"/>
                <a:gd name="T94" fmla="*/ 329527 w 2332"/>
                <a:gd name="T95" fmla="*/ 694021 h 1731"/>
                <a:gd name="T96" fmla="*/ 221579 w 2332"/>
                <a:gd name="T97" fmla="*/ 744381 h 1731"/>
                <a:gd name="T98" fmla="*/ 93526 w 2332"/>
                <a:gd name="T99" fmla="*/ 772708 h 1731"/>
                <a:gd name="T100" fmla="*/ 24037 w 2332"/>
                <a:gd name="T101" fmla="*/ 781626 h 1731"/>
                <a:gd name="T102" fmla="*/ 874 w 2332"/>
                <a:gd name="T103" fmla="*/ 746479 h 1731"/>
                <a:gd name="T104" fmla="*/ 42393 w 2332"/>
                <a:gd name="T105" fmla="*/ 705037 h 1731"/>
                <a:gd name="T106" fmla="*/ 32778 w 2332"/>
                <a:gd name="T107" fmla="*/ 651005 h 1731"/>
                <a:gd name="T108" fmla="*/ 49385 w 2332"/>
                <a:gd name="T109" fmla="*/ 613760 h 1731"/>
                <a:gd name="T110" fmla="*/ 25348 w 2332"/>
                <a:gd name="T111" fmla="*/ 494680 h 1731"/>
                <a:gd name="T112" fmla="*/ 49385 w 2332"/>
                <a:gd name="T113" fmla="*/ 505696 h 1731"/>
                <a:gd name="T114" fmla="*/ 46326 w 2332"/>
                <a:gd name="T115" fmla="*/ 452189 h 1731"/>
                <a:gd name="T116" fmla="*/ 64245 w 2332"/>
                <a:gd name="T117" fmla="*/ 401305 h 173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5" name="Freeform 193">
              <a:extLst>
                <a:ext uri="{FF2B5EF4-FFF2-40B4-BE49-F238E27FC236}">
                  <a16:creationId xmlns:a16="http://schemas.microsoft.com/office/drawing/2014/main" id="{B0462E93-2105-4651-A187-2105689FD81A}"/>
                </a:ext>
              </a:extLst>
            </p:cNvPr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2735264" y="2643189"/>
              <a:ext cx="668337" cy="581025"/>
            </a:xfrm>
            <a:custGeom>
              <a:avLst/>
              <a:gdLst>
                <a:gd name="T0" fmla="*/ 541201 w 1535"/>
                <a:gd name="T1" fmla="*/ 484624 h 1109"/>
                <a:gd name="T2" fmla="*/ 565583 w 1535"/>
                <a:gd name="T3" fmla="*/ 514487 h 1109"/>
                <a:gd name="T4" fmla="*/ 531186 w 1535"/>
                <a:gd name="T5" fmla="*/ 523394 h 1109"/>
                <a:gd name="T6" fmla="*/ 512464 w 1535"/>
                <a:gd name="T7" fmla="*/ 573690 h 1109"/>
                <a:gd name="T8" fmla="*/ 463700 w 1535"/>
                <a:gd name="T9" fmla="*/ 527061 h 1109"/>
                <a:gd name="T10" fmla="*/ 432786 w 1535"/>
                <a:gd name="T11" fmla="*/ 530205 h 1109"/>
                <a:gd name="T12" fmla="*/ 397519 w 1535"/>
                <a:gd name="T13" fmla="*/ 544351 h 1109"/>
                <a:gd name="T14" fmla="*/ 342223 w 1535"/>
                <a:gd name="T15" fmla="*/ 508724 h 1109"/>
                <a:gd name="T16" fmla="*/ 282138 w 1535"/>
                <a:gd name="T17" fmla="*/ 480433 h 1109"/>
                <a:gd name="T18" fmla="*/ 256014 w 1535"/>
                <a:gd name="T19" fmla="*/ 462620 h 1109"/>
                <a:gd name="T20" fmla="*/ 233809 w 1535"/>
                <a:gd name="T21" fmla="*/ 437471 h 1109"/>
                <a:gd name="T22" fmla="*/ 211168 w 1535"/>
                <a:gd name="T23" fmla="*/ 432756 h 1109"/>
                <a:gd name="T24" fmla="*/ 191140 w 1535"/>
                <a:gd name="T25" fmla="*/ 396606 h 1109"/>
                <a:gd name="T26" fmla="*/ 203331 w 1535"/>
                <a:gd name="T27" fmla="*/ 369362 h 1109"/>
                <a:gd name="T28" fmla="*/ 195929 w 1535"/>
                <a:gd name="T29" fmla="*/ 314875 h 1109"/>
                <a:gd name="T30" fmla="*/ 153260 w 1535"/>
                <a:gd name="T31" fmla="*/ 245194 h 1109"/>
                <a:gd name="T32" fmla="*/ 132361 w 1535"/>
                <a:gd name="T33" fmla="*/ 223189 h 1109"/>
                <a:gd name="T34" fmla="*/ 127572 w 1535"/>
                <a:gd name="T35" fmla="*/ 193326 h 1109"/>
                <a:gd name="T36" fmla="*/ 94482 w 1535"/>
                <a:gd name="T37" fmla="*/ 129932 h 1109"/>
                <a:gd name="T38" fmla="*/ 72712 w 1535"/>
                <a:gd name="T39" fmla="*/ 38770 h 1109"/>
                <a:gd name="T40" fmla="*/ 36573 w 1535"/>
                <a:gd name="T41" fmla="*/ 54487 h 1109"/>
                <a:gd name="T42" fmla="*/ 49200 w 1535"/>
                <a:gd name="T43" fmla="*/ 116310 h 1109"/>
                <a:gd name="T44" fmla="*/ 65310 w 1535"/>
                <a:gd name="T45" fmla="*/ 170797 h 1109"/>
                <a:gd name="T46" fmla="*/ 85338 w 1535"/>
                <a:gd name="T47" fmla="*/ 210615 h 1109"/>
                <a:gd name="T48" fmla="*/ 87080 w 1535"/>
                <a:gd name="T49" fmla="*/ 243622 h 1109"/>
                <a:gd name="T50" fmla="*/ 92740 w 1535"/>
                <a:gd name="T51" fmla="*/ 274533 h 1109"/>
                <a:gd name="T52" fmla="*/ 112768 w 1535"/>
                <a:gd name="T53" fmla="*/ 299157 h 1109"/>
                <a:gd name="T54" fmla="*/ 93175 w 1535"/>
                <a:gd name="T55" fmla="*/ 312255 h 1109"/>
                <a:gd name="T56" fmla="*/ 84032 w 1535"/>
                <a:gd name="T57" fmla="*/ 283964 h 1109"/>
                <a:gd name="T58" fmla="*/ 52248 w 1535"/>
                <a:gd name="T59" fmla="*/ 248337 h 1109"/>
                <a:gd name="T60" fmla="*/ 63568 w 1535"/>
                <a:gd name="T61" fmla="*/ 220046 h 1109"/>
                <a:gd name="T62" fmla="*/ 38750 w 1535"/>
                <a:gd name="T63" fmla="*/ 191754 h 1109"/>
                <a:gd name="T64" fmla="*/ 11756 w 1535"/>
                <a:gd name="T65" fmla="*/ 160843 h 1109"/>
                <a:gd name="T66" fmla="*/ 28301 w 1535"/>
                <a:gd name="T67" fmla="*/ 151412 h 1109"/>
                <a:gd name="T68" fmla="*/ 27866 w 1535"/>
                <a:gd name="T69" fmla="*/ 117882 h 1109"/>
                <a:gd name="T70" fmla="*/ 2612 w 1535"/>
                <a:gd name="T71" fmla="*/ 61298 h 1109"/>
                <a:gd name="T72" fmla="*/ 16545 w 1535"/>
                <a:gd name="T73" fmla="*/ 2620 h 1109"/>
                <a:gd name="T74" fmla="*/ 91869 w 1535"/>
                <a:gd name="T75" fmla="*/ 9431 h 1109"/>
                <a:gd name="T76" fmla="*/ 157179 w 1535"/>
                <a:gd name="T77" fmla="*/ 39818 h 1109"/>
                <a:gd name="T78" fmla="*/ 216829 w 1535"/>
                <a:gd name="T79" fmla="*/ 28815 h 1109"/>
                <a:gd name="T80" fmla="*/ 258191 w 1535"/>
                <a:gd name="T81" fmla="*/ 28292 h 1109"/>
                <a:gd name="T82" fmla="*/ 275607 w 1535"/>
                <a:gd name="T83" fmla="*/ 57631 h 1109"/>
                <a:gd name="T84" fmla="*/ 304779 w 1535"/>
                <a:gd name="T85" fmla="*/ 112642 h 1109"/>
                <a:gd name="T86" fmla="*/ 326549 w 1535"/>
                <a:gd name="T87" fmla="*/ 100592 h 1109"/>
                <a:gd name="T88" fmla="*/ 357898 w 1535"/>
                <a:gd name="T89" fmla="*/ 92210 h 1109"/>
                <a:gd name="T90" fmla="*/ 382715 w 1535"/>
                <a:gd name="T91" fmla="*/ 127836 h 1109"/>
                <a:gd name="T92" fmla="*/ 394036 w 1535"/>
                <a:gd name="T93" fmla="*/ 189658 h 1109"/>
                <a:gd name="T94" fmla="*/ 419724 w 1535"/>
                <a:gd name="T95" fmla="*/ 212187 h 1109"/>
                <a:gd name="T96" fmla="*/ 425385 w 1535"/>
                <a:gd name="T97" fmla="*/ 238907 h 1109"/>
                <a:gd name="T98" fmla="*/ 405356 w 1535"/>
                <a:gd name="T99" fmla="*/ 257768 h 1109"/>
                <a:gd name="T100" fmla="*/ 399261 w 1535"/>
                <a:gd name="T101" fmla="*/ 332164 h 1109"/>
                <a:gd name="T102" fmla="*/ 416241 w 1535"/>
                <a:gd name="T103" fmla="*/ 414419 h 1109"/>
                <a:gd name="T104" fmla="*/ 458910 w 1535"/>
                <a:gd name="T105" fmla="*/ 459476 h 1109"/>
                <a:gd name="T106" fmla="*/ 507675 w 1535"/>
                <a:gd name="T107" fmla="*/ 444806 h 1109"/>
                <a:gd name="T108" fmla="*/ 543813 w 1535"/>
                <a:gd name="T109" fmla="*/ 445330 h 1109"/>
                <a:gd name="T110" fmla="*/ 564277 w 1535"/>
                <a:gd name="T111" fmla="*/ 388747 h 1109"/>
                <a:gd name="T112" fmla="*/ 581693 w 1535"/>
                <a:gd name="T113" fmla="*/ 363075 h 1109"/>
                <a:gd name="T114" fmla="*/ 655710 w 1535"/>
                <a:gd name="T115" fmla="*/ 355216 h 1109"/>
                <a:gd name="T116" fmla="*/ 654404 w 1535"/>
                <a:gd name="T117" fmla="*/ 381936 h 1109"/>
                <a:gd name="T118" fmla="*/ 639165 w 1535"/>
                <a:gd name="T119" fmla="*/ 430137 h 1109"/>
                <a:gd name="T120" fmla="*/ 596061 w 1535"/>
                <a:gd name="T121" fmla="*/ 465239 h 110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26" name="Freeform 194">
              <a:extLst>
                <a:ext uri="{FF2B5EF4-FFF2-40B4-BE49-F238E27FC236}">
                  <a16:creationId xmlns:a16="http://schemas.microsoft.com/office/drawing/2014/main" id="{DAA330E1-5EF6-4FC8-AEA4-60A43A097CCF}"/>
                </a:ext>
              </a:extLst>
            </p:cNvPr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4010025" y="4283076"/>
              <a:ext cx="211138" cy="265113"/>
            </a:xfrm>
            <a:custGeom>
              <a:avLst/>
              <a:gdLst>
                <a:gd name="T0" fmla="*/ 6082 w 486"/>
                <a:gd name="T1" fmla="*/ 92396 h 505"/>
                <a:gd name="T2" fmla="*/ 13468 w 486"/>
                <a:gd name="T3" fmla="*/ 103945 h 505"/>
                <a:gd name="T4" fmla="*/ 22156 w 486"/>
                <a:gd name="T5" fmla="*/ 121794 h 505"/>
                <a:gd name="T6" fmla="*/ 35624 w 486"/>
                <a:gd name="T7" fmla="*/ 139644 h 505"/>
                <a:gd name="T8" fmla="*/ 54739 w 486"/>
                <a:gd name="T9" fmla="*/ 153818 h 505"/>
                <a:gd name="T10" fmla="*/ 73855 w 486"/>
                <a:gd name="T11" fmla="*/ 162743 h 505"/>
                <a:gd name="T12" fmla="*/ 106872 w 486"/>
                <a:gd name="T13" fmla="*/ 172192 h 505"/>
                <a:gd name="T14" fmla="*/ 128160 w 486"/>
                <a:gd name="T15" fmla="*/ 180592 h 505"/>
                <a:gd name="T16" fmla="*/ 129898 w 486"/>
                <a:gd name="T17" fmla="*/ 200016 h 505"/>
                <a:gd name="T18" fmla="*/ 120340 w 486"/>
                <a:gd name="T19" fmla="*/ 219440 h 505"/>
                <a:gd name="T20" fmla="*/ 115996 w 486"/>
                <a:gd name="T21" fmla="*/ 232564 h 505"/>
                <a:gd name="T22" fmla="*/ 115561 w 486"/>
                <a:gd name="T23" fmla="*/ 243064 h 505"/>
                <a:gd name="T24" fmla="*/ 120774 w 486"/>
                <a:gd name="T25" fmla="*/ 253039 h 505"/>
                <a:gd name="T26" fmla="*/ 129898 w 486"/>
                <a:gd name="T27" fmla="*/ 259338 h 505"/>
                <a:gd name="T28" fmla="*/ 149447 w 486"/>
                <a:gd name="T29" fmla="*/ 264588 h 505"/>
                <a:gd name="T30" fmla="*/ 168128 w 486"/>
                <a:gd name="T31" fmla="*/ 264588 h 505"/>
                <a:gd name="T32" fmla="*/ 180293 w 486"/>
                <a:gd name="T33" fmla="*/ 259338 h 505"/>
                <a:gd name="T34" fmla="*/ 193760 w 486"/>
                <a:gd name="T35" fmla="*/ 248839 h 505"/>
                <a:gd name="T36" fmla="*/ 205490 w 486"/>
                <a:gd name="T37" fmla="*/ 234664 h 505"/>
                <a:gd name="T38" fmla="*/ 210704 w 486"/>
                <a:gd name="T39" fmla="*/ 219440 h 505"/>
                <a:gd name="T40" fmla="*/ 210269 w 486"/>
                <a:gd name="T41" fmla="*/ 208416 h 505"/>
                <a:gd name="T42" fmla="*/ 207662 w 486"/>
                <a:gd name="T43" fmla="*/ 187941 h 505"/>
                <a:gd name="T44" fmla="*/ 204621 w 486"/>
                <a:gd name="T45" fmla="*/ 165892 h 505"/>
                <a:gd name="T46" fmla="*/ 202015 w 486"/>
                <a:gd name="T47" fmla="*/ 141744 h 505"/>
                <a:gd name="T48" fmla="*/ 198105 w 486"/>
                <a:gd name="T49" fmla="*/ 132294 h 505"/>
                <a:gd name="T50" fmla="*/ 190719 w 486"/>
                <a:gd name="T51" fmla="*/ 125469 h 505"/>
                <a:gd name="T52" fmla="*/ 179424 w 486"/>
                <a:gd name="T53" fmla="*/ 121794 h 505"/>
                <a:gd name="T54" fmla="*/ 170301 w 486"/>
                <a:gd name="T55" fmla="*/ 116545 h 505"/>
                <a:gd name="T56" fmla="*/ 160743 w 486"/>
                <a:gd name="T57" fmla="*/ 108670 h 505"/>
                <a:gd name="T58" fmla="*/ 143365 w 486"/>
                <a:gd name="T59" fmla="*/ 98696 h 505"/>
                <a:gd name="T60" fmla="*/ 125988 w 486"/>
                <a:gd name="T61" fmla="*/ 90296 h 505"/>
                <a:gd name="T62" fmla="*/ 118602 w 486"/>
                <a:gd name="T63" fmla="*/ 83996 h 505"/>
                <a:gd name="T64" fmla="*/ 114692 w 486"/>
                <a:gd name="T65" fmla="*/ 79271 h 505"/>
                <a:gd name="T66" fmla="*/ 113389 w 486"/>
                <a:gd name="T67" fmla="*/ 65622 h 505"/>
                <a:gd name="T68" fmla="*/ 113389 w 486"/>
                <a:gd name="T69" fmla="*/ 47248 h 505"/>
                <a:gd name="T70" fmla="*/ 110782 w 486"/>
                <a:gd name="T71" fmla="*/ 37273 h 505"/>
                <a:gd name="T72" fmla="*/ 104700 w 486"/>
                <a:gd name="T73" fmla="*/ 28874 h 505"/>
                <a:gd name="T74" fmla="*/ 101659 w 486"/>
                <a:gd name="T75" fmla="*/ 19424 h 505"/>
                <a:gd name="T76" fmla="*/ 86454 w 486"/>
                <a:gd name="T77" fmla="*/ 6300 h 505"/>
                <a:gd name="T78" fmla="*/ 80806 w 486"/>
                <a:gd name="T79" fmla="*/ 4200 h 505"/>
                <a:gd name="T80" fmla="*/ 75158 w 486"/>
                <a:gd name="T81" fmla="*/ 1050 h 505"/>
                <a:gd name="T82" fmla="*/ 60387 w 486"/>
                <a:gd name="T83" fmla="*/ 525 h 505"/>
                <a:gd name="T84" fmla="*/ 30411 w 486"/>
                <a:gd name="T85" fmla="*/ 5775 h 505"/>
                <a:gd name="T86" fmla="*/ 18246 w 486"/>
                <a:gd name="T87" fmla="*/ 11025 h 505"/>
                <a:gd name="T88" fmla="*/ 10427 w 486"/>
                <a:gd name="T89" fmla="*/ 19424 h 505"/>
                <a:gd name="T90" fmla="*/ 8689 w 486"/>
                <a:gd name="T91" fmla="*/ 33598 h 5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7" name="Freeform 195">
              <a:extLst>
                <a:ext uri="{FF2B5EF4-FFF2-40B4-BE49-F238E27FC236}">
                  <a16:creationId xmlns:a16="http://schemas.microsoft.com/office/drawing/2014/main" id="{D1AC6C64-41FB-44B6-B9A1-D983557AEA01}"/>
                </a:ext>
              </a:extLst>
            </p:cNvPr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4179889" y="3487739"/>
              <a:ext cx="73025" cy="109537"/>
            </a:xfrm>
            <a:custGeom>
              <a:avLst/>
              <a:gdLst>
                <a:gd name="T0" fmla="*/ 3079 w 166"/>
                <a:gd name="T1" fmla="*/ 96371 h 208"/>
                <a:gd name="T2" fmla="*/ 34753 w 166"/>
                <a:gd name="T3" fmla="*/ 109537 h 208"/>
                <a:gd name="T4" fmla="*/ 37392 w 166"/>
                <a:gd name="T5" fmla="*/ 109010 h 208"/>
                <a:gd name="T6" fmla="*/ 39592 w 166"/>
                <a:gd name="T7" fmla="*/ 107431 h 208"/>
                <a:gd name="T8" fmla="*/ 42671 w 166"/>
                <a:gd name="T9" fmla="*/ 104271 h 208"/>
                <a:gd name="T10" fmla="*/ 45751 w 166"/>
                <a:gd name="T11" fmla="*/ 101111 h 208"/>
                <a:gd name="T12" fmla="*/ 51469 w 166"/>
                <a:gd name="T13" fmla="*/ 92685 h 208"/>
                <a:gd name="T14" fmla="*/ 57188 w 166"/>
                <a:gd name="T15" fmla="*/ 83206 h 208"/>
                <a:gd name="T16" fmla="*/ 67746 w 166"/>
                <a:gd name="T17" fmla="*/ 64248 h 208"/>
                <a:gd name="T18" fmla="*/ 73025 w 166"/>
                <a:gd name="T19" fmla="*/ 54242 h 208"/>
                <a:gd name="T20" fmla="*/ 63347 w 166"/>
                <a:gd name="T21" fmla="*/ 49502 h 208"/>
                <a:gd name="T22" fmla="*/ 55429 w 166"/>
                <a:gd name="T23" fmla="*/ 44236 h 208"/>
                <a:gd name="T24" fmla="*/ 47510 w 166"/>
                <a:gd name="T25" fmla="*/ 38970 h 208"/>
                <a:gd name="T26" fmla="*/ 40912 w 166"/>
                <a:gd name="T27" fmla="*/ 33704 h 208"/>
                <a:gd name="T28" fmla="*/ 37832 w 166"/>
                <a:gd name="T29" fmla="*/ 30544 h 208"/>
                <a:gd name="T30" fmla="*/ 35633 w 166"/>
                <a:gd name="T31" fmla="*/ 27911 h 208"/>
                <a:gd name="T32" fmla="*/ 32993 w 166"/>
                <a:gd name="T33" fmla="*/ 24751 h 208"/>
                <a:gd name="T34" fmla="*/ 31234 w 166"/>
                <a:gd name="T35" fmla="*/ 21065 h 208"/>
                <a:gd name="T36" fmla="*/ 29474 w 166"/>
                <a:gd name="T37" fmla="*/ 17378 h 208"/>
                <a:gd name="T38" fmla="*/ 28154 w 166"/>
                <a:gd name="T39" fmla="*/ 13692 h 208"/>
                <a:gd name="T40" fmla="*/ 27274 w 166"/>
                <a:gd name="T41" fmla="*/ 9479 h 208"/>
                <a:gd name="T42" fmla="*/ 26395 w 166"/>
                <a:gd name="T43" fmla="*/ 5793 h 208"/>
                <a:gd name="T44" fmla="*/ 21995 w 166"/>
                <a:gd name="T45" fmla="*/ 5266 h 208"/>
                <a:gd name="T46" fmla="*/ 18916 w 166"/>
                <a:gd name="T47" fmla="*/ 4213 h 208"/>
                <a:gd name="T48" fmla="*/ 17596 w 166"/>
                <a:gd name="T49" fmla="*/ 2633 h 208"/>
                <a:gd name="T50" fmla="*/ 17156 w 166"/>
                <a:gd name="T51" fmla="*/ 1580 h 208"/>
                <a:gd name="T52" fmla="*/ 16717 w 166"/>
                <a:gd name="T53" fmla="*/ 527 h 208"/>
                <a:gd name="T54" fmla="*/ 15837 w 166"/>
                <a:gd name="T55" fmla="*/ 0 h 208"/>
                <a:gd name="T56" fmla="*/ 14077 w 166"/>
                <a:gd name="T57" fmla="*/ 527 h 208"/>
                <a:gd name="T58" fmla="*/ 11878 w 166"/>
                <a:gd name="T59" fmla="*/ 2633 h 208"/>
                <a:gd name="T60" fmla="*/ 8798 w 166"/>
                <a:gd name="T61" fmla="*/ 5793 h 208"/>
                <a:gd name="T62" fmla="*/ 4839 w 166"/>
                <a:gd name="T63" fmla="*/ 11586 h 208"/>
                <a:gd name="T64" fmla="*/ 3079 w 166"/>
                <a:gd name="T65" fmla="*/ 15272 h 208"/>
                <a:gd name="T66" fmla="*/ 1760 w 166"/>
                <a:gd name="T67" fmla="*/ 19485 h 208"/>
                <a:gd name="T68" fmla="*/ 880 w 166"/>
                <a:gd name="T69" fmla="*/ 23698 h 208"/>
                <a:gd name="T70" fmla="*/ 0 w 166"/>
                <a:gd name="T71" fmla="*/ 28437 h 208"/>
                <a:gd name="T72" fmla="*/ 0 w 166"/>
                <a:gd name="T73" fmla="*/ 31597 h 208"/>
                <a:gd name="T74" fmla="*/ 880 w 166"/>
                <a:gd name="T75" fmla="*/ 34230 h 208"/>
                <a:gd name="T76" fmla="*/ 1320 w 166"/>
                <a:gd name="T77" fmla="*/ 36863 h 208"/>
                <a:gd name="T78" fmla="*/ 2200 w 166"/>
                <a:gd name="T79" fmla="*/ 40023 h 208"/>
                <a:gd name="T80" fmla="*/ 4399 w 166"/>
                <a:gd name="T81" fmla="*/ 45289 h 208"/>
                <a:gd name="T82" fmla="*/ 7478 w 166"/>
                <a:gd name="T83" fmla="*/ 51609 h 208"/>
                <a:gd name="T84" fmla="*/ 9678 w 166"/>
                <a:gd name="T85" fmla="*/ 57402 h 208"/>
                <a:gd name="T86" fmla="*/ 12317 w 166"/>
                <a:gd name="T87" fmla="*/ 63194 h 208"/>
                <a:gd name="T88" fmla="*/ 13197 w 166"/>
                <a:gd name="T89" fmla="*/ 66354 h 208"/>
                <a:gd name="T90" fmla="*/ 14077 w 166"/>
                <a:gd name="T91" fmla="*/ 70040 h 208"/>
                <a:gd name="T92" fmla="*/ 14517 w 166"/>
                <a:gd name="T93" fmla="*/ 73200 h 208"/>
                <a:gd name="T94" fmla="*/ 14517 w 166"/>
                <a:gd name="T95" fmla="*/ 77413 h 208"/>
                <a:gd name="T96" fmla="*/ 14077 w 166"/>
                <a:gd name="T97" fmla="*/ 80573 h 208"/>
                <a:gd name="T98" fmla="*/ 13637 w 166"/>
                <a:gd name="T99" fmla="*/ 83733 h 208"/>
                <a:gd name="T100" fmla="*/ 12317 w 166"/>
                <a:gd name="T101" fmla="*/ 86892 h 208"/>
                <a:gd name="T102" fmla="*/ 10998 w 166"/>
                <a:gd name="T103" fmla="*/ 88999 h 208"/>
                <a:gd name="T104" fmla="*/ 9238 w 166"/>
                <a:gd name="T105" fmla="*/ 91632 h 208"/>
                <a:gd name="T106" fmla="*/ 7478 w 166"/>
                <a:gd name="T107" fmla="*/ 93212 h 208"/>
                <a:gd name="T108" fmla="*/ 4839 w 166"/>
                <a:gd name="T109" fmla="*/ 94792 h 208"/>
                <a:gd name="T110" fmla="*/ 3079 w 166"/>
                <a:gd name="T111" fmla="*/ 96371 h 20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8" name="Freeform 196">
              <a:extLst>
                <a:ext uri="{FF2B5EF4-FFF2-40B4-BE49-F238E27FC236}">
                  <a16:creationId xmlns:a16="http://schemas.microsoft.com/office/drawing/2014/main" id="{E4B3BEE7-4DE8-44C2-9232-57640A5FCCD1}"/>
                </a:ext>
              </a:extLst>
            </p:cNvPr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3694113" y="3046414"/>
              <a:ext cx="69850" cy="58737"/>
            </a:xfrm>
            <a:custGeom>
              <a:avLst/>
              <a:gdLst>
                <a:gd name="T0" fmla="*/ 65165 w 164"/>
                <a:gd name="T1" fmla="*/ 58737 h 104"/>
                <a:gd name="T2" fmla="*/ 57073 w 164"/>
                <a:gd name="T3" fmla="*/ 57607 h 104"/>
                <a:gd name="T4" fmla="*/ 46851 w 164"/>
                <a:gd name="T5" fmla="*/ 54784 h 104"/>
                <a:gd name="T6" fmla="*/ 40888 w 164"/>
                <a:gd name="T7" fmla="*/ 53089 h 104"/>
                <a:gd name="T8" fmla="*/ 34073 w 164"/>
                <a:gd name="T9" fmla="*/ 52524 h 104"/>
                <a:gd name="T10" fmla="*/ 31092 w 164"/>
                <a:gd name="T11" fmla="*/ 52524 h 104"/>
                <a:gd name="T12" fmla="*/ 27259 w 164"/>
                <a:gd name="T13" fmla="*/ 53089 h 104"/>
                <a:gd name="T14" fmla="*/ 23425 w 164"/>
                <a:gd name="T15" fmla="*/ 54219 h 104"/>
                <a:gd name="T16" fmla="*/ 20018 w 164"/>
                <a:gd name="T17" fmla="*/ 55348 h 104"/>
                <a:gd name="T18" fmla="*/ 17463 w 164"/>
                <a:gd name="T19" fmla="*/ 56478 h 104"/>
                <a:gd name="T20" fmla="*/ 14481 w 164"/>
                <a:gd name="T21" fmla="*/ 56478 h 104"/>
                <a:gd name="T22" fmla="*/ 11500 w 164"/>
                <a:gd name="T23" fmla="*/ 55913 h 104"/>
                <a:gd name="T24" fmla="*/ 8092 w 164"/>
                <a:gd name="T25" fmla="*/ 54219 h 104"/>
                <a:gd name="T26" fmla="*/ 4685 w 164"/>
                <a:gd name="T27" fmla="*/ 51960 h 104"/>
                <a:gd name="T28" fmla="*/ 2555 w 164"/>
                <a:gd name="T29" fmla="*/ 49701 h 104"/>
                <a:gd name="T30" fmla="*/ 1278 w 164"/>
                <a:gd name="T31" fmla="*/ 48571 h 104"/>
                <a:gd name="T32" fmla="*/ 426 w 164"/>
                <a:gd name="T33" fmla="*/ 47441 h 104"/>
                <a:gd name="T34" fmla="*/ 0 w 164"/>
                <a:gd name="T35" fmla="*/ 45747 h 104"/>
                <a:gd name="T36" fmla="*/ 0 w 164"/>
                <a:gd name="T37" fmla="*/ 44618 h 104"/>
                <a:gd name="T38" fmla="*/ 0 w 164"/>
                <a:gd name="T39" fmla="*/ 42923 h 104"/>
                <a:gd name="T40" fmla="*/ 426 w 164"/>
                <a:gd name="T41" fmla="*/ 41794 h 104"/>
                <a:gd name="T42" fmla="*/ 1278 w 164"/>
                <a:gd name="T43" fmla="*/ 40099 h 104"/>
                <a:gd name="T44" fmla="*/ 2555 w 164"/>
                <a:gd name="T45" fmla="*/ 39535 h 104"/>
                <a:gd name="T46" fmla="*/ 5111 w 164"/>
                <a:gd name="T47" fmla="*/ 37840 h 104"/>
                <a:gd name="T48" fmla="*/ 8518 w 164"/>
                <a:gd name="T49" fmla="*/ 37275 h 104"/>
                <a:gd name="T50" fmla="*/ 17037 w 164"/>
                <a:gd name="T51" fmla="*/ 37275 h 104"/>
                <a:gd name="T52" fmla="*/ 25981 w 164"/>
                <a:gd name="T53" fmla="*/ 37840 h 104"/>
                <a:gd name="T54" fmla="*/ 29814 w 164"/>
                <a:gd name="T55" fmla="*/ 37840 h 104"/>
                <a:gd name="T56" fmla="*/ 33647 w 164"/>
                <a:gd name="T57" fmla="*/ 37840 h 104"/>
                <a:gd name="T58" fmla="*/ 37055 w 164"/>
                <a:gd name="T59" fmla="*/ 37840 h 104"/>
                <a:gd name="T60" fmla="*/ 40036 w 164"/>
                <a:gd name="T61" fmla="*/ 37840 h 104"/>
                <a:gd name="T62" fmla="*/ 40036 w 164"/>
                <a:gd name="T63" fmla="*/ 31628 h 104"/>
                <a:gd name="T64" fmla="*/ 40036 w 164"/>
                <a:gd name="T65" fmla="*/ 24285 h 104"/>
                <a:gd name="T66" fmla="*/ 40036 w 164"/>
                <a:gd name="T67" fmla="*/ 16379 h 104"/>
                <a:gd name="T68" fmla="*/ 40036 w 164"/>
                <a:gd name="T69" fmla="*/ 10166 h 104"/>
                <a:gd name="T70" fmla="*/ 33647 w 164"/>
                <a:gd name="T71" fmla="*/ 9601 h 104"/>
                <a:gd name="T72" fmla="*/ 28536 w 164"/>
                <a:gd name="T73" fmla="*/ 8472 h 104"/>
                <a:gd name="T74" fmla="*/ 26407 w 164"/>
                <a:gd name="T75" fmla="*/ 7342 h 104"/>
                <a:gd name="T76" fmla="*/ 24277 w 164"/>
                <a:gd name="T77" fmla="*/ 5648 h 104"/>
                <a:gd name="T78" fmla="*/ 22148 w 164"/>
                <a:gd name="T79" fmla="*/ 3389 h 104"/>
                <a:gd name="T80" fmla="*/ 20018 w 164"/>
                <a:gd name="T81" fmla="*/ 0 h 104"/>
                <a:gd name="T82" fmla="*/ 62184 w 164"/>
                <a:gd name="T83" fmla="*/ 0 h 104"/>
                <a:gd name="T84" fmla="*/ 62609 w 164"/>
                <a:gd name="T85" fmla="*/ 3389 h 104"/>
                <a:gd name="T86" fmla="*/ 63035 w 164"/>
                <a:gd name="T87" fmla="*/ 7342 h 104"/>
                <a:gd name="T88" fmla="*/ 63887 w 164"/>
                <a:gd name="T89" fmla="*/ 10731 h 104"/>
                <a:gd name="T90" fmla="*/ 64739 w 164"/>
                <a:gd name="T91" fmla="*/ 14119 h 104"/>
                <a:gd name="T92" fmla="*/ 66443 w 164"/>
                <a:gd name="T93" fmla="*/ 19767 h 104"/>
                <a:gd name="T94" fmla="*/ 67720 w 164"/>
                <a:gd name="T95" fmla="*/ 25980 h 104"/>
                <a:gd name="T96" fmla="*/ 69424 w 164"/>
                <a:gd name="T97" fmla="*/ 30498 h 104"/>
                <a:gd name="T98" fmla="*/ 69850 w 164"/>
                <a:gd name="T99" fmla="*/ 35016 h 104"/>
                <a:gd name="T100" fmla="*/ 69424 w 164"/>
                <a:gd name="T101" fmla="*/ 36711 h 104"/>
                <a:gd name="T102" fmla="*/ 68146 w 164"/>
                <a:gd name="T103" fmla="*/ 38405 h 104"/>
                <a:gd name="T104" fmla="*/ 66869 w 164"/>
                <a:gd name="T105" fmla="*/ 40099 h 104"/>
                <a:gd name="T106" fmla="*/ 65165 w 164"/>
                <a:gd name="T107" fmla="*/ 41229 h 104"/>
                <a:gd name="T108" fmla="*/ 65165 w 164"/>
                <a:gd name="T109" fmla="*/ 58737 h 1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9" name="Freeform 197">
              <a:extLst>
                <a:ext uri="{FF2B5EF4-FFF2-40B4-BE49-F238E27FC236}">
                  <a16:creationId xmlns:a16="http://schemas.microsoft.com/office/drawing/2014/main" id="{95A0D925-73E1-4CBC-B4F3-848C90BA1495}"/>
                </a:ext>
              </a:extLst>
            </p:cNvPr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4060826" y="5400675"/>
              <a:ext cx="23813" cy="57150"/>
            </a:xfrm>
            <a:custGeom>
              <a:avLst/>
              <a:gdLst>
                <a:gd name="T0" fmla="*/ 0 w 53"/>
                <a:gd name="T1" fmla="*/ 24063 h 19"/>
                <a:gd name="T2" fmla="*/ 3145 w 53"/>
                <a:gd name="T3" fmla="*/ 39103 h 19"/>
                <a:gd name="T4" fmla="*/ 6290 w 53"/>
                <a:gd name="T5" fmla="*/ 51134 h 19"/>
                <a:gd name="T6" fmla="*/ 9885 w 53"/>
                <a:gd name="T7" fmla="*/ 57150 h 19"/>
                <a:gd name="T8" fmla="*/ 13030 w 53"/>
                <a:gd name="T9" fmla="*/ 57150 h 19"/>
                <a:gd name="T10" fmla="*/ 15726 w 53"/>
                <a:gd name="T11" fmla="*/ 54142 h 19"/>
                <a:gd name="T12" fmla="*/ 18871 w 53"/>
                <a:gd name="T13" fmla="*/ 45118 h 19"/>
                <a:gd name="T14" fmla="*/ 21117 w 53"/>
                <a:gd name="T15" fmla="*/ 36095 h 19"/>
                <a:gd name="T16" fmla="*/ 23813 w 53"/>
                <a:gd name="T17" fmla="*/ 24063 h 19"/>
                <a:gd name="T18" fmla="*/ 21117 w 53"/>
                <a:gd name="T19" fmla="*/ 15039 h 19"/>
                <a:gd name="T20" fmla="*/ 18871 w 53"/>
                <a:gd name="T21" fmla="*/ 6016 h 19"/>
                <a:gd name="T22" fmla="*/ 15726 w 53"/>
                <a:gd name="T23" fmla="*/ 3008 h 19"/>
                <a:gd name="T24" fmla="*/ 13030 w 53"/>
                <a:gd name="T25" fmla="*/ 0 h 19"/>
                <a:gd name="T26" fmla="*/ 9885 w 53"/>
                <a:gd name="T27" fmla="*/ 0 h 19"/>
                <a:gd name="T28" fmla="*/ 6290 w 53"/>
                <a:gd name="T29" fmla="*/ 3008 h 19"/>
                <a:gd name="T30" fmla="*/ 3145 w 53"/>
                <a:gd name="T31" fmla="*/ 9024 h 19"/>
                <a:gd name="T32" fmla="*/ 0 w 53"/>
                <a:gd name="T33" fmla="*/ 24063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0" name="Freeform 198">
              <a:extLst>
                <a:ext uri="{FF2B5EF4-FFF2-40B4-BE49-F238E27FC236}">
                  <a16:creationId xmlns:a16="http://schemas.microsoft.com/office/drawing/2014/main" id="{394871C2-1D11-4445-9BC5-F34030CA0B38}"/>
                </a:ext>
              </a:extLst>
            </p:cNvPr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4025901" y="5380039"/>
              <a:ext cx="34925" cy="58737"/>
            </a:xfrm>
            <a:custGeom>
              <a:avLst/>
              <a:gdLst>
                <a:gd name="T0" fmla="*/ 0 w 80"/>
                <a:gd name="T1" fmla="*/ 0 h 18"/>
                <a:gd name="T2" fmla="*/ 437 w 80"/>
                <a:gd name="T3" fmla="*/ 19579 h 18"/>
                <a:gd name="T4" fmla="*/ 2183 w 80"/>
                <a:gd name="T5" fmla="*/ 39158 h 18"/>
                <a:gd name="T6" fmla="*/ 3493 w 80"/>
                <a:gd name="T7" fmla="*/ 45684 h 18"/>
                <a:gd name="T8" fmla="*/ 4802 w 80"/>
                <a:gd name="T9" fmla="*/ 52211 h 18"/>
                <a:gd name="T10" fmla="*/ 6548 w 80"/>
                <a:gd name="T11" fmla="*/ 58737 h 18"/>
                <a:gd name="T12" fmla="*/ 8731 w 80"/>
                <a:gd name="T13" fmla="*/ 58737 h 18"/>
                <a:gd name="T14" fmla="*/ 9604 w 80"/>
                <a:gd name="T15" fmla="*/ 48948 h 18"/>
                <a:gd name="T16" fmla="*/ 10478 w 80"/>
                <a:gd name="T17" fmla="*/ 42421 h 18"/>
                <a:gd name="T18" fmla="*/ 11351 w 80"/>
                <a:gd name="T19" fmla="*/ 35895 h 18"/>
                <a:gd name="T20" fmla="*/ 13533 w 80"/>
                <a:gd name="T21" fmla="*/ 32632 h 18"/>
                <a:gd name="T22" fmla="*/ 16589 w 80"/>
                <a:gd name="T23" fmla="*/ 26105 h 18"/>
                <a:gd name="T24" fmla="*/ 20518 w 80"/>
                <a:gd name="T25" fmla="*/ 22842 h 18"/>
                <a:gd name="T26" fmla="*/ 24884 w 80"/>
                <a:gd name="T27" fmla="*/ 22842 h 18"/>
                <a:gd name="T28" fmla="*/ 28813 w 80"/>
                <a:gd name="T29" fmla="*/ 19579 h 18"/>
                <a:gd name="T30" fmla="*/ 30559 w 80"/>
                <a:gd name="T31" fmla="*/ 16316 h 18"/>
                <a:gd name="T32" fmla="*/ 32306 w 80"/>
                <a:gd name="T33" fmla="*/ 13053 h 18"/>
                <a:gd name="T34" fmla="*/ 33615 w 80"/>
                <a:gd name="T35" fmla="*/ 6526 h 18"/>
                <a:gd name="T36" fmla="*/ 34925 w 80"/>
                <a:gd name="T37" fmla="*/ 0 h 18"/>
                <a:gd name="T38" fmla="*/ 0 w 80"/>
                <a:gd name="T39" fmla="*/ 0 h 1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1" name="Freeform 199">
              <a:extLst>
                <a:ext uri="{FF2B5EF4-FFF2-40B4-BE49-F238E27FC236}">
                  <a16:creationId xmlns:a16="http://schemas.microsoft.com/office/drawing/2014/main" id="{75EA0F0D-7798-4C86-8BF8-039E55F8B00A}"/>
                </a:ext>
              </a:extLst>
            </p:cNvPr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4025901" y="5359401"/>
              <a:ext cx="22225" cy="60325"/>
            </a:xfrm>
            <a:custGeom>
              <a:avLst/>
              <a:gdLst>
                <a:gd name="T0" fmla="*/ 9663 w 46"/>
                <a:gd name="T1" fmla="*/ 0 h 27"/>
                <a:gd name="T2" fmla="*/ 0 w 46"/>
                <a:gd name="T3" fmla="*/ 40217 h 27"/>
                <a:gd name="T4" fmla="*/ 4348 w 46"/>
                <a:gd name="T5" fmla="*/ 49154 h 27"/>
                <a:gd name="T6" fmla="*/ 7730 w 46"/>
                <a:gd name="T7" fmla="*/ 55856 h 27"/>
                <a:gd name="T8" fmla="*/ 11113 w 46"/>
                <a:gd name="T9" fmla="*/ 60325 h 27"/>
                <a:gd name="T10" fmla="*/ 14011 w 46"/>
                <a:gd name="T11" fmla="*/ 60325 h 27"/>
                <a:gd name="T12" fmla="*/ 15944 w 46"/>
                <a:gd name="T13" fmla="*/ 60325 h 27"/>
                <a:gd name="T14" fmla="*/ 17877 w 46"/>
                <a:gd name="T15" fmla="*/ 55856 h 27"/>
                <a:gd name="T16" fmla="*/ 20292 w 46"/>
                <a:gd name="T17" fmla="*/ 49154 h 27"/>
                <a:gd name="T18" fmla="*/ 22225 w 46"/>
                <a:gd name="T19" fmla="*/ 40217 h 27"/>
                <a:gd name="T20" fmla="*/ 19809 w 46"/>
                <a:gd name="T21" fmla="*/ 35748 h 27"/>
                <a:gd name="T22" fmla="*/ 15944 w 46"/>
                <a:gd name="T23" fmla="*/ 24577 h 27"/>
                <a:gd name="T24" fmla="*/ 12562 w 46"/>
                <a:gd name="T25" fmla="*/ 11171 h 27"/>
                <a:gd name="T26" fmla="*/ 9663 w 46"/>
                <a:gd name="T27" fmla="*/ 0 h 2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2" name="Freeform 200">
              <a:extLst>
                <a:ext uri="{FF2B5EF4-FFF2-40B4-BE49-F238E27FC236}">
                  <a16:creationId xmlns:a16="http://schemas.microsoft.com/office/drawing/2014/main" id="{FCE3620E-763A-4CC2-B9CA-D892EF90729C}"/>
                </a:ext>
              </a:extLst>
            </p:cNvPr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3995738" y="5353051"/>
              <a:ext cx="25400" cy="60325"/>
            </a:xfrm>
            <a:custGeom>
              <a:avLst/>
              <a:gdLst>
                <a:gd name="T0" fmla="*/ 15993 w 54"/>
                <a:gd name="T1" fmla="*/ 0 h 39"/>
                <a:gd name="T2" fmla="*/ 9407 w 54"/>
                <a:gd name="T3" fmla="*/ 6187 h 39"/>
                <a:gd name="T4" fmla="*/ 4704 w 54"/>
                <a:gd name="T5" fmla="*/ 15468 h 39"/>
                <a:gd name="T6" fmla="*/ 2822 w 54"/>
                <a:gd name="T7" fmla="*/ 20108 h 39"/>
                <a:gd name="T8" fmla="*/ 1881 w 54"/>
                <a:gd name="T9" fmla="*/ 24749 h 39"/>
                <a:gd name="T10" fmla="*/ 941 w 54"/>
                <a:gd name="T11" fmla="*/ 30936 h 39"/>
                <a:gd name="T12" fmla="*/ 0 w 54"/>
                <a:gd name="T13" fmla="*/ 37123 h 39"/>
                <a:gd name="T14" fmla="*/ 941 w 54"/>
                <a:gd name="T15" fmla="*/ 43310 h 39"/>
                <a:gd name="T16" fmla="*/ 1411 w 54"/>
                <a:gd name="T17" fmla="*/ 49497 h 39"/>
                <a:gd name="T18" fmla="*/ 2352 w 54"/>
                <a:gd name="T19" fmla="*/ 54138 h 39"/>
                <a:gd name="T20" fmla="*/ 3763 w 54"/>
                <a:gd name="T21" fmla="*/ 57231 h 39"/>
                <a:gd name="T22" fmla="*/ 5174 w 54"/>
                <a:gd name="T23" fmla="*/ 58778 h 39"/>
                <a:gd name="T24" fmla="*/ 7526 w 54"/>
                <a:gd name="T25" fmla="*/ 60325 h 39"/>
                <a:gd name="T26" fmla="*/ 9407 w 54"/>
                <a:gd name="T27" fmla="*/ 60325 h 39"/>
                <a:gd name="T28" fmla="*/ 11759 w 54"/>
                <a:gd name="T29" fmla="*/ 60325 h 39"/>
                <a:gd name="T30" fmla="*/ 14111 w 54"/>
                <a:gd name="T31" fmla="*/ 58778 h 39"/>
                <a:gd name="T32" fmla="*/ 15993 w 54"/>
                <a:gd name="T33" fmla="*/ 57231 h 39"/>
                <a:gd name="T34" fmla="*/ 18344 w 54"/>
                <a:gd name="T35" fmla="*/ 54138 h 39"/>
                <a:gd name="T36" fmla="*/ 20226 w 54"/>
                <a:gd name="T37" fmla="*/ 51044 h 39"/>
                <a:gd name="T38" fmla="*/ 22107 w 54"/>
                <a:gd name="T39" fmla="*/ 46404 h 39"/>
                <a:gd name="T40" fmla="*/ 23519 w 54"/>
                <a:gd name="T41" fmla="*/ 40217 h 39"/>
                <a:gd name="T42" fmla="*/ 24459 w 54"/>
                <a:gd name="T43" fmla="*/ 34029 h 39"/>
                <a:gd name="T44" fmla="*/ 25400 w 54"/>
                <a:gd name="T45" fmla="*/ 27842 h 39"/>
                <a:gd name="T46" fmla="*/ 23989 w 54"/>
                <a:gd name="T47" fmla="*/ 26296 h 39"/>
                <a:gd name="T48" fmla="*/ 22578 w 54"/>
                <a:gd name="T49" fmla="*/ 24749 h 39"/>
                <a:gd name="T50" fmla="*/ 20696 w 54"/>
                <a:gd name="T51" fmla="*/ 21655 h 39"/>
                <a:gd name="T52" fmla="*/ 19756 w 54"/>
                <a:gd name="T53" fmla="*/ 17015 h 39"/>
                <a:gd name="T54" fmla="*/ 18344 w 54"/>
                <a:gd name="T55" fmla="*/ 12374 h 39"/>
                <a:gd name="T56" fmla="*/ 17404 w 54"/>
                <a:gd name="T57" fmla="*/ 7734 h 39"/>
                <a:gd name="T58" fmla="*/ 15993 w 54"/>
                <a:gd name="T59" fmla="*/ 3094 h 39"/>
                <a:gd name="T60" fmla="*/ 15993 w 54"/>
                <a:gd name="T61" fmla="*/ 0 h 3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" name="Freeform 201">
              <a:extLst>
                <a:ext uri="{FF2B5EF4-FFF2-40B4-BE49-F238E27FC236}">
                  <a16:creationId xmlns:a16="http://schemas.microsoft.com/office/drawing/2014/main" id="{973B16DA-EAF6-4E0D-924B-0354E9BF61AD}"/>
                </a:ext>
              </a:extLst>
            </p:cNvPr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3970339" y="5343525"/>
              <a:ext cx="28575" cy="58738"/>
            </a:xfrm>
            <a:custGeom>
              <a:avLst/>
              <a:gdLst>
                <a:gd name="T0" fmla="*/ 0 w 60"/>
                <a:gd name="T1" fmla="*/ 43075 h 15"/>
                <a:gd name="T2" fmla="*/ 4763 w 60"/>
                <a:gd name="T3" fmla="*/ 50906 h 15"/>
                <a:gd name="T4" fmla="*/ 8573 w 60"/>
                <a:gd name="T5" fmla="*/ 54822 h 15"/>
                <a:gd name="T6" fmla="*/ 12859 w 60"/>
                <a:gd name="T7" fmla="*/ 58738 h 15"/>
                <a:gd name="T8" fmla="*/ 16669 w 60"/>
                <a:gd name="T9" fmla="*/ 58738 h 15"/>
                <a:gd name="T10" fmla="*/ 19526 w 60"/>
                <a:gd name="T11" fmla="*/ 54822 h 15"/>
                <a:gd name="T12" fmla="*/ 22860 w 60"/>
                <a:gd name="T13" fmla="*/ 46990 h 15"/>
                <a:gd name="T14" fmla="*/ 26194 w 60"/>
                <a:gd name="T15" fmla="*/ 35243 h 15"/>
                <a:gd name="T16" fmla="*/ 28575 w 60"/>
                <a:gd name="T17" fmla="*/ 19579 h 15"/>
                <a:gd name="T18" fmla="*/ 27146 w 60"/>
                <a:gd name="T19" fmla="*/ 11748 h 15"/>
                <a:gd name="T20" fmla="*/ 25718 w 60"/>
                <a:gd name="T21" fmla="*/ 0 h 15"/>
                <a:gd name="T22" fmla="*/ 24289 w 60"/>
                <a:gd name="T23" fmla="*/ 0 h 15"/>
                <a:gd name="T24" fmla="*/ 22384 w 60"/>
                <a:gd name="T25" fmla="*/ 0 h 15"/>
                <a:gd name="T26" fmla="*/ 19050 w 60"/>
                <a:gd name="T27" fmla="*/ 0 h 15"/>
                <a:gd name="T28" fmla="*/ 15716 w 60"/>
                <a:gd name="T29" fmla="*/ 11748 h 15"/>
                <a:gd name="T30" fmla="*/ 11430 w 60"/>
                <a:gd name="T31" fmla="*/ 23495 h 15"/>
                <a:gd name="T32" fmla="*/ 7620 w 60"/>
                <a:gd name="T33" fmla="*/ 31327 h 15"/>
                <a:gd name="T34" fmla="*/ 3334 w 60"/>
                <a:gd name="T35" fmla="*/ 39159 h 15"/>
                <a:gd name="T36" fmla="*/ 0 w 60"/>
                <a:gd name="T37" fmla="*/ 43075 h 1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" name="Freeform 202">
              <a:extLst>
                <a:ext uri="{FF2B5EF4-FFF2-40B4-BE49-F238E27FC236}">
                  <a16:creationId xmlns:a16="http://schemas.microsoft.com/office/drawing/2014/main" id="{5FC30D7A-8F20-4B31-BCFC-91F52F6A8BE4}"/>
                </a:ext>
              </a:extLst>
            </p:cNvPr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3946525" y="5330825"/>
              <a:ext cx="33338" cy="57150"/>
            </a:xfrm>
            <a:custGeom>
              <a:avLst/>
              <a:gdLst>
                <a:gd name="T0" fmla="*/ 16880 w 79"/>
                <a:gd name="T1" fmla="*/ 0 h 32"/>
                <a:gd name="T2" fmla="*/ 14348 w 79"/>
                <a:gd name="T3" fmla="*/ 1786 h 32"/>
                <a:gd name="T4" fmla="*/ 12660 w 79"/>
                <a:gd name="T5" fmla="*/ 3572 h 32"/>
                <a:gd name="T6" fmla="*/ 10550 w 79"/>
                <a:gd name="T7" fmla="*/ 7144 h 32"/>
                <a:gd name="T8" fmla="*/ 8440 w 79"/>
                <a:gd name="T9" fmla="*/ 10716 h 32"/>
                <a:gd name="T10" fmla="*/ 6330 w 79"/>
                <a:gd name="T11" fmla="*/ 16073 h 32"/>
                <a:gd name="T12" fmla="*/ 4220 w 79"/>
                <a:gd name="T13" fmla="*/ 19645 h 32"/>
                <a:gd name="T14" fmla="*/ 2110 w 79"/>
                <a:gd name="T15" fmla="*/ 21431 h 32"/>
                <a:gd name="T16" fmla="*/ 0 w 79"/>
                <a:gd name="T17" fmla="*/ 23217 h 32"/>
                <a:gd name="T18" fmla="*/ 2110 w 79"/>
                <a:gd name="T19" fmla="*/ 37505 h 32"/>
                <a:gd name="T20" fmla="*/ 4220 w 79"/>
                <a:gd name="T21" fmla="*/ 46434 h 32"/>
                <a:gd name="T22" fmla="*/ 5064 w 79"/>
                <a:gd name="T23" fmla="*/ 51792 h 32"/>
                <a:gd name="T24" fmla="*/ 6330 w 79"/>
                <a:gd name="T25" fmla="*/ 55364 h 32"/>
                <a:gd name="T26" fmla="*/ 7596 w 79"/>
                <a:gd name="T27" fmla="*/ 55364 h 32"/>
                <a:gd name="T28" fmla="*/ 8440 w 79"/>
                <a:gd name="T29" fmla="*/ 57150 h 32"/>
                <a:gd name="T30" fmla="*/ 11394 w 79"/>
                <a:gd name="T31" fmla="*/ 55364 h 32"/>
                <a:gd name="T32" fmla="*/ 14348 w 79"/>
                <a:gd name="T33" fmla="*/ 53578 h 32"/>
                <a:gd name="T34" fmla="*/ 17302 w 79"/>
                <a:gd name="T35" fmla="*/ 48220 h 32"/>
                <a:gd name="T36" fmla="*/ 20256 w 79"/>
                <a:gd name="T37" fmla="*/ 42863 h 32"/>
                <a:gd name="T38" fmla="*/ 26164 w 79"/>
                <a:gd name="T39" fmla="*/ 32147 h 32"/>
                <a:gd name="T40" fmla="*/ 33338 w 79"/>
                <a:gd name="T41" fmla="*/ 23217 h 32"/>
                <a:gd name="T42" fmla="*/ 28274 w 79"/>
                <a:gd name="T43" fmla="*/ 10716 h 32"/>
                <a:gd name="T44" fmla="*/ 24476 w 79"/>
                <a:gd name="T45" fmla="*/ 3572 h 32"/>
                <a:gd name="T46" fmla="*/ 20678 w 79"/>
                <a:gd name="T47" fmla="*/ 1786 h 32"/>
                <a:gd name="T48" fmla="*/ 16880 w 79"/>
                <a:gd name="T49" fmla="*/ 0 h 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5" name="Freeform 203">
              <a:extLst>
                <a:ext uri="{FF2B5EF4-FFF2-40B4-BE49-F238E27FC236}">
                  <a16:creationId xmlns:a16="http://schemas.microsoft.com/office/drawing/2014/main" id="{E98A38C2-F505-4D58-9E4F-9D2C39999DD8}"/>
                </a:ext>
              </a:extLst>
            </p:cNvPr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3940176" y="5311775"/>
              <a:ext cx="30163" cy="57150"/>
            </a:xfrm>
            <a:custGeom>
              <a:avLst/>
              <a:gdLst>
                <a:gd name="T0" fmla="*/ 15082 w 66"/>
                <a:gd name="T1" fmla="*/ 0 h 19"/>
                <a:gd name="T2" fmla="*/ 11425 w 66"/>
                <a:gd name="T3" fmla="*/ 3008 h 19"/>
                <a:gd name="T4" fmla="*/ 8683 w 66"/>
                <a:gd name="T5" fmla="*/ 6016 h 19"/>
                <a:gd name="T6" fmla="*/ 5941 w 66"/>
                <a:gd name="T7" fmla="*/ 12032 h 19"/>
                <a:gd name="T8" fmla="*/ 4113 w 66"/>
                <a:gd name="T9" fmla="*/ 21055 h 19"/>
                <a:gd name="T10" fmla="*/ 2285 w 66"/>
                <a:gd name="T11" fmla="*/ 33087 h 19"/>
                <a:gd name="T12" fmla="*/ 914 w 66"/>
                <a:gd name="T13" fmla="*/ 42111 h 19"/>
                <a:gd name="T14" fmla="*/ 0 w 66"/>
                <a:gd name="T15" fmla="*/ 51134 h 19"/>
                <a:gd name="T16" fmla="*/ 0 w 66"/>
                <a:gd name="T17" fmla="*/ 57150 h 19"/>
                <a:gd name="T18" fmla="*/ 8683 w 66"/>
                <a:gd name="T19" fmla="*/ 57150 h 19"/>
                <a:gd name="T20" fmla="*/ 17367 w 66"/>
                <a:gd name="T21" fmla="*/ 57150 h 19"/>
                <a:gd name="T22" fmla="*/ 21023 w 66"/>
                <a:gd name="T23" fmla="*/ 54142 h 19"/>
                <a:gd name="T24" fmla="*/ 24679 w 66"/>
                <a:gd name="T25" fmla="*/ 51134 h 19"/>
                <a:gd name="T26" fmla="*/ 27878 w 66"/>
                <a:gd name="T27" fmla="*/ 45118 h 19"/>
                <a:gd name="T28" fmla="*/ 30163 w 66"/>
                <a:gd name="T29" fmla="*/ 39103 h 19"/>
                <a:gd name="T30" fmla="*/ 26050 w 66"/>
                <a:gd name="T31" fmla="*/ 24063 h 19"/>
                <a:gd name="T32" fmla="*/ 22851 w 66"/>
                <a:gd name="T33" fmla="*/ 12032 h 19"/>
                <a:gd name="T34" fmla="*/ 19195 w 66"/>
                <a:gd name="T35" fmla="*/ 3008 h 19"/>
                <a:gd name="T36" fmla="*/ 15082 w 66"/>
                <a:gd name="T37" fmla="*/ 0 h 1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6" name="Freeform 204">
              <a:extLst>
                <a:ext uri="{FF2B5EF4-FFF2-40B4-BE49-F238E27FC236}">
                  <a16:creationId xmlns:a16="http://schemas.microsoft.com/office/drawing/2014/main" id="{78BFCB21-D4F6-4896-B7EF-947359AC7F34}"/>
                </a:ext>
              </a:extLst>
            </p:cNvPr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3840163" y="5002214"/>
              <a:ext cx="25400" cy="60325"/>
            </a:xfrm>
            <a:custGeom>
              <a:avLst/>
              <a:gdLst>
                <a:gd name="T0" fmla="*/ 6230 w 53"/>
                <a:gd name="T1" fmla="*/ 0 h 80"/>
                <a:gd name="T2" fmla="*/ 3834 w 53"/>
                <a:gd name="T3" fmla="*/ 3770 h 80"/>
                <a:gd name="T4" fmla="*/ 1917 w 53"/>
                <a:gd name="T5" fmla="*/ 7541 h 80"/>
                <a:gd name="T6" fmla="*/ 958 w 53"/>
                <a:gd name="T7" fmla="*/ 9803 h 80"/>
                <a:gd name="T8" fmla="*/ 479 w 53"/>
                <a:gd name="T9" fmla="*/ 12065 h 80"/>
                <a:gd name="T10" fmla="*/ 0 w 53"/>
                <a:gd name="T11" fmla="*/ 15081 h 80"/>
                <a:gd name="T12" fmla="*/ 0 w 53"/>
                <a:gd name="T13" fmla="*/ 18852 h 80"/>
                <a:gd name="T14" fmla="*/ 0 w 53"/>
                <a:gd name="T15" fmla="*/ 22622 h 80"/>
                <a:gd name="T16" fmla="*/ 958 w 53"/>
                <a:gd name="T17" fmla="*/ 29408 h 80"/>
                <a:gd name="T18" fmla="*/ 2875 w 53"/>
                <a:gd name="T19" fmla="*/ 36195 h 80"/>
                <a:gd name="T20" fmla="*/ 4313 w 53"/>
                <a:gd name="T21" fmla="*/ 42982 h 80"/>
                <a:gd name="T22" fmla="*/ 6230 w 53"/>
                <a:gd name="T23" fmla="*/ 49768 h 80"/>
                <a:gd name="T24" fmla="*/ 9585 w 53"/>
                <a:gd name="T25" fmla="*/ 55047 h 80"/>
                <a:gd name="T26" fmla="*/ 10543 w 53"/>
                <a:gd name="T27" fmla="*/ 57309 h 80"/>
                <a:gd name="T28" fmla="*/ 12460 w 53"/>
                <a:gd name="T29" fmla="*/ 58817 h 80"/>
                <a:gd name="T30" fmla="*/ 14377 w 53"/>
                <a:gd name="T31" fmla="*/ 60325 h 80"/>
                <a:gd name="T32" fmla="*/ 15815 w 53"/>
                <a:gd name="T33" fmla="*/ 60325 h 80"/>
                <a:gd name="T34" fmla="*/ 17253 w 53"/>
                <a:gd name="T35" fmla="*/ 59571 h 80"/>
                <a:gd name="T36" fmla="*/ 18211 w 53"/>
                <a:gd name="T37" fmla="*/ 58817 h 80"/>
                <a:gd name="T38" fmla="*/ 20128 w 53"/>
                <a:gd name="T39" fmla="*/ 57309 h 80"/>
                <a:gd name="T40" fmla="*/ 21566 w 53"/>
                <a:gd name="T41" fmla="*/ 55047 h 80"/>
                <a:gd name="T42" fmla="*/ 23004 w 53"/>
                <a:gd name="T43" fmla="*/ 52784 h 80"/>
                <a:gd name="T44" fmla="*/ 24442 w 53"/>
                <a:gd name="T45" fmla="*/ 50522 h 80"/>
                <a:gd name="T46" fmla="*/ 25400 w 53"/>
                <a:gd name="T47" fmla="*/ 48260 h 80"/>
                <a:gd name="T48" fmla="*/ 25400 w 53"/>
                <a:gd name="T49" fmla="*/ 46752 h 80"/>
                <a:gd name="T50" fmla="*/ 24921 w 53"/>
                <a:gd name="T51" fmla="*/ 40719 h 80"/>
                <a:gd name="T52" fmla="*/ 23483 w 53"/>
                <a:gd name="T53" fmla="*/ 35441 h 80"/>
                <a:gd name="T54" fmla="*/ 22045 w 53"/>
                <a:gd name="T55" fmla="*/ 31671 h 80"/>
                <a:gd name="T56" fmla="*/ 20608 w 53"/>
                <a:gd name="T57" fmla="*/ 27900 h 80"/>
                <a:gd name="T58" fmla="*/ 19170 w 53"/>
                <a:gd name="T59" fmla="*/ 24130 h 80"/>
                <a:gd name="T60" fmla="*/ 17253 w 53"/>
                <a:gd name="T61" fmla="*/ 20360 h 80"/>
                <a:gd name="T62" fmla="*/ 16294 w 53"/>
                <a:gd name="T63" fmla="*/ 15081 h 80"/>
                <a:gd name="T64" fmla="*/ 15815 w 53"/>
                <a:gd name="T65" fmla="*/ 9049 h 80"/>
                <a:gd name="T66" fmla="*/ 15815 w 53"/>
                <a:gd name="T67" fmla="*/ 7541 h 80"/>
                <a:gd name="T68" fmla="*/ 14857 w 53"/>
                <a:gd name="T69" fmla="*/ 6033 h 80"/>
                <a:gd name="T70" fmla="*/ 13898 w 53"/>
                <a:gd name="T71" fmla="*/ 4524 h 80"/>
                <a:gd name="T72" fmla="*/ 11981 w 53"/>
                <a:gd name="T73" fmla="*/ 3016 h 80"/>
                <a:gd name="T74" fmla="*/ 9106 w 53"/>
                <a:gd name="T75" fmla="*/ 754 h 80"/>
                <a:gd name="T76" fmla="*/ 6230 w 53"/>
                <a:gd name="T77" fmla="*/ 0 h 8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7" name="Freeform 205">
              <a:extLst>
                <a:ext uri="{FF2B5EF4-FFF2-40B4-BE49-F238E27FC236}">
                  <a16:creationId xmlns:a16="http://schemas.microsoft.com/office/drawing/2014/main" id="{2DE126F6-96F6-49CB-809D-65BDBF6B0C2E}"/>
                </a:ext>
              </a:extLst>
            </p:cNvPr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3870326" y="5097464"/>
              <a:ext cx="17463" cy="53975"/>
            </a:xfrm>
            <a:custGeom>
              <a:avLst/>
              <a:gdLst>
                <a:gd name="T0" fmla="*/ 0 w 41"/>
                <a:gd name="T1" fmla="*/ 53975 h 43"/>
                <a:gd name="T2" fmla="*/ 11500 w 41"/>
                <a:gd name="T3" fmla="*/ 53975 h 43"/>
                <a:gd name="T4" fmla="*/ 17463 w 41"/>
                <a:gd name="T5" fmla="*/ 30126 h 43"/>
                <a:gd name="T6" fmla="*/ 16185 w 41"/>
                <a:gd name="T7" fmla="*/ 15063 h 43"/>
                <a:gd name="T8" fmla="*/ 14482 w 41"/>
                <a:gd name="T9" fmla="*/ 0 h 43"/>
                <a:gd name="T10" fmla="*/ 11500 w 41"/>
                <a:gd name="T11" fmla="*/ 5021 h 43"/>
                <a:gd name="T12" fmla="*/ 8519 w 41"/>
                <a:gd name="T13" fmla="*/ 11297 h 43"/>
                <a:gd name="T14" fmla="*/ 6389 w 41"/>
                <a:gd name="T15" fmla="*/ 17573 h 43"/>
                <a:gd name="T16" fmla="*/ 4259 w 41"/>
                <a:gd name="T17" fmla="*/ 23849 h 43"/>
                <a:gd name="T18" fmla="*/ 2556 w 41"/>
                <a:gd name="T19" fmla="*/ 30126 h 43"/>
                <a:gd name="T20" fmla="*/ 1278 w 41"/>
                <a:gd name="T21" fmla="*/ 37657 h 43"/>
                <a:gd name="T22" fmla="*/ 426 w 41"/>
                <a:gd name="T23" fmla="*/ 46444 h 43"/>
                <a:gd name="T24" fmla="*/ 0 w 41"/>
                <a:gd name="T25" fmla="*/ 53975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8" name="Freeform 206">
              <a:extLst>
                <a:ext uri="{FF2B5EF4-FFF2-40B4-BE49-F238E27FC236}">
                  <a16:creationId xmlns:a16="http://schemas.microsoft.com/office/drawing/2014/main" id="{57CE895C-7A3D-4F08-BC59-BAE8A8090694}"/>
                </a:ext>
              </a:extLst>
            </p:cNvPr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3875089" y="5119689"/>
              <a:ext cx="7937" cy="58737"/>
            </a:xfrm>
            <a:custGeom>
              <a:avLst/>
              <a:gdLst>
                <a:gd name="T0" fmla="*/ 7937 w 20"/>
                <a:gd name="T1" fmla="*/ 0 h 24"/>
                <a:gd name="T2" fmla="*/ 0 w 20"/>
                <a:gd name="T3" fmla="*/ 0 h 24"/>
                <a:gd name="T4" fmla="*/ 397 w 20"/>
                <a:gd name="T5" fmla="*/ 12237 h 24"/>
                <a:gd name="T6" fmla="*/ 794 w 20"/>
                <a:gd name="T7" fmla="*/ 22026 h 24"/>
                <a:gd name="T8" fmla="*/ 1587 w 20"/>
                <a:gd name="T9" fmla="*/ 31816 h 24"/>
                <a:gd name="T10" fmla="*/ 2778 w 20"/>
                <a:gd name="T11" fmla="*/ 41605 h 24"/>
                <a:gd name="T12" fmla="*/ 3969 w 20"/>
                <a:gd name="T13" fmla="*/ 48948 h 24"/>
                <a:gd name="T14" fmla="*/ 5556 w 20"/>
                <a:gd name="T15" fmla="*/ 53842 h 24"/>
                <a:gd name="T16" fmla="*/ 6746 w 20"/>
                <a:gd name="T17" fmla="*/ 58737 h 24"/>
                <a:gd name="T18" fmla="*/ 7937 w 20"/>
                <a:gd name="T19" fmla="*/ 58737 h 24"/>
                <a:gd name="T20" fmla="*/ 7937 w 20"/>
                <a:gd name="T21" fmla="*/ 0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9" name="Freeform 207">
              <a:extLst>
                <a:ext uri="{FF2B5EF4-FFF2-40B4-BE49-F238E27FC236}">
                  <a16:creationId xmlns:a16="http://schemas.microsoft.com/office/drawing/2014/main" id="{4991CB63-5D8E-45C3-831B-557072AB60B5}"/>
                </a:ext>
              </a:extLst>
            </p:cNvPr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3889376" y="5181601"/>
              <a:ext cx="17463" cy="60325"/>
            </a:xfrm>
            <a:custGeom>
              <a:avLst/>
              <a:gdLst>
                <a:gd name="T0" fmla="*/ 0 w 39"/>
                <a:gd name="T1" fmla="*/ 16835 h 43"/>
                <a:gd name="T2" fmla="*/ 896 w 39"/>
                <a:gd name="T3" fmla="*/ 23849 h 43"/>
                <a:gd name="T4" fmla="*/ 2687 w 39"/>
                <a:gd name="T5" fmla="*/ 30864 h 43"/>
                <a:gd name="T6" fmla="*/ 5373 w 39"/>
                <a:gd name="T7" fmla="*/ 37878 h 43"/>
                <a:gd name="T8" fmla="*/ 7164 w 39"/>
                <a:gd name="T9" fmla="*/ 44893 h 43"/>
                <a:gd name="T10" fmla="*/ 10299 w 39"/>
                <a:gd name="T11" fmla="*/ 51908 h 43"/>
                <a:gd name="T12" fmla="*/ 12538 w 39"/>
                <a:gd name="T13" fmla="*/ 56116 h 43"/>
                <a:gd name="T14" fmla="*/ 15224 w 39"/>
                <a:gd name="T15" fmla="*/ 60325 h 43"/>
                <a:gd name="T16" fmla="*/ 17463 w 39"/>
                <a:gd name="T17" fmla="*/ 60325 h 43"/>
                <a:gd name="T18" fmla="*/ 17015 w 39"/>
                <a:gd name="T19" fmla="*/ 44893 h 43"/>
                <a:gd name="T20" fmla="*/ 16120 w 39"/>
                <a:gd name="T21" fmla="*/ 26655 h 43"/>
                <a:gd name="T22" fmla="*/ 15224 w 39"/>
                <a:gd name="T23" fmla="*/ 11223 h 43"/>
                <a:gd name="T24" fmla="*/ 14329 w 39"/>
                <a:gd name="T25" fmla="*/ 0 h 43"/>
                <a:gd name="T26" fmla="*/ 8508 w 39"/>
                <a:gd name="T27" fmla="*/ 4209 h 43"/>
                <a:gd name="T28" fmla="*/ 2687 w 39"/>
                <a:gd name="T29" fmla="*/ 8417 h 43"/>
                <a:gd name="T30" fmla="*/ 0 w 39"/>
                <a:gd name="T31" fmla="*/ 16835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0" name="Freeform 208">
              <a:extLst>
                <a:ext uri="{FF2B5EF4-FFF2-40B4-BE49-F238E27FC236}">
                  <a16:creationId xmlns:a16="http://schemas.microsoft.com/office/drawing/2014/main" id="{C286A912-F99F-474D-B9EE-B122D5091D9B}"/>
                </a:ext>
              </a:extLst>
            </p:cNvPr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3876675" y="5194300"/>
              <a:ext cx="26988" cy="58738"/>
            </a:xfrm>
            <a:custGeom>
              <a:avLst/>
              <a:gdLst>
                <a:gd name="T0" fmla="*/ 14230 w 55"/>
                <a:gd name="T1" fmla="*/ 24632 h 62"/>
                <a:gd name="T2" fmla="*/ 3926 w 55"/>
                <a:gd name="T3" fmla="*/ 0 h 62"/>
                <a:gd name="T4" fmla="*/ 1963 w 55"/>
                <a:gd name="T5" fmla="*/ 4737 h 62"/>
                <a:gd name="T6" fmla="*/ 491 w 55"/>
                <a:gd name="T7" fmla="*/ 10421 h 62"/>
                <a:gd name="T8" fmla="*/ 0 w 55"/>
                <a:gd name="T9" fmla="*/ 15158 h 62"/>
                <a:gd name="T10" fmla="*/ 0 w 55"/>
                <a:gd name="T11" fmla="*/ 19895 h 62"/>
                <a:gd name="T12" fmla="*/ 981 w 55"/>
                <a:gd name="T13" fmla="*/ 24632 h 62"/>
                <a:gd name="T14" fmla="*/ 1963 w 55"/>
                <a:gd name="T15" fmla="*/ 29369 h 62"/>
                <a:gd name="T16" fmla="*/ 3926 w 55"/>
                <a:gd name="T17" fmla="*/ 34106 h 62"/>
                <a:gd name="T18" fmla="*/ 5398 w 55"/>
                <a:gd name="T19" fmla="*/ 38843 h 62"/>
                <a:gd name="T20" fmla="*/ 7851 w 55"/>
                <a:gd name="T21" fmla="*/ 42632 h 62"/>
                <a:gd name="T22" fmla="*/ 10305 w 55"/>
                <a:gd name="T23" fmla="*/ 46422 h 62"/>
                <a:gd name="T24" fmla="*/ 12758 w 55"/>
                <a:gd name="T25" fmla="*/ 50212 h 62"/>
                <a:gd name="T26" fmla="*/ 16193 w 55"/>
                <a:gd name="T27" fmla="*/ 53054 h 62"/>
                <a:gd name="T28" fmla="*/ 18646 w 55"/>
                <a:gd name="T29" fmla="*/ 54948 h 62"/>
                <a:gd name="T30" fmla="*/ 21590 w 55"/>
                <a:gd name="T31" fmla="*/ 56843 h 62"/>
                <a:gd name="T32" fmla="*/ 24044 w 55"/>
                <a:gd name="T33" fmla="*/ 57791 h 62"/>
                <a:gd name="T34" fmla="*/ 26988 w 55"/>
                <a:gd name="T35" fmla="*/ 58738 h 62"/>
                <a:gd name="T36" fmla="*/ 26497 w 55"/>
                <a:gd name="T37" fmla="*/ 50212 h 62"/>
                <a:gd name="T38" fmla="*/ 26007 w 55"/>
                <a:gd name="T39" fmla="*/ 43580 h 62"/>
                <a:gd name="T40" fmla="*/ 24044 w 55"/>
                <a:gd name="T41" fmla="*/ 37895 h 62"/>
                <a:gd name="T42" fmla="*/ 22572 w 55"/>
                <a:gd name="T43" fmla="*/ 33159 h 62"/>
                <a:gd name="T44" fmla="*/ 21100 w 55"/>
                <a:gd name="T45" fmla="*/ 29369 h 62"/>
                <a:gd name="T46" fmla="*/ 18646 w 55"/>
                <a:gd name="T47" fmla="*/ 26527 h 62"/>
                <a:gd name="T48" fmla="*/ 16193 w 55"/>
                <a:gd name="T49" fmla="*/ 24632 h 62"/>
                <a:gd name="T50" fmla="*/ 14230 w 55"/>
                <a:gd name="T51" fmla="*/ 24632 h 6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1" name="Freeform 209">
              <a:extLst>
                <a:ext uri="{FF2B5EF4-FFF2-40B4-BE49-F238E27FC236}">
                  <a16:creationId xmlns:a16="http://schemas.microsoft.com/office/drawing/2014/main" id="{0143A214-46E8-4FF5-BC68-C51823A394EA}"/>
                </a:ext>
              </a:extLst>
            </p:cNvPr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3906838" y="5227639"/>
              <a:ext cx="11112" cy="58737"/>
            </a:xfrm>
            <a:custGeom>
              <a:avLst/>
              <a:gdLst>
                <a:gd name="T0" fmla="*/ 10477 w 35"/>
                <a:gd name="T1" fmla="*/ 17758 h 43"/>
                <a:gd name="T2" fmla="*/ 2222 w 35"/>
                <a:gd name="T3" fmla="*/ 0 h 43"/>
                <a:gd name="T4" fmla="*/ 1270 w 35"/>
                <a:gd name="T5" fmla="*/ 10928 h 43"/>
                <a:gd name="T6" fmla="*/ 0 w 35"/>
                <a:gd name="T7" fmla="*/ 25954 h 43"/>
                <a:gd name="T8" fmla="*/ 635 w 35"/>
                <a:gd name="T9" fmla="*/ 38247 h 43"/>
                <a:gd name="T10" fmla="*/ 1587 w 35"/>
                <a:gd name="T11" fmla="*/ 49175 h 43"/>
                <a:gd name="T12" fmla="*/ 1905 w 35"/>
                <a:gd name="T13" fmla="*/ 53273 h 43"/>
                <a:gd name="T14" fmla="*/ 2540 w 35"/>
                <a:gd name="T15" fmla="*/ 56005 h 43"/>
                <a:gd name="T16" fmla="*/ 3492 w 35"/>
                <a:gd name="T17" fmla="*/ 58737 h 43"/>
                <a:gd name="T18" fmla="*/ 4445 w 35"/>
                <a:gd name="T19" fmla="*/ 58737 h 43"/>
                <a:gd name="T20" fmla="*/ 5715 w 35"/>
                <a:gd name="T21" fmla="*/ 58737 h 43"/>
                <a:gd name="T22" fmla="*/ 6985 w 35"/>
                <a:gd name="T23" fmla="*/ 57371 h 43"/>
                <a:gd name="T24" fmla="*/ 8255 w 35"/>
                <a:gd name="T25" fmla="*/ 56005 h 43"/>
                <a:gd name="T26" fmla="*/ 8890 w 35"/>
                <a:gd name="T27" fmla="*/ 53273 h 43"/>
                <a:gd name="T28" fmla="*/ 9842 w 35"/>
                <a:gd name="T29" fmla="*/ 47809 h 43"/>
                <a:gd name="T30" fmla="*/ 10477 w 35"/>
                <a:gd name="T31" fmla="*/ 40979 h 43"/>
                <a:gd name="T32" fmla="*/ 11112 w 35"/>
                <a:gd name="T33" fmla="*/ 27320 h 43"/>
                <a:gd name="T34" fmla="*/ 10477 w 35"/>
                <a:gd name="T35" fmla="*/ 17758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2" name="Freeform 210">
              <a:extLst>
                <a:ext uri="{FF2B5EF4-FFF2-40B4-BE49-F238E27FC236}">
                  <a16:creationId xmlns:a16="http://schemas.microsoft.com/office/drawing/2014/main" id="{A96CF0E3-11A3-4A24-BBEF-A78030B27C0E}"/>
                </a:ext>
              </a:extLst>
            </p:cNvPr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3903664" y="5260976"/>
              <a:ext cx="20637" cy="55563"/>
            </a:xfrm>
            <a:custGeom>
              <a:avLst/>
              <a:gdLst>
                <a:gd name="T0" fmla="*/ 20637 w 53"/>
                <a:gd name="T1" fmla="*/ 0 h 21"/>
                <a:gd name="T2" fmla="*/ 15964 w 53"/>
                <a:gd name="T3" fmla="*/ 2646 h 21"/>
                <a:gd name="T4" fmla="*/ 12460 w 53"/>
                <a:gd name="T5" fmla="*/ 5292 h 21"/>
                <a:gd name="T6" fmla="*/ 9734 w 53"/>
                <a:gd name="T7" fmla="*/ 13229 h 21"/>
                <a:gd name="T8" fmla="*/ 8177 w 53"/>
                <a:gd name="T9" fmla="*/ 18521 h 21"/>
                <a:gd name="T10" fmla="*/ 6619 w 53"/>
                <a:gd name="T11" fmla="*/ 26459 h 21"/>
                <a:gd name="T12" fmla="*/ 5062 w 53"/>
                <a:gd name="T13" fmla="*/ 34396 h 21"/>
                <a:gd name="T14" fmla="*/ 3115 w 53"/>
                <a:gd name="T15" fmla="*/ 42334 h 21"/>
                <a:gd name="T16" fmla="*/ 0 w 53"/>
                <a:gd name="T17" fmla="*/ 47625 h 21"/>
                <a:gd name="T18" fmla="*/ 1947 w 53"/>
                <a:gd name="T19" fmla="*/ 52917 h 21"/>
                <a:gd name="T20" fmla="*/ 4283 w 53"/>
                <a:gd name="T21" fmla="*/ 55563 h 21"/>
                <a:gd name="T22" fmla="*/ 6619 w 53"/>
                <a:gd name="T23" fmla="*/ 55563 h 21"/>
                <a:gd name="T24" fmla="*/ 9345 w 53"/>
                <a:gd name="T25" fmla="*/ 55563 h 21"/>
                <a:gd name="T26" fmla="*/ 14796 w 53"/>
                <a:gd name="T27" fmla="*/ 50271 h 21"/>
                <a:gd name="T28" fmla="*/ 20637 w 53"/>
                <a:gd name="T29" fmla="*/ 47625 h 21"/>
                <a:gd name="T30" fmla="*/ 20637 w 53"/>
                <a:gd name="T31" fmla="*/ 0 h 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3" name="Freeform 211">
              <a:extLst>
                <a:ext uri="{FF2B5EF4-FFF2-40B4-BE49-F238E27FC236}">
                  <a16:creationId xmlns:a16="http://schemas.microsoft.com/office/drawing/2014/main" id="{0AD81F95-F9CC-401A-AA93-E45A81010C9C}"/>
                </a:ext>
              </a:extLst>
            </p:cNvPr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3927476" y="5275263"/>
              <a:ext cx="17463" cy="57150"/>
            </a:xfrm>
            <a:custGeom>
              <a:avLst/>
              <a:gdLst>
                <a:gd name="T0" fmla="*/ 8935 w 43"/>
                <a:gd name="T1" fmla="*/ 0 h 38"/>
                <a:gd name="T2" fmla="*/ 4873 w 43"/>
                <a:gd name="T3" fmla="*/ 0 h 38"/>
                <a:gd name="T4" fmla="*/ 812 w 43"/>
                <a:gd name="T5" fmla="*/ 0 h 38"/>
                <a:gd name="T6" fmla="*/ 406 w 43"/>
                <a:gd name="T7" fmla="*/ 0 h 38"/>
                <a:gd name="T8" fmla="*/ 0 w 43"/>
                <a:gd name="T9" fmla="*/ 1504 h 38"/>
                <a:gd name="T10" fmla="*/ 0 w 43"/>
                <a:gd name="T11" fmla="*/ 4512 h 38"/>
                <a:gd name="T12" fmla="*/ 0 w 43"/>
                <a:gd name="T13" fmla="*/ 9024 h 38"/>
                <a:gd name="T14" fmla="*/ 406 w 43"/>
                <a:gd name="T15" fmla="*/ 15039 h 38"/>
                <a:gd name="T16" fmla="*/ 812 w 43"/>
                <a:gd name="T17" fmla="*/ 18047 h 38"/>
                <a:gd name="T18" fmla="*/ 1218 w 43"/>
                <a:gd name="T19" fmla="*/ 27071 h 38"/>
                <a:gd name="T20" fmla="*/ 2031 w 43"/>
                <a:gd name="T21" fmla="*/ 37599 h 38"/>
                <a:gd name="T22" fmla="*/ 4061 w 43"/>
                <a:gd name="T23" fmla="*/ 45118 h 38"/>
                <a:gd name="T24" fmla="*/ 6092 w 43"/>
                <a:gd name="T25" fmla="*/ 51134 h 38"/>
                <a:gd name="T26" fmla="*/ 8528 w 43"/>
                <a:gd name="T27" fmla="*/ 55646 h 38"/>
                <a:gd name="T28" fmla="*/ 10965 w 43"/>
                <a:gd name="T29" fmla="*/ 57150 h 38"/>
                <a:gd name="T30" fmla="*/ 14214 w 43"/>
                <a:gd name="T31" fmla="*/ 57150 h 38"/>
                <a:gd name="T32" fmla="*/ 17463 w 43"/>
                <a:gd name="T33" fmla="*/ 55646 h 38"/>
                <a:gd name="T34" fmla="*/ 16245 w 43"/>
                <a:gd name="T35" fmla="*/ 43614 h 38"/>
                <a:gd name="T36" fmla="*/ 14620 w 43"/>
                <a:gd name="T37" fmla="*/ 34591 h 38"/>
                <a:gd name="T38" fmla="*/ 13402 w 43"/>
                <a:gd name="T39" fmla="*/ 25567 h 38"/>
                <a:gd name="T40" fmla="*/ 12183 w 43"/>
                <a:gd name="T41" fmla="*/ 19551 h 38"/>
                <a:gd name="T42" fmla="*/ 10965 w 43"/>
                <a:gd name="T43" fmla="*/ 15039 h 38"/>
                <a:gd name="T44" fmla="*/ 9747 w 43"/>
                <a:gd name="T45" fmla="*/ 10528 h 38"/>
                <a:gd name="T46" fmla="*/ 9341 w 43"/>
                <a:gd name="T47" fmla="*/ 6016 h 38"/>
                <a:gd name="T48" fmla="*/ 8935 w 43"/>
                <a:gd name="T49" fmla="*/ 0 h 3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4" name="Freeform 212">
              <a:extLst>
                <a:ext uri="{FF2B5EF4-FFF2-40B4-BE49-F238E27FC236}">
                  <a16:creationId xmlns:a16="http://schemas.microsoft.com/office/drawing/2014/main" id="{1B2CA0A9-F101-440D-A82D-49F86C8E2AE2}"/>
                </a:ext>
              </a:extLst>
            </p:cNvPr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3929063" y="5303838"/>
              <a:ext cx="6350" cy="57150"/>
            </a:xfrm>
            <a:custGeom>
              <a:avLst/>
              <a:gdLst>
                <a:gd name="T0" fmla="*/ 0 w 20"/>
                <a:gd name="T1" fmla="*/ 0 h 5"/>
                <a:gd name="T2" fmla="*/ 318 w 20"/>
                <a:gd name="T3" fmla="*/ 22860 h 5"/>
                <a:gd name="T4" fmla="*/ 635 w 20"/>
                <a:gd name="T5" fmla="*/ 34290 h 5"/>
                <a:gd name="T6" fmla="*/ 1270 w 20"/>
                <a:gd name="T7" fmla="*/ 45720 h 5"/>
                <a:gd name="T8" fmla="*/ 2223 w 20"/>
                <a:gd name="T9" fmla="*/ 57150 h 5"/>
                <a:gd name="T10" fmla="*/ 3493 w 20"/>
                <a:gd name="T11" fmla="*/ 45720 h 5"/>
                <a:gd name="T12" fmla="*/ 4445 w 20"/>
                <a:gd name="T13" fmla="*/ 34290 h 5"/>
                <a:gd name="T14" fmla="*/ 5398 w 20"/>
                <a:gd name="T15" fmla="*/ 22860 h 5"/>
                <a:gd name="T16" fmla="*/ 6350 w 20"/>
                <a:gd name="T17" fmla="*/ 0 h 5"/>
                <a:gd name="T18" fmla="*/ 0 w 20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5" name="Freeform 213">
              <a:extLst>
                <a:ext uri="{FF2B5EF4-FFF2-40B4-BE49-F238E27FC236}">
                  <a16:creationId xmlns:a16="http://schemas.microsoft.com/office/drawing/2014/main" id="{C6A632E2-A979-477F-B074-60E4664137BE}"/>
                </a:ext>
              </a:extLst>
            </p:cNvPr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4003676" y="5373688"/>
              <a:ext cx="34925" cy="57150"/>
            </a:xfrm>
            <a:custGeom>
              <a:avLst/>
              <a:gdLst>
                <a:gd name="T0" fmla="*/ 19137 w 73"/>
                <a:gd name="T1" fmla="*/ 0 h 22"/>
                <a:gd name="T2" fmla="*/ 15310 w 73"/>
                <a:gd name="T3" fmla="*/ 2598 h 22"/>
                <a:gd name="T4" fmla="*/ 12439 w 73"/>
                <a:gd name="T5" fmla="*/ 5195 h 22"/>
                <a:gd name="T6" fmla="*/ 9568 w 73"/>
                <a:gd name="T7" fmla="*/ 12989 h 22"/>
                <a:gd name="T8" fmla="*/ 7176 w 73"/>
                <a:gd name="T9" fmla="*/ 20782 h 22"/>
                <a:gd name="T10" fmla="*/ 2871 w 73"/>
                <a:gd name="T11" fmla="*/ 36368 h 22"/>
                <a:gd name="T12" fmla="*/ 0 w 73"/>
                <a:gd name="T13" fmla="*/ 49357 h 22"/>
                <a:gd name="T14" fmla="*/ 9568 w 73"/>
                <a:gd name="T15" fmla="*/ 51955 h 22"/>
                <a:gd name="T16" fmla="*/ 18659 w 73"/>
                <a:gd name="T17" fmla="*/ 57150 h 22"/>
                <a:gd name="T18" fmla="*/ 23443 w 73"/>
                <a:gd name="T19" fmla="*/ 57150 h 22"/>
                <a:gd name="T20" fmla="*/ 27270 w 73"/>
                <a:gd name="T21" fmla="*/ 57150 h 22"/>
                <a:gd name="T22" fmla="*/ 31098 w 73"/>
                <a:gd name="T23" fmla="*/ 54552 h 22"/>
                <a:gd name="T24" fmla="*/ 34925 w 73"/>
                <a:gd name="T25" fmla="*/ 49357 h 22"/>
                <a:gd name="T26" fmla="*/ 30619 w 73"/>
                <a:gd name="T27" fmla="*/ 36368 h 22"/>
                <a:gd name="T28" fmla="*/ 26792 w 73"/>
                <a:gd name="T29" fmla="*/ 20782 h 22"/>
                <a:gd name="T30" fmla="*/ 25357 w 73"/>
                <a:gd name="T31" fmla="*/ 12989 h 22"/>
                <a:gd name="T32" fmla="*/ 23443 w 73"/>
                <a:gd name="T33" fmla="*/ 5195 h 22"/>
                <a:gd name="T34" fmla="*/ 21051 w 73"/>
                <a:gd name="T35" fmla="*/ 2598 h 22"/>
                <a:gd name="T36" fmla="*/ 19137 w 73"/>
                <a:gd name="T37" fmla="*/ 0 h 2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" name="Freeform 214">
              <a:extLst>
                <a:ext uri="{FF2B5EF4-FFF2-40B4-BE49-F238E27FC236}">
                  <a16:creationId xmlns:a16="http://schemas.microsoft.com/office/drawing/2014/main" id="{FEBBAB13-69C4-488E-8535-E951B4BA29C7}"/>
                </a:ext>
              </a:extLst>
            </p:cNvPr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4041776" y="5314951"/>
              <a:ext cx="123825" cy="100013"/>
            </a:xfrm>
            <a:custGeom>
              <a:avLst/>
              <a:gdLst>
                <a:gd name="T0" fmla="*/ 103555 w 281"/>
                <a:gd name="T1" fmla="*/ 87058 h 193"/>
                <a:gd name="T2" fmla="*/ 82844 w 281"/>
                <a:gd name="T3" fmla="*/ 88613 h 193"/>
                <a:gd name="T4" fmla="*/ 74031 w 281"/>
                <a:gd name="T5" fmla="*/ 87058 h 193"/>
                <a:gd name="T6" fmla="*/ 68302 w 281"/>
                <a:gd name="T7" fmla="*/ 84985 h 193"/>
                <a:gd name="T8" fmla="*/ 57286 w 281"/>
                <a:gd name="T9" fmla="*/ 69957 h 193"/>
                <a:gd name="T10" fmla="*/ 45828 w 281"/>
                <a:gd name="T11" fmla="*/ 48711 h 193"/>
                <a:gd name="T12" fmla="*/ 41422 w 281"/>
                <a:gd name="T13" fmla="*/ 38347 h 193"/>
                <a:gd name="T14" fmla="*/ 38337 w 281"/>
                <a:gd name="T15" fmla="*/ 26428 h 193"/>
                <a:gd name="T16" fmla="*/ 36575 w 281"/>
                <a:gd name="T17" fmla="*/ 13991 h 193"/>
                <a:gd name="T18" fmla="*/ 18948 w 281"/>
                <a:gd name="T19" fmla="*/ 0 h 193"/>
                <a:gd name="T20" fmla="*/ 12338 w 281"/>
                <a:gd name="T21" fmla="*/ 26947 h 193"/>
                <a:gd name="T22" fmla="*/ 7932 w 281"/>
                <a:gd name="T23" fmla="*/ 31610 h 193"/>
                <a:gd name="T24" fmla="*/ 2644 w 281"/>
                <a:gd name="T25" fmla="*/ 35756 h 193"/>
                <a:gd name="T26" fmla="*/ 0 w 281"/>
                <a:gd name="T27" fmla="*/ 37829 h 193"/>
                <a:gd name="T28" fmla="*/ 441 w 281"/>
                <a:gd name="T29" fmla="*/ 38865 h 193"/>
                <a:gd name="T30" fmla="*/ 3966 w 281"/>
                <a:gd name="T31" fmla="*/ 41974 h 193"/>
                <a:gd name="T32" fmla="*/ 16304 w 281"/>
                <a:gd name="T33" fmla="*/ 57520 h 193"/>
                <a:gd name="T34" fmla="*/ 19830 w 281"/>
                <a:gd name="T35" fmla="*/ 63221 h 193"/>
                <a:gd name="T36" fmla="*/ 23355 w 281"/>
                <a:gd name="T37" fmla="*/ 66848 h 193"/>
                <a:gd name="T38" fmla="*/ 27321 w 281"/>
                <a:gd name="T39" fmla="*/ 69439 h 193"/>
                <a:gd name="T40" fmla="*/ 31287 w 281"/>
                <a:gd name="T41" fmla="*/ 70475 h 193"/>
                <a:gd name="T42" fmla="*/ 33490 w 281"/>
                <a:gd name="T43" fmla="*/ 73066 h 193"/>
                <a:gd name="T44" fmla="*/ 34812 w 281"/>
                <a:gd name="T45" fmla="*/ 76694 h 193"/>
                <a:gd name="T46" fmla="*/ 37897 w 281"/>
                <a:gd name="T47" fmla="*/ 79285 h 193"/>
                <a:gd name="T48" fmla="*/ 43625 w 281"/>
                <a:gd name="T49" fmla="*/ 79803 h 193"/>
                <a:gd name="T50" fmla="*/ 46710 w 281"/>
                <a:gd name="T51" fmla="*/ 81358 h 193"/>
                <a:gd name="T52" fmla="*/ 48032 w 281"/>
                <a:gd name="T53" fmla="*/ 84467 h 193"/>
                <a:gd name="T54" fmla="*/ 48032 w 281"/>
                <a:gd name="T55" fmla="*/ 92758 h 193"/>
                <a:gd name="T56" fmla="*/ 48913 w 281"/>
                <a:gd name="T57" fmla="*/ 97940 h 193"/>
                <a:gd name="T58" fmla="*/ 50676 w 281"/>
                <a:gd name="T59" fmla="*/ 100013 h 193"/>
                <a:gd name="T60" fmla="*/ 56845 w 281"/>
                <a:gd name="T61" fmla="*/ 100013 h 193"/>
                <a:gd name="T62" fmla="*/ 72268 w 281"/>
                <a:gd name="T63" fmla="*/ 98977 h 193"/>
                <a:gd name="T64" fmla="*/ 79319 w 281"/>
                <a:gd name="T65" fmla="*/ 97940 h 193"/>
                <a:gd name="T66" fmla="*/ 84606 w 281"/>
                <a:gd name="T67" fmla="*/ 96386 h 193"/>
                <a:gd name="T68" fmla="*/ 93420 w 281"/>
                <a:gd name="T69" fmla="*/ 97422 h 193"/>
                <a:gd name="T70" fmla="*/ 123825 w 281"/>
                <a:gd name="T71" fmla="*/ 86540 h 19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7" name="Freeform 215">
              <a:extLst>
                <a:ext uri="{FF2B5EF4-FFF2-40B4-BE49-F238E27FC236}">
                  <a16:creationId xmlns:a16="http://schemas.microsoft.com/office/drawing/2014/main" id="{32F5B288-8AC8-401E-A1B6-EB4D567609C7}"/>
                </a:ext>
              </a:extLst>
            </p:cNvPr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3594100" y="3081339"/>
              <a:ext cx="52388" cy="58737"/>
            </a:xfrm>
            <a:custGeom>
              <a:avLst/>
              <a:gdLst>
                <a:gd name="T0" fmla="*/ 0 w 120"/>
                <a:gd name="T1" fmla="*/ 18880 h 56"/>
                <a:gd name="T2" fmla="*/ 1746 w 120"/>
                <a:gd name="T3" fmla="*/ 27271 h 56"/>
                <a:gd name="T4" fmla="*/ 4366 w 120"/>
                <a:gd name="T5" fmla="*/ 34613 h 56"/>
                <a:gd name="T6" fmla="*/ 6549 w 120"/>
                <a:gd name="T7" fmla="*/ 38808 h 56"/>
                <a:gd name="T8" fmla="*/ 9168 w 120"/>
                <a:gd name="T9" fmla="*/ 43004 h 56"/>
                <a:gd name="T10" fmla="*/ 11787 w 120"/>
                <a:gd name="T11" fmla="*/ 46151 h 56"/>
                <a:gd name="T12" fmla="*/ 15280 w 120"/>
                <a:gd name="T13" fmla="*/ 48248 h 56"/>
                <a:gd name="T14" fmla="*/ 18772 w 120"/>
                <a:gd name="T15" fmla="*/ 50346 h 56"/>
                <a:gd name="T16" fmla="*/ 22265 w 120"/>
                <a:gd name="T17" fmla="*/ 51395 h 56"/>
                <a:gd name="T18" fmla="*/ 29250 w 120"/>
                <a:gd name="T19" fmla="*/ 52444 h 56"/>
                <a:gd name="T20" fmla="*/ 37108 w 120"/>
                <a:gd name="T21" fmla="*/ 53493 h 56"/>
                <a:gd name="T22" fmla="*/ 44530 w 120"/>
                <a:gd name="T23" fmla="*/ 54542 h 56"/>
                <a:gd name="T24" fmla="*/ 52388 w 120"/>
                <a:gd name="T25" fmla="*/ 58737 h 56"/>
                <a:gd name="T26" fmla="*/ 52388 w 120"/>
                <a:gd name="T27" fmla="*/ 38808 h 56"/>
                <a:gd name="T28" fmla="*/ 48459 w 120"/>
                <a:gd name="T29" fmla="*/ 35662 h 56"/>
                <a:gd name="T30" fmla="*/ 44530 w 120"/>
                <a:gd name="T31" fmla="*/ 31466 h 56"/>
                <a:gd name="T32" fmla="*/ 41037 w 120"/>
                <a:gd name="T33" fmla="*/ 25173 h 56"/>
                <a:gd name="T34" fmla="*/ 38418 w 120"/>
                <a:gd name="T35" fmla="*/ 18880 h 56"/>
                <a:gd name="T36" fmla="*/ 35362 w 120"/>
                <a:gd name="T37" fmla="*/ 13635 h 56"/>
                <a:gd name="T38" fmla="*/ 32743 w 120"/>
                <a:gd name="T39" fmla="*/ 7342 h 56"/>
                <a:gd name="T40" fmla="*/ 29250 w 120"/>
                <a:gd name="T41" fmla="*/ 3147 h 56"/>
                <a:gd name="T42" fmla="*/ 26194 w 120"/>
                <a:gd name="T43" fmla="*/ 0 h 56"/>
                <a:gd name="T44" fmla="*/ 24011 w 120"/>
                <a:gd name="T45" fmla="*/ 1049 h 56"/>
                <a:gd name="T46" fmla="*/ 20955 w 120"/>
                <a:gd name="T47" fmla="*/ 3147 h 56"/>
                <a:gd name="T48" fmla="*/ 17899 w 120"/>
                <a:gd name="T49" fmla="*/ 6293 h 56"/>
                <a:gd name="T50" fmla="*/ 14407 w 120"/>
                <a:gd name="T51" fmla="*/ 9440 h 56"/>
                <a:gd name="T52" fmla="*/ 10478 w 120"/>
                <a:gd name="T53" fmla="*/ 13635 h 56"/>
                <a:gd name="T54" fmla="*/ 6985 w 120"/>
                <a:gd name="T55" fmla="*/ 15733 h 56"/>
                <a:gd name="T56" fmla="*/ 3493 w 120"/>
                <a:gd name="T57" fmla="*/ 18880 h 56"/>
                <a:gd name="T58" fmla="*/ 0 w 120"/>
                <a:gd name="T59" fmla="*/ 18880 h 5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8" name="Freeform 216">
              <a:extLst>
                <a:ext uri="{FF2B5EF4-FFF2-40B4-BE49-F238E27FC236}">
                  <a16:creationId xmlns:a16="http://schemas.microsoft.com/office/drawing/2014/main" id="{A2BFEAE6-CCCC-4BCC-9B16-890CBE5A8A6F}"/>
                </a:ext>
              </a:extLst>
            </p:cNvPr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3451226" y="2943225"/>
              <a:ext cx="250825" cy="109538"/>
            </a:xfrm>
            <a:custGeom>
              <a:avLst/>
              <a:gdLst>
                <a:gd name="T0" fmla="*/ 55496 w 574"/>
                <a:gd name="T1" fmla="*/ 537 h 204"/>
                <a:gd name="T2" fmla="*/ 41513 w 574"/>
                <a:gd name="T3" fmla="*/ 3222 h 204"/>
                <a:gd name="T4" fmla="*/ 28841 w 574"/>
                <a:gd name="T5" fmla="*/ 8591 h 204"/>
                <a:gd name="T6" fmla="*/ 18790 w 574"/>
                <a:gd name="T7" fmla="*/ 13961 h 204"/>
                <a:gd name="T8" fmla="*/ 13109 w 574"/>
                <a:gd name="T9" fmla="*/ 18793 h 204"/>
                <a:gd name="T10" fmla="*/ 6992 w 574"/>
                <a:gd name="T11" fmla="*/ 27385 h 204"/>
                <a:gd name="T12" fmla="*/ 1748 w 574"/>
                <a:gd name="T13" fmla="*/ 38124 h 204"/>
                <a:gd name="T14" fmla="*/ 0 w 574"/>
                <a:gd name="T15" fmla="*/ 44030 h 204"/>
                <a:gd name="T16" fmla="*/ 437 w 574"/>
                <a:gd name="T17" fmla="*/ 46178 h 204"/>
                <a:gd name="T18" fmla="*/ 5681 w 574"/>
                <a:gd name="T19" fmla="*/ 46178 h 204"/>
                <a:gd name="T20" fmla="*/ 12672 w 574"/>
                <a:gd name="T21" fmla="*/ 44567 h 204"/>
                <a:gd name="T22" fmla="*/ 22723 w 574"/>
                <a:gd name="T23" fmla="*/ 40271 h 204"/>
                <a:gd name="T24" fmla="*/ 34958 w 574"/>
                <a:gd name="T25" fmla="*/ 31143 h 204"/>
                <a:gd name="T26" fmla="*/ 44572 w 574"/>
                <a:gd name="T27" fmla="*/ 24700 h 204"/>
                <a:gd name="T28" fmla="*/ 52000 w 574"/>
                <a:gd name="T29" fmla="*/ 21478 h 204"/>
                <a:gd name="T30" fmla="*/ 76471 w 574"/>
                <a:gd name="T31" fmla="*/ 19867 h 204"/>
                <a:gd name="T32" fmla="*/ 76908 w 574"/>
                <a:gd name="T33" fmla="*/ 25774 h 204"/>
                <a:gd name="T34" fmla="*/ 78656 w 574"/>
                <a:gd name="T35" fmla="*/ 29532 h 204"/>
                <a:gd name="T36" fmla="*/ 80404 w 574"/>
                <a:gd name="T37" fmla="*/ 31680 h 204"/>
                <a:gd name="T38" fmla="*/ 83026 w 574"/>
                <a:gd name="T39" fmla="*/ 32754 h 204"/>
                <a:gd name="T40" fmla="*/ 100068 w 574"/>
                <a:gd name="T41" fmla="*/ 32754 h 204"/>
                <a:gd name="T42" fmla="*/ 117547 w 574"/>
                <a:gd name="T43" fmla="*/ 41882 h 204"/>
                <a:gd name="T44" fmla="*/ 131967 w 574"/>
                <a:gd name="T45" fmla="*/ 51010 h 204"/>
                <a:gd name="T46" fmla="*/ 146824 w 574"/>
                <a:gd name="T47" fmla="*/ 59602 h 204"/>
                <a:gd name="T48" fmla="*/ 163867 w 574"/>
                <a:gd name="T49" fmla="*/ 66045 h 204"/>
                <a:gd name="T50" fmla="*/ 164303 w 574"/>
                <a:gd name="T51" fmla="*/ 71951 h 204"/>
                <a:gd name="T52" fmla="*/ 166925 w 574"/>
                <a:gd name="T53" fmla="*/ 76247 h 204"/>
                <a:gd name="T54" fmla="*/ 173043 w 574"/>
                <a:gd name="T55" fmla="*/ 81617 h 204"/>
                <a:gd name="T56" fmla="*/ 187026 w 574"/>
                <a:gd name="T57" fmla="*/ 89134 h 204"/>
                <a:gd name="T58" fmla="*/ 175665 w 574"/>
                <a:gd name="T59" fmla="*/ 102558 h 204"/>
                <a:gd name="T60" fmla="*/ 177850 w 574"/>
                <a:gd name="T61" fmla="*/ 105779 h 204"/>
                <a:gd name="T62" fmla="*/ 180909 w 574"/>
                <a:gd name="T63" fmla="*/ 107927 h 204"/>
                <a:gd name="T64" fmla="*/ 187463 w 574"/>
                <a:gd name="T65" fmla="*/ 109538 h 204"/>
                <a:gd name="T66" fmla="*/ 201447 w 574"/>
                <a:gd name="T67" fmla="*/ 109538 h 204"/>
                <a:gd name="T68" fmla="*/ 242522 w 574"/>
                <a:gd name="T69" fmla="*/ 101484 h 204"/>
                <a:gd name="T70" fmla="*/ 244270 w 574"/>
                <a:gd name="T71" fmla="*/ 98262 h 204"/>
                <a:gd name="T72" fmla="*/ 246892 w 574"/>
                <a:gd name="T73" fmla="*/ 95040 h 204"/>
                <a:gd name="T74" fmla="*/ 249951 w 574"/>
                <a:gd name="T75" fmla="*/ 92893 h 204"/>
                <a:gd name="T76" fmla="*/ 250825 w 574"/>
                <a:gd name="T77" fmla="*/ 86449 h 204"/>
                <a:gd name="T78" fmla="*/ 245144 w 574"/>
                <a:gd name="T79" fmla="*/ 82154 h 204"/>
                <a:gd name="T80" fmla="*/ 232472 w 574"/>
                <a:gd name="T81" fmla="*/ 79469 h 204"/>
                <a:gd name="T82" fmla="*/ 220237 w 574"/>
                <a:gd name="T83" fmla="*/ 74099 h 204"/>
                <a:gd name="T84" fmla="*/ 207564 w 574"/>
                <a:gd name="T85" fmla="*/ 66582 h 204"/>
                <a:gd name="T86" fmla="*/ 189211 w 574"/>
                <a:gd name="T87" fmla="*/ 53695 h 204"/>
                <a:gd name="T88" fmla="*/ 167362 w 574"/>
                <a:gd name="T89" fmla="*/ 36513 h 204"/>
                <a:gd name="T90" fmla="*/ 156438 w 574"/>
                <a:gd name="T91" fmla="*/ 28995 h 204"/>
                <a:gd name="T92" fmla="*/ 152068 w 574"/>
                <a:gd name="T93" fmla="*/ 27921 h 204"/>
                <a:gd name="T94" fmla="*/ 144203 w 574"/>
                <a:gd name="T95" fmla="*/ 27921 h 204"/>
                <a:gd name="T96" fmla="*/ 136337 w 574"/>
                <a:gd name="T97" fmla="*/ 27385 h 204"/>
                <a:gd name="T98" fmla="*/ 131967 w 574"/>
                <a:gd name="T99" fmla="*/ 26311 h 204"/>
                <a:gd name="T100" fmla="*/ 128471 w 574"/>
                <a:gd name="T101" fmla="*/ 23089 h 204"/>
                <a:gd name="T102" fmla="*/ 126723 w 574"/>
                <a:gd name="T103" fmla="*/ 17182 h 204"/>
                <a:gd name="T104" fmla="*/ 62051 w 574"/>
                <a:gd name="T105" fmla="*/ 0 h 20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9" name="Freeform 217">
              <a:extLst>
                <a:ext uri="{FF2B5EF4-FFF2-40B4-BE49-F238E27FC236}">
                  <a16:creationId xmlns:a16="http://schemas.microsoft.com/office/drawing/2014/main" id="{3E55C4AA-89CF-456D-B730-1EF4929058B6}"/>
                </a:ext>
              </a:extLst>
            </p:cNvPr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3756025" y="3046413"/>
              <a:ext cx="88900" cy="69850"/>
            </a:xfrm>
            <a:custGeom>
              <a:avLst/>
              <a:gdLst>
                <a:gd name="T0" fmla="*/ 17608 w 207"/>
                <a:gd name="T1" fmla="*/ 69850 h 129"/>
                <a:gd name="T2" fmla="*/ 21473 w 207"/>
                <a:gd name="T3" fmla="*/ 65518 h 129"/>
                <a:gd name="T4" fmla="*/ 25768 w 207"/>
                <a:gd name="T5" fmla="*/ 62269 h 129"/>
                <a:gd name="T6" fmla="*/ 30063 w 207"/>
                <a:gd name="T7" fmla="*/ 59562 h 129"/>
                <a:gd name="T8" fmla="*/ 34787 w 207"/>
                <a:gd name="T9" fmla="*/ 56855 h 129"/>
                <a:gd name="T10" fmla="*/ 45094 w 207"/>
                <a:gd name="T11" fmla="*/ 53606 h 129"/>
                <a:gd name="T12" fmla="*/ 55401 w 207"/>
                <a:gd name="T13" fmla="*/ 49816 h 129"/>
                <a:gd name="T14" fmla="*/ 65279 w 207"/>
                <a:gd name="T15" fmla="*/ 47108 h 129"/>
                <a:gd name="T16" fmla="*/ 74298 w 207"/>
                <a:gd name="T17" fmla="*/ 43859 h 129"/>
                <a:gd name="T18" fmla="*/ 78163 w 207"/>
                <a:gd name="T19" fmla="*/ 41693 h 129"/>
                <a:gd name="T20" fmla="*/ 82029 w 207"/>
                <a:gd name="T21" fmla="*/ 39528 h 129"/>
                <a:gd name="T22" fmla="*/ 85894 w 207"/>
                <a:gd name="T23" fmla="*/ 36279 h 129"/>
                <a:gd name="T24" fmla="*/ 88900 w 207"/>
                <a:gd name="T25" fmla="*/ 33030 h 129"/>
                <a:gd name="T26" fmla="*/ 85035 w 207"/>
                <a:gd name="T27" fmla="*/ 29240 h 129"/>
                <a:gd name="T28" fmla="*/ 80740 w 207"/>
                <a:gd name="T29" fmla="*/ 25449 h 129"/>
                <a:gd name="T30" fmla="*/ 76875 w 207"/>
                <a:gd name="T31" fmla="*/ 22742 h 129"/>
                <a:gd name="T32" fmla="*/ 72580 w 207"/>
                <a:gd name="T33" fmla="*/ 19493 h 129"/>
                <a:gd name="T34" fmla="*/ 64420 w 207"/>
                <a:gd name="T35" fmla="*/ 15703 h 129"/>
                <a:gd name="T36" fmla="*/ 55401 w 207"/>
                <a:gd name="T37" fmla="*/ 12454 h 129"/>
                <a:gd name="T38" fmla="*/ 45953 w 207"/>
                <a:gd name="T39" fmla="*/ 9747 h 129"/>
                <a:gd name="T40" fmla="*/ 36505 w 207"/>
                <a:gd name="T41" fmla="*/ 7039 h 129"/>
                <a:gd name="T42" fmla="*/ 27057 w 207"/>
                <a:gd name="T43" fmla="*/ 3790 h 129"/>
                <a:gd name="T44" fmla="*/ 17608 w 207"/>
                <a:gd name="T45" fmla="*/ 0 h 129"/>
                <a:gd name="T46" fmla="*/ 0 w 207"/>
                <a:gd name="T47" fmla="*/ 0 h 129"/>
                <a:gd name="T48" fmla="*/ 429 w 207"/>
                <a:gd name="T49" fmla="*/ 3249 h 129"/>
                <a:gd name="T50" fmla="*/ 859 w 207"/>
                <a:gd name="T51" fmla="*/ 7039 h 129"/>
                <a:gd name="T52" fmla="*/ 1718 w 207"/>
                <a:gd name="T53" fmla="*/ 10288 h 129"/>
                <a:gd name="T54" fmla="*/ 2577 w 207"/>
                <a:gd name="T55" fmla="*/ 13537 h 129"/>
                <a:gd name="T56" fmla="*/ 4295 w 207"/>
                <a:gd name="T57" fmla="*/ 18952 h 129"/>
                <a:gd name="T58" fmla="*/ 5583 w 207"/>
                <a:gd name="T59" fmla="*/ 24908 h 129"/>
                <a:gd name="T60" fmla="*/ 7301 w 207"/>
                <a:gd name="T61" fmla="*/ 29240 h 129"/>
                <a:gd name="T62" fmla="*/ 7730 w 207"/>
                <a:gd name="T63" fmla="*/ 33571 h 129"/>
                <a:gd name="T64" fmla="*/ 7301 w 207"/>
                <a:gd name="T65" fmla="*/ 35196 h 129"/>
                <a:gd name="T66" fmla="*/ 6013 w 207"/>
                <a:gd name="T67" fmla="*/ 36820 h 129"/>
                <a:gd name="T68" fmla="*/ 4724 w 207"/>
                <a:gd name="T69" fmla="*/ 38445 h 129"/>
                <a:gd name="T70" fmla="*/ 3006 w 207"/>
                <a:gd name="T71" fmla="*/ 39528 h 129"/>
                <a:gd name="T72" fmla="*/ 0 w 207"/>
                <a:gd name="T73" fmla="*/ 56313 h 129"/>
                <a:gd name="T74" fmla="*/ 1718 w 207"/>
                <a:gd name="T75" fmla="*/ 57396 h 129"/>
                <a:gd name="T76" fmla="*/ 5583 w 207"/>
                <a:gd name="T77" fmla="*/ 59562 h 129"/>
                <a:gd name="T78" fmla="*/ 8160 w 207"/>
                <a:gd name="T79" fmla="*/ 61186 h 129"/>
                <a:gd name="T80" fmla="*/ 10737 w 207"/>
                <a:gd name="T81" fmla="*/ 63352 h 129"/>
                <a:gd name="T82" fmla="*/ 14172 w 207"/>
                <a:gd name="T83" fmla="*/ 66060 h 129"/>
                <a:gd name="T84" fmla="*/ 17608 w 207"/>
                <a:gd name="T85" fmla="*/ 69850 h 12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0" name="Freeform 218">
              <a:extLst>
                <a:ext uri="{FF2B5EF4-FFF2-40B4-BE49-F238E27FC236}">
                  <a16:creationId xmlns:a16="http://schemas.microsoft.com/office/drawing/2014/main" id="{D89C6AEE-3DE8-41DE-9D2F-BB11DF205C82}"/>
                </a:ext>
              </a:extLst>
            </p:cNvPr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3324225" y="3106739"/>
              <a:ext cx="33338" cy="84137"/>
            </a:xfrm>
            <a:custGeom>
              <a:avLst/>
              <a:gdLst>
                <a:gd name="T0" fmla="*/ 33338 w 72"/>
                <a:gd name="T1" fmla="*/ 0 h 154"/>
                <a:gd name="T2" fmla="*/ 31949 w 72"/>
                <a:gd name="T3" fmla="*/ 2185 h 154"/>
                <a:gd name="T4" fmla="*/ 31023 w 72"/>
                <a:gd name="T5" fmla="*/ 4917 h 154"/>
                <a:gd name="T6" fmla="*/ 30560 w 72"/>
                <a:gd name="T7" fmla="*/ 7102 h 154"/>
                <a:gd name="T8" fmla="*/ 30560 w 72"/>
                <a:gd name="T9" fmla="*/ 9834 h 154"/>
                <a:gd name="T10" fmla="*/ 30560 w 72"/>
                <a:gd name="T11" fmla="*/ 14751 h 154"/>
                <a:gd name="T12" fmla="*/ 30560 w 72"/>
                <a:gd name="T13" fmla="*/ 20215 h 154"/>
                <a:gd name="T14" fmla="*/ 31949 w 72"/>
                <a:gd name="T15" fmla="*/ 23493 h 154"/>
                <a:gd name="T16" fmla="*/ 32875 w 72"/>
                <a:gd name="T17" fmla="*/ 27317 h 154"/>
                <a:gd name="T18" fmla="*/ 32875 w 72"/>
                <a:gd name="T19" fmla="*/ 31142 h 154"/>
                <a:gd name="T20" fmla="*/ 32875 w 72"/>
                <a:gd name="T21" fmla="*/ 35512 h 154"/>
                <a:gd name="T22" fmla="*/ 31949 w 72"/>
                <a:gd name="T23" fmla="*/ 39883 h 154"/>
                <a:gd name="T24" fmla="*/ 31023 w 72"/>
                <a:gd name="T25" fmla="*/ 44800 h 154"/>
                <a:gd name="T26" fmla="*/ 30097 w 72"/>
                <a:gd name="T27" fmla="*/ 49717 h 154"/>
                <a:gd name="T28" fmla="*/ 28245 w 72"/>
                <a:gd name="T29" fmla="*/ 54634 h 154"/>
                <a:gd name="T30" fmla="*/ 24540 w 72"/>
                <a:gd name="T31" fmla="*/ 63376 h 154"/>
                <a:gd name="T32" fmla="*/ 20373 w 72"/>
                <a:gd name="T33" fmla="*/ 71571 h 154"/>
                <a:gd name="T34" fmla="*/ 15743 w 72"/>
                <a:gd name="T35" fmla="*/ 78674 h 154"/>
                <a:gd name="T36" fmla="*/ 12039 w 72"/>
                <a:gd name="T37" fmla="*/ 84137 h 154"/>
                <a:gd name="T38" fmla="*/ 12039 w 72"/>
                <a:gd name="T39" fmla="*/ 77035 h 154"/>
                <a:gd name="T40" fmla="*/ 6945 w 72"/>
                <a:gd name="T41" fmla="*/ 78674 h 154"/>
                <a:gd name="T42" fmla="*/ 0 w 72"/>
                <a:gd name="T43" fmla="*/ 80859 h 154"/>
                <a:gd name="T44" fmla="*/ 1389 w 72"/>
                <a:gd name="T45" fmla="*/ 70478 h 154"/>
                <a:gd name="T46" fmla="*/ 3704 w 72"/>
                <a:gd name="T47" fmla="*/ 57366 h 154"/>
                <a:gd name="T48" fmla="*/ 4167 w 72"/>
                <a:gd name="T49" fmla="*/ 50264 h 154"/>
                <a:gd name="T50" fmla="*/ 5556 w 72"/>
                <a:gd name="T51" fmla="*/ 42069 h 154"/>
                <a:gd name="T52" fmla="*/ 6945 w 72"/>
                <a:gd name="T53" fmla="*/ 34420 h 154"/>
                <a:gd name="T54" fmla="*/ 9261 w 72"/>
                <a:gd name="T55" fmla="*/ 26771 h 154"/>
                <a:gd name="T56" fmla="*/ 9261 w 72"/>
                <a:gd name="T57" fmla="*/ 0 h 154"/>
                <a:gd name="T58" fmla="*/ 11576 w 72"/>
                <a:gd name="T59" fmla="*/ 0 h 154"/>
                <a:gd name="T60" fmla="*/ 17595 w 72"/>
                <a:gd name="T61" fmla="*/ 0 h 154"/>
                <a:gd name="T62" fmla="*/ 25930 w 72"/>
                <a:gd name="T63" fmla="*/ 0 h 154"/>
                <a:gd name="T64" fmla="*/ 33338 w 72"/>
                <a:gd name="T65" fmla="*/ 0 h 15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1" name="Freeform 219">
              <a:extLst>
                <a:ext uri="{FF2B5EF4-FFF2-40B4-BE49-F238E27FC236}">
                  <a16:creationId xmlns:a16="http://schemas.microsoft.com/office/drawing/2014/main" id="{B1D131A4-3D8C-4EC6-966F-1BAF19BEBD92}"/>
                </a:ext>
              </a:extLst>
            </p:cNvPr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3244851" y="3106738"/>
              <a:ext cx="93663" cy="146050"/>
            </a:xfrm>
            <a:custGeom>
              <a:avLst/>
              <a:gdLst>
                <a:gd name="T0" fmla="*/ 3501 w 214"/>
                <a:gd name="T1" fmla="*/ 111558 h 271"/>
                <a:gd name="T2" fmla="*/ 5252 w 214"/>
                <a:gd name="T3" fmla="*/ 97546 h 271"/>
                <a:gd name="T4" fmla="*/ 10504 w 214"/>
                <a:gd name="T5" fmla="*/ 79762 h 271"/>
                <a:gd name="T6" fmla="*/ 15319 w 214"/>
                <a:gd name="T7" fmla="*/ 63594 h 271"/>
                <a:gd name="T8" fmla="*/ 19258 w 214"/>
                <a:gd name="T9" fmla="*/ 60360 h 271"/>
                <a:gd name="T10" fmla="*/ 28449 w 214"/>
                <a:gd name="T11" fmla="*/ 59821 h 271"/>
                <a:gd name="T12" fmla="*/ 38953 w 214"/>
                <a:gd name="T13" fmla="*/ 59821 h 271"/>
                <a:gd name="T14" fmla="*/ 46394 w 214"/>
                <a:gd name="T15" fmla="*/ 59282 h 271"/>
                <a:gd name="T16" fmla="*/ 52521 w 214"/>
                <a:gd name="T17" fmla="*/ 56588 h 271"/>
                <a:gd name="T18" fmla="*/ 56898 w 214"/>
                <a:gd name="T19" fmla="*/ 50659 h 271"/>
                <a:gd name="T20" fmla="*/ 49458 w 214"/>
                <a:gd name="T21" fmla="*/ 39342 h 271"/>
                <a:gd name="T22" fmla="*/ 37640 w 214"/>
                <a:gd name="T23" fmla="*/ 31258 h 271"/>
                <a:gd name="T24" fmla="*/ 33701 w 214"/>
                <a:gd name="T25" fmla="*/ 26408 h 271"/>
                <a:gd name="T26" fmla="*/ 32388 w 214"/>
                <a:gd name="T27" fmla="*/ 22096 h 271"/>
                <a:gd name="T28" fmla="*/ 32826 w 214"/>
                <a:gd name="T29" fmla="*/ 18324 h 271"/>
                <a:gd name="T30" fmla="*/ 35890 w 214"/>
                <a:gd name="T31" fmla="*/ 15090 h 271"/>
                <a:gd name="T32" fmla="*/ 44205 w 214"/>
                <a:gd name="T33" fmla="*/ 10240 h 271"/>
                <a:gd name="T34" fmla="*/ 65652 w 214"/>
                <a:gd name="T35" fmla="*/ 1617 h 271"/>
                <a:gd name="T36" fmla="*/ 78782 w 214"/>
                <a:gd name="T37" fmla="*/ 0 h 271"/>
                <a:gd name="T38" fmla="*/ 86660 w 214"/>
                <a:gd name="T39" fmla="*/ 0 h 271"/>
                <a:gd name="T40" fmla="*/ 90599 w 214"/>
                <a:gd name="T41" fmla="*/ 26408 h 271"/>
                <a:gd name="T42" fmla="*/ 87098 w 214"/>
                <a:gd name="T43" fmla="*/ 41498 h 271"/>
                <a:gd name="T44" fmla="*/ 85347 w 214"/>
                <a:gd name="T45" fmla="*/ 56588 h 271"/>
                <a:gd name="T46" fmla="*/ 81846 w 214"/>
                <a:gd name="T47" fmla="*/ 79762 h 271"/>
                <a:gd name="T48" fmla="*/ 93225 w 214"/>
                <a:gd name="T49" fmla="*/ 82995 h 271"/>
                <a:gd name="T50" fmla="*/ 93663 w 214"/>
                <a:gd name="T51" fmla="*/ 89462 h 271"/>
                <a:gd name="T52" fmla="*/ 91912 w 214"/>
                <a:gd name="T53" fmla="*/ 93774 h 271"/>
                <a:gd name="T54" fmla="*/ 90599 w 214"/>
                <a:gd name="T55" fmla="*/ 95391 h 271"/>
                <a:gd name="T56" fmla="*/ 87536 w 214"/>
                <a:gd name="T57" fmla="*/ 95930 h 271"/>
                <a:gd name="T58" fmla="*/ 84034 w 214"/>
                <a:gd name="T59" fmla="*/ 105630 h 271"/>
                <a:gd name="T60" fmla="*/ 79220 w 214"/>
                <a:gd name="T61" fmla="*/ 115331 h 271"/>
                <a:gd name="T62" fmla="*/ 67840 w 214"/>
                <a:gd name="T63" fmla="*/ 130960 h 271"/>
                <a:gd name="T64" fmla="*/ 52521 w 214"/>
                <a:gd name="T65" fmla="*/ 146050 h 271"/>
                <a:gd name="T66" fmla="*/ 38078 w 214"/>
                <a:gd name="T67" fmla="*/ 140661 h 271"/>
                <a:gd name="T68" fmla="*/ 24072 w 214"/>
                <a:gd name="T69" fmla="*/ 133655 h 271"/>
                <a:gd name="T70" fmla="*/ 0 w 214"/>
                <a:gd name="T71" fmla="*/ 119104 h 27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2" name="Freeform 220">
              <a:extLst>
                <a:ext uri="{FF2B5EF4-FFF2-40B4-BE49-F238E27FC236}">
                  <a16:creationId xmlns:a16="http://schemas.microsoft.com/office/drawing/2014/main" id="{34E733AA-A95D-4E0E-8191-013A028C913B}"/>
                </a:ext>
              </a:extLst>
            </p:cNvPr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3292475" y="3217863"/>
              <a:ext cx="71438" cy="57150"/>
            </a:xfrm>
            <a:custGeom>
              <a:avLst/>
              <a:gdLst>
                <a:gd name="T0" fmla="*/ 28015 w 153"/>
                <a:gd name="T1" fmla="*/ 0 h 80"/>
                <a:gd name="T2" fmla="*/ 38754 w 153"/>
                <a:gd name="T3" fmla="*/ 10001 h 80"/>
                <a:gd name="T4" fmla="*/ 48559 w 153"/>
                <a:gd name="T5" fmla="*/ 17145 h 80"/>
                <a:gd name="T6" fmla="*/ 53695 w 153"/>
                <a:gd name="T7" fmla="*/ 20003 h 80"/>
                <a:gd name="T8" fmla="*/ 58831 w 153"/>
                <a:gd name="T9" fmla="*/ 22146 h 80"/>
                <a:gd name="T10" fmla="*/ 62100 w 153"/>
                <a:gd name="T11" fmla="*/ 22860 h 80"/>
                <a:gd name="T12" fmla="*/ 64901 w 153"/>
                <a:gd name="T13" fmla="*/ 22860 h 80"/>
                <a:gd name="T14" fmla="*/ 68170 w 153"/>
                <a:gd name="T15" fmla="*/ 22146 h 80"/>
                <a:gd name="T16" fmla="*/ 71438 w 153"/>
                <a:gd name="T17" fmla="*/ 21431 h 80"/>
                <a:gd name="T18" fmla="*/ 71438 w 153"/>
                <a:gd name="T19" fmla="*/ 40005 h 80"/>
                <a:gd name="T20" fmla="*/ 69570 w 153"/>
                <a:gd name="T21" fmla="*/ 42863 h 80"/>
                <a:gd name="T22" fmla="*/ 67703 w 153"/>
                <a:gd name="T23" fmla="*/ 46434 h 80"/>
                <a:gd name="T24" fmla="*/ 64434 w 153"/>
                <a:gd name="T25" fmla="*/ 49292 h 80"/>
                <a:gd name="T26" fmla="*/ 61633 w 153"/>
                <a:gd name="T27" fmla="*/ 51435 h 80"/>
                <a:gd name="T28" fmla="*/ 58364 w 153"/>
                <a:gd name="T29" fmla="*/ 53578 h 80"/>
                <a:gd name="T30" fmla="*/ 55563 w 153"/>
                <a:gd name="T31" fmla="*/ 55721 h 80"/>
                <a:gd name="T32" fmla="*/ 52294 w 153"/>
                <a:gd name="T33" fmla="*/ 56436 h 80"/>
                <a:gd name="T34" fmla="*/ 49493 w 153"/>
                <a:gd name="T35" fmla="*/ 57150 h 80"/>
                <a:gd name="T36" fmla="*/ 42022 w 153"/>
                <a:gd name="T37" fmla="*/ 52864 h 80"/>
                <a:gd name="T38" fmla="*/ 35486 w 153"/>
                <a:gd name="T39" fmla="*/ 50721 h 80"/>
                <a:gd name="T40" fmla="*/ 29416 w 153"/>
                <a:gd name="T41" fmla="*/ 49292 h 80"/>
                <a:gd name="T42" fmla="*/ 23346 w 153"/>
                <a:gd name="T43" fmla="*/ 49292 h 80"/>
                <a:gd name="T44" fmla="*/ 18210 w 153"/>
                <a:gd name="T45" fmla="*/ 48578 h 80"/>
                <a:gd name="T46" fmla="*/ 12607 w 153"/>
                <a:gd name="T47" fmla="*/ 47863 h 80"/>
                <a:gd name="T48" fmla="*/ 6537 w 153"/>
                <a:gd name="T49" fmla="*/ 46434 h 80"/>
                <a:gd name="T50" fmla="*/ 0 w 153"/>
                <a:gd name="T51" fmla="*/ 44291 h 80"/>
                <a:gd name="T52" fmla="*/ 3268 w 153"/>
                <a:gd name="T53" fmla="*/ 41434 h 80"/>
                <a:gd name="T54" fmla="*/ 10739 w 153"/>
                <a:gd name="T55" fmla="*/ 32147 h 80"/>
                <a:gd name="T56" fmla="*/ 15875 w 153"/>
                <a:gd name="T57" fmla="*/ 26432 h 80"/>
                <a:gd name="T58" fmla="*/ 21011 w 153"/>
                <a:gd name="T59" fmla="*/ 20003 h 80"/>
                <a:gd name="T60" fmla="*/ 26147 w 153"/>
                <a:gd name="T61" fmla="*/ 12144 h 80"/>
                <a:gd name="T62" fmla="*/ 31283 w 153"/>
                <a:gd name="T63" fmla="*/ 4286 h 80"/>
                <a:gd name="T64" fmla="*/ 28015 w 153"/>
                <a:gd name="T65" fmla="*/ 0 h 8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3" name="Freeform 221">
              <a:extLst>
                <a:ext uri="{FF2B5EF4-FFF2-40B4-BE49-F238E27FC236}">
                  <a16:creationId xmlns:a16="http://schemas.microsoft.com/office/drawing/2014/main" id="{9AC37AAB-5F35-40E1-A765-D94DDEB5960A}"/>
                </a:ext>
              </a:extLst>
            </p:cNvPr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3324226" y="3179763"/>
              <a:ext cx="142875" cy="87312"/>
            </a:xfrm>
            <a:custGeom>
              <a:avLst/>
              <a:gdLst>
                <a:gd name="T0" fmla="*/ 0 w 332"/>
                <a:gd name="T1" fmla="*/ 39781 h 169"/>
                <a:gd name="T2" fmla="*/ 18935 w 332"/>
                <a:gd name="T3" fmla="*/ 52181 h 169"/>
                <a:gd name="T4" fmla="*/ 28403 w 332"/>
                <a:gd name="T5" fmla="*/ 55797 h 169"/>
                <a:gd name="T6" fmla="*/ 33997 w 332"/>
                <a:gd name="T7" fmla="*/ 56314 h 169"/>
                <a:gd name="T8" fmla="*/ 40022 w 332"/>
                <a:gd name="T9" fmla="*/ 55280 h 169"/>
                <a:gd name="T10" fmla="*/ 38731 w 332"/>
                <a:gd name="T11" fmla="*/ 74396 h 169"/>
                <a:gd name="T12" fmla="*/ 40883 w 332"/>
                <a:gd name="T13" fmla="*/ 79562 h 169"/>
                <a:gd name="T14" fmla="*/ 42604 w 332"/>
                <a:gd name="T15" fmla="*/ 84212 h 169"/>
                <a:gd name="T16" fmla="*/ 46047 w 332"/>
                <a:gd name="T17" fmla="*/ 86795 h 169"/>
                <a:gd name="T18" fmla="*/ 50351 w 332"/>
                <a:gd name="T19" fmla="*/ 87312 h 169"/>
                <a:gd name="T20" fmla="*/ 52933 w 332"/>
                <a:gd name="T21" fmla="*/ 85762 h 169"/>
                <a:gd name="T22" fmla="*/ 56806 w 332"/>
                <a:gd name="T23" fmla="*/ 81112 h 169"/>
                <a:gd name="T24" fmla="*/ 62831 w 332"/>
                <a:gd name="T25" fmla="*/ 70263 h 169"/>
                <a:gd name="T26" fmla="*/ 74880 w 332"/>
                <a:gd name="T27" fmla="*/ 59413 h 169"/>
                <a:gd name="T28" fmla="*/ 92094 w 332"/>
                <a:gd name="T29" fmla="*/ 49597 h 169"/>
                <a:gd name="T30" fmla="*/ 110169 w 332"/>
                <a:gd name="T31" fmla="*/ 41331 h 169"/>
                <a:gd name="T32" fmla="*/ 130825 w 332"/>
                <a:gd name="T33" fmla="*/ 33582 h 169"/>
                <a:gd name="T34" fmla="*/ 142875 w 332"/>
                <a:gd name="T35" fmla="*/ 23765 h 169"/>
                <a:gd name="T36" fmla="*/ 142875 w 332"/>
                <a:gd name="T37" fmla="*/ 11366 h 169"/>
                <a:gd name="T38" fmla="*/ 137711 w 332"/>
                <a:gd name="T39" fmla="*/ 1033 h 169"/>
                <a:gd name="T40" fmla="*/ 121788 w 332"/>
                <a:gd name="T41" fmla="*/ 517 h 169"/>
                <a:gd name="T42" fmla="*/ 100701 w 332"/>
                <a:gd name="T43" fmla="*/ 0 h 169"/>
                <a:gd name="T44" fmla="*/ 77462 w 332"/>
                <a:gd name="T45" fmla="*/ 517 h 169"/>
                <a:gd name="T46" fmla="*/ 56375 w 332"/>
                <a:gd name="T47" fmla="*/ 2067 h 169"/>
                <a:gd name="T48" fmla="*/ 38731 w 332"/>
                <a:gd name="T49" fmla="*/ 5166 h 169"/>
                <a:gd name="T50" fmla="*/ 25390 w 332"/>
                <a:gd name="T51" fmla="*/ 9816 h 169"/>
                <a:gd name="T52" fmla="*/ 18075 w 332"/>
                <a:gd name="T53" fmla="*/ 11366 h 169"/>
                <a:gd name="T54" fmla="*/ 15062 w 332"/>
                <a:gd name="T55" fmla="*/ 11883 h 169"/>
                <a:gd name="T56" fmla="*/ 14632 w 332"/>
                <a:gd name="T57" fmla="*/ 13433 h 169"/>
                <a:gd name="T58" fmla="*/ 14201 w 332"/>
                <a:gd name="T59" fmla="*/ 19632 h 169"/>
                <a:gd name="T60" fmla="*/ 12480 w 332"/>
                <a:gd name="T61" fmla="*/ 22732 h 169"/>
                <a:gd name="T62" fmla="*/ 9898 w 332"/>
                <a:gd name="T63" fmla="*/ 23765 h 169"/>
                <a:gd name="T64" fmla="*/ 8177 w 332"/>
                <a:gd name="T65" fmla="*/ 28415 h 169"/>
                <a:gd name="T66" fmla="*/ 4734 w 332"/>
                <a:gd name="T67" fmla="*/ 37198 h 169"/>
                <a:gd name="T68" fmla="*/ 3012 w 332"/>
                <a:gd name="T69" fmla="*/ 42881 h 16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4" name="Freeform 222">
              <a:extLst>
                <a:ext uri="{FF2B5EF4-FFF2-40B4-BE49-F238E27FC236}">
                  <a16:creationId xmlns:a16="http://schemas.microsoft.com/office/drawing/2014/main" id="{83A3C660-92CD-4E6A-A742-06CDE5086B1D}"/>
                </a:ext>
              </a:extLst>
            </p:cNvPr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3341688" y="3209925"/>
              <a:ext cx="125412" cy="122238"/>
            </a:xfrm>
            <a:custGeom>
              <a:avLst/>
              <a:gdLst>
                <a:gd name="T0" fmla="*/ 19294 w 286"/>
                <a:gd name="T1" fmla="*/ 44734 h 235"/>
                <a:gd name="T2" fmla="*/ 21487 w 286"/>
                <a:gd name="T3" fmla="*/ 49936 h 235"/>
                <a:gd name="T4" fmla="*/ 23241 w 286"/>
                <a:gd name="T5" fmla="*/ 54617 h 235"/>
                <a:gd name="T6" fmla="*/ 26749 w 286"/>
                <a:gd name="T7" fmla="*/ 57218 h 235"/>
                <a:gd name="T8" fmla="*/ 31134 w 286"/>
                <a:gd name="T9" fmla="*/ 57738 h 235"/>
                <a:gd name="T10" fmla="*/ 33765 w 286"/>
                <a:gd name="T11" fmla="*/ 56177 h 235"/>
                <a:gd name="T12" fmla="*/ 37711 w 286"/>
                <a:gd name="T13" fmla="*/ 51496 h 235"/>
                <a:gd name="T14" fmla="*/ 43850 w 286"/>
                <a:gd name="T15" fmla="*/ 40573 h 235"/>
                <a:gd name="T16" fmla="*/ 56128 w 286"/>
                <a:gd name="T17" fmla="*/ 29649 h 235"/>
                <a:gd name="T18" fmla="*/ 73669 w 286"/>
                <a:gd name="T19" fmla="*/ 19766 h 235"/>
                <a:gd name="T20" fmla="*/ 92086 w 286"/>
                <a:gd name="T21" fmla="*/ 11444 h 235"/>
                <a:gd name="T22" fmla="*/ 113134 w 286"/>
                <a:gd name="T23" fmla="*/ 3641 h 235"/>
                <a:gd name="T24" fmla="*/ 125412 w 286"/>
                <a:gd name="T25" fmla="*/ 5722 h 235"/>
                <a:gd name="T26" fmla="*/ 123658 w 286"/>
                <a:gd name="T27" fmla="*/ 16645 h 235"/>
                <a:gd name="T28" fmla="*/ 119273 w 286"/>
                <a:gd name="T29" fmla="*/ 36411 h 235"/>
                <a:gd name="T30" fmla="*/ 111380 w 286"/>
                <a:gd name="T31" fmla="*/ 66581 h 235"/>
                <a:gd name="T32" fmla="*/ 106995 w 286"/>
                <a:gd name="T33" fmla="*/ 90508 h 235"/>
                <a:gd name="T34" fmla="*/ 105241 w 286"/>
                <a:gd name="T35" fmla="*/ 107153 h 235"/>
                <a:gd name="T36" fmla="*/ 64022 w 286"/>
                <a:gd name="T37" fmla="*/ 112355 h 235"/>
                <a:gd name="T38" fmla="*/ 60513 w 286"/>
                <a:gd name="T39" fmla="*/ 113395 h 235"/>
                <a:gd name="T40" fmla="*/ 57882 w 286"/>
                <a:gd name="T41" fmla="*/ 115996 h 235"/>
                <a:gd name="T42" fmla="*/ 55690 w 286"/>
                <a:gd name="T43" fmla="*/ 122238 h 235"/>
                <a:gd name="T44" fmla="*/ 47797 w 286"/>
                <a:gd name="T45" fmla="*/ 112875 h 235"/>
                <a:gd name="T46" fmla="*/ 41219 w 286"/>
                <a:gd name="T47" fmla="*/ 103512 h 235"/>
                <a:gd name="T48" fmla="*/ 30257 w 286"/>
                <a:gd name="T49" fmla="*/ 83226 h 235"/>
                <a:gd name="T50" fmla="*/ 24118 w 286"/>
                <a:gd name="T51" fmla="*/ 73863 h 235"/>
                <a:gd name="T52" fmla="*/ 17979 w 286"/>
                <a:gd name="T53" fmla="*/ 65020 h 235"/>
                <a:gd name="T54" fmla="*/ 9647 w 286"/>
                <a:gd name="T55" fmla="*/ 57218 h 235"/>
                <a:gd name="T56" fmla="*/ 0 w 286"/>
                <a:gd name="T57" fmla="*/ 51496 h 235"/>
                <a:gd name="T58" fmla="*/ 5701 w 286"/>
                <a:gd name="T59" fmla="*/ 50456 h 235"/>
                <a:gd name="T60" fmla="*/ 11401 w 286"/>
                <a:gd name="T61" fmla="*/ 47335 h 235"/>
                <a:gd name="T62" fmla="*/ 17102 w 286"/>
                <a:gd name="T63" fmla="*/ 43694 h 235"/>
                <a:gd name="T64" fmla="*/ 20610 w 286"/>
                <a:gd name="T65" fmla="*/ 39012 h 2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5" name="Freeform 223">
              <a:extLst>
                <a:ext uri="{FF2B5EF4-FFF2-40B4-BE49-F238E27FC236}">
                  <a16:creationId xmlns:a16="http://schemas.microsoft.com/office/drawing/2014/main" id="{7F139327-E1C0-4DB2-9862-5C44624424BE}"/>
                </a:ext>
              </a:extLst>
            </p:cNvPr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3392489" y="3322638"/>
              <a:ext cx="84137" cy="100012"/>
            </a:xfrm>
            <a:custGeom>
              <a:avLst/>
              <a:gdLst>
                <a:gd name="T0" fmla="*/ 77160 w 205"/>
                <a:gd name="T1" fmla="*/ 96870 h 191"/>
                <a:gd name="T2" fmla="*/ 71824 w 205"/>
                <a:gd name="T3" fmla="*/ 96870 h 191"/>
                <a:gd name="T4" fmla="*/ 64847 w 205"/>
                <a:gd name="T5" fmla="*/ 96870 h 191"/>
                <a:gd name="T6" fmla="*/ 59101 w 205"/>
                <a:gd name="T7" fmla="*/ 94252 h 191"/>
                <a:gd name="T8" fmla="*/ 55818 w 205"/>
                <a:gd name="T9" fmla="*/ 90587 h 191"/>
                <a:gd name="T10" fmla="*/ 52945 w 205"/>
                <a:gd name="T11" fmla="*/ 85351 h 191"/>
                <a:gd name="T12" fmla="*/ 49251 w 205"/>
                <a:gd name="T13" fmla="*/ 76973 h 191"/>
                <a:gd name="T14" fmla="*/ 45147 w 205"/>
                <a:gd name="T15" fmla="*/ 68595 h 191"/>
                <a:gd name="T16" fmla="*/ 40632 w 205"/>
                <a:gd name="T17" fmla="*/ 63358 h 191"/>
                <a:gd name="T18" fmla="*/ 38169 w 205"/>
                <a:gd name="T19" fmla="*/ 65977 h 191"/>
                <a:gd name="T20" fmla="*/ 36938 w 205"/>
                <a:gd name="T21" fmla="*/ 70689 h 191"/>
                <a:gd name="T22" fmla="*/ 34476 w 205"/>
                <a:gd name="T23" fmla="*/ 68071 h 191"/>
                <a:gd name="T24" fmla="*/ 29551 w 205"/>
                <a:gd name="T25" fmla="*/ 59169 h 191"/>
                <a:gd name="T26" fmla="*/ 22984 w 205"/>
                <a:gd name="T27" fmla="*/ 45555 h 191"/>
                <a:gd name="T28" fmla="*/ 16827 w 205"/>
                <a:gd name="T29" fmla="*/ 35083 h 191"/>
                <a:gd name="T30" fmla="*/ 12723 w 205"/>
                <a:gd name="T31" fmla="*/ 30370 h 191"/>
                <a:gd name="T32" fmla="*/ 10671 w 205"/>
                <a:gd name="T33" fmla="*/ 31417 h 191"/>
                <a:gd name="T34" fmla="*/ 11902 w 205"/>
                <a:gd name="T35" fmla="*/ 36130 h 191"/>
                <a:gd name="T36" fmla="*/ 13954 w 205"/>
                <a:gd name="T37" fmla="*/ 40843 h 191"/>
                <a:gd name="T38" fmla="*/ 16827 w 205"/>
                <a:gd name="T39" fmla="*/ 43984 h 191"/>
                <a:gd name="T40" fmla="*/ 18880 w 205"/>
                <a:gd name="T41" fmla="*/ 54980 h 191"/>
                <a:gd name="T42" fmla="*/ 5336 w 205"/>
                <a:gd name="T43" fmla="*/ 51315 h 191"/>
                <a:gd name="T44" fmla="*/ 1642 w 205"/>
                <a:gd name="T45" fmla="*/ 43984 h 191"/>
                <a:gd name="T46" fmla="*/ 0 w 205"/>
                <a:gd name="T47" fmla="*/ 31417 h 191"/>
                <a:gd name="T48" fmla="*/ 0 w 205"/>
                <a:gd name="T49" fmla="*/ 19898 h 191"/>
                <a:gd name="T50" fmla="*/ 1231 w 205"/>
                <a:gd name="T51" fmla="*/ 14661 h 191"/>
                <a:gd name="T52" fmla="*/ 3283 w 205"/>
                <a:gd name="T53" fmla="*/ 11520 h 191"/>
                <a:gd name="T54" fmla="*/ 5746 w 205"/>
                <a:gd name="T55" fmla="*/ 6807 h 191"/>
                <a:gd name="T56" fmla="*/ 8208 w 205"/>
                <a:gd name="T57" fmla="*/ 2094 h 191"/>
                <a:gd name="T58" fmla="*/ 11492 w 205"/>
                <a:gd name="T59" fmla="*/ 0 h 191"/>
                <a:gd name="T60" fmla="*/ 51713 w 205"/>
                <a:gd name="T61" fmla="*/ 3142 h 191"/>
                <a:gd name="T62" fmla="*/ 52124 w 205"/>
                <a:gd name="T63" fmla="*/ 10996 h 191"/>
                <a:gd name="T64" fmla="*/ 53355 w 205"/>
                <a:gd name="T65" fmla="*/ 19374 h 191"/>
                <a:gd name="T66" fmla="*/ 58691 w 205"/>
                <a:gd name="T67" fmla="*/ 36654 h 191"/>
                <a:gd name="T68" fmla="*/ 67720 w 205"/>
                <a:gd name="T69" fmla="*/ 53410 h 191"/>
                <a:gd name="T70" fmla="*/ 72645 w 205"/>
                <a:gd name="T71" fmla="*/ 61264 h 191"/>
                <a:gd name="T72" fmla="*/ 78801 w 205"/>
                <a:gd name="T73" fmla="*/ 68071 h 191"/>
                <a:gd name="T74" fmla="*/ 77570 w 205"/>
                <a:gd name="T75" fmla="*/ 74878 h 191"/>
                <a:gd name="T76" fmla="*/ 77570 w 205"/>
                <a:gd name="T77" fmla="*/ 81685 h 191"/>
                <a:gd name="T78" fmla="*/ 78801 w 205"/>
                <a:gd name="T79" fmla="*/ 100012 h 191"/>
                <a:gd name="T80" fmla="*/ 84137 w 205"/>
                <a:gd name="T81" fmla="*/ 96870 h 19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6" name="Freeform 224">
              <a:extLst>
                <a:ext uri="{FF2B5EF4-FFF2-40B4-BE49-F238E27FC236}">
                  <a16:creationId xmlns:a16="http://schemas.microsoft.com/office/drawing/2014/main" id="{9135669D-C4AA-48B0-9CDD-D3C22B8BB4A6}"/>
                </a:ext>
              </a:extLst>
            </p:cNvPr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3473451" y="3376614"/>
              <a:ext cx="142875" cy="79375"/>
            </a:xfrm>
            <a:custGeom>
              <a:avLst/>
              <a:gdLst>
                <a:gd name="T0" fmla="*/ 1303 w 329"/>
                <a:gd name="T1" fmla="*/ 29894 h 154"/>
                <a:gd name="T2" fmla="*/ 0 w 329"/>
                <a:gd name="T3" fmla="*/ 21648 h 154"/>
                <a:gd name="T4" fmla="*/ 869 w 329"/>
                <a:gd name="T5" fmla="*/ 15978 h 154"/>
                <a:gd name="T6" fmla="*/ 7383 w 329"/>
                <a:gd name="T7" fmla="*/ 17009 h 154"/>
                <a:gd name="T8" fmla="*/ 15634 w 329"/>
                <a:gd name="T9" fmla="*/ 21132 h 154"/>
                <a:gd name="T10" fmla="*/ 21279 w 329"/>
                <a:gd name="T11" fmla="*/ 22163 h 154"/>
                <a:gd name="T12" fmla="*/ 29096 w 329"/>
                <a:gd name="T13" fmla="*/ 22163 h 154"/>
                <a:gd name="T14" fmla="*/ 37347 w 329"/>
                <a:gd name="T15" fmla="*/ 20101 h 154"/>
                <a:gd name="T16" fmla="*/ 47770 w 329"/>
                <a:gd name="T17" fmla="*/ 15463 h 154"/>
                <a:gd name="T18" fmla="*/ 60798 w 329"/>
                <a:gd name="T19" fmla="*/ 6700 h 154"/>
                <a:gd name="T20" fmla="*/ 70352 w 329"/>
                <a:gd name="T21" fmla="*/ 2062 h 154"/>
                <a:gd name="T22" fmla="*/ 77734 w 329"/>
                <a:gd name="T23" fmla="*/ 0 h 154"/>
                <a:gd name="T24" fmla="*/ 88157 w 329"/>
                <a:gd name="T25" fmla="*/ 0 h 154"/>
                <a:gd name="T26" fmla="*/ 97277 w 329"/>
                <a:gd name="T27" fmla="*/ 3093 h 154"/>
                <a:gd name="T28" fmla="*/ 105528 w 329"/>
                <a:gd name="T29" fmla="*/ 7731 h 154"/>
                <a:gd name="T30" fmla="*/ 112476 w 329"/>
                <a:gd name="T31" fmla="*/ 14432 h 154"/>
                <a:gd name="T32" fmla="*/ 121596 w 329"/>
                <a:gd name="T33" fmla="*/ 23709 h 154"/>
                <a:gd name="T34" fmla="*/ 131150 w 329"/>
                <a:gd name="T35" fmla="*/ 31441 h 154"/>
                <a:gd name="T36" fmla="*/ 138532 w 329"/>
                <a:gd name="T37" fmla="*/ 34533 h 154"/>
                <a:gd name="T38" fmla="*/ 135927 w 329"/>
                <a:gd name="T39" fmla="*/ 42265 h 154"/>
                <a:gd name="T40" fmla="*/ 127241 w 329"/>
                <a:gd name="T41" fmla="*/ 54635 h 154"/>
                <a:gd name="T42" fmla="*/ 120293 w 329"/>
                <a:gd name="T43" fmla="*/ 71128 h 154"/>
                <a:gd name="T44" fmla="*/ 115082 w 329"/>
                <a:gd name="T45" fmla="*/ 78860 h 154"/>
                <a:gd name="T46" fmla="*/ 109870 w 329"/>
                <a:gd name="T47" fmla="*/ 75252 h 154"/>
                <a:gd name="T48" fmla="*/ 104225 w 329"/>
                <a:gd name="T49" fmla="*/ 70097 h 154"/>
                <a:gd name="T50" fmla="*/ 99882 w 329"/>
                <a:gd name="T51" fmla="*/ 64943 h 154"/>
                <a:gd name="T52" fmla="*/ 99882 w 329"/>
                <a:gd name="T53" fmla="*/ 58758 h 154"/>
                <a:gd name="T54" fmla="*/ 102054 w 329"/>
                <a:gd name="T55" fmla="*/ 51542 h 154"/>
                <a:gd name="T56" fmla="*/ 108133 w 329"/>
                <a:gd name="T57" fmla="*/ 44326 h 154"/>
                <a:gd name="T58" fmla="*/ 101185 w 329"/>
                <a:gd name="T59" fmla="*/ 35049 h 154"/>
                <a:gd name="T60" fmla="*/ 89894 w 329"/>
                <a:gd name="T61" fmla="*/ 28348 h 154"/>
                <a:gd name="T62" fmla="*/ 84683 w 329"/>
                <a:gd name="T63" fmla="*/ 21132 h 154"/>
                <a:gd name="T64" fmla="*/ 77734 w 329"/>
                <a:gd name="T65" fmla="*/ 17524 h 154"/>
                <a:gd name="T66" fmla="*/ 70786 w 329"/>
                <a:gd name="T67" fmla="*/ 21132 h 154"/>
                <a:gd name="T68" fmla="*/ 65141 w 329"/>
                <a:gd name="T69" fmla="*/ 25771 h 154"/>
                <a:gd name="T70" fmla="*/ 60798 w 329"/>
                <a:gd name="T71" fmla="*/ 31441 h 154"/>
                <a:gd name="T72" fmla="*/ 57324 w 329"/>
                <a:gd name="T73" fmla="*/ 38141 h 154"/>
                <a:gd name="T74" fmla="*/ 55587 w 329"/>
                <a:gd name="T75" fmla="*/ 45357 h 154"/>
                <a:gd name="T76" fmla="*/ 53415 w 329"/>
                <a:gd name="T77" fmla="*/ 56181 h 154"/>
                <a:gd name="T78" fmla="*/ 52981 w 329"/>
                <a:gd name="T79" fmla="*/ 64428 h 154"/>
                <a:gd name="T80" fmla="*/ 51244 w 329"/>
                <a:gd name="T81" fmla="*/ 66489 h 154"/>
                <a:gd name="T82" fmla="*/ 46901 w 329"/>
                <a:gd name="T83" fmla="*/ 69582 h 154"/>
                <a:gd name="T84" fmla="*/ 41690 w 329"/>
                <a:gd name="T85" fmla="*/ 69582 h 154"/>
                <a:gd name="T86" fmla="*/ 36044 w 329"/>
                <a:gd name="T87" fmla="*/ 66489 h 154"/>
                <a:gd name="T88" fmla="*/ 28662 w 329"/>
                <a:gd name="T89" fmla="*/ 59789 h 154"/>
                <a:gd name="T90" fmla="*/ 20845 w 329"/>
                <a:gd name="T91" fmla="*/ 48450 h 154"/>
                <a:gd name="T92" fmla="*/ 14331 w 329"/>
                <a:gd name="T93" fmla="*/ 41234 h 154"/>
                <a:gd name="T94" fmla="*/ 9554 w 329"/>
                <a:gd name="T95" fmla="*/ 38141 h 154"/>
                <a:gd name="T96" fmla="*/ 1303 w 329"/>
                <a:gd name="T97" fmla="*/ 37626 h 15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7" name="Freeform 225">
              <a:extLst>
                <a:ext uri="{FF2B5EF4-FFF2-40B4-BE49-F238E27FC236}">
                  <a16:creationId xmlns:a16="http://schemas.microsoft.com/office/drawing/2014/main" id="{58C013E9-D0F2-4971-BF20-461D61F1EB8C}"/>
                </a:ext>
              </a:extLst>
            </p:cNvPr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4154488" y="4630739"/>
              <a:ext cx="133350" cy="155575"/>
            </a:xfrm>
            <a:custGeom>
              <a:avLst/>
              <a:gdLst>
                <a:gd name="T0" fmla="*/ 129428 w 306"/>
                <a:gd name="T1" fmla="*/ 96106 h 293"/>
                <a:gd name="T2" fmla="*/ 128992 w 306"/>
                <a:gd name="T3" fmla="*/ 98230 h 293"/>
                <a:gd name="T4" fmla="*/ 126813 w 306"/>
                <a:gd name="T5" fmla="*/ 103009 h 293"/>
                <a:gd name="T6" fmla="*/ 122891 w 306"/>
                <a:gd name="T7" fmla="*/ 105664 h 293"/>
                <a:gd name="T8" fmla="*/ 118533 w 306"/>
                <a:gd name="T9" fmla="*/ 106726 h 293"/>
                <a:gd name="T10" fmla="*/ 114611 w 306"/>
                <a:gd name="T11" fmla="*/ 109911 h 293"/>
                <a:gd name="T12" fmla="*/ 110253 w 306"/>
                <a:gd name="T13" fmla="*/ 121593 h 293"/>
                <a:gd name="T14" fmla="*/ 105460 w 306"/>
                <a:gd name="T15" fmla="*/ 134867 h 293"/>
                <a:gd name="T16" fmla="*/ 100666 w 306"/>
                <a:gd name="T17" fmla="*/ 141770 h 293"/>
                <a:gd name="T18" fmla="*/ 96308 w 306"/>
                <a:gd name="T19" fmla="*/ 144956 h 293"/>
                <a:gd name="T20" fmla="*/ 87157 w 306"/>
                <a:gd name="T21" fmla="*/ 149203 h 293"/>
                <a:gd name="T22" fmla="*/ 71469 w 306"/>
                <a:gd name="T23" fmla="*/ 153982 h 293"/>
                <a:gd name="T24" fmla="*/ 60574 w 306"/>
                <a:gd name="T25" fmla="*/ 155575 h 293"/>
                <a:gd name="T26" fmla="*/ 53601 w 306"/>
                <a:gd name="T27" fmla="*/ 155575 h 293"/>
                <a:gd name="T28" fmla="*/ 46193 w 306"/>
                <a:gd name="T29" fmla="*/ 153982 h 293"/>
                <a:gd name="T30" fmla="*/ 40092 w 306"/>
                <a:gd name="T31" fmla="*/ 151858 h 293"/>
                <a:gd name="T32" fmla="*/ 34863 w 306"/>
                <a:gd name="T33" fmla="*/ 147610 h 293"/>
                <a:gd name="T34" fmla="*/ 30941 w 306"/>
                <a:gd name="T35" fmla="*/ 142301 h 293"/>
                <a:gd name="T36" fmla="*/ 436 w 306"/>
                <a:gd name="T37" fmla="*/ 125310 h 293"/>
                <a:gd name="T38" fmla="*/ 0 w 306"/>
                <a:gd name="T39" fmla="*/ 46726 h 293"/>
                <a:gd name="T40" fmla="*/ 436 w 306"/>
                <a:gd name="T41" fmla="*/ 26018 h 293"/>
                <a:gd name="T42" fmla="*/ 1743 w 306"/>
                <a:gd name="T43" fmla="*/ 18584 h 293"/>
                <a:gd name="T44" fmla="*/ 4794 w 306"/>
                <a:gd name="T45" fmla="*/ 11150 h 293"/>
                <a:gd name="T46" fmla="*/ 8716 w 306"/>
                <a:gd name="T47" fmla="*/ 4248 h 293"/>
                <a:gd name="T48" fmla="*/ 17867 w 306"/>
                <a:gd name="T49" fmla="*/ 1062 h 293"/>
                <a:gd name="T50" fmla="*/ 23097 w 306"/>
                <a:gd name="T51" fmla="*/ 0 h 293"/>
                <a:gd name="T52" fmla="*/ 31376 w 306"/>
                <a:gd name="T53" fmla="*/ 3186 h 293"/>
                <a:gd name="T54" fmla="*/ 34863 w 306"/>
                <a:gd name="T55" fmla="*/ 3717 h 293"/>
                <a:gd name="T56" fmla="*/ 36606 w 306"/>
                <a:gd name="T57" fmla="*/ 2124 h 293"/>
                <a:gd name="T58" fmla="*/ 37913 w 306"/>
                <a:gd name="T59" fmla="*/ 2655 h 293"/>
                <a:gd name="T60" fmla="*/ 39221 w 306"/>
                <a:gd name="T61" fmla="*/ 5841 h 293"/>
                <a:gd name="T62" fmla="*/ 43143 w 306"/>
                <a:gd name="T63" fmla="*/ 10088 h 293"/>
                <a:gd name="T64" fmla="*/ 52730 w 306"/>
                <a:gd name="T65" fmla="*/ 16460 h 293"/>
                <a:gd name="T66" fmla="*/ 64496 w 306"/>
                <a:gd name="T67" fmla="*/ 21770 h 293"/>
                <a:gd name="T68" fmla="*/ 79313 w 306"/>
                <a:gd name="T69" fmla="*/ 31327 h 293"/>
                <a:gd name="T70" fmla="*/ 91515 w 306"/>
                <a:gd name="T71" fmla="*/ 41947 h 293"/>
                <a:gd name="T72" fmla="*/ 105024 w 306"/>
                <a:gd name="T73" fmla="*/ 54159 h 293"/>
                <a:gd name="T74" fmla="*/ 113740 w 306"/>
                <a:gd name="T75" fmla="*/ 62124 h 293"/>
                <a:gd name="T76" fmla="*/ 115919 w 306"/>
                <a:gd name="T77" fmla="*/ 65841 h 293"/>
                <a:gd name="T78" fmla="*/ 122020 w 306"/>
                <a:gd name="T79" fmla="*/ 71681 h 293"/>
                <a:gd name="T80" fmla="*/ 130300 w 306"/>
                <a:gd name="T81" fmla="*/ 80177 h 293"/>
                <a:gd name="T82" fmla="*/ 133350 w 306"/>
                <a:gd name="T83" fmla="*/ 85487 h 293"/>
                <a:gd name="T84" fmla="*/ 132478 w 306"/>
                <a:gd name="T85" fmla="*/ 88141 h 29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8" name="Freeform 226">
              <a:extLst>
                <a:ext uri="{FF2B5EF4-FFF2-40B4-BE49-F238E27FC236}">
                  <a16:creationId xmlns:a16="http://schemas.microsoft.com/office/drawing/2014/main" id="{CB5FB743-9D3A-48C7-8FCD-548EA696FE56}"/>
                </a:ext>
              </a:extLst>
            </p:cNvPr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5700714" y="1247776"/>
              <a:ext cx="236537" cy="92075"/>
            </a:xfrm>
            <a:custGeom>
              <a:avLst/>
              <a:gdLst>
                <a:gd name="T0" fmla="*/ 32058 w 546"/>
                <a:gd name="T1" fmla="*/ 10112 h 173"/>
                <a:gd name="T2" fmla="*/ 40722 w 546"/>
                <a:gd name="T3" fmla="*/ 18096 h 173"/>
                <a:gd name="T4" fmla="*/ 47654 w 546"/>
                <a:gd name="T5" fmla="*/ 14370 h 173"/>
                <a:gd name="T6" fmla="*/ 57185 w 546"/>
                <a:gd name="T7" fmla="*/ 14370 h 173"/>
                <a:gd name="T8" fmla="*/ 69748 w 546"/>
                <a:gd name="T9" fmla="*/ 23418 h 173"/>
                <a:gd name="T10" fmla="*/ 90543 w 546"/>
                <a:gd name="T11" fmla="*/ 10112 h 173"/>
                <a:gd name="T12" fmla="*/ 105272 w 546"/>
                <a:gd name="T13" fmla="*/ 10112 h 173"/>
                <a:gd name="T14" fmla="*/ 112637 w 546"/>
                <a:gd name="T15" fmla="*/ 8516 h 173"/>
                <a:gd name="T16" fmla="*/ 116536 w 546"/>
                <a:gd name="T17" fmla="*/ 7451 h 173"/>
                <a:gd name="T18" fmla="*/ 120868 w 546"/>
                <a:gd name="T19" fmla="*/ 5854 h 173"/>
                <a:gd name="T20" fmla="*/ 123900 w 546"/>
                <a:gd name="T21" fmla="*/ 1597 h 173"/>
                <a:gd name="T22" fmla="*/ 139063 w 546"/>
                <a:gd name="T23" fmla="*/ 2661 h 173"/>
                <a:gd name="T24" fmla="*/ 144262 w 546"/>
                <a:gd name="T25" fmla="*/ 6387 h 173"/>
                <a:gd name="T26" fmla="*/ 150760 w 546"/>
                <a:gd name="T27" fmla="*/ 3726 h 173"/>
                <a:gd name="T28" fmla="*/ 152926 w 546"/>
                <a:gd name="T29" fmla="*/ 0 h 173"/>
                <a:gd name="T30" fmla="*/ 158991 w 546"/>
                <a:gd name="T31" fmla="*/ 3726 h 173"/>
                <a:gd name="T32" fmla="*/ 168522 w 546"/>
                <a:gd name="T33" fmla="*/ 3726 h 173"/>
                <a:gd name="T34" fmla="*/ 188883 w 546"/>
                <a:gd name="T35" fmla="*/ 532 h 173"/>
                <a:gd name="T36" fmla="*/ 208811 w 546"/>
                <a:gd name="T37" fmla="*/ 3193 h 173"/>
                <a:gd name="T38" fmla="*/ 228739 w 546"/>
                <a:gd name="T39" fmla="*/ 6387 h 173"/>
                <a:gd name="T40" fmla="*/ 236104 w 546"/>
                <a:gd name="T41" fmla="*/ 26079 h 173"/>
                <a:gd name="T42" fmla="*/ 232638 w 546"/>
                <a:gd name="T43" fmla="*/ 31934 h 173"/>
                <a:gd name="T44" fmla="*/ 222241 w 546"/>
                <a:gd name="T45" fmla="*/ 32998 h 173"/>
                <a:gd name="T46" fmla="*/ 209244 w 546"/>
                <a:gd name="T47" fmla="*/ 28740 h 173"/>
                <a:gd name="T48" fmla="*/ 178919 w 546"/>
                <a:gd name="T49" fmla="*/ 23418 h 173"/>
                <a:gd name="T50" fmla="*/ 189749 w 546"/>
                <a:gd name="T51" fmla="*/ 43110 h 173"/>
                <a:gd name="T52" fmla="*/ 204046 w 546"/>
                <a:gd name="T53" fmla="*/ 54287 h 173"/>
                <a:gd name="T54" fmla="*/ 213576 w 546"/>
                <a:gd name="T55" fmla="*/ 63335 h 173"/>
                <a:gd name="T56" fmla="*/ 205779 w 546"/>
                <a:gd name="T57" fmla="*/ 72383 h 173"/>
                <a:gd name="T58" fmla="*/ 194515 w 546"/>
                <a:gd name="T59" fmla="*/ 75576 h 173"/>
                <a:gd name="T60" fmla="*/ 184551 w 546"/>
                <a:gd name="T61" fmla="*/ 75044 h 173"/>
                <a:gd name="T62" fmla="*/ 178486 w 546"/>
                <a:gd name="T63" fmla="*/ 71318 h 173"/>
                <a:gd name="T64" fmla="*/ 172854 w 546"/>
                <a:gd name="T65" fmla="*/ 69189 h 173"/>
                <a:gd name="T66" fmla="*/ 166789 w 546"/>
                <a:gd name="T67" fmla="*/ 64399 h 173"/>
                <a:gd name="T68" fmla="*/ 162457 w 546"/>
                <a:gd name="T69" fmla="*/ 55351 h 173"/>
                <a:gd name="T70" fmla="*/ 158125 w 546"/>
                <a:gd name="T71" fmla="*/ 48965 h 173"/>
                <a:gd name="T72" fmla="*/ 149027 w 546"/>
                <a:gd name="T73" fmla="*/ 44707 h 173"/>
                <a:gd name="T74" fmla="*/ 140796 w 546"/>
                <a:gd name="T75" fmla="*/ 40449 h 173"/>
                <a:gd name="T76" fmla="*/ 131265 w 546"/>
                <a:gd name="T77" fmla="*/ 46304 h 173"/>
                <a:gd name="T78" fmla="*/ 111770 w 546"/>
                <a:gd name="T79" fmla="*/ 71318 h 173"/>
                <a:gd name="T80" fmla="*/ 102239 w 546"/>
                <a:gd name="T81" fmla="*/ 86753 h 173"/>
                <a:gd name="T82" fmla="*/ 95308 w 546"/>
                <a:gd name="T83" fmla="*/ 91543 h 173"/>
                <a:gd name="T84" fmla="*/ 81445 w 546"/>
                <a:gd name="T85" fmla="*/ 88882 h 173"/>
                <a:gd name="T86" fmla="*/ 71481 w 546"/>
                <a:gd name="T87" fmla="*/ 82495 h 173"/>
                <a:gd name="T88" fmla="*/ 48954 w 546"/>
                <a:gd name="T89" fmla="*/ 55884 h 173"/>
                <a:gd name="T90" fmla="*/ 41156 w 546"/>
                <a:gd name="T91" fmla="*/ 48433 h 173"/>
                <a:gd name="T92" fmla="*/ 25993 w 546"/>
                <a:gd name="T93" fmla="*/ 40449 h 173"/>
                <a:gd name="T94" fmla="*/ 6931 w 546"/>
                <a:gd name="T95" fmla="*/ 30869 h 173"/>
                <a:gd name="T96" fmla="*/ 4765 w 546"/>
                <a:gd name="T97" fmla="*/ 18096 h 173"/>
                <a:gd name="T98" fmla="*/ 12130 w 546"/>
                <a:gd name="T99" fmla="*/ 10112 h 173"/>
                <a:gd name="T100" fmla="*/ 20361 w 546"/>
                <a:gd name="T101" fmla="*/ 638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9" name="Freeform 227">
              <a:extLst>
                <a:ext uri="{FF2B5EF4-FFF2-40B4-BE49-F238E27FC236}">
                  <a16:creationId xmlns:a16="http://schemas.microsoft.com/office/drawing/2014/main" id="{65B4F898-F88B-4233-BB48-A2D81FDF2633}"/>
                </a:ext>
              </a:extLst>
            </p:cNvPr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5627688" y="1477963"/>
              <a:ext cx="449262" cy="361950"/>
            </a:xfrm>
            <a:custGeom>
              <a:avLst/>
              <a:gdLst>
                <a:gd name="T0" fmla="*/ 103976 w 1037"/>
                <a:gd name="T1" fmla="*/ 326280 h 690"/>
                <a:gd name="T2" fmla="*/ 67151 w 1037"/>
                <a:gd name="T3" fmla="*/ 358278 h 690"/>
                <a:gd name="T4" fmla="*/ 13863 w 1037"/>
                <a:gd name="T5" fmla="*/ 343066 h 690"/>
                <a:gd name="T6" fmla="*/ 29027 w 1037"/>
                <a:gd name="T7" fmla="*/ 332574 h 690"/>
                <a:gd name="T8" fmla="*/ 7798 w 1037"/>
                <a:gd name="T9" fmla="*/ 312641 h 690"/>
                <a:gd name="T10" fmla="*/ 19062 w 1037"/>
                <a:gd name="T11" fmla="*/ 312116 h 690"/>
                <a:gd name="T12" fmla="*/ 29027 w 1037"/>
                <a:gd name="T13" fmla="*/ 297428 h 690"/>
                <a:gd name="T14" fmla="*/ 3466 w 1037"/>
                <a:gd name="T15" fmla="*/ 286413 h 690"/>
                <a:gd name="T16" fmla="*/ 32059 w 1037"/>
                <a:gd name="T17" fmla="*/ 274348 h 690"/>
                <a:gd name="T18" fmla="*/ 0 w 1037"/>
                <a:gd name="T19" fmla="*/ 261758 h 690"/>
                <a:gd name="T20" fmla="*/ 8665 w 1037"/>
                <a:gd name="T21" fmla="*/ 239202 h 690"/>
                <a:gd name="T22" fmla="*/ 16030 w 1037"/>
                <a:gd name="T23" fmla="*/ 241825 h 690"/>
                <a:gd name="T24" fmla="*/ 33359 w 1037"/>
                <a:gd name="T25" fmla="*/ 235530 h 690"/>
                <a:gd name="T26" fmla="*/ 39857 w 1037"/>
                <a:gd name="T27" fmla="*/ 222416 h 690"/>
                <a:gd name="T28" fmla="*/ 56320 w 1037"/>
                <a:gd name="T29" fmla="*/ 214547 h 690"/>
                <a:gd name="T30" fmla="*/ 95311 w 1037"/>
                <a:gd name="T31" fmla="*/ 200384 h 690"/>
                <a:gd name="T32" fmla="*/ 98344 w 1037"/>
                <a:gd name="T33" fmla="*/ 177828 h 690"/>
                <a:gd name="T34" fmla="*/ 122605 w 1037"/>
                <a:gd name="T35" fmla="*/ 170484 h 690"/>
                <a:gd name="T36" fmla="*/ 122172 w 1037"/>
                <a:gd name="T37" fmla="*/ 162615 h 690"/>
                <a:gd name="T38" fmla="*/ 129103 w 1037"/>
                <a:gd name="T39" fmla="*/ 149501 h 690"/>
                <a:gd name="T40" fmla="*/ 145133 w 1037"/>
                <a:gd name="T41" fmla="*/ 127469 h 690"/>
                <a:gd name="T42" fmla="*/ 148599 w 1037"/>
                <a:gd name="T43" fmla="*/ 118552 h 690"/>
                <a:gd name="T44" fmla="*/ 168961 w 1037"/>
                <a:gd name="T45" fmla="*/ 104913 h 690"/>
                <a:gd name="T46" fmla="*/ 167661 w 1037"/>
                <a:gd name="T47" fmla="*/ 82357 h 690"/>
                <a:gd name="T48" fmla="*/ 161596 w 1037"/>
                <a:gd name="T49" fmla="*/ 74488 h 690"/>
                <a:gd name="T50" fmla="*/ 144700 w 1037"/>
                <a:gd name="T51" fmla="*/ 80783 h 690"/>
                <a:gd name="T52" fmla="*/ 168961 w 1037"/>
                <a:gd name="T53" fmla="*/ 54030 h 690"/>
                <a:gd name="T54" fmla="*/ 178059 w 1037"/>
                <a:gd name="T55" fmla="*/ 50358 h 690"/>
                <a:gd name="T56" fmla="*/ 200587 w 1037"/>
                <a:gd name="T57" fmla="*/ 59800 h 690"/>
                <a:gd name="T58" fmla="*/ 201886 w 1037"/>
                <a:gd name="T59" fmla="*/ 47735 h 690"/>
                <a:gd name="T60" fmla="*/ 241744 w 1037"/>
                <a:gd name="T61" fmla="*/ 31998 h 690"/>
                <a:gd name="T62" fmla="*/ 256040 w 1037"/>
                <a:gd name="T63" fmla="*/ 33048 h 690"/>
                <a:gd name="T64" fmla="*/ 279435 w 1037"/>
                <a:gd name="T65" fmla="*/ 28851 h 690"/>
                <a:gd name="T66" fmla="*/ 279435 w 1037"/>
                <a:gd name="T67" fmla="*/ 17311 h 690"/>
                <a:gd name="T68" fmla="*/ 302829 w 1037"/>
                <a:gd name="T69" fmla="*/ 6819 h 690"/>
                <a:gd name="T70" fmla="*/ 305429 w 1037"/>
                <a:gd name="T71" fmla="*/ 15212 h 690"/>
                <a:gd name="T72" fmla="*/ 308461 w 1037"/>
                <a:gd name="T73" fmla="*/ 20983 h 690"/>
                <a:gd name="T74" fmla="*/ 328390 w 1037"/>
                <a:gd name="T75" fmla="*/ 6295 h 690"/>
                <a:gd name="T76" fmla="*/ 353951 w 1037"/>
                <a:gd name="T77" fmla="*/ 3147 h 690"/>
                <a:gd name="T78" fmla="*/ 365648 w 1037"/>
                <a:gd name="T79" fmla="*/ 4197 h 690"/>
                <a:gd name="T80" fmla="*/ 373446 w 1037"/>
                <a:gd name="T81" fmla="*/ 5770 h 690"/>
                <a:gd name="T82" fmla="*/ 400307 w 1037"/>
                <a:gd name="T83" fmla="*/ 3147 h 690"/>
                <a:gd name="T84" fmla="*/ 449262 w 1037"/>
                <a:gd name="T85" fmla="*/ 22556 h 690"/>
                <a:gd name="T86" fmla="*/ 435399 w 1037"/>
                <a:gd name="T87" fmla="*/ 41441 h 690"/>
                <a:gd name="T88" fmla="*/ 402906 w 1037"/>
                <a:gd name="T89" fmla="*/ 28851 h 690"/>
                <a:gd name="T90" fmla="*/ 378212 w 1037"/>
                <a:gd name="T91" fmla="*/ 38818 h 690"/>
                <a:gd name="T92" fmla="*/ 367381 w 1037"/>
                <a:gd name="T93" fmla="*/ 60850 h 690"/>
                <a:gd name="T94" fmla="*/ 351351 w 1037"/>
                <a:gd name="T95" fmla="*/ 58227 h 690"/>
                <a:gd name="T96" fmla="*/ 322758 w 1037"/>
                <a:gd name="T97" fmla="*/ 67144 h 690"/>
                <a:gd name="T98" fmla="*/ 300663 w 1037"/>
                <a:gd name="T99" fmla="*/ 48260 h 690"/>
                <a:gd name="T100" fmla="*/ 268604 w 1037"/>
                <a:gd name="T101" fmla="*/ 58751 h 690"/>
                <a:gd name="T102" fmla="*/ 231346 w 1037"/>
                <a:gd name="T103" fmla="*/ 70292 h 690"/>
                <a:gd name="T104" fmla="*/ 210551 w 1037"/>
                <a:gd name="T105" fmla="*/ 110159 h 690"/>
                <a:gd name="T106" fmla="*/ 186290 w 1037"/>
                <a:gd name="T107" fmla="*/ 146354 h 690"/>
                <a:gd name="T108" fmla="*/ 172860 w 1037"/>
                <a:gd name="T109" fmla="*/ 190942 h 690"/>
                <a:gd name="T110" fmla="*/ 144266 w 1037"/>
                <a:gd name="T111" fmla="*/ 222940 h 690"/>
                <a:gd name="T112" fmla="*/ 153798 w 1037"/>
                <a:gd name="T113" fmla="*/ 260709 h 690"/>
                <a:gd name="T114" fmla="*/ 153364 w 1037"/>
                <a:gd name="T115" fmla="*/ 292707 h 690"/>
                <a:gd name="T116" fmla="*/ 143400 w 1037"/>
                <a:gd name="T117" fmla="*/ 322608 h 690"/>
                <a:gd name="T118" fmla="*/ 127804 w 1037"/>
                <a:gd name="T119" fmla="*/ 338345 h 6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60" name="Freeform 228">
              <a:extLst>
                <a:ext uri="{FF2B5EF4-FFF2-40B4-BE49-F238E27FC236}">
                  <a16:creationId xmlns:a16="http://schemas.microsoft.com/office/drawing/2014/main" id="{E4E474BA-A9B9-4097-B923-FB4DEC6AD921}"/>
                </a:ext>
              </a:extLst>
            </p:cNvPr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5967413" y="2319339"/>
              <a:ext cx="49212" cy="90487"/>
            </a:xfrm>
            <a:custGeom>
              <a:avLst/>
              <a:gdLst>
                <a:gd name="T0" fmla="*/ 49212 w 120"/>
                <a:gd name="T1" fmla="*/ 51782 h 173"/>
                <a:gd name="T2" fmla="*/ 37729 w 120"/>
                <a:gd name="T3" fmla="*/ 31383 h 173"/>
                <a:gd name="T4" fmla="*/ 28707 w 120"/>
                <a:gd name="T5" fmla="*/ 14645 h 173"/>
                <a:gd name="T6" fmla="*/ 24606 w 120"/>
                <a:gd name="T7" fmla="*/ 8369 h 173"/>
                <a:gd name="T8" fmla="*/ 21735 w 120"/>
                <a:gd name="T9" fmla="*/ 4184 h 173"/>
                <a:gd name="T10" fmla="*/ 19685 w 120"/>
                <a:gd name="T11" fmla="*/ 2092 h 173"/>
                <a:gd name="T12" fmla="*/ 18455 w 120"/>
                <a:gd name="T13" fmla="*/ 1046 h 173"/>
                <a:gd name="T14" fmla="*/ 17634 w 120"/>
                <a:gd name="T15" fmla="*/ 523 h 173"/>
                <a:gd name="T16" fmla="*/ 15994 w 120"/>
                <a:gd name="T17" fmla="*/ 0 h 173"/>
                <a:gd name="T18" fmla="*/ 13533 w 120"/>
                <a:gd name="T19" fmla="*/ 0 h 173"/>
                <a:gd name="T20" fmla="*/ 11073 w 120"/>
                <a:gd name="T21" fmla="*/ 523 h 173"/>
                <a:gd name="T22" fmla="*/ 9842 w 120"/>
                <a:gd name="T23" fmla="*/ 1569 h 173"/>
                <a:gd name="T24" fmla="*/ 8612 w 120"/>
                <a:gd name="T25" fmla="*/ 2615 h 173"/>
                <a:gd name="T26" fmla="*/ 7792 w 120"/>
                <a:gd name="T27" fmla="*/ 4184 h 173"/>
                <a:gd name="T28" fmla="*/ 6562 w 120"/>
                <a:gd name="T29" fmla="*/ 6277 h 173"/>
                <a:gd name="T30" fmla="*/ 6152 w 120"/>
                <a:gd name="T31" fmla="*/ 7846 h 173"/>
                <a:gd name="T32" fmla="*/ 6152 w 120"/>
                <a:gd name="T33" fmla="*/ 10461 h 173"/>
                <a:gd name="T34" fmla="*/ 5741 w 120"/>
                <a:gd name="T35" fmla="*/ 15691 h 173"/>
                <a:gd name="T36" fmla="*/ 4921 w 120"/>
                <a:gd name="T37" fmla="*/ 21968 h 173"/>
                <a:gd name="T38" fmla="*/ 4101 w 120"/>
                <a:gd name="T39" fmla="*/ 25106 h 173"/>
                <a:gd name="T40" fmla="*/ 3281 w 120"/>
                <a:gd name="T41" fmla="*/ 28244 h 173"/>
                <a:gd name="T42" fmla="*/ 1640 w 120"/>
                <a:gd name="T43" fmla="*/ 31906 h 173"/>
                <a:gd name="T44" fmla="*/ 0 w 120"/>
                <a:gd name="T45" fmla="*/ 35567 h 173"/>
                <a:gd name="T46" fmla="*/ 2051 w 120"/>
                <a:gd name="T47" fmla="*/ 42890 h 173"/>
                <a:gd name="T48" fmla="*/ 4101 w 120"/>
                <a:gd name="T49" fmla="*/ 51782 h 173"/>
                <a:gd name="T50" fmla="*/ 6152 w 120"/>
                <a:gd name="T51" fmla="*/ 60150 h 173"/>
                <a:gd name="T52" fmla="*/ 8202 w 120"/>
                <a:gd name="T53" fmla="*/ 67473 h 173"/>
                <a:gd name="T54" fmla="*/ 9842 w 120"/>
                <a:gd name="T55" fmla="*/ 70088 h 173"/>
                <a:gd name="T56" fmla="*/ 12303 w 120"/>
                <a:gd name="T57" fmla="*/ 72703 h 173"/>
                <a:gd name="T58" fmla="*/ 15174 w 120"/>
                <a:gd name="T59" fmla="*/ 75842 h 173"/>
                <a:gd name="T60" fmla="*/ 18865 w 120"/>
                <a:gd name="T61" fmla="*/ 78980 h 173"/>
                <a:gd name="T62" fmla="*/ 22145 w 120"/>
                <a:gd name="T63" fmla="*/ 82118 h 173"/>
                <a:gd name="T64" fmla="*/ 24606 w 120"/>
                <a:gd name="T65" fmla="*/ 85257 h 173"/>
                <a:gd name="T66" fmla="*/ 25426 w 120"/>
                <a:gd name="T67" fmla="*/ 86303 h 173"/>
                <a:gd name="T68" fmla="*/ 26657 w 120"/>
                <a:gd name="T69" fmla="*/ 87872 h 173"/>
                <a:gd name="T70" fmla="*/ 27067 w 120"/>
                <a:gd name="T71" fmla="*/ 88918 h 173"/>
                <a:gd name="T72" fmla="*/ 27477 w 120"/>
                <a:gd name="T73" fmla="*/ 90487 h 173"/>
                <a:gd name="T74" fmla="*/ 31168 w 120"/>
                <a:gd name="T75" fmla="*/ 87349 h 173"/>
                <a:gd name="T76" fmla="*/ 35269 w 120"/>
                <a:gd name="T77" fmla="*/ 83687 h 173"/>
                <a:gd name="T78" fmla="*/ 38139 w 120"/>
                <a:gd name="T79" fmla="*/ 79503 h 173"/>
                <a:gd name="T80" fmla="*/ 41420 w 120"/>
                <a:gd name="T81" fmla="*/ 74273 h 173"/>
                <a:gd name="T82" fmla="*/ 43471 w 120"/>
                <a:gd name="T83" fmla="*/ 69042 h 173"/>
                <a:gd name="T84" fmla="*/ 45931 w 120"/>
                <a:gd name="T85" fmla="*/ 63289 h 173"/>
                <a:gd name="T86" fmla="*/ 47572 w 120"/>
                <a:gd name="T87" fmla="*/ 57535 h 173"/>
                <a:gd name="T88" fmla="*/ 49212 w 120"/>
                <a:gd name="T89" fmla="*/ 51782 h 17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1" name="Freeform 229">
              <a:extLst>
                <a:ext uri="{FF2B5EF4-FFF2-40B4-BE49-F238E27FC236}">
                  <a16:creationId xmlns:a16="http://schemas.microsoft.com/office/drawing/2014/main" id="{A25D346F-323D-4B6D-893E-2B9143D7B2A2}"/>
                </a:ext>
              </a:extLst>
            </p:cNvPr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5675314" y="2159000"/>
              <a:ext cx="84137" cy="58738"/>
            </a:xfrm>
            <a:custGeom>
              <a:avLst/>
              <a:gdLst>
                <a:gd name="T0" fmla="*/ 84137 w 200"/>
                <a:gd name="T1" fmla="*/ 32965 h 98"/>
                <a:gd name="T2" fmla="*/ 82034 w 200"/>
                <a:gd name="T3" fmla="*/ 33565 h 98"/>
                <a:gd name="T4" fmla="*/ 78247 w 200"/>
                <a:gd name="T5" fmla="*/ 35962 h 98"/>
                <a:gd name="T6" fmla="*/ 74461 w 200"/>
                <a:gd name="T7" fmla="*/ 38959 h 98"/>
                <a:gd name="T8" fmla="*/ 69834 w 200"/>
                <a:gd name="T9" fmla="*/ 43754 h 98"/>
                <a:gd name="T10" fmla="*/ 65206 w 200"/>
                <a:gd name="T11" fmla="*/ 47949 h 98"/>
                <a:gd name="T12" fmla="*/ 60999 w 200"/>
                <a:gd name="T13" fmla="*/ 52145 h 98"/>
                <a:gd name="T14" fmla="*/ 57634 w 200"/>
                <a:gd name="T15" fmla="*/ 55741 h 98"/>
                <a:gd name="T16" fmla="*/ 55951 w 200"/>
                <a:gd name="T17" fmla="*/ 58738 h 98"/>
                <a:gd name="T18" fmla="*/ 53427 w 200"/>
                <a:gd name="T19" fmla="*/ 58738 h 98"/>
                <a:gd name="T20" fmla="*/ 51324 w 200"/>
                <a:gd name="T21" fmla="*/ 58738 h 98"/>
                <a:gd name="T22" fmla="*/ 48799 w 200"/>
                <a:gd name="T23" fmla="*/ 58139 h 98"/>
                <a:gd name="T24" fmla="*/ 46696 w 200"/>
                <a:gd name="T25" fmla="*/ 56940 h 98"/>
                <a:gd name="T26" fmla="*/ 44593 w 200"/>
                <a:gd name="T27" fmla="*/ 55741 h 98"/>
                <a:gd name="T28" fmla="*/ 43331 w 200"/>
                <a:gd name="T29" fmla="*/ 52744 h 98"/>
                <a:gd name="T30" fmla="*/ 42489 w 200"/>
                <a:gd name="T31" fmla="*/ 49148 h 98"/>
                <a:gd name="T32" fmla="*/ 42069 w 200"/>
                <a:gd name="T33" fmla="*/ 44353 h 98"/>
                <a:gd name="T34" fmla="*/ 38282 w 200"/>
                <a:gd name="T35" fmla="*/ 47949 h 98"/>
                <a:gd name="T36" fmla="*/ 34496 w 200"/>
                <a:gd name="T37" fmla="*/ 51546 h 98"/>
                <a:gd name="T38" fmla="*/ 32813 w 200"/>
                <a:gd name="T39" fmla="*/ 53943 h 98"/>
                <a:gd name="T40" fmla="*/ 30289 w 200"/>
                <a:gd name="T41" fmla="*/ 55741 h 98"/>
                <a:gd name="T42" fmla="*/ 28186 w 200"/>
                <a:gd name="T43" fmla="*/ 57539 h 98"/>
                <a:gd name="T44" fmla="*/ 25241 w 200"/>
                <a:gd name="T45" fmla="*/ 58738 h 98"/>
                <a:gd name="T46" fmla="*/ 16407 w 200"/>
                <a:gd name="T47" fmla="*/ 58738 h 98"/>
                <a:gd name="T48" fmla="*/ 14303 w 200"/>
                <a:gd name="T49" fmla="*/ 58738 h 98"/>
                <a:gd name="T50" fmla="*/ 11779 w 200"/>
                <a:gd name="T51" fmla="*/ 56940 h 98"/>
                <a:gd name="T52" fmla="*/ 9255 w 200"/>
                <a:gd name="T53" fmla="*/ 55142 h 98"/>
                <a:gd name="T54" fmla="*/ 6310 w 200"/>
                <a:gd name="T55" fmla="*/ 53344 h 98"/>
                <a:gd name="T56" fmla="*/ 3786 w 200"/>
                <a:gd name="T57" fmla="*/ 50946 h 98"/>
                <a:gd name="T58" fmla="*/ 1683 w 200"/>
                <a:gd name="T59" fmla="*/ 48549 h 98"/>
                <a:gd name="T60" fmla="*/ 421 w 200"/>
                <a:gd name="T61" fmla="*/ 46151 h 98"/>
                <a:gd name="T62" fmla="*/ 0 w 200"/>
                <a:gd name="T63" fmla="*/ 44353 h 98"/>
                <a:gd name="T64" fmla="*/ 2103 w 200"/>
                <a:gd name="T65" fmla="*/ 42555 h 98"/>
                <a:gd name="T66" fmla="*/ 4207 w 200"/>
                <a:gd name="T67" fmla="*/ 40158 h 98"/>
                <a:gd name="T68" fmla="*/ 5890 w 200"/>
                <a:gd name="T69" fmla="*/ 35962 h 98"/>
                <a:gd name="T70" fmla="*/ 8414 w 200"/>
                <a:gd name="T71" fmla="*/ 31766 h 98"/>
                <a:gd name="T72" fmla="*/ 9676 w 200"/>
                <a:gd name="T73" fmla="*/ 26972 h 98"/>
                <a:gd name="T74" fmla="*/ 11358 w 200"/>
                <a:gd name="T75" fmla="*/ 22177 h 98"/>
                <a:gd name="T76" fmla="*/ 12621 w 200"/>
                <a:gd name="T77" fmla="*/ 16782 h 98"/>
                <a:gd name="T78" fmla="*/ 13883 w 200"/>
                <a:gd name="T79" fmla="*/ 11388 h 98"/>
                <a:gd name="T80" fmla="*/ 27765 w 200"/>
                <a:gd name="T81" fmla="*/ 8391 h 98"/>
                <a:gd name="T82" fmla="*/ 43331 w 200"/>
                <a:gd name="T83" fmla="*/ 5394 h 98"/>
                <a:gd name="T84" fmla="*/ 60999 w 200"/>
                <a:gd name="T85" fmla="*/ 2397 h 98"/>
                <a:gd name="T86" fmla="*/ 81192 w 200"/>
                <a:gd name="T87" fmla="*/ 0 h 98"/>
                <a:gd name="T88" fmla="*/ 69834 w 200"/>
                <a:gd name="T89" fmla="*/ 18580 h 98"/>
                <a:gd name="T90" fmla="*/ 69834 w 200"/>
                <a:gd name="T91" fmla="*/ 20378 h 98"/>
                <a:gd name="T92" fmla="*/ 68992 w 200"/>
                <a:gd name="T93" fmla="*/ 22177 h 98"/>
                <a:gd name="T94" fmla="*/ 68151 w 200"/>
                <a:gd name="T95" fmla="*/ 23375 h 98"/>
                <a:gd name="T96" fmla="*/ 67730 w 200"/>
                <a:gd name="T97" fmla="*/ 24574 h 98"/>
                <a:gd name="T98" fmla="*/ 66048 w 200"/>
                <a:gd name="T99" fmla="*/ 26972 h 98"/>
                <a:gd name="T100" fmla="*/ 65627 w 200"/>
                <a:gd name="T101" fmla="*/ 28170 h 98"/>
                <a:gd name="T102" fmla="*/ 65627 w 200"/>
                <a:gd name="T103" fmla="*/ 29369 h 98"/>
                <a:gd name="T104" fmla="*/ 66048 w 200"/>
                <a:gd name="T105" fmla="*/ 29968 h 98"/>
                <a:gd name="T106" fmla="*/ 66889 w 200"/>
                <a:gd name="T107" fmla="*/ 29968 h 98"/>
                <a:gd name="T108" fmla="*/ 68572 w 200"/>
                <a:gd name="T109" fmla="*/ 30568 h 98"/>
                <a:gd name="T110" fmla="*/ 74461 w 200"/>
                <a:gd name="T111" fmla="*/ 31766 h 98"/>
                <a:gd name="T112" fmla="*/ 84137 w 200"/>
                <a:gd name="T113" fmla="*/ 32965 h 9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2" name="Freeform 230">
              <a:extLst>
                <a:ext uri="{FF2B5EF4-FFF2-40B4-BE49-F238E27FC236}">
                  <a16:creationId xmlns:a16="http://schemas.microsoft.com/office/drawing/2014/main" id="{6CAAF456-A253-4741-8CFC-8DB6434401D1}"/>
                </a:ext>
              </a:extLst>
            </p:cNvPr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5613400" y="1978026"/>
              <a:ext cx="84138" cy="73025"/>
            </a:xfrm>
            <a:custGeom>
              <a:avLst/>
              <a:gdLst>
                <a:gd name="T0" fmla="*/ 0 w 186"/>
                <a:gd name="T1" fmla="*/ 57597 h 142"/>
                <a:gd name="T2" fmla="*/ 905 w 186"/>
                <a:gd name="T3" fmla="*/ 59654 h 142"/>
                <a:gd name="T4" fmla="*/ 1357 w 186"/>
                <a:gd name="T5" fmla="*/ 55026 h 142"/>
                <a:gd name="T6" fmla="*/ 1357 w 186"/>
                <a:gd name="T7" fmla="*/ 47826 h 142"/>
                <a:gd name="T8" fmla="*/ 4071 w 186"/>
                <a:gd name="T9" fmla="*/ 42169 h 142"/>
                <a:gd name="T10" fmla="*/ 7690 w 186"/>
                <a:gd name="T11" fmla="*/ 35484 h 142"/>
                <a:gd name="T12" fmla="*/ 9047 w 186"/>
                <a:gd name="T13" fmla="*/ 28799 h 142"/>
                <a:gd name="T14" fmla="*/ 10404 w 186"/>
                <a:gd name="T15" fmla="*/ 23656 h 142"/>
                <a:gd name="T16" fmla="*/ 12666 w 186"/>
                <a:gd name="T17" fmla="*/ 19028 h 142"/>
                <a:gd name="T18" fmla="*/ 15832 w 186"/>
                <a:gd name="T19" fmla="*/ 16456 h 142"/>
                <a:gd name="T20" fmla="*/ 18547 w 186"/>
                <a:gd name="T21" fmla="*/ 19542 h 142"/>
                <a:gd name="T22" fmla="*/ 19451 w 186"/>
                <a:gd name="T23" fmla="*/ 25199 h 142"/>
                <a:gd name="T24" fmla="*/ 21261 w 186"/>
                <a:gd name="T25" fmla="*/ 29827 h 142"/>
                <a:gd name="T26" fmla="*/ 24880 w 186"/>
                <a:gd name="T27" fmla="*/ 33427 h 142"/>
                <a:gd name="T28" fmla="*/ 39355 w 186"/>
                <a:gd name="T29" fmla="*/ 34455 h 142"/>
                <a:gd name="T30" fmla="*/ 35736 w 186"/>
                <a:gd name="T31" fmla="*/ 21085 h 142"/>
                <a:gd name="T32" fmla="*/ 31212 w 186"/>
                <a:gd name="T33" fmla="*/ 18513 h 142"/>
                <a:gd name="T34" fmla="*/ 28498 w 186"/>
                <a:gd name="T35" fmla="*/ 15428 h 142"/>
                <a:gd name="T36" fmla="*/ 27594 w 186"/>
                <a:gd name="T37" fmla="*/ 11828 h 142"/>
                <a:gd name="T38" fmla="*/ 31665 w 186"/>
                <a:gd name="T39" fmla="*/ 8742 h 142"/>
                <a:gd name="T40" fmla="*/ 39355 w 186"/>
                <a:gd name="T41" fmla="*/ 7200 h 142"/>
                <a:gd name="T42" fmla="*/ 44331 w 186"/>
                <a:gd name="T43" fmla="*/ 5143 h 142"/>
                <a:gd name="T44" fmla="*/ 50211 w 186"/>
                <a:gd name="T45" fmla="*/ 3086 h 142"/>
                <a:gd name="T46" fmla="*/ 58806 w 186"/>
                <a:gd name="T47" fmla="*/ 1543 h 142"/>
                <a:gd name="T48" fmla="*/ 66496 w 186"/>
                <a:gd name="T49" fmla="*/ 514 h 142"/>
                <a:gd name="T50" fmla="*/ 71924 w 186"/>
                <a:gd name="T51" fmla="*/ 1029 h 142"/>
                <a:gd name="T52" fmla="*/ 79614 w 186"/>
                <a:gd name="T53" fmla="*/ 514 h 142"/>
                <a:gd name="T54" fmla="*/ 82781 w 186"/>
                <a:gd name="T55" fmla="*/ 5143 h 142"/>
                <a:gd name="T56" fmla="*/ 80519 w 186"/>
                <a:gd name="T57" fmla="*/ 13371 h 142"/>
                <a:gd name="T58" fmla="*/ 76448 w 186"/>
                <a:gd name="T59" fmla="*/ 20570 h 142"/>
                <a:gd name="T60" fmla="*/ 71924 w 186"/>
                <a:gd name="T61" fmla="*/ 26227 h 142"/>
                <a:gd name="T62" fmla="*/ 70115 w 186"/>
                <a:gd name="T63" fmla="*/ 32398 h 142"/>
                <a:gd name="T64" fmla="*/ 69210 w 186"/>
                <a:gd name="T65" fmla="*/ 39084 h 142"/>
                <a:gd name="T66" fmla="*/ 54283 w 186"/>
                <a:gd name="T67" fmla="*/ 73025 h 142"/>
                <a:gd name="T68" fmla="*/ 36188 w 186"/>
                <a:gd name="T69" fmla="*/ 62740 h 142"/>
                <a:gd name="T70" fmla="*/ 15832 w 186"/>
                <a:gd name="T71" fmla="*/ 60168 h 142"/>
                <a:gd name="T72" fmla="*/ 3619 w 186"/>
                <a:gd name="T73" fmla="*/ 58111 h 1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63" name="Freeform 231">
              <a:extLst>
                <a:ext uri="{FF2B5EF4-FFF2-40B4-BE49-F238E27FC236}">
                  <a16:creationId xmlns:a16="http://schemas.microsoft.com/office/drawing/2014/main" id="{41060866-268A-4C43-9BDE-B9CD8C0788CB}"/>
                </a:ext>
              </a:extLst>
            </p:cNvPr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5594350" y="2041525"/>
              <a:ext cx="84138" cy="57150"/>
            </a:xfrm>
            <a:custGeom>
              <a:avLst/>
              <a:gdLst>
                <a:gd name="T0" fmla="*/ 84138 w 192"/>
                <a:gd name="T1" fmla="*/ 33201 h 105"/>
                <a:gd name="T2" fmla="*/ 82823 w 192"/>
                <a:gd name="T3" fmla="*/ 33746 h 105"/>
                <a:gd name="T4" fmla="*/ 80632 w 192"/>
                <a:gd name="T5" fmla="*/ 34290 h 105"/>
                <a:gd name="T6" fmla="*/ 78879 w 192"/>
                <a:gd name="T7" fmla="*/ 34834 h 105"/>
                <a:gd name="T8" fmla="*/ 77565 w 192"/>
                <a:gd name="T9" fmla="*/ 36467 h 105"/>
                <a:gd name="T10" fmla="*/ 73621 w 192"/>
                <a:gd name="T11" fmla="*/ 39189 h 105"/>
                <a:gd name="T12" fmla="*/ 70115 w 192"/>
                <a:gd name="T13" fmla="*/ 42999 h 105"/>
                <a:gd name="T14" fmla="*/ 67486 w 192"/>
                <a:gd name="T15" fmla="*/ 46809 h 105"/>
                <a:gd name="T16" fmla="*/ 64418 w 192"/>
                <a:gd name="T17" fmla="*/ 50619 h 105"/>
                <a:gd name="T18" fmla="*/ 62665 w 192"/>
                <a:gd name="T19" fmla="*/ 53884 h 105"/>
                <a:gd name="T20" fmla="*/ 60912 w 192"/>
                <a:gd name="T21" fmla="*/ 57150 h 105"/>
                <a:gd name="T22" fmla="*/ 52586 w 192"/>
                <a:gd name="T23" fmla="*/ 52796 h 105"/>
                <a:gd name="T24" fmla="*/ 44698 w 192"/>
                <a:gd name="T25" fmla="*/ 48441 h 105"/>
                <a:gd name="T26" fmla="*/ 37687 w 192"/>
                <a:gd name="T27" fmla="*/ 43543 h 105"/>
                <a:gd name="T28" fmla="*/ 30237 w 192"/>
                <a:gd name="T29" fmla="*/ 38644 h 105"/>
                <a:gd name="T30" fmla="*/ 23226 w 192"/>
                <a:gd name="T31" fmla="*/ 33201 h 105"/>
                <a:gd name="T32" fmla="*/ 15776 w 192"/>
                <a:gd name="T33" fmla="*/ 28847 h 105"/>
                <a:gd name="T34" fmla="*/ 8326 w 192"/>
                <a:gd name="T35" fmla="*/ 23949 h 105"/>
                <a:gd name="T36" fmla="*/ 0 w 192"/>
                <a:gd name="T37" fmla="*/ 20139 h 105"/>
                <a:gd name="T38" fmla="*/ 0 w 192"/>
                <a:gd name="T39" fmla="*/ 7076 h 105"/>
                <a:gd name="T40" fmla="*/ 3068 w 192"/>
                <a:gd name="T41" fmla="*/ 3810 h 105"/>
                <a:gd name="T42" fmla="*/ 7012 w 192"/>
                <a:gd name="T43" fmla="*/ 2177 h 105"/>
                <a:gd name="T44" fmla="*/ 12708 w 192"/>
                <a:gd name="T45" fmla="*/ 544 h 105"/>
                <a:gd name="T46" fmla="*/ 17529 w 192"/>
                <a:gd name="T47" fmla="*/ 0 h 105"/>
                <a:gd name="T48" fmla="*/ 26293 w 192"/>
                <a:gd name="T49" fmla="*/ 1089 h 105"/>
                <a:gd name="T50" fmla="*/ 40754 w 192"/>
                <a:gd name="T51" fmla="*/ 2721 h 105"/>
                <a:gd name="T52" fmla="*/ 48642 w 192"/>
                <a:gd name="T53" fmla="*/ 3810 h 105"/>
                <a:gd name="T54" fmla="*/ 56092 w 192"/>
                <a:gd name="T55" fmla="*/ 3810 h 105"/>
                <a:gd name="T56" fmla="*/ 62665 w 192"/>
                <a:gd name="T57" fmla="*/ 3810 h 105"/>
                <a:gd name="T58" fmla="*/ 67047 w 192"/>
                <a:gd name="T59" fmla="*/ 3266 h 105"/>
                <a:gd name="T60" fmla="*/ 67924 w 192"/>
                <a:gd name="T61" fmla="*/ 5987 h 105"/>
                <a:gd name="T62" fmla="*/ 69677 w 192"/>
                <a:gd name="T63" fmla="*/ 9253 h 105"/>
                <a:gd name="T64" fmla="*/ 70553 w 192"/>
                <a:gd name="T65" fmla="*/ 10886 h 105"/>
                <a:gd name="T66" fmla="*/ 71868 w 192"/>
                <a:gd name="T67" fmla="*/ 12519 h 105"/>
                <a:gd name="T68" fmla="*/ 72306 w 192"/>
                <a:gd name="T69" fmla="*/ 14696 h 105"/>
                <a:gd name="T70" fmla="*/ 72744 w 192"/>
                <a:gd name="T71" fmla="*/ 16873 h 105"/>
                <a:gd name="T72" fmla="*/ 74497 w 192"/>
                <a:gd name="T73" fmla="*/ 17417 h 105"/>
                <a:gd name="T74" fmla="*/ 77565 w 192"/>
                <a:gd name="T75" fmla="*/ 17961 h 105"/>
                <a:gd name="T76" fmla="*/ 78879 w 192"/>
                <a:gd name="T77" fmla="*/ 18506 h 105"/>
                <a:gd name="T78" fmla="*/ 80194 w 192"/>
                <a:gd name="T79" fmla="*/ 18506 h 105"/>
                <a:gd name="T80" fmla="*/ 82385 w 192"/>
                <a:gd name="T81" fmla="*/ 17961 h 105"/>
                <a:gd name="T82" fmla="*/ 84138 w 192"/>
                <a:gd name="T83" fmla="*/ 16873 h 105"/>
                <a:gd name="T84" fmla="*/ 84138 w 192"/>
                <a:gd name="T85" fmla="*/ 33201 h 10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64" name="Freeform 232">
              <a:extLst>
                <a:ext uri="{FF2B5EF4-FFF2-40B4-BE49-F238E27FC236}">
                  <a16:creationId xmlns:a16="http://schemas.microsoft.com/office/drawing/2014/main" id="{CEDFCF53-0B8B-475C-8FB2-D3098F744E62}"/>
                </a:ext>
              </a:extLst>
            </p:cNvPr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6354764" y="2595563"/>
              <a:ext cx="33337" cy="131762"/>
            </a:xfrm>
            <a:custGeom>
              <a:avLst/>
              <a:gdLst>
                <a:gd name="T0" fmla="*/ 13752 w 80"/>
                <a:gd name="T1" fmla="*/ 0 h 254"/>
                <a:gd name="T2" fmla="*/ 15418 w 80"/>
                <a:gd name="T3" fmla="*/ 1037 h 254"/>
                <a:gd name="T4" fmla="*/ 16669 w 80"/>
                <a:gd name="T5" fmla="*/ 2075 h 254"/>
                <a:gd name="T6" fmla="*/ 17919 w 80"/>
                <a:gd name="T7" fmla="*/ 3631 h 254"/>
                <a:gd name="T8" fmla="*/ 19169 w 80"/>
                <a:gd name="T9" fmla="*/ 5187 h 254"/>
                <a:gd name="T10" fmla="*/ 21669 w 80"/>
                <a:gd name="T11" fmla="*/ 9337 h 254"/>
                <a:gd name="T12" fmla="*/ 23336 w 80"/>
                <a:gd name="T13" fmla="*/ 12969 h 254"/>
                <a:gd name="T14" fmla="*/ 25836 w 80"/>
                <a:gd name="T15" fmla="*/ 16600 h 254"/>
                <a:gd name="T16" fmla="*/ 27920 w 80"/>
                <a:gd name="T17" fmla="*/ 19712 h 254"/>
                <a:gd name="T18" fmla="*/ 29170 w 80"/>
                <a:gd name="T19" fmla="*/ 20750 h 254"/>
                <a:gd name="T20" fmla="*/ 30420 w 80"/>
                <a:gd name="T21" fmla="*/ 21787 h 254"/>
                <a:gd name="T22" fmla="*/ 31670 w 80"/>
                <a:gd name="T23" fmla="*/ 22306 h 254"/>
                <a:gd name="T24" fmla="*/ 33337 w 80"/>
                <a:gd name="T25" fmla="*/ 22825 h 254"/>
                <a:gd name="T26" fmla="*/ 33337 w 80"/>
                <a:gd name="T27" fmla="*/ 27494 h 254"/>
                <a:gd name="T28" fmla="*/ 33337 w 80"/>
                <a:gd name="T29" fmla="*/ 32162 h 254"/>
                <a:gd name="T30" fmla="*/ 22086 w 80"/>
                <a:gd name="T31" fmla="*/ 131762 h 254"/>
                <a:gd name="T32" fmla="*/ 0 w 80"/>
                <a:gd name="T33" fmla="*/ 48244 h 254"/>
                <a:gd name="T34" fmla="*/ 1667 w 80"/>
                <a:gd name="T35" fmla="*/ 45650 h 254"/>
                <a:gd name="T36" fmla="*/ 4584 w 80"/>
                <a:gd name="T37" fmla="*/ 36831 h 254"/>
                <a:gd name="T38" fmla="*/ 7084 w 80"/>
                <a:gd name="T39" fmla="*/ 29569 h 254"/>
                <a:gd name="T40" fmla="*/ 9168 w 80"/>
                <a:gd name="T41" fmla="*/ 21269 h 254"/>
                <a:gd name="T42" fmla="*/ 11668 w 80"/>
                <a:gd name="T43" fmla="*/ 11931 h 254"/>
                <a:gd name="T44" fmla="*/ 13752 w 80"/>
                <a:gd name="T45" fmla="*/ 0 h 25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5" name="Freeform 233">
              <a:extLst>
                <a:ext uri="{FF2B5EF4-FFF2-40B4-BE49-F238E27FC236}">
                  <a16:creationId xmlns:a16="http://schemas.microsoft.com/office/drawing/2014/main" id="{BC03DB91-BA8C-4C8A-B2F2-CAC03BBD35DE}"/>
                </a:ext>
              </a:extLst>
            </p:cNvPr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6303963" y="2647951"/>
              <a:ext cx="69850" cy="130175"/>
            </a:xfrm>
            <a:custGeom>
              <a:avLst/>
              <a:gdLst>
                <a:gd name="T0" fmla="*/ 47682 w 167"/>
                <a:gd name="T1" fmla="*/ 0 h 259"/>
                <a:gd name="T2" fmla="*/ 69850 w 167"/>
                <a:gd name="T3" fmla="*/ 77904 h 259"/>
                <a:gd name="T4" fmla="*/ 50610 w 167"/>
                <a:gd name="T5" fmla="*/ 130175 h 259"/>
                <a:gd name="T6" fmla="*/ 47264 w 167"/>
                <a:gd name="T7" fmla="*/ 130175 h 259"/>
                <a:gd name="T8" fmla="*/ 44754 w 167"/>
                <a:gd name="T9" fmla="*/ 129170 h 259"/>
                <a:gd name="T10" fmla="*/ 41826 w 167"/>
                <a:gd name="T11" fmla="*/ 127662 h 259"/>
                <a:gd name="T12" fmla="*/ 39735 w 167"/>
                <a:gd name="T13" fmla="*/ 126154 h 259"/>
                <a:gd name="T14" fmla="*/ 37225 w 167"/>
                <a:gd name="T15" fmla="*/ 123139 h 259"/>
                <a:gd name="T16" fmla="*/ 35552 w 167"/>
                <a:gd name="T17" fmla="*/ 120625 h 259"/>
                <a:gd name="T18" fmla="*/ 33461 w 167"/>
                <a:gd name="T19" fmla="*/ 118112 h 259"/>
                <a:gd name="T20" fmla="*/ 31788 w 167"/>
                <a:gd name="T21" fmla="*/ 115097 h 259"/>
                <a:gd name="T22" fmla="*/ 28860 w 167"/>
                <a:gd name="T23" fmla="*/ 109066 h 259"/>
                <a:gd name="T24" fmla="*/ 27187 w 167"/>
                <a:gd name="T25" fmla="*/ 103034 h 259"/>
                <a:gd name="T26" fmla="*/ 25932 w 167"/>
                <a:gd name="T27" fmla="*/ 97506 h 259"/>
                <a:gd name="T28" fmla="*/ 25932 w 167"/>
                <a:gd name="T29" fmla="*/ 92982 h 259"/>
                <a:gd name="T30" fmla="*/ 23004 w 167"/>
                <a:gd name="T31" fmla="*/ 92480 h 259"/>
                <a:gd name="T32" fmla="*/ 21331 w 167"/>
                <a:gd name="T33" fmla="*/ 91977 h 259"/>
                <a:gd name="T34" fmla="*/ 18822 w 167"/>
                <a:gd name="T35" fmla="*/ 91474 h 259"/>
                <a:gd name="T36" fmla="*/ 17567 w 167"/>
                <a:gd name="T37" fmla="*/ 90469 h 259"/>
                <a:gd name="T38" fmla="*/ 16312 w 167"/>
                <a:gd name="T39" fmla="*/ 88961 h 259"/>
                <a:gd name="T40" fmla="*/ 15057 w 167"/>
                <a:gd name="T41" fmla="*/ 87453 h 259"/>
                <a:gd name="T42" fmla="*/ 14221 w 167"/>
                <a:gd name="T43" fmla="*/ 85443 h 259"/>
                <a:gd name="T44" fmla="*/ 13384 w 167"/>
                <a:gd name="T45" fmla="*/ 83935 h 259"/>
                <a:gd name="T46" fmla="*/ 12548 w 167"/>
                <a:gd name="T47" fmla="*/ 79412 h 259"/>
                <a:gd name="T48" fmla="*/ 12130 w 167"/>
                <a:gd name="T49" fmla="*/ 74888 h 259"/>
                <a:gd name="T50" fmla="*/ 11711 w 167"/>
                <a:gd name="T51" fmla="*/ 70365 h 259"/>
                <a:gd name="T52" fmla="*/ 11711 w 167"/>
                <a:gd name="T53" fmla="*/ 64836 h 259"/>
                <a:gd name="T54" fmla="*/ 8784 w 167"/>
                <a:gd name="T55" fmla="*/ 64836 h 259"/>
                <a:gd name="T56" fmla="*/ 6692 w 167"/>
                <a:gd name="T57" fmla="*/ 63831 h 259"/>
                <a:gd name="T58" fmla="*/ 4601 w 167"/>
                <a:gd name="T59" fmla="*/ 62826 h 259"/>
                <a:gd name="T60" fmla="*/ 2928 w 167"/>
                <a:gd name="T61" fmla="*/ 60815 h 259"/>
                <a:gd name="T62" fmla="*/ 2091 w 167"/>
                <a:gd name="T63" fmla="*/ 58805 h 259"/>
                <a:gd name="T64" fmla="*/ 837 w 167"/>
                <a:gd name="T65" fmla="*/ 56292 h 259"/>
                <a:gd name="T66" fmla="*/ 0 w 167"/>
                <a:gd name="T67" fmla="*/ 53779 h 259"/>
                <a:gd name="T68" fmla="*/ 0 w 167"/>
                <a:gd name="T69" fmla="*/ 50763 h 259"/>
                <a:gd name="T70" fmla="*/ 0 w 167"/>
                <a:gd name="T71" fmla="*/ 37695 h 259"/>
                <a:gd name="T72" fmla="*/ 418 w 167"/>
                <a:gd name="T73" fmla="*/ 25130 h 259"/>
                <a:gd name="T74" fmla="*/ 5019 w 167"/>
                <a:gd name="T75" fmla="*/ 26136 h 259"/>
                <a:gd name="T76" fmla="*/ 9202 w 167"/>
                <a:gd name="T77" fmla="*/ 26638 h 259"/>
                <a:gd name="T78" fmla="*/ 13384 w 167"/>
                <a:gd name="T79" fmla="*/ 26638 h 259"/>
                <a:gd name="T80" fmla="*/ 17567 w 167"/>
                <a:gd name="T81" fmla="*/ 26136 h 259"/>
                <a:gd name="T82" fmla="*/ 20913 w 167"/>
                <a:gd name="T83" fmla="*/ 25633 h 259"/>
                <a:gd name="T84" fmla="*/ 24259 w 167"/>
                <a:gd name="T85" fmla="*/ 24628 h 259"/>
                <a:gd name="T86" fmla="*/ 27605 w 167"/>
                <a:gd name="T87" fmla="*/ 23622 h 259"/>
                <a:gd name="T88" fmla="*/ 30533 w 167"/>
                <a:gd name="T89" fmla="*/ 22115 h 259"/>
                <a:gd name="T90" fmla="*/ 33043 w 167"/>
                <a:gd name="T91" fmla="*/ 20104 h 259"/>
                <a:gd name="T92" fmla="*/ 35971 w 167"/>
                <a:gd name="T93" fmla="*/ 18094 h 259"/>
                <a:gd name="T94" fmla="*/ 38062 w 167"/>
                <a:gd name="T95" fmla="*/ 15581 h 259"/>
                <a:gd name="T96" fmla="*/ 40572 w 167"/>
                <a:gd name="T97" fmla="*/ 13068 h 259"/>
                <a:gd name="T98" fmla="*/ 44754 w 167"/>
                <a:gd name="T99" fmla="*/ 6534 h 259"/>
                <a:gd name="T100" fmla="*/ 47682 w 167"/>
                <a:gd name="T101" fmla="*/ 0 h 2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6" name="Freeform 234">
              <a:extLst>
                <a:ext uri="{FF2B5EF4-FFF2-40B4-BE49-F238E27FC236}">
                  <a16:creationId xmlns:a16="http://schemas.microsoft.com/office/drawing/2014/main" id="{43DFB0D6-FBF6-4A1A-9FA5-CD83BB1569D6}"/>
                </a:ext>
              </a:extLst>
            </p:cNvPr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5305425" y="1901826"/>
              <a:ext cx="96838" cy="144463"/>
            </a:xfrm>
            <a:custGeom>
              <a:avLst/>
              <a:gdLst>
                <a:gd name="T0" fmla="*/ 79622 w 225"/>
                <a:gd name="T1" fmla="*/ 35454 h 273"/>
                <a:gd name="T2" fmla="*/ 74458 w 225"/>
                <a:gd name="T3" fmla="*/ 41275 h 273"/>
                <a:gd name="T4" fmla="*/ 68432 w 225"/>
                <a:gd name="T5" fmla="*/ 43392 h 273"/>
                <a:gd name="T6" fmla="*/ 70154 w 225"/>
                <a:gd name="T7" fmla="*/ 49213 h 273"/>
                <a:gd name="T8" fmla="*/ 74888 w 225"/>
                <a:gd name="T9" fmla="*/ 53446 h 273"/>
                <a:gd name="T10" fmla="*/ 83926 w 225"/>
                <a:gd name="T11" fmla="*/ 55563 h 273"/>
                <a:gd name="T12" fmla="*/ 96838 w 225"/>
                <a:gd name="T13" fmla="*/ 56092 h 273"/>
                <a:gd name="T14" fmla="*/ 96838 w 225"/>
                <a:gd name="T15" fmla="*/ 80434 h 273"/>
                <a:gd name="T16" fmla="*/ 96408 w 225"/>
                <a:gd name="T17" fmla="*/ 93134 h 273"/>
                <a:gd name="T18" fmla="*/ 92534 w 225"/>
                <a:gd name="T19" fmla="*/ 98955 h 273"/>
                <a:gd name="T20" fmla="*/ 84787 w 225"/>
                <a:gd name="T21" fmla="*/ 108480 h 273"/>
                <a:gd name="T22" fmla="*/ 82635 w 225"/>
                <a:gd name="T23" fmla="*/ 113242 h 273"/>
                <a:gd name="T24" fmla="*/ 77040 w 225"/>
                <a:gd name="T25" fmla="*/ 115359 h 273"/>
                <a:gd name="T26" fmla="*/ 70584 w 225"/>
                <a:gd name="T27" fmla="*/ 119063 h 273"/>
                <a:gd name="T28" fmla="*/ 68432 w 225"/>
                <a:gd name="T29" fmla="*/ 124884 h 273"/>
                <a:gd name="T30" fmla="*/ 60255 w 225"/>
                <a:gd name="T31" fmla="*/ 128059 h 273"/>
                <a:gd name="T32" fmla="*/ 55090 w 225"/>
                <a:gd name="T33" fmla="*/ 133350 h 273"/>
                <a:gd name="T34" fmla="*/ 43470 w 225"/>
                <a:gd name="T35" fmla="*/ 134938 h 273"/>
                <a:gd name="T36" fmla="*/ 25823 w 225"/>
                <a:gd name="T37" fmla="*/ 138113 h 273"/>
                <a:gd name="T38" fmla="*/ 8177 w 225"/>
                <a:gd name="T39" fmla="*/ 138113 h 273"/>
                <a:gd name="T40" fmla="*/ 0 w 225"/>
                <a:gd name="T41" fmla="*/ 114830 h 273"/>
                <a:gd name="T42" fmla="*/ 9038 w 225"/>
                <a:gd name="T43" fmla="*/ 112184 h 273"/>
                <a:gd name="T44" fmla="*/ 11190 w 225"/>
                <a:gd name="T45" fmla="*/ 108480 h 273"/>
                <a:gd name="T46" fmla="*/ 25823 w 225"/>
                <a:gd name="T47" fmla="*/ 106892 h 273"/>
                <a:gd name="T48" fmla="*/ 30988 w 225"/>
                <a:gd name="T49" fmla="*/ 102130 h 273"/>
                <a:gd name="T50" fmla="*/ 20659 w 225"/>
                <a:gd name="T51" fmla="*/ 104775 h 273"/>
                <a:gd name="T52" fmla="*/ 17216 w 225"/>
                <a:gd name="T53" fmla="*/ 104246 h 273"/>
                <a:gd name="T54" fmla="*/ 16785 w 225"/>
                <a:gd name="T55" fmla="*/ 99484 h 273"/>
                <a:gd name="T56" fmla="*/ 19798 w 225"/>
                <a:gd name="T57" fmla="*/ 91546 h 273"/>
                <a:gd name="T58" fmla="*/ 16785 w 225"/>
                <a:gd name="T59" fmla="*/ 84667 h 273"/>
                <a:gd name="T60" fmla="*/ 6025 w 225"/>
                <a:gd name="T61" fmla="*/ 79375 h 273"/>
                <a:gd name="T62" fmla="*/ 2582 w 225"/>
                <a:gd name="T63" fmla="*/ 68792 h 273"/>
                <a:gd name="T64" fmla="*/ 9469 w 225"/>
                <a:gd name="T65" fmla="*/ 60854 h 273"/>
                <a:gd name="T66" fmla="*/ 15064 w 225"/>
                <a:gd name="T67" fmla="*/ 53975 h 273"/>
                <a:gd name="T68" fmla="*/ 29267 w 225"/>
                <a:gd name="T69" fmla="*/ 49742 h 273"/>
                <a:gd name="T70" fmla="*/ 38735 w 225"/>
                <a:gd name="T71" fmla="*/ 49742 h 273"/>
                <a:gd name="T72" fmla="*/ 43039 w 225"/>
                <a:gd name="T73" fmla="*/ 46567 h 273"/>
                <a:gd name="T74" fmla="*/ 46482 w 225"/>
                <a:gd name="T75" fmla="*/ 27517 h 273"/>
                <a:gd name="T76" fmla="*/ 51647 w 225"/>
                <a:gd name="T77" fmla="*/ 16404 h 273"/>
                <a:gd name="T78" fmla="*/ 55951 w 225"/>
                <a:gd name="T79" fmla="*/ 10583 h 273"/>
                <a:gd name="T80" fmla="*/ 60685 w 225"/>
                <a:gd name="T81" fmla="*/ 3704 h 273"/>
                <a:gd name="T82" fmla="*/ 66711 w 225"/>
                <a:gd name="T83" fmla="*/ 529 h 273"/>
                <a:gd name="T84" fmla="*/ 77040 w 225"/>
                <a:gd name="T85" fmla="*/ 1588 h 273"/>
                <a:gd name="T86" fmla="*/ 83926 w 225"/>
                <a:gd name="T87" fmla="*/ 20108 h 273"/>
                <a:gd name="T88" fmla="*/ 84357 w 225"/>
                <a:gd name="T89" fmla="*/ 24871 h 273"/>
                <a:gd name="T90" fmla="*/ 81774 w 225"/>
                <a:gd name="T91" fmla="*/ 29633 h 27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67" name="Freeform 235">
              <a:extLst>
                <a:ext uri="{FF2B5EF4-FFF2-40B4-BE49-F238E27FC236}">
                  <a16:creationId xmlns:a16="http://schemas.microsoft.com/office/drawing/2014/main" id="{35B62676-E985-44F0-9775-61EB87B6DA70}"/>
                </a:ext>
              </a:extLst>
            </p:cNvPr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5118100" y="2813051"/>
              <a:ext cx="306388" cy="390525"/>
            </a:xfrm>
            <a:custGeom>
              <a:avLst/>
              <a:gdLst>
                <a:gd name="T0" fmla="*/ 124140 w 232"/>
                <a:gd name="T1" fmla="*/ 387376 h 248"/>
                <a:gd name="T2" fmla="*/ 126781 w 232"/>
                <a:gd name="T3" fmla="*/ 382652 h 248"/>
                <a:gd name="T4" fmla="*/ 129423 w 232"/>
                <a:gd name="T5" fmla="*/ 374778 h 248"/>
                <a:gd name="T6" fmla="*/ 132064 w 232"/>
                <a:gd name="T7" fmla="*/ 365330 h 248"/>
                <a:gd name="T8" fmla="*/ 136026 w 232"/>
                <a:gd name="T9" fmla="*/ 363755 h 248"/>
                <a:gd name="T10" fmla="*/ 137346 w 232"/>
                <a:gd name="T11" fmla="*/ 374778 h 248"/>
                <a:gd name="T12" fmla="*/ 139988 w 232"/>
                <a:gd name="T13" fmla="*/ 379502 h 248"/>
                <a:gd name="T14" fmla="*/ 142629 w 232"/>
                <a:gd name="T15" fmla="*/ 381077 h 248"/>
                <a:gd name="T16" fmla="*/ 145270 w 232"/>
                <a:gd name="T17" fmla="*/ 381077 h 248"/>
                <a:gd name="T18" fmla="*/ 149232 w 232"/>
                <a:gd name="T19" fmla="*/ 379502 h 248"/>
                <a:gd name="T20" fmla="*/ 153194 w 232"/>
                <a:gd name="T21" fmla="*/ 374778 h 248"/>
                <a:gd name="T22" fmla="*/ 285258 w 232"/>
                <a:gd name="T23" fmla="*/ 368479 h 248"/>
                <a:gd name="T24" fmla="*/ 281296 w 232"/>
                <a:gd name="T25" fmla="*/ 321238 h 248"/>
                <a:gd name="T26" fmla="*/ 273372 w 232"/>
                <a:gd name="T27" fmla="*/ 217308 h 248"/>
                <a:gd name="T28" fmla="*/ 265448 w 232"/>
                <a:gd name="T29" fmla="*/ 114953 h 248"/>
                <a:gd name="T30" fmla="*/ 261486 w 232"/>
                <a:gd name="T31" fmla="*/ 67712 h 248"/>
                <a:gd name="T32" fmla="*/ 283937 w 232"/>
                <a:gd name="T33" fmla="*/ 69287 h 248"/>
                <a:gd name="T34" fmla="*/ 306388 w 232"/>
                <a:gd name="T35" fmla="*/ 72436 h 248"/>
                <a:gd name="T36" fmla="*/ 212623 w 232"/>
                <a:gd name="T37" fmla="*/ 3149 h 248"/>
                <a:gd name="T38" fmla="*/ 211302 w 232"/>
                <a:gd name="T39" fmla="*/ 12598 h 248"/>
                <a:gd name="T40" fmla="*/ 212623 w 232"/>
                <a:gd name="T41" fmla="*/ 28345 h 248"/>
                <a:gd name="T42" fmla="*/ 129423 w 232"/>
                <a:gd name="T43" fmla="*/ 37793 h 248"/>
                <a:gd name="T44" fmla="*/ 129423 w 232"/>
                <a:gd name="T45" fmla="*/ 116528 h 248"/>
                <a:gd name="T46" fmla="*/ 125461 w 232"/>
                <a:gd name="T47" fmla="*/ 119677 h 248"/>
                <a:gd name="T48" fmla="*/ 114896 w 232"/>
                <a:gd name="T49" fmla="*/ 122826 h 248"/>
                <a:gd name="T50" fmla="*/ 95086 w 232"/>
                <a:gd name="T51" fmla="*/ 129125 h 248"/>
                <a:gd name="T52" fmla="*/ 97727 w 232"/>
                <a:gd name="T53" fmla="*/ 138573 h 248"/>
                <a:gd name="T54" fmla="*/ 103010 w 232"/>
                <a:gd name="T55" fmla="*/ 151171 h 248"/>
                <a:gd name="T56" fmla="*/ 105651 w 232"/>
                <a:gd name="T57" fmla="*/ 165343 h 248"/>
                <a:gd name="T58" fmla="*/ 106972 w 232"/>
                <a:gd name="T59" fmla="*/ 181090 h 248"/>
                <a:gd name="T60" fmla="*/ 11886 w 232"/>
                <a:gd name="T61" fmla="*/ 187389 h 248"/>
                <a:gd name="T62" fmla="*/ 6603 w 232"/>
                <a:gd name="T63" fmla="*/ 204711 h 248"/>
                <a:gd name="T64" fmla="*/ 7924 w 232"/>
                <a:gd name="T65" fmla="*/ 225182 h 248"/>
                <a:gd name="T66" fmla="*/ 10565 w 232"/>
                <a:gd name="T67" fmla="*/ 244078 h 248"/>
                <a:gd name="T68" fmla="*/ 11886 w 232"/>
                <a:gd name="T69" fmla="*/ 264549 h 248"/>
                <a:gd name="T70" fmla="*/ 11886 w 232"/>
                <a:gd name="T71" fmla="*/ 286595 h 248"/>
                <a:gd name="T72" fmla="*/ 10565 w 232"/>
                <a:gd name="T73" fmla="*/ 305491 h 248"/>
                <a:gd name="T74" fmla="*/ 7924 w 232"/>
                <a:gd name="T75" fmla="*/ 324388 h 248"/>
                <a:gd name="T76" fmla="*/ 2641 w 232"/>
                <a:gd name="T77" fmla="*/ 340135 h 248"/>
                <a:gd name="T78" fmla="*/ 2641 w 232"/>
                <a:gd name="T79" fmla="*/ 344859 h 248"/>
                <a:gd name="T80" fmla="*/ 3962 w 232"/>
                <a:gd name="T81" fmla="*/ 346433 h 248"/>
                <a:gd name="T82" fmla="*/ 3962 w 232"/>
                <a:gd name="T83" fmla="*/ 349583 h 248"/>
                <a:gd name="T84" fmla="*/ 9244 w 232"/>
                <a:gd name="T85" fmla="*/ 341709 h 248"/>
                <a:gd name="T86" fmla="*/ 23771 w 232"/>
                <a:gd name="T87" fmla="*/ 335411 h 248"/>
                <a:gd name="T88" fmla="*/ 47543 w 232"/>
                <a:gd name="T89" fmla="*/ 325962 h 248"/>
                <a:gd name="T90" fmla="*/ 59429 w 232"/>
                <a:gd name="T91" fmla="*/ 327537 h 248"/>
                <a:gd name="T92" fmla="*/ 67353 w 232"/>
                <a:gd name="T93" fmla="*/ 333836 h 248"/>
                <a:gd name="T94" fmla="*/ 73956 w 232"/>
                <a:gd name="T95" fmla="*/ 336985 h 248"/>
                <a:gd name="T96" fmla="*/ 81880 w 232"/>
                <a:gd name="T97" fmla="*/ 338560 h 248"/>
                <a:gd name="T98" fmla="*/ 87162 w 232"/>
                <a:gd name="T99" fmla="*/ 344859 h 248"/>
                <a:gd name="T100" fmla="*/ 88483 w 232"/>
                <a:gd name="T101" fmla="*/ 354307 h 248"/>
                <a:gd name="T102" fmla="*/ 92445 w 232"/>
                <a:gd name="T103" fmla="*/ 363755 h 248"/>
                <a:gd name="T104" fmla="*/ 97727 w 232"/>
                <a:gd name="T105" fmla="*/ 370054 h 248"/>
                <a:gd name="T106" fmla="*/ 112254 w 232"/>
                <a:gd name="T107" fmla="*/ 382652 h 2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8" name="Freeform 236">
              <a:extLst>
                <a:ext uri="{FF2B5EF4-FFF2-40B4-BE49-F238E27FC236}">
                  <a16:creationId xmlns:a16="http://schemas.microsoft.com/office/drawing/2014/main" id="{DB8ED682-5B4E-438F-9D90-8683A2BB7F51}"/>
                </a:ext>
              </a:extLst>
            </p:cNvPr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5233989" y="2873376"/>
              <a:ext cx="414337" cy="468313"/>
            </a:xfrm>
            <a:custGeom>
              <a:avLst/>
              <a:gdLst>
                <a:gd name="T0" fmla="*/ 39336 w 948"/>
                <a:gd name="T1" fmla="*/ 413248 h 893"/>
                <a:gd name="T2" fmla="*/ 52885 w 948"/>
                <a:gd name="T3" fmla="*/ 413248 h 893"/>
                <a:gd name="T4" fmla="*/ 63811 w 948"/>
                <a:gd name="T5" fmla="*/ 410626 h 893"/>
                <a:gd name="T6" fmla="*/ 81294 w 948"/>
                <a:gd name="T7" fmla="*/ 406955 h 893"/>
                <a:gd name="T8" fmla="*/ 86102 w 948"/>
                <a:gd name="T9" fmla="*/ 426359 h 893"/>
                <a:gd name="T10" fmla="*/ 92658 w 948"/>
                <a:gd name="T11" fmla="*/ 437896 h 893"/>
                <a:gd name="T12" fmla="*/ 98777 w 948"/>
                <a:gd name="T13" fmla="*/ 443665 h 893"/>
                <a:gd name="T14" fmla="*/ 107518 w 948"/>
                <a:gd name="T15" fmla="*/ 445763 h 893"/>
                <a:gd name="T16" fmla="*/ 107518 w 948"/>
                <a:gd name="T17" fmla="*/ 462020 h 893"/>
                <a:gd name="T18" fmla="*/ 142483 w 948"/>
                <a:gd name="T19" fmla="*/ 466215 h 893"/>
                <a:gd name="T20" fmla="*/ 145979 w 948"/>
                <a:gd name="T21" fmla="*/ 459398 h 893"/>
                <a:gd name="T22" fmla="*/ 151661 w 948"/>
                <a:gd name="T23" fmla="*/ 456776 h 893"/>
                <a:gd name="T24" fmla="*/ 152098 w 948"/>
                <a:gd name="T25" fmla="*/ 465691 h 893"/>
                <a:gd name="T26" fmla="*/ 156469 w 948"/>
                <a:gd name="T27" fmla="*/ 468313 h 893"/>
                <a:gd name="T28" fmla="*/ 168270 w 948"/>
                <a:gd name="T29" fmla="*/ 468313 h 893"/>
                <a:gd name="T30" fmla="*/ 175263 w 948"/>
                <a:gd name="T31" fmla="*/ 447860 h 893"/>
                <a:gd name="T32" fmla="*/ 180071 w 948"/>
                <a:gd name="T33" fmla="*/ 413248 h 893"/>
                <a:gd name="T34" fmla="*/ 185315 w 948"/>
                <a:gd name="T35" fmla="*/ 404333 h 893"/>
                <a:gd name="T36" fmla="*/ 197553 w 948"/>
                <a:gd name="T37" fmla="*/ 395418 h 893"/>
                <a:gd name="T38" fmla="*/ 211976 w 948"/>
                <a:gd name="T39" fmla="*/ 389649 h 893"/>
                <a:gd name="T40" fmla="*/ 218969 w 948"/>
                <a:gd name="T41" fmla="*/ 382307 h 893"/>
                <a:gd name="T42" fmla="*/ 225088 w 948"/>
                <a:gd name="T43" fmla="*/ 368148 h 893"/>
                <a:gd name="T44" fmla="*/ 233829 w 948"/>
                <a:gd name="T45" fmla="*/ 350317 h 893"/>
                <a:gd name="T46" fmla="*/ 239074 w 948"/>
                <a:gd name="T47" fmla="*/ 346122 h 893"/>
                <a:gd name="T48" fmla="*/ 250001 w 948"/>
                <a:gd name="T49" fmla="*/ 345597 h 893"/>
                <a:gd name="T50" fmla="*/ 264424 w 948"/>
                <a:gd name="T51" fmla="*/ 337731 h 893"/>
                <a:gd name="T52" fmla="*/ 279284 w 948"/>
                <a:gd name="T53" fmla="*/ 327242 h 893"/>
                <a:gd name="T54" fmla="*/ 294581 w 948"/>
                <a:gd name="T55" fmla="*/ 321474 h 893"/>
                <a:gd name="T56" fmla="*/ 316435 w 948"/>
                <a:gd name="T57" fmla="*/ 319900 h 893"/>
                <a:gd name="T58" fmla="*/ 344407 w 948"/>
                <a:gd name="T59" fmla="*/ 315705 h 893"/>
                <a:gd name="T60" fmla="*/ 356207 w 948"/>
                <a:gd name="T61" fmla="*/ 311509 h 893"/>
                <a:gd name="T62" fmla="*/ 377187 w 948"/>
                <a:gd name="T63" fmla="*/ 309412 h 893"/>
                <a:gd name="T64" fmla="*/ 393795 w 948"/>
                <a:gd name="T65" fmla="*/ 305741 h 893"/>
                <a:gd name="T66" fmla="*/ 399040 w 948"/>
                <a:gd name="T67" fmla="*/ 301021 h 893"/>
                <a:gd name="T68" fmla="*/ 406907 w 948"/>
                <a:gd name="T69" fmla="*/ 285288 h 893"/>
                <a:gd name="T70" fmla="*/ 412152 w 948"/>
                <a:gd name="T71" fmla="*/ 264311 h 893"/>
                <a:gd name="T72" fmla="*/ 414337 w 948"/>
                <a:gd name="T73" fmla="*/ 241761 h 893"/>
                <a:gd name="T74" fmla="*/ 413900 w 948"/>
                <a:gd name="T75" fmla="*/ 220784 h 893"/>
                <a:gd name="T76" fmla="*/ 412152 w 948"/>
                <a:gd name="T77" fmla="*/ 190367 h 893"/>
                <a:gd name="T78" fmla="*/ 402973 w 948"/>
                <a:gd name="T79" fmla="*/ 186696 h 893"/>
                <a:gd name="T80" fmla="*/ 376749 w 948"/>
                <a:gd name="T81" fmla="*/ 168865 h 893"/>
                <a:gd name="T82" fmla="*/ 347029 w 948"/>
                <a:gd name="T83" fmla="*/ 145791 h 893"/>
                <a:gd name="T84" fmla="*/ 322553 w 948"/>
                <a:gd name="T85" fmla="*/ 113276 h 893"/>
                <a:gd name="T86" fmla="*/ 180071 w 948"/>
                <a:gd name="T87" fmla="*/ 6293 h 893"/>
                <a:gd name="T88" fmla="*/ 152098 w 948"/>
                <a:gd name="T89" fmla="*/ 53492 h 893"/>
                <a:gd name="T90" fmla="*/ 165647 w 948"/>
                <a:gd name="T91" fmla="*/ 212393 h 893"/>
                <a:gd name="T92" fmla="*/ 171329 w 948"/>
                <a:gd name="T93" fmla="*/ 296301 h 893"/>
                <a:gd name="T94" fmla="*/ 40647 w 948"/>
                <a:gd name="T95" fmla="*/ 309936 h 893"/>
                <a:gd name="T96" fmla="*/ 34528 w 948"/>
                <a:gd name="T97" fmla="*/ 317803 h 893"/>
                <a:gd name="T98" fmla="*/ 29283 w 948"/>
                <a:gd name="T99" fmla="*/ 319900 h 893"/>
                <a:gd name="T100" fmla="*/ 24913 w 948"/>
                <a:gd name="T101" fmla="*/ 318327 h 893"/>
                <a:gd name="T102" fmla="*/ 21416 w 948"/>
                <a:gd name="T103" fmla="*/ 309936 h 893"/>
                <a:gd name="T104" fmla="*/ 17483 w 948"/>
                <a:gd name="T105" fmla="*/ 304692 h 893"/>
                <a:gd name="T106" fmla="*/ 12675 w 948"/>
                <a:gd name="T107" fmla="*/ 317278 h 893"/>
                <a:gd name="T108" fmla="*/ 6556 w 948"/>
                <a:gd name="T109" fmla="*/ 326718 h 893"/>
                <a:gd name="T110" fmla="*/ 29283 w 948"/>
                <a:gd name="T111" fmla="*/ 384405 h 893"/>
                <a:gd name="T112" fmla="*/ 26661 w 948"/>
                <a:gd name="T113" fmla="*/ 392271 h 893"/>
                <a:gd name="T114" fmla="*/ 27098 w 948"/>
                <a:gd name="T115" fmla="*/ 398564 h 893"/>
                <a:gd name="T116" fmla="*/ 23601 w 948"/>
                <a:gd name="T117" fmla="*/ 413248 h 89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9" name="Freeform 237">
              <a:extLst>
                <a:ext uri="{FF2B5EF4-FFF2-40B4-BE49-F238E27FC236}">
                  <a16:creationId xmlns:a16="http://schemas.microsoft.com/office/drawing/2014/main" id="{07C9F614-5031-4819-96D3-76997F6A7F39}"/>
                </a:ext>
              </a:extLst>
            </p:cNvPr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5332413" y="2479675"/>
              <a:ext cx="493712" cy="579438"/>
            </a:xfrm>
            <a:custGeom>
              <a:avLst/>
              <a:gdLst>
                <a:gd name="T0" fmla="*/ 315023 w 373"/>
                <a:gd name="T1" fmla="*/ 574740 h 370"/>
                <a:gd name="T2" fmla="*/ 322964 w 373"/>
                <a:gd name="T3" fmla="*/ 571608 h 370"/>
                <a:gd name="T4" fmla="*/ 337524 w 373"/>
                <a:gd name="T5" fmla="*/ 576306 h 370"/>
                <a:gd name="T6" fmla="*/ 492388 w 373"/>
                <a:gd name="T7" fmla="*/ 433795 h 370"/>
                <a:gd name="T8" fmla="*/ 488418 w 373"/>
                <a:gd name="T9" fmla="*/ 422833 h 370"/>
                <a:gd name="T10" fmla="*/ 477829 w 373"/>
                <a:gd name="T11" fmla="*/ 413437 h 370"/>
                <a:gd name="T12" fmla="*/ 459298 w 373"/>
                <a:gd name="T13" fmla="*/ 405607 h 370"/>
                <a:gd name="T14" fmla="*/ 448709 w 373"/>
                <a:gd name="T15" fmla="*/ 397776 h 370"/>
                <a:gd name="T16" fmla="*/ 444738 w 373"/>
                <a:gd name="T17" fmla="*/ 386814 h 370"/>
                <a:gd name="T18" fmla="*/ 446062 w 373"/>
                <a:gd name="T19" fmla="*/ 357059 h 370"/>
                <a:gd name="T20" fmla="*/ 446062 w 373"/>
                <a:gd name="T21" fmla="*/ 306946 h 370"/>
                <a:gd name="T22" fmla="*/ 442091 w 373"/>
                <a:gd name="T23" fmla="*/ 263096 h 370"/>
                <a:gd name="T24" fmla="*/ 435473 w 373"/>
                <a:gd name="T25" fmla="*/ 242738 h 370"/>
                <a:gd name="T26" fmla="*/ 427531 w 373"/>
                <a:gd name="T27" fmla="*/ 222379 h 370"/>
                <a:gd name="T28" fmla="*/ 416942 w 373"/>
                <a:gd name="T29" fmla="*/ 170699 h 370"/>
                <a:gd name="T30" fmla="*/ 405029 w 373"/>
                <a:gd name="T31" fmla="*/ 140944 h 370"/>
                <a:gd name="T32" fmla="*/ 393117 w 373"/>
                <a:gd name="T33" fmla="*/ 122152 h 370"/>
                <a:gd name="T34" fmla="*/ 397087 w 373"/>
                <a:gd name="T35" fmla="*/ 98661 h 370"/>
                <a:gd name="T36" fmla="*/ 398411 w 373"/>
                <a:gd name="T37" fmla="*/ 67340 h 370"/>
                <a:gd name="T38" fmla="*/ 399735 w 373"/>
                <a:gd name="T39" fmla="*/ 36019 h 370"/>
                <a:gd name="T40" fmla="*/ 410324 w 373"/>
                <a:gd name="T41" fmla="*/ 10962 h 370"/>
                <a:gd name="T42" fmla="*/ 399735 w 373"/>
                <a:gd name="T43" fmla="*/ 9396 h 370"/>
                <a:gd name="T44" fmla="*/ 367968 w 373"/>
                <a:gd name="T45" fmla="*/ 18793 h 370"/>
                <a:gd name="T46" fmla="*/ 324288 w 373"/>
                <a:gd name="T47" fmla="*/ 18793 h 370"/>
                <a:gd name="T48" fmla="*/ 272667 w 373"/>
                <a:gd name="T49" fmla="*/ 21925 h 370"/>
                <a:gd name="T50" fmla="*/ 222369 w 373"/>
                <a:gd name="T51" fmla="*/ 37585 h 370"/>
                <a:gd name="T52" fmla="*/ 191926 w 373"/>
                <a:gd name="T53" fmla="*/ 50114 h 370"/>
                <a:gd name="T54" fmla="*/ 164129 w 373"/>
                <a:gd name="T55" fmla="*/ 68906 h 370"/>
                <a:gd name="T56" fmla="*/ 162806 w 373"/>
                <a:gd name="T57" fmla="*/ 81435 h 370"/>
                <a:gd name="T58" fmla="*/ 173395 w 373"/>
                <a:gd name="T59" fmla="*/ 139378 h 370"/>
                <a:gd name="T60" fmla="*/ 177366 w 373"/>
                <a:gd name="T61" fmla="*/ 145643 h 370"/>
                <a:gd name="T62" fmla="*/ 186631 w 373"/>
                <a:gd name="T63" fmla="*/ 153473 h 370"/>
                <a:gd name="T64" fmla="*/ 187955 w 373"/>
                <a:gd name="T65" fmla="*/ 159737 h 370"/>
                <a:gd name="T66" fmla="*/ 183984 w 373"/>
                <a:gd name="T67" fmla="*/ 167567 h 370"/>
                <a:gd name="T68" fmla="*/ 169424 w 373"/>
                <a:gd name="T69" fmla="*/ 167567 h 370"/>
                <a:gd name="T70" fmla="*/ 140304 w 373"/>
                <a:gd name="T71" fmla="*/ 176963 h 370"/>
                <a:gd name="T72" fmla="*/ 125744 w 373"/>
                <a:gd name="T73" fmla="*/ 191058 h 370"/>
                <a:gd name="T74" fmla="*/ 119126 w 373"/>
                <a:gd name="T75" fmla="*/ 205152 h 370"/>
                <a:gd name="T76" fmla="*/ 108537 w 373"/>
                <a:gd name="T77" fmla="*/ 214549 h 370"/>
                <a:gd name="T78" fmla="*/ 87359 w 373"/>
                <a:gd name="T79" fmla="*/ 234907 h 370"/>
                <a:gd name="T80" fmla="*/ 67505 w 373"/>
                <a:gd name="T81" fmla="*/ 247436 h 370"/>
                <a:gd name="T82" fmla="*/ 41032 w 373"/>
                <a:gd name="T83" fmla="*/ 250568 h 370"/>
                <a:gd name="T84" fmla="*/ 26472 w 373"/>
                <a:gd name="T85" fmla="*/ 256832 h 370"/>
                <a:gd name="T86" fmla="*/ 10589 w 373"/>
                <a:gd name="T87" fmla="*/ 272492 h 370"/>
                <a:gd name="T88" fmla="*/ 0 w 373"/>
                <a:gd name="T89" fmla="*/ 313210 h 370"/>
                <a:gd name="T90" fmla="*/ 236929 w 373"/>
                <a:gd name="T91" fmla="*/ 518362 h 370"/>
                <a:gd name="T92" fmla="*/ 266049 w 373"/>
                <a:gd name="T93" fmla="*/ 551249 h 370"/>
                <a:gd name="T94" fmla="*/ 303110 w 373"/>
                <a:gd name="T95" fmla="*/ 576306 h 3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0" name="Freeform 238">
              <a:extLst>
                <a:ext uri="{FF2B5EF4-FFF2-40B4-BE49-F238E27FC236}">
                  <a16:creationId xmlns:a16="http://schemas.microsoft.com/office/drawing/2014/main" id="{F5683350-1373-416D-9D22-6C36627B88BE}"/>
                </a:ext>
              </a:extLst>
            </p:cNvPr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5768976" y="2614613"/>
              <a:ext cx="384175" cy="436562"/>
            </a:xfrm>
            <a:custGeom>
              <a:avLst/>
              <a:gdLst>
                <a:gd name="T0" fmla="*/ 15770 w 877"/>
                <a:gd name="T1" fmla="*/ 74522 h 826"/>
                <a:gd name="T2" fmla="*/ 20151 w 877"/>
                <a:gd name="T3" fmla="*/ 57609 h 826"/>
                <a:gd name="T4" fmla="*/ 20151 w 877"/>
                <a:gd name="T5" fmla="*/ 36997 h 826"/>
                <a:gd name="T6" fmla="*/ 26721 w 877"/>
                <a:gd name="T7" fmla="*/ 33826 h 826"/>
                <a:gd name="T8" fmla="*/ 38987 w 877"/>
                <a:gd name="T9" fmla="*/ 29069 h 826"/>
                <a:gd name="T10" fmla="*/ 43368 w 877"/>
                <a:gd name="T11" fmla="*/ 10571 h 826"/>
                <a:gd name="T12" fmla="*/ 73593 w 877"/>
                <a:gd name="T13" fmla="*/ 3171 h 826"/>
                <a:gd name="T14" fmla="*/ 106010 w 877"/>
                <a:gd name="T15" fmla="*/ 12685 h 826"/>
                <a:gd name="T16" fmla="*/ 119589 w 877"/>
                <a:gd name="T17" fmla="*/ 22727 h 826"/>
                <a:gd name="T18" fmla="*/ 124846 w 877"/>
                <a:gd name="T19" fmla="*/ 41225 h 826"/>
                <a:gd name="T20" fmla="*/ 129226 w 877"/>
                <a:gd name="T21" fmla="*/ 53381 h 826"/>
                <a:gd name="T22" fmla="*/ 142368 w 877"/>
                <a:gd name="T23" fmla="*/ 58138 h 826"/>
                <a:gd name="T24" fmla="*/ 159014 w 877"/>
                <a:gd name="T25" fmla="*/ 57609 h 826"/>
                <a:gd name="T26" fmla="*/ 184422 w 877"/>
                <a:gd name="T27" fmla="*/ 70294 h 826"/>
                <a:gd name="T28" fmla="*/ 209391 w 877"/>
                <a:gd name="T29" fmla="*/ 85621 h 826"/>
                <a:gd name="T30" fmla="*/ 224723 w 877"/>
                <a:gd name="T31" fmla="*/ 87735 h 826"/>
                <a:gd name="T32" fmla="*/ 235674 w 877"/>
                <a:gd name="T33" fmla="*/ 83507 h 826"/>
                <a:gd name="T34" fmla="*/ 240493 w 877"/>
                <a:gd name="T35" fmla="*/ 66594 h 826"/>
                <a:gd name="T36" fmla="*/ 238302 w 877"/>
                <a:gd name="T37" fmla="*/ 54438 h 826"/>
                <a:gd name="T38" fmla="*/ 232608 w 877"/>
                <a:gd name="T39" fmla="*/ 42811 h 826"/>
                <a:gd name="T40" fmla="*/ 236112 w 877"/>
                <a:gd name="T41" fmla="*/ 25898 h 826"/>
                <a:gd name="T42" fmla="*/ 251444 w 877"/>
                <a:gd name="T43" fmla="*/ 17970 h 826"/>
                <a:gd name="T44" fmla="*/ 270280 w 877"/>
                <a:gd name="T45" fmla="*/ 2114 h 826"/>
                <a:gd name="T46" fmla="*/ 284736 w 877"/>
                <a:gd name="T47" fmla="*/ 0 h 826"/>
                <a:gd name="T48" fmla="*/ 298316 w 877"/>
                <a:gd name="T49" fmla="*/ 3171 h 826"/>
                <a:gd name="T50" fmla="*/ 304449 w 877"/>
                <a:gd name="T51" fmla="*/ 12685 h 826"/>
                <a:gd name="T52" fmla="*/ 309267 w 877"/>
                <a:gd name="T53" fmla="*/ 26426 h 826"/>
                <a:gd name="T54" fmla="*/ 318905 w 877"/>
                <a:gd name="T55" fmla="*/ 33297 h 826"/>
                <a:gd name="T56" fmla="*/ 349569 w 877"/>
                <a:gd name="T57" fmla="*/ 37525 h 826"/>
                <a:gd name="T58" fmla="*/ 363586 w 877"/>
                <a:gd name="T59" fmla="*/ 51267 h 826"/>
                <a:gd name="T60" fmla="*/ 365339 w 877"/>
                <a:gd name="T61" fmla="*/ 61837 h 826"/>
                <a:gd name="T62" fmla="*/ 369281 w 877"/>
                <a:gd name="T63" fmla="*/ 73994 h 826"/>
                <a:gd name="T64" fmla="*/ 366215 w 877"/>
                <a:gd name="T65" fmla="*/ 84036 h 826"/>
                <a:gd name="T66" fmla="*/ 360958 w 877"/>
                <a:gd name="T67" fmla="*/ 89849 h 826"/>
                <a:gd name="T68" fmla="*/ 363148 w 877"/>
                <a:gd name="T69" fmla="*/ 109405 h 826"/>
                <a:gd name="T70" fmla="*/ 375852 w 877"/>
                <a:gd name="T71" fmla="*/ 129489 h 826"/>
                <a:gd name="T72" fmla="*/ 383737 w 877"/>
                <a:gd name="T73" fmla="*/ 363097 h 826"/>
                <a:gd name="T74" fmla="*/ 384175 w 877"/>
                <a:gd name="T75" fmla="*/ 391637 h 826"/>
                <a:gd name="T76" fmla="*/ 381109 w 877"/>
                <a:gd name="T77" fmla="*/ 409607 h 826"/>
                <a:gd name="T78" fmla="*/ 371471 w 877"/>
                <a:gd name="T79" fmla="*/ 413835 h 826"/>
                <a:gd name="T80" fmla="*/ 363586 w 877"/>
                <a:gd name="T81" fmla="*/ 424934 h 826"/>
                <a:gd name="T82" fmla="*/ 160328 w 877"/>
                <a:gd name="T83" fmla="*/ 313416 h 826"/>
                <a:gd name="T84" fmla="*/ 144996 w 877"/>
                <a:gd name="T85" fmla="*/ 320815 h 826"/>
                <a:gd name="T86" fmla="*/ 127912 w 877"/>
                <a:gd name="T87" fmla="*/ 330857 h 826"/>
                <a:gd name="T88" fmla="*/ 115209 w 877"/>
                <a:gd name="T89" fmla="*/ 331385 h 826"/>
                <a:gd name="T90" fmla="*/ 100753 w 877"/>
                <a:gd name="T91" fmla="*/ 321872 h 826"/>
                <a:gd name="T92" fmla="*/ 84545 w 877"/>
                <a:gd name="T93" fmla="*/ 309716 h 826"/>
                <a:gd name="T94" fmla="*/ 66584 w 877"/>
                <a:gd name="T95" fmla="*/ 305488 h 826"/>
                <a:gd name="T96" fmla="*/ 60452 w 877"/>
                <a:gd name="T97" fmla="*/ 304959 h 826"/>
                <a:gd name="T98" fmla="*/ 56947 w 877"/>
                <a:gd name="T99" fmla="*/ 292275 h 826"/>
                <a:gd name="T100" fmla="*/ 47748 w 877"/>
                <a:gd name="T101" fmla="*/ 282761 h 826"/>
                <a:gd name="T102" fmla="*/ 27598 w 877"/>
                <a:gd name="T103" fmla="*/ 273248 h 826"/>
                <a:gd name="T104" fmla="*/ 12266 w 877"/>
                <a:gd name="T105" fmla="*/ 263734 h 826"/>
                <a:gd name="T106" fmla="*/ 7009 w 877"/>
                <a:gd name="T107" fmla="*/ 254749 h 826"/>
                <a:gd name="T108" fmla="*/ 6133 w 877"/>
                <a:gd name="T109" fmla="*/ 232023 h 826"/>
                <a:gd name="T110" fmla="*/ 8323 w 877"/>
                <a:gd name="T111" fmla="*/ 186041 h 826"/>
                <a:gd name="T112" fmla="*/ 7447 w 877"/>
                <a:gd name="T113" fmla="*/ 136360 h 826"/>
                <a:gd name="T114" fmla="*/ 1752 w 877"/>
                <a:gd name="T115" fmla="*/ 106762 h 8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1" name="Freeform 239">
              <a:extLst>
                <a:ext uri="{FF2B5EF4-FFF2-40B4-BE49-F238E27FC236}">
                  <a16:creationId xmlns:a16="http://schemas.microsoft.com/office/drawing/2014/main" id="{3D7B2D6D-821C-416C-8EFB-6895D99307B3}"/>
                </a:ext>
              </a:extLst>
            </p:cNvPr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5721351" y="2479675"/>
              <a:ext cx="93663" cy="236538"/>
            </a:xfrm>
            <a:custGeom>
              <a:avLst/>
              <a:gdLst>
                <a:gd name="T0" fmla="*/ 46832 w 206"/>
                <a:gd name="T1" fmla="*/ 229260 h 455"/>
                <a:gd name="T2" fmla="*/ 56834 w 206"/>
                <a:gd name="T3" fmla="*/ 218343 h 455"/>
                <a:gd name="T4" fmla="*/ 63654 w 206"/>
                <a:gd name="T5" fmla="*/ 210025 h 455"/>
                <a:gd name="T6" fmla="*/ 66837 w 206"/>
                <a:gd name="T7" fmla="*/ 202747 h 455"/>
                <a:gd name="T8" fmla="*/ 69111 w 206"/>
                <a:gd name="T9" fmla="*/ 193909 h 455"/>
                <a:gd name="T10" fmla="*/ 70020 w 206"/>
                <a:gd name="T11" fmla="*/ 182992 h 455"/>
                <a:gd name="T12" fmla="*/ 69565 w 206"/>
                <a:gd name="T13" fmla="*/ 174154 h 455"/>
                <a:gd name="T14" fmla="*/ 70929 w 206"/>
                <a:gd name="T15" fmla="*/ 172075 h 455"/>
                <a:gd name="T16" fmla="*/ 76385 w 206"/>
                <a:gd name="T17" fmla="*/ 171035 h 455"/>
                <a:gd name="T18" fmla="*/ 84115 w 206"/>
                <a:gd name="T19" fmla="*/ 168956 h 455"/>
                <a:gd name="T20" fmla="*/ 89116 w 206"/>
                <a:gd name="T21" fmla="*/ 165317 h 455"/>
                <a:gd name="T22" fmla="*/ 92299 w 206"/>
                <a:gd name="T23" fmla="*/ 158039 h 455"/>
                <a:gd name="T24" fmla="*/ 93663 w 206"/>
                <a:gd name="T25" fmla="*/ 145562 h 455"/>
                <a:gd name="T26" fmla="*/ 91844 w 206"/>
                <a:gd name="T27" fmla="*/ 137764 h 455"/>
                <a:gd name="T28" fmla="*/ 87752 w 206"/>
                <a:gd name="T29" fmla="*/ 137244 h 455"/>
                <a:gd name="T30" fmla="*/ 80477 w 206"/>
                <a:gd name="T31" fmla="*/ 133085 h 455"/>
                <a:gd name="T32" fmla="*/ 70475 w 206"/>
                <a:gd name="T33" fmla="*/ 125807 h 455"/>
                <a:gd name="T34" fmla="*/ 63654 w 206"/>
                <a:gd name="T35" fmla="*/ 120089 h 455"/>
                <a:gd name="T36" fmla="*/ 59108 w 206"/>
                <a:gd name="T37" fmla="*/ 118529 h 455"/>
                <a:gd name="T38" fmla="*/ 54106 w 206"/>
                <a:gd name="T39" fmla="*/ 115410 h 455"/>
                <a:gd name="T40" fmla="*/ 45922 w 206"/>
                <a:gd name="T41" fmla="*/ 110211 h 455"/>
                <a:gd name="T42" fmla="*/ 43194 w 206"/>
                <a:gd name="T43" fmla="*/ 107092 h 455"/>
                <a:gd name="T44" fmla="*/ 43194 w 206"/>
                <a:gd name="T45" fmla="*/ 103453 h 455"/>
                <a:gd name="T46" fmla="*/ 47286 w 206"/>
                <a:gd name="T47" fmla="*/ 94095 h 455"/>
                <a:gd name="T48" fmla="*/ 54106 w 206"/>
                <a:gd name="T49" fmla="*/ 82138 h 455"/>
                <a:gd name="T50" fmla="*/ 60926 w 206"/>
                <a:gd name="T51" fmla="*/ 72781 h 455"/>
                <a:gd name="T52" fmla="*/ 61836 w 206"/>
                <a:gd name="T53" fmla="*/ 67062 h 455"/>
                <a:gd name="T54" fmla="*/ 57289 w 206"/>
                <a:gd name="T55" fmla="*/ 60304 h 455"/>
                <a:gd name="T56" fmla="*/ 52288 w 206"/>
                <a:gd name="T57" fmla="*/ 54586 h 455"/>
                <a:gd name="T58" fmla="*/ 49105 w 206"/>
                <a:gd name="T59" fmla="*/ 48347 h 455"/>
                <a:gd name="T60" fmla="*/ 48650 w 206"/>
                <a:gd name="T61" fmla="*/ 43669 h 455"/>
                <a:gd name="T62" fmla="*/ 50469 w 206"/>
                <a:gd name="T63" fmla="*/ 40549 h 455"/>
                <a:gd name="T64" fmla="*/ 52742 w 206"/>
                <a:gd name="T65" fmla="*/ 37430 h 455"/>
                <a:gd name="T66" fmla="*/ 55925 w 206"/>
                <a:gd name="T67" fmla="*/ 35871 h 455"/>
                <a:gd name="T68" fmla="*/ 57289 w 206"/>
                <a:gd name="T69" fmla="*/ 19235 h 455"/>
                <a:gd name="T70" fmla="*/ 50014 w 206"/>
                <a:gd name="T71" fmla="*/ 16636 h 455"/>
                <a:gd name="T72" fmla="*/ 39557 w 206"/>
                <a:gd name="T73" fmla="*/ 10917 h 455"/>
                <a:gd name="T74" fmla="*/ 24098 w 206"/>
                <a:gd name="T75" fmla="*/ 0 h 455"/>
                <a:gd name="T76" fmla="*/ 21370 w 206"/>
                <a:gd name="T77" fmla="*/ 5719 h 455"/>
                <a:gd name="T78" fmla="*/ 15459 w 206"/>
                <a:gd name="T79" fmla="*/ 22874 h 455"/>
                <a:gd name="T80" fmla="*/ 12731 w 206"/>
                <a:gd name="T81" fmla="*/ 36390 h 455"/>
                <a:gd name="T82" fmla="*/ 10003 w 206"/>
                <a:gd name="T83" fmla="*/ 51467 h 455"/>
                <a:gd name="T84" fmla="*/ 9093 w 206"/>
                <a:gd name="T85" fmla="*/ 69142 h 455"/>
                <a:gd name="T86" fmla="*/ 9093 w 206"/>
                <a:gd name="T87" fmla="*/ 89417 h 455"/>
                <a:gd name="T88" fmla="*/ 5456 w 206"/>
                <a:gd name="T89" fmla="*/ 97734 h 455"/>
                <a:gd name="T90" fmla="*/ 3637 w 206"/>
                <a:gd name="T91" fmla="*/ 107092 h 455"/>
                <a:gd name="T92" fmla="*/ 0 w 206"/>
                <a:gd name="T93" fmla="*/ 122168 h 455"/>
                <a:gd name="T94" fmla="*/ 10003 w 206"/>
                <a:gd name="T95" fmla="*/ 134645 h 455"/>
                <a:gd name="T96" fmla="*/ 18642 w 206"/>
                <a:gd name="T97" fmla="*/ 146082 h 455"/>
                <a:gd name="T98" fmla="*/ 25007 w 206"/>
                <a:gd name="T99" fmla="*/ 158558 h 455"/>
                <a:gd name="T100" fmla="*/ 30009 w 206"/>
                <a:gd name="T101" fmla="*/ 171035 h 455"/>
                <a:gd name="T102" fmla="*/ 34101 w 206"/>
                <a:gd name="T103" fmla="*/ 184552 h 455"/>
                <a:gd name="T104" fmla="*/ 37283 w 206"/>
                <a:gd name="T105" fmla="*/ 199628 h 455"/>
                <a:gd name="T106" fmla="*/ 42285 w 206"/>
                <a:gd name="T107" fmla="*/ 236538 h 45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2" name="Freeform 240">
              <a:extLst>
                <a:ext uri="{FF2B5EF4-FFF2-40B4-BE49-F238E27FC236}">
                  <a16:creationId xmlns:a16="http://schemas.microsoft.com/office/drawing/2014/main" id="{FA7F0060-21C4-4CA1-8536-8B641FADBB6E}"/>
                </a:ext>
              </a:extLst>
            </p:cNvPr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5103814" y="2790825"/>
              <a:ext cx="231775" cy="215900"/>
            </a:xfrm>
            <a:custGeom>
              <a:avLst/>
              <a:gdLst>
                <a:gd name="T0" fmla="*/ 145866 w 518"/>
                <a:gd name="T1" fmla="*/ 58495 h 406"/>
                <a:gd name="T2" fmla="*/ 145866 w 518"/>
                <a:gd name="T3" fmla="*/ 137729 h 406"/>
                <a:gd name="T4" fmla="*/ 140944 w 518"/>
                <a:gd name="T5" fmla="*/ 140388 h 406"/>
                <a:gd name="T6" fmla="*/ 130206 w 518"/>
                <a:gd name="T7" fmla="*/ 144111 h 406"/>
                <a:gd name="T8" fmla="*/ 110071 w 518"/>
                <a:gd name="T9" fmla="*/ 150492 h 406"/>
                <a:gd name="T10" fmla="*/ 113203 w 518"/>
                <a:gd name="T11" fmla="*/ 160596 h 406"/>
                <a:gd name="T12" fmla="*/ 118572 w 518"/>
                <a:gd name="T13" fmla="*/ 173358 h 406"/>
                <a:gd name="T14" fmla="*/ 120362 w 518"/>
                <a:gd name="T15" fmla="*/ 187716 h 406"/>
                <a:gd name="T16" fmla="*/ 121704 w 518"/>
                <a:gd name="T17" fmla="*/ 203137 h 406"/>
                <a:gd name="T18" fmla="*/ 23267 w 518"/>
                <a:gd name="T19" fmla="*/ 209519 h 406"/>
                <a:gd name="T20" fmla="*/ 9844 w 518"/>
                <a:gd name="T21" fmla="*/ 215900 h 406"/>
                <a:gd name="T22" fmla="*/ 2237 w 518"/>
                <a:gd name="T23" fmla="*/ 214305 h 406"/>
                <a:gd name="T24" fmla="*/ 447 w 518"/>
                <a:gd name="T25" fmla="*/ 211646 h 406"/>
                <a:gd name="T26" fmla="*/ 447 w 518"/>
                <a:gd name="T27" fmla="*/ 204733 h 406"/>
                <a:gd name="T28" fmla="*/ 1790 w 518"/>
                <a:gd name="T29" fmla="*/ 197288 h 406"/>
                <a:gd name="T30" fmla="*/ 4922 w 518"/>
                <a:gd name="T31" fmla="*/ 188248 h 406"/>
                <a:gd name="T32" fmla="*/ 8949 w 518"/>
                <a:gd name="T33" fmla="*/ 181335 h 406"/>
                <a:gd name="T34" fmla="*/ 13423 w 518"/>
                <a:gd name="T35" fmla="*/ 177612 h 406"/>
                <a:gd name="T36" fmla="*/ 17003 w 518"/>
                <a:gd name="T37" fmla="*/ 173358 h 406"/>
                <a:gd name="T38" fmla="*/ 19687 w 518"/>
                <a:gd name="T39" fmla="*/ 168572 h 406"/>
                <a:gd name="T40" fmla="*/ 21925 w 518"/>
                <a:gd name="T41" fmla="*/ 155278 h 406"/>
                <a:gd name="T42" fmla="*/ 25057 w 518"/>
                <a:gd name="T43" fmla="*/ 140920 h 406"/>
                <a:gd name="T44" fmla="*/ 27741 w 518"/>
                <a:gd name="T45" fmla="*/ 136666 h 406"/>
                <a:gd name="T46" fmla="*/ 33111 w 518"/>
                <a:gd name="T47" fmla="*/ 130816 h 406"/>
                <a:gd name="T48" fmla="*/ 41165 w 518"/>
                <a:gd name="T49" fmla="*/ 126562 h 406"/>
                <a:gd name="T50" fmla="*/ 47876 w 518"/>
                <a:gd name="T51" fmla="*/ 122840 h 406"/>
                <a:gd name="T52" fmla="*/ 54588 w 518"/>
                <a:gd name="T53" fmla="*/ 115927 h 406"/>
                <a:gd name="T54" fmla="*/ 60852 w 518"/>
                <a:gd name="T55" fmla="*/ 103696 h 406"/>
                <a:gd name="T56" fmla="*/ 67116 w 518"/>
                <a:gd name="T57" fmla="*/ 82957 h 406"/>
                <a:gd name="T58" fmla="*/ 72486 w 518"/>
                <a:gd name="T59" fmla="*/ 62217 h 406"/>
                <a:gd name="T60" fmla="*/ 76960 w 518"/>
                <a:gd name="T61" fmla="*/ 49987 h 406"/>
                <a:gd name="T62" fmla="*/ 83224 w 518"/>
                <a:gd name="T63" fmla="*/ 38819 h 406"/>
                <a:gd name="T64" fmla="*/ 89936 w 518"/>
                <a:gd name="T65" fmla="*/ 32970 h 406"/>
                <a:gd name="T66" fmla="*/ 95305 w 518"/>
                <a:gd name="T67" fmla="*/ 30311 h 406"/>
                <a:gd name="T68" fmla="*/ 97990 w 518"/>
                <a:gd name="T69" fmla="*/ 23398 h 406"/>
                <a:gd name="T70" fmla="*/ 99780 w 518"/>
                <a:gd name="T71" fmla="*/ 14890 h 406"/>
                <a:gd name="T72" fmla="*/ 102017 w 518"/>
                <a:gd name="T73" fmla="*/ 8508 h 406"/>
                <a:gd name="T74" fmla="*/ 106939 w 518"/>
                <a:gd name="T75" fmla="*/ 4254 h 406"/>
                <a:gd name="T76" fmla="*/ 228643 w 518"/>
                <a:gd name="T77" fmla="*/ 0 h 406"/>
                <a:gd name="T78" fmla="*/ 230433 w 518"/>
                <a:gd name="T79" fmla="*/ 24462 h 406"/>
                <a:gd name="T80" fmla="*/ 231775 w 518"/>
                <a:gd name="T81" fmla="*/ 58495 h 40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3" name="Freeform 241">
              <a:extLst>
                <a:ext uri="{FF2B5EF4-FFF2-40B4-BE49-F238E27FC236}">
                  <a16:creationId xmlns:a16="http://schemas.microsoft.com/office/drawing/2014/main" id="{24F7C778-99C9-4EE8-B6E9-7F1693FE4155}"/>
                </a:ext>
              </a:extLst>
            </p:cNvPr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5072063" y="1598613"/>
              <a:ext cx="190500" cy="93662"/>
            </a:xfrm>
            <a:custGeom>
              <a:avLst/>
              <a:gdLst>
                <a:gd name="T0" fmla="*/ 14522 w 446"/>
                <a:gd name="T1" fmla="*/ 32098 h 178"/>
                <a:gd name="T2" fmla="*/ 17512 w 446"/>
                <a:gd name="T3" fmla="*/ 22100 h 178"/>
                <a:gd name="T4" fmla="*/ 29045 w 446"/>
                <a:gd name="T5" fmla="*/ 19469 h 178"/>
                <a:gd name="T6" fmla="*/ 34170 w 446"/>
                <a:gd name="T7" fmla="*/ 9471 h 178"/>
                <a:gd name="T8" fmla="*/ 30753 w 446"/>
                <a:gd name="T9" fmla="*/ 7367 h 178"/>
                <a:gd name="T10" fmla="*/ 25628 w 446"/>
                <a:gd name="T11" fmla="*/ 0 h 178"/>
                <a:gd name="T12" fmla="*/ 36306 w 446"/>
                <a:gd name="T13" fmla="*/ 5262 h 178"/>
                <a:gd name="T14" fmla="*/ 46130 w 446"/>
                <a:gd name="T15" fmla="*/ 20521 h 178"/>
                <a:gd name="T16" fmla="*/ 53391 w 446"/>
                <a:gd name="T17" fmla="*/ 32624 h 178"/>
                <a:gd name="T18" fmla="*/ 59371 w 446"/>
                <a:gd name="T19" fmla="*/ 35255 h 178"/>
                <a:gd name="T20" fmla="*/ 67059 w 446"/>
                <a:gd name="T21" fmla="*/ 33150 h 178"/>
                <a:gd name="T22" fmla="*/ 77311 w 446"/>
                <a:gd name="T23" fmla="*/ 23679 h 178"/>
                <a:gd name="T24" fmla="*/ 87562 w 446"/>
                <a:gd name="T25" fmla="*/ 12102 h 178"/>
                <a:gd name="T26" fmla="*/ 93969 w 446"/>
                <a:gd name="T27" fmla="*/ 16312 h 178"/>
                <a:gd name="T28" fmla="*/ 153340 w 446"/>
                <a:gd name="T29" fmla="*/ 5788 h 178"/>
                <a:gd name="T30" fmla="*/ 160601 w 446"/>
                <a:gd name="T31" fmla="*/ 12102 h 178"/>
                <a:gd name="T32" fmla="*/ 169143 w 446"/>
                <a:gd name="T33" fmla="*/ 11576 h 178"/>
                <a:gd name="T34" fmla="*/ 176405 w 446"/>
                <a:gd name="T35" fmla="*/ 19469 h 178"/>
                <a:gd name="T36" fmla="*/ 177259 w 446"/>
                <a:gd name="T37" fmla="*/ 22626 h 178"/>
                <a:gd name="T38" fmla="*/ 183239 w 446"/>
                <a:gd name="T39" fmla="*/ 28414 h 178"/>
                <a:gd name="T40" fmla="*/ 189219 w 446"/>
                <a:gd name="T41" fmla="*/ 35781 h 178"/>
                <a:gd name="T42" fmla="*/ 190500 w 446"/>
                <a:gd name="T43" fmla="*/ 42095 h 178"/>
                <a:gd name="T44" fmla="*/ 187083 w 446"/>
                <a:gd name="T45" fmla="*/ 50514 h 178"/>
                <a:gd name="T46" fmla="*/ 176405 w 446"/>
                <a:gd name="T47" fmla="*/ 58407 h 178"/>
                <a:gd name="T48" fmla="*/ 169571 w 446"/>
                <a:gd name="T49" fmla="*/ 63143 h 178"/>
                <a:gd name="T50" fmla="*/ 156330 w 446"/>
                <a:gd name="T51" fmla="*/ 64721 h 178"/>
                <a:gd name="T52" fmla="*/ 128139 w 446"/>
                <a:gd name="T53" fmla="*/ 76824 h 178"/>
                <a:gd name="T54" fmla="*/ 99948 w 446"/>
                <a:gd name="T55" fmla="*/ 89979 h 178"/>
                <a:gd name="T56" fmla="*/ 84999 w 446"/>
                <a:gd name="T57" fmla="*/ 93662 h 178"/>
                <a:gd name="T58" fmla="*/ 75602 w 446"/>
                <a:gd name="T59" fmla="*/ 91557 h 178"/>
                <a:gd name="T60" fmla="*/ 73466 w 446"/>
                <a:gd name="T61" fmla="*/ 86295 h 178"/>
                <a:gd name="T62" fmla="*/ 72612 w 446"/>
                <a:gd name="T63" fmla="*/ 84717 h 178"/>
                <a:gd name="T64" fmla="*/ 66632 w 446"/>
                <a:gd name="T65" fmla="*/ 84717 h 178"/>
                <a:gd name="T66" fmla="*/ 59371 w 446"/>
                <a:gd name="T67" fmla="*/ 84191 h 178"/>
                <a:gd name="T68" fmla="*/ 42713 w 446"/>
                <a:gd name="T69" fmla="*/ 77350 h 178"/>
                <a:gd name="T70" fmla="*/ 36306 w 446"/>
                <a:gd name="T71" fmla="*/ 72088 h 178"/>
                <a:gd name="T72" fmla="*/ 34598 w 446"/>
                <a:gd name="T73" fmla="*/ 65774 h 178"/>
                <a:gd name="T74" fmla="*/ 37160 w 446"/>
                <a:gd name="T75" fmla="*/ 58407 h 178"/>
                <a:gd name="T76" fmla="*/ 11533 w 446"/>
                <a:gd name="T77" fmla="*/ 54198 h 178"/>
                <a:gd name="T78" fmla="*/ 3844 w 446"/>
                <a:gd name="T79" fmla="*/ 55250 h 178"/>
                <a:gd name="T80" fmla="*/ 0 w 446"/>
                <a:gd name="T81" fmla="*/ 42095 h 178"/>
                <a:gd name="T82" fmla="*/ 25628 w 446"/>
                <a:gd name="T83" fmla="*/ 45252 h 178"/>
                <a:gd name="T84" fmla="*/ 37160 w 446"/>
                <a:gd name="T85" fmla="*/ 42095 h 178"/>
                <a:gd name="T86" fmla="*/ 9824 w 446"/>
                <a:gd name="T87" fmla="*/ 35781 h 178"/>
                <a:gd name="T88" fmla="*/ 6834 w 446"/>
                <a:gd name="T89" fmla="*/ 28941 h 17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4" name="Freeform 242">
              <a:extLst>
                <a:ext uri="{FF2B5EF4-FFF2-40B4-BE49-F238E27FC236}">
                  <a16:creationId xmlns:a16="http://schemas.microsoft.com/office/drawing/2014/main" id="{B12676DF-9369-417A-9CDE-B2E20866C129}"/>
                </a:ext>
              </a:extLst>
            </p:cNvPr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5864225" y="1862138"/>
              <a:ext cx="14288" cy="57150"/>
            </a:xfrm>
            <a:custGeom>
              <a:avLst/>
              <a:gdLst>
                <a:gd name="T0" fmla="*/ 0 w 28"/>
                <a:gd name="T1" fmla="*/ 57150 h 73"/>
                <a:gd name="T2" fmla="*/ 1021 w 28"/>
                <a:gd name="T3" fmla="*/ 36795 h 73"/>
                <a:gd name="T4" fmla="*/ 3062 w 28"/>
                <a:gd name="T5" fmla="*/ 21921 h 73"/>
                <a:gd name="T6" fmla="*/ 3572 w 28"/>
                <a:gd name="T7" fmla="*/ 15658 h 73"/>
                <a:gd name="T8" fmla="*/ 3062 w 28"/>
                <a:gd name="T9" fmla="*/ 10177 h 73"/>
                <a:gd name="T10" fmla="*/ 2041 w 28"/>
                <a:gd name="T11" fmla="*/ 5480 h 73"/>
                <a:gd name="T12" fmla="*/ 0 w 28"/>
                <a:gd name="T13" fmla="*/ 0 h 73"/>
                <a:gd name="T14" fmla="*/ 14288 w 28"/>
                <a:gd name="T15" fmla="*/ 0 h 73"/>
                <a:gd name="T16" fmla="*/ 11226 w 28"/>
                <a:gd name="T17" fmla="*/ 12526 h 73"/>
                <a:gd name="T18" fmla="*/ 8675 w 28"/>
                <a:gd name="T19" fmla="*/ 23486 h 73"/>
                <a:gd name="T20" fmla="*/ 6123 w 28"/>
                <a:gd name="T21" fmla="*/ 33664 h 73"/>
                <a:gd name="T22" fmla="*/ 3572 w 28"/>
                <a:gd name="T23" fmla="*/ 43058 h 73"/>
                <a:gd name="T24" fmla="*/ 0 w 28"/>
                <a:gd name="T25" fmla="*/ 57150 h 7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5" name="Freeform 243">
              <a:extLst>
                <a:ext uri="{FF2B5EF4-FFF2-40B4-BE49-F238E27FC236}">
                  <a16:creationId xmlns:a16="http://schemas.microsoft.com/office/drawing/2014/main" id="{25F1BC0C-F6AB-48CA-9C33-D89462168962}"/>
                </a:ext>
              </a:extLst>
            </p:cNvPr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5751513" y="1525589"/>
              <a:ext cx="234950" cy="395287"/>
            </a:xfrm>
            <a:custGeom>
              <a:avLst/>
              <a:gdLst>
                <a:gd name="T0" fmla="*/ 185394 w 531"/>
                <a:gd name="T1" fmla="*/ 106002 h 757"/>
                <a:gd name="T2" fmla="*/ 179642 w 531"/>
                <a:gd name="T3" fmla="*/ 115401 h 757"/>
                <a:gd name="T4" fmla="*/ 178757 w 531"/>
                <a:gd name="T5" fmla="*/ 123756 h 757"/>
                <a:gd name="T6" fmla="*/ 169022 w 531"/>
                <a:gd name="T7" fmla="*/ 143598 h 757"/>
                <a:gd name="T8" fmla="*/ 143802 w 531"/>
                <a:gd name="T9" fmla="*/ 159786 h 757"/>
                <a:gd name="T10" fmla="*/ 111502 w 531"/>
                <a:gd name="T11" fmla="*/ 184850 h 757"/>
                <a:gd name="T12" fmla="*/ 104865 w 531"/>
                <a:gd name="T13" fmla="*/ 192683 h 757"/>
                <a:gd name="T14" fmla="*/ 108404 w 531"/>
                <a:gd name="T15" fmla="*/ 198949 h 757"/>
                <a:gd name="T16" fmla="*/ 106192 w 531"/>
                <a:gd name="T17" fmla="*/ 221402 h 757"/>
                <a:gd name="T18" fmla="*/ 105750 w 531"/>
                <a:gd name="T19" fmla="*/ 234457 h 757"/>
                <a:gd name="T20" fmla="*/ 115926 w 531"/>
                <a:gd name="T21" fmla="*/ 244378 h 757"/>
                <a:gd name="T22" fmla="*/ 141589 w 531"/>
                <a:gd name="T23" fmla="*/ 253255 h 757"/>
                <a:gd name="T24" fmla="*/ 146899 w 531"/>
                <a:gd name="T25" fmla="*/ 263699 h 757"/>
                <a:gd name="T26" fmla="*/ 137165 w 531"/>
                <a:gd name="T27" fmla="*/ 277275 h 757"/>
                <a:gd name="T28" fmla="*/ 120351 w 531"/>
                <a:gd name="T29" fmla="*/ 285630 h 757"/>
                <a:gd name="T30" fmla="*/ 117254 w 531"/>
                <a:gd name="T31" fmla="*/ 292418 h 757"/>
                <a:gd name="T32" fmla="*/ 111502 w 531"/>
                <a:gd name="T33" fmla="*/ 329493 h 757"/>
                <a:gd name="T34" fmla="*/ 105750 w 531"/>
                <a:gd name="T35" fmla="*/ 376489 h 757"/>
                <a:gd name="T36" fmla="*/ 76547 w 531"/>
                <a:gd name="T37" fmla="*/ 379622 h 757"/>
                <a:gd name="T38" fmla="*/ 67255 w 531"/>
                <a:gd name="T39" fmla="*/ 385366 h 757"/>
                <a:gd name="T40" fmla="*/ 67697 w 531"/>
                <a:gd name="T41" fmla="*/ 395287 h 757"/>
                <a:gd name="T42" fmla="*/ 46902 w 531"/>
                <a:gd name="T43" fmla="*/ 395287 h 757"/>
                <a:gd name="T44" fmla="*/ 42034 w 531"/>
                <a:gd name="T45" fmla="*/ 392676 h 757"/>
                <a:gd name="T46" fmla="*/ 31415 w 531"/>
                <a:gd name="T47" fmla="*/ 374922 h 757"/>
                <a:gd name="T48" fmla="*/ 18141 w 531"/>
                <a:gd name="T49" fmla="*/ 334192 h 757"/>
                <a:gd name="T50" fmla="*/ 15044 w 531"/>
                <a:gd name="T51" fmla="*/ 311739 h 757"/>
                <a:gd name="T52" fmla="*/ 6195 w 531"/>
                <a:gd name="T53" fmla="*/ 305995 h 757"/>
                <a:gd name="T54" fmla="*/ 8407 w 531"/>
                <a:gd name="T55" fmla="*/ 292941 h 757"/>
                <a:gd name="T56" fmla="*/ 15929 w 531"/>
                <a:gd name="T57" fmla="*/ 280931 h 757"/>
                <a:gd name="T58" fmla="*/ 23451 w 531"/>
                <a:gd name="T59" fmla="*/ 263177 h 757"/>
                <a:gd name="T60" fmla="*/ 26990 w 531"/>
                <a:gd name="T61" fmla="*/ 245945 h 757"/>
                <a:gd name="T62" fmla="*/ 28318 w 531"/>
                <a:gd name="T63" fmla="*/ 230279 h 757"/>
                <a:gd name="T64" fmla="*/ 25663 w 531"/>
                <a:gd name="T65" fmla="*/ 213048 h 757"/>
                <a:gd name="T66" fmla="*/ 19026 w 531"/>
                <a:gd name="T67" fmla="*/ 196860 h 757"/>
                <a:gd name="T68" fmla="*/ 32743 w 531"/>
                <a:gd name="T69" fmla="*/ 144120 h 757"/>
                <a:gd name="T70" fmla="*/ 45574 w 531"/>
                <a:gd name="T71" fmla="*/ 143598 h 757"/>
                <a:gd name="T72" fmla="*/ 49999 w 531"/>
                <a:gd name="T73" fmla="*/ 122189 h 757"/>
                <a:gd name="T74" fmla="*/ 60618 w 531"/>
                <a:gd name="T75" fmla="*/ 100258 h 757"/>
                <a:gd name="T76" fmla="*/ 79644 w 531"/>
                <a:gd name="T77" fmla="*/ 75715 h 757"/>
                <a:gd name="T78" fmla="*/ 87608 w 531"/>
                <a:gd name="T79" fmla="*/ 57962 h 757"/>
                <a:gd name="T80" fmla="*/ 100882 w 531"/>
                <a:gd name="T81" fmla="*/ 31331 h 757"/>
                <a:gd name="T82" fmla="*/ 110174 w 531"/>
                <a:gd name="T83" fmla="*/ 22454 h 757"/>
                <a:gd name="T84" fmla="*/ 136722 w 531"/>
                <a:gd name="T85" fmla="*/ 15143 h 757"/>
                <a:gd name="T86" fmla="*/ 162828 w 531"/>
                <a:gd name="T87" fmla="*/ 6788 h 757"/>
                <a:gd name="T88" fmla="*/ 177429 w 531"/>
                <a:gd name="T89" fmla="*/ 2611 h 757"/>
                <a:gd name="T90" fmla="*/ 190703 w 531"/>
                <a:gd name="T91" fmla="*/ 16710 h 757"/>
                <a:gd name="T92" fmla="*/ 202207 w 531"/>
                <a:gd name="T93" fmla="*/ 21931 h 757"/>
                <a:gd name="T94" fmla="*/ 226986 w 531"/>
                <a:gd name="T95" fmla="*/ 57962 h 757"/>
                <a:gd name="T96" fmla="*/ 233623 w 531"/>
                <a:gd name="T97" fmla="*/ 78326 h 75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76" name="Freeform 244">
              <a:extLst>
                <a:ext uri="{FF2B5EF4-FFF2-40B4-BE49-F238E27FC236}">
                  <a16:creationId xmlns:a16="http://schemas.microsoft.com/office/drawing/2014/main" id="{2887E1E1-E789-4217-8FF5-7416CB71DD2A}"/>
                </a:ext>
              </a:extLst>
            </p:cNvPr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5889625" y="1839913"/>
              <a:ext cx="26988" cy="57150"/>
            </a:xfrm>
            <a:custGeom>
              <a:avLst/>
              <a:gdLst>
                <a:gd name="T0" fmla="*/ 0 w 60"/>
                <a:gd name="T1" fmla="*/ 41462 h 51"/>
                <a:gd name="T2" fmla="*/ 2699 w 60"/>
                <a:gd name="T3" fmla="*/ 33618 h 51"/>
                <a:gd name="T4" fmla="*/ 6747 w 60"/>
                <a:gd name="T5" fmla="*/ 21291 h 51"/>
                <a:gd name="T6" fmla="*/ 8996 w 60"/>
                <a:gd name="T7" fmla="*/ 14568 h 51"/>
                <a:gd name="T8" fmla="*/ 12145 w 60"/>
                <a:gd name="T9" fmla="*/ 8965 h 51"/>
                <a:gd name="T10" fmla="*/ 14843 w 60"/>
                <a:gd name="T11" fmla="*/ 4482 h 51"/>
                <a:gd name="T12" fmla="*/ 17992 w 60"/>
                <a:gd name="T13" fmla="*/ 0 h 51"/>
                <a:gd name="T14" fmla="*/ 22490 w 60"/>
                <a:gd name="T15" fmla="*/ 7844 h 51"/>
                <a:gd name="T16" fmla="*/ 26988 w 60"/>
                <a:gd name="T17" fmla="*/ 14568 h 51"/>
                <a:gd name="T18" fmla="*/ 26538 w 60"/>
                <a:gd name="T19" fmla="*/ 22412 h 51"/>
                <a:gd name="T20" fmla="*/ 25189 w 60"/>
                <a:gd name="T21" fmla="*/ 32497 h 51"/>
                <a:gd name="T22" fmla="*/ 24289 w 60"/>
                <a:gd name="T23" fmla="*/ 38100 h 51"/>
                <a:gd name="T24" fmla="*/ 23390 w 60"/>
                <a:gd name="T25" fmla="*/ 42582 h 51"/>
                <a:gd name="T26" fmla="*/ 22040 w 60"/>
                <a:gd name="T27" fmla="*/ 47065 h 51"/>
                <a:gd name="T28" fmla="*/ 20241 w 60"/>
                <a:gd name="T29" fmla="*/ 50426 h 51"/>
                <a:gd name="T30" fmla="*/ 18442 w 60"/>
                <a:gd name="T31" fmla="*/ 53788 h 51"/>
                <a:gd name="T32" fmla="*/ 16643 w 60"/>
                <a:gd name="T33" fmla="*/ 56029 h 51"/>
                <a:gd name="T34" fmla="*/ 13944 w 60"/>
                <a:gd name="T35" fmla="*/ 57150 h 51"/>
                <a:gd name="T36" fmla="*/ 12145 w 60"/>
                <a:gd name="T37" fmla="*/ 57150 h 51"/>
                <a:gd name="T38" fmla="*/ 8996 w 60"/>
                <a:gd name="T39" fmla="*/ 56029 h 51"/>
                <a:gd name="T40" fmla="*/ 6747 w 60"/>
                <a:gd name="T41" fmla="*/ 52668 h 51"/>
                <a:gd name="T42" fmla="*/ 3149 w 60"/>
                <a:gd name="T43" fmla="*/ 48185 h 51"/>
                <a:gd name="T44" fmla="*/ 0 w 60"/>
                <a:gd name="T45" fmla="*/ 41462 h 5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7" name="Freeform 245">
              <a:extLst>
                <a:ext uri="{FF2B5EF4-FFF2-40B4-BE49-F238E27FC236}">
                  <a16:creationId xmlns:a16="http://schemas.microsoft.com/office/drawing/2014/main" id="{1FD78315-29B2-43E7-83D9-B619C27C94B0}"/>
                </a:ext>
              </a:extLst>
            </p:cNvPr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5334001" y="2001838"/>
              <a:ext cx="28575" cy="57150"/>
            </a:xfrm>
            <a:custGeom>
              <a:avLst/>
              <a:gdLst>
                <a:gd name="T0" fmla="*/ 25544 w 66"/>
                <a:gd name="T1" fmla="*/ 53788 h 51"/>
                <a:gd name="T2" fmla="*/ 18184 w 66"/>
                <a:gd name="T3" fmla="*/ 56029 h 51"/>
                <a:gd name="T4" fmla="*/ 9525 w 66"/>
                <a:gd name="T5" fmla="*/ 57150 h 51"/>
                <a:gd name="T6" fmla="*/ 7360 w 66"/>
                <a:gd name="T7" fmla="*/ 56029 h 51"/>
                <a:gd name="T8" fmla="*/ 5628 w 66"/>
                <a:gd name="T9" fmla="*/ 54909 h 51"/>
                <a:gd name="T10" fmla="*/ 4330 w 66"/>
                <a:gd name="T11" fmla="*/ 53788 h 51"/>
                <a:gd name="T12" fmla="*/ 3031 w 66"/>
                <a:gd name="T13" fmla="*/ 51547 h 51"/>
                <a:gd name="T14" fmla="*/ 1299 w 66"/>
                <a:gd name="T15" fmla="*/ 48185 h 51"/>
                <a:gd name="T16" fmla="*/ 433 w 66"/>
                <a:gd name="T17" fmla="*/ 44824 h 51"/>
                <a:gd name="T18" fmla="*/ 0 w 66"/>
                <a:gd name="T19" fmla="*/ 39221 h 51"/>
                <a:gd name="T20" fmla="*/ 0 w 66"/>
                <a:gd name="T21" fmla="*/ 33618 h 51"/>
                <a:gd name="T22" fmla="*/ 1732 w 66"/>
                <a:gd name="T23" fmla="*/ 32497 h 51"/>
                <a:gd name="T24" fmla="*/ 4330 w 66"/>
                <a:gd name="T25" fmla="*/ 30256 h 51"/>
                <a:gd name="T26" fmla="*/ 6061 w 66"/>
                <a:gd name="T27" fmla="*/ 26894 h 51"/>
                <a:gd name="T28" fmla="*/ 8226 w 66"/>
                <a:gd name="T29" fmla="*/ 22412 h 51"/>
                <a:gd name="T30" fmla="*/ 11257 w 66"/>
                <a:gd name="T31" fmla="*/ 11206 h 51"/>
                <a:gd name="T32" fmla="*/ 14288 w 66"/>
                <a:gd name="T33" fmla="*/ 0 h 51"/>
                <a:gd name="T34" fmla="*/ 19916 w 66"/>
                <a:gd name="T35" fmla="*/ 1121 h 51"/>
                <a:gd name="T36" fmla="*/ 22514 w 66"/>
                <a:gd name="T37" fmla="*/ 2241 h 51"/>
                <a:gd name="T38" fmla="*/ 24245 w 66"/>
                <a:gd name="T39" fmla="*/ 3362 h 51"/>
                <a:gd name="T40" fmla="*/ 28575 w 66"/>
                <a:gd name="T41" fmla="*/ 0 h 51"/>
                <a:gd name="T42" fmla="*/ 28142 w 66"/>
                <a:gd name="T43" fmla="*/ 14568 h 51"/>
                <a:gd name="T44" fmla="*/ 27276 w 66"/>
                <a:gd name="T45" fmla="*/ 26894 h 51"/>
                <a:gd name="T46" fmla="*/ 25977 w 66"/>
                <a:gd name="T47" fmla="*/ 40341 h 51"/>
                <a:gd name="T48" fmla="*/ 25544 w 66"/>
                <a:gd name="T49" fmla="*/ 53788 h 5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8" name="Freeform 246">
              <a:extLst>
                <a:ext uri="{FF2B5EF4-FFF2-40B4-BE49-F238E27FC236}">
                  <a16:creationId xmlns:a16="http://schemas.microsoft.com/office/drawing/2014/main" id="{52A4FC51-CD02-42B6-8307-1190247929A2}"/>
                </a:ext>
              </a:extLst>
            </p:cNvPr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6286500" y="2530475"/>
              <a:ext cx="50800" cy="57150"/>
            </a:xfrm>
            <a:custGeom>
              <a:avLst/>
              <a:gdLst>
                <a:gd name="T0" fmla="*/ 0 w 113"/>
                <a:gd name="T1" fmla="*/ 33981 h 74"/>
                <a:gd name="T2" fmla="*/ 8991 w 113"/>
                <a:gd name="T3" fmla="*/ 57150 h 74"/>
                <a:gd name="T4" fmla="*/ 16634 w 113"/>
                <a:gd name="T5" fmla="*/ 53289 h 74"/>
                <a:gd name="T6" fmla="*/ 22927 w 113"/>
                <a:gd name="T7" fmla="*/ 50199 h 74"/>
                <a:gd name="T8" fmla="*/ 28772 w 113"/>
                <a:gd name="T9" fmla="*/ 45566 h 74"/>
                <a:gd name="T10" fmla="*/ 33267 w 113"/>
                <a:gd name="T11" fmla="*/ 40932 h 74"/>
                <a:gd name="T12" fmla="*/ 35065 w 113"/>
                <a:gd name="T13" fmla="*/ 37843 h 74"/>
                <a:gd name="T14" fmla="*/ 37313 w 113"/>
                <a:gd name="T15" fmla="*/ 34753 h 74"/>
                <a:gd name="T16" fmla="*/ 38662 w 113"/>
                <a:gd name="T17" fmla="*/ 31664 h 74"/>
                <a:gd name="T18" fmla="*/ 39561 w 113"/>
                <a:gd name="T19" fmla="*/ 28575 h 74"/>
                <a:gd name="T20" fmla="*/ 40460 w 113"/>
                <a:gd name="T21" fmla="*/ 24714 h 74"/>
                <a:gd name="T22" fmla="*/ 40910 w 113"/>
                <a:gd name="T23" fmla="*/ 20080 h 74"/>
                <a:gd name="T24" fmla="*/ 41809 w 113"/>
                <a:gd name="T25" fmla="*/ 14674 h 74"/>
                <a:gd name="T26" fmla="*/ 42258 w 113"/>
                <a:gd name="T27" fmla="*/ 10040 h 74"/>
                <a:gd name="T28" fmla="*/ 44506 w 113"/>
                <a:gd name="T29" fmla="*/ 9268 h 74"/>
                <a:gd name="T30" fmla="*/ 47653 w 113"/>
                <a:gd name="T31" fmla="*/ 6951 h 74"/>
                <a:gd name="T32" fmla="*/ 48552 w 113"/>
                <a:gd name="T33" fmla="*/ 5406 h 74"/>
                <a:gd name="T34" fmla="*/ 49901 w 113"/>
                <a:gd name="T35" fmla="*/ 3861 h 74"/>
                <a:gd name="T36" fmla="*/ 50350 w 113"/>
                <a:gd name="T37" fmla="*/ 2317 h 74"/>
                <a:gd name="T38" fmla="*/ 50800 w 113"/>
                <a:gd name="T39" fmla="*/ 0 h 74"/>
                <a:gd name="T40" fmla="*/ 44057 w 113"/>
                <a:gd name="T41" fmla="*/ 3089 h 74"/>
                <a:gd name="T42" fmla="*/ 36864 w 113"/>
                <a:gd name="T43" fmla="*/ 6178 h 74"/>
                <a:gd name="T44" fmla="*/ 29221 w 113"/>
                <a:gd name="T45" fmla="*/ 10040 h 74"/>
                <a:gd name="T46" fmla="*/ 22028 w 113"/>
                <a:gd name="T47" fmla="*/ 14674 h 74"/>
                <a:gd name="T48" fmla="*/ 8991 w 113"/>
                <a:gd name="T49" fmla="*/ 25486 h 74"/>
                <a:gd name="T50" fmla="*/ 0 w 113"/>
                <a:gd name="T51" fmla="*/ 33981 h 7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9" name="Freeform 247">
              <a:extLst>
                <a:ext uri="{FF2B5EF4-FFF2-40B4-BE49-F238E27FC236}">
                  <a16:creationId xmlns:a16="http://schemas.microsoft.com/office/drawing/2014/main" id="{2722FD71-2600-4C56-90DE-FE514E5DD390}"/>
                </a:ext>
              </a:extLst>
            </p:cNvPr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5894389" y="3322639"/>
              <a:ext cx="325437" cy="244475"/>
            </a:xfrm>
            <a:custGeom>
              <a:avLst/>
              <a:gdLst>
                <a:gd name="T0" fmla="*/ 42752 w 746"/>
                <a:gd name="T1" fmla="*/ 235613 h 469"/>
                <a:gd name="T2" fmla="*/ 23557 w 746"/>
                <a:gd name="T3" fmla="*/ 229358 h 469"/>
                <a:gd name="T4" fmla="*/ 9161 w 746"/>
                <a:gd name="T5" fmla="*/ 223624 h 469"/>
                <a:gd name="T6" fmla="*/ 2181 w 746"/>
                <a:gd name="T7" fmla="*/ 215284 h 469"/>
                <a:gd name="T8" fmla="*/ 0 w 746"/>
                <a:gd name="T9" fmla="*/ 189221 h 469"/>
                <a:gd name="T10" fmla="*/ 2181 w 746"/>
                <a:gd name="T11" fmla="*/ 161072 h 469"/>
                <a:gd name="T12" fmla="*/ 10034 w 746"/>
                <a:gd name="T13" fmla="*/ 142306 h 469"/>
                <a:gd name="T14" fmla="*/ 24430 w 746"/>
                <a:gd name="T15" fmla="*/ 118849 h 469"/>
                <a:gd name="T16" fmla="*/ 52785 w 746"/>
                <a:gd name="T17" fmla="*/ 106339 h 469"/>
                <a:gd name="T18" fmla="*/ 72416 w 746"/>
                <a:gd name="T19" fmla="*/ 97999 h 469"/>
                <a:gd name="T20" fmla="*/ 102517 w 746"/>
                <a:gd name="T21" fmla="*/ 90179 h 469"/>
                <a:gd name="T22" fmla="*/ 114296 w 746"/>
                <a:gd name="T23" fmla="*/ 79754 h 469"/>
                <a:gd name="T24" fmla="*/ 116477 w 746"/>
                <a:gd name="T25" fmla="*/ 70893 h 469"/>
                <a:gd name="T26" fmla="*/ 127383 w 746"/>
                <a:gd name="T27" fmla="*/ 62552 h 469"/>
                <a:gd name="T28" fmla="*/ 144833 w 746"/>
                <a:gd name="T29" fmla="*/ 59946 h 469"/>
                <a:gd name="T30" fmla="*/ 156611 w 746"/>
                <a:gd name="T31" fmla="*/ 52648 h 469"/>
                <a:gd name="T32" fmla="*/ 169698 w 746"/>
                <a:gd name="T33" fmla="*/ 34925 h 469"/>
                <a:gd name="T34" fmla="*/ 185403 w 746"/>
                <a:gd name="T35" fmla="*/ 11468 h 469"/>
                <a:gd name="T36" fmla="*/ 196309 w 746"/>
                <a:gd name="T37" fmla="*/ 3128 h 469"/>
                <a:gd name="T38" fmla="*/ 212014 w 746"/>
                <a:gd name="T39" fmla="*/ 0 h 469"/>
                <a:gd name="T40" fmla="*/ 221175 w 746"/>
                <a:gd name="T41" fmla="*/ 15117 h 469"/>
                <a:gd name="T42" fmla="*/ 232081 w 746"/>
                <a:gd name="T43" fmla="*/ 27627 h 469"/>
                <a:gd name="T44" fmla="*/ 241242 w 746"/>
                <a:gd name="T45" fmla="*/ 55776 h 469"/>
                <a:gd name="T46" fmla="*/ 252584 w 746"/>
                <a:gd name="T47" fmla="*/ 82882 h 469"/>
                <a:gd name="T48" fmla="*/ 267417 w 746"/>
                <a:gd name="T49" fmla="*/ 89658 h 469"/>
                <a:gd name="T50" fmla="*/ 273960 w 746"/>
                <a:gd name="T51" fmla="*/ 100605 h 469"/>
                <a:gd name="T52" fmla="*/ 283558 w 746"/>
                <a:gd name="T53" fmla="*/ 121456 h 469"/>
                <a:gd name="T54" fmla="*/ 306242 w 746"/>
                <a:gd name="T55" fmla="*/ 145434 h 469"/>
                <a:gd name="T56" fmla="*/ 323256 w 746"/>
                <a:gd name="T57" fmla="*/ 164200 h 469"/>
                <a:gd name="T58" fmla="*/ 310169 w 746"/>
                <a:gd name="T59" fmla="*/ 179838 h 469"/>
                <a:gd name="T60" fmla="*/ 301444 w 746"/>
                <a:gd name="T61" fmla="*/ 178274 h 469"/>
                <a:gd name="T62" fmla="*/ 296209 w 746"/>
                <a:gd name="T63" fmla="*/ 167327 h 469"/>
                <a:gd name="T64" fmla="*/ 283994 w 746"/>
                <a:gd name="T65" fmla="*/ 172019 h 469"/>
                <a:gd name="T66" fmla="*/ 278759 w 746"/>
                <a:gd name="T67" fmla="*/ 183487 h 469"/>
                <a:gd name="T68" fmla="*/ 263491 w 746"/>
                <a:gd name="T69" fmla="*/ 185572 h 469"/>
                <a:gd name="T70" fmla="*/ 241242 w 746"/>
                <a:gd name="T71" fmla="*/ 185572 h 469"/>
                <a:gd name="T72" fmla="*/ 227719 w 746"/>
                <a:gd name="T73" fmla="*/ 190263 h 469"/>
                <a:gd name="T74" fmla="*/ 216376 w 746"/>
                <a:gd name="T75" fmla="*/ 201731 h 469"/>
                <a:gd name="T76" fmla="*/ 212014 w 746"/>
                <a:gd name="T77" fmla="*/ 205380 h 469"/>
                <a:gd name="T78" fmla="*/ 185839 w 746"/>
                <a:gd name="T79" fmla="*/ 208507 h 469"/>
                <a:gd name="T80" fmla="*/ 172752 w 746"/>
                <a:gd name="T81" fmla="*/ 204337 h 469"/>
                <a:gd name="T82" fmla="*/ 152249 w 746"/>
                <a:gd name="T83" fmla="*/ 184529 h 469"/>
                <a:gd name="T84" fmla="*/ 139161 w 746"/>
                <a:gd name="T85" fmla="*/ 179838 h 469"/>
                <a:gd name="T86" fmla="*/ 126947 w 746"/>
                <a:gd name="T87" fmla="*/ 185050 h 469"/>
                <a:gd name="T88" fmla="*/ 116041 w 746"/>
                <a:gd name="T89" fmla="*/ 196518 h 469"/>
                <a:gd name="T90" fmla="*/ 99027 w 746"/>
                <a:gd name="T91" fmla="*/ 227794 h 469"/>
                <a:gd name="T92" fmla="*/ 65436 w 746"/>
                <a:gd name="T93" fmla="*/ 228837 h 469"/>
                <a:gd name="T94" fmla="*/ 58893 w 746"/>
                <a:gd name="T95" fmla="*/ 233528 h 46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0" name="Freeform 248">
              <a:extLst>
                <a:ext uri="{FF2B5EF4-FFF2-40B4-BE49-F238E27FC236}">
                  <a16:creationId xmlns:a16="http://schemas.microsoft.com/office/drawing/2014/main" id="{F083ED0B-F5E8-4480-9D17-AC5A34F40F22}"/>
                </a:ext>
              </a:extLst>
            </p:cNvPr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5830888" y="3490913"/>
              <a:ext cx="500062" cy="552450"/>
            </a:xfrm>
            <a:custGeom>
              <a:avLst/>
              <a:gdLst>
                <a:gd name="T0" fmla="*/ 393935 w 1145"/>
                <a:gd name="T1" fmla="*/ 29905 h 1053"/>
                <a:gd name="T2" fmla="*/ 433678 w 1145"/>
                <a:gd name="T3" fmla="*/ 34626 h 1053"/>
                <a:gd name="T4" fmla="*/ 471674 w 1145"/>
                <a:gd name="T5" fmla="*/ 42496 h 1053"/>
                <a:gd name="T6" fmla="*/ 491764 w 1145"/>
                <a:gd name="T7" fmla="*/ 91813 h 1053"/>
                <a:gd name="T8" fmla="*/ 494821 w 1145"/>
                <a:gd name="T9" fmla="*/ 110700 h 1053"/>
                <a:gd name="T10" fmla="*/ 462066 w 1145"/>
                <a:gd name="T11" fmla="*/ 142703 h 1053"/>
                <a:gd name="T12" fmla="*/ 456388 w 1145"/>
                <a:gd name="T13" fmla="*/ 188872 h 1053"/>
                <a:gd name="T14" fmla="*/ 438046 w 1145"/>
                <a:gd name="T15" fmla="*/ 230843 h 1053"/>
                <a:gd name="T16" fmla="*/ 432368 w 1145"/>
                <a:gd name="T17" fmla="*/ 249730 h 1053"/>
                <a:gd name="T18" fmla="*/ 445033 w 1145"/>
                <a:gd name="T19" fmla="*/ 302195 h 1053"/>
                <a:gd name="T20" fmla="*/ 448090 w 1145"/>
                <a:gd name="T21" fmla="*/ 348364 h 1053"/>
                <a:gd name="T22" fmla="*/ 457262 w 1145"/>
                <a:gd name="T23" fmla="*/ 383515 h 1053"/>
                <a:gd name="T24" fmla="*/ 471237 w 1145"/>
                <a:gd name="T25" fmla="*/ 401353 h 1053"/>
                <a:gd name="T26" fmla="*/ 476915 w 1145"/>
                <a:gd name="T27" fmla="*/ 432831 h 1053"/>
                <a:gd name="T28" fmla="*/ 454205 w 1145"/>
                <a:gd name="T29" fmla="*/ 442799 h 1053"/>
                <a:gd name="T30" fmla="*/ 435425 w 1145"/>
                <a:gd name="T31" fmla="*/ 449095 h 1053"/>
                <a:gd name="T32" fmla="*/ 419266 w 1145"/>
                <a:gd name="T33" fmla="*/ 520447 h 1053"/>
                <a:gd name="T34" fmla="*/ 406164 w 1145"/>
                <a:gd name="T35" fmla="*/ 538285 h 1053"/>
                <a:gd name="T36" fmla="*/ 393935 w 1145"/>
                <a:gd name="T37" fmla="*/ 540908 h 1053"/>
                <a:gd name="T38" fmla="*/ 366858 w 1145"/>
                <a:gd name="T39" fmla="*/ 552450 h 1053"/>
                <a:gd name="T40" fmla="*/ 341527 w 1145"/>
                <a:gd name="T41" fmla="*/ 544056 h 1053"/>
                <a:gd name="T42" fmla="*/ 324494 w 1145"/>
                <a:gd name="T43" fmla="*/ 531989 h 1053"/>
                <a:gd name="T44" fmla="*/ 308772 w 1145"/>
                <a:gd name="T45" fmla="*/ 523070 h 1053"/>
                <a:gd name="T46" fmla="*/ 294360 w 1145"/>
                <a:gd name="T47" fmla="*/ 517299 h 1053"/>
                <a:gd name="T48" fmla="*/ 265535 w 1145"/>
                <a:gd name="T49" fmla="*/ 517824 h 1053"/>
                <a:gd name="T50" fmla="*/ 259421 w 1145"/>
                <a:gd name="T51" fmla="*/ 494215 h 1053"/>
                <a:gd name="T52" fmla="*/ 251123 w 1145"/>
                <a:gd name="T53" fmla="*/ 463785 h 1053"/>
                <a:gd name="T54" fmla="*/ 257674 w 1145"/>
                <a:gd name="T55" fmla="*/ 443849 h 1053"/>
                <a:gd name="T56" fmla="*/ 257674 w 1145"/>
                <a:gd name="T57" fmla="*/ 408698 h 1053"/>
                <a:gd name="T58" fmla="*/ 198278 w 1145"/>
                <a:gd name="T59" fmla="*/ 396106 h 1053"/>
                <a:gd name="T60" fmla="*/ 193474 w 1145"/>
                <a:gd name="T61" fmla="*/ 411845 h 1053"/>
                <a:gd name="T62" fmla="*/ 172947 w 1145"/>
                <a:gd name="T63" fmla="*/ 428634 h 1053"/>
                <a:gd name="T64" fmla="*/ 147180 w 1145"/>
                <a:gd name="T65" fmla="*/ 418141 h 1053"/>
                <a:gd name="T66" fmla="*/ 129710 w 1145"/>
                <a:gd name="T67" fmla="*/ 371448 h 1053"/>
                <a:gd name="T68" fmla="*/ 1310 w 1145"/>
                <a:gd name="T69" fmla="*/ 352036 h 1053"/>
                <a:gd name="T70" fmla="*/ 19653 w 1145"/>
                <a:gd name="T71" fmla="*/ 349937 h 1053"/>
                <a:gd name="T72" fmla="*/ 11355 w 1145"/>
                <a:gd name="T73" fmla="*/ 331050 h 1053"/>
                <a:gd name="T74" fmla="*/ 32755 w 1145"/>
                <a:gd name="T75" fmla="*/ 322656 h 1053"/>
                <a:gd name="T76" fmla="*/ 63327 w 1145"/>
                <a:gd name="T77" fmla="*/ 322131 h 1053"/>
                <a:gd name="T78" fmla="*/ 79923 w 1145"/>
                <a:gd name="T79" fmla="*/ 325279 h 1053"/>
                <a:gd name="T80" fmla="*/ 96082 w 1145"/>
                <a:gd name="T81" fmla="*/ 301146 h 1053"/>
                <a:gd name="T82" fmla="*/ 113551 w 1145"/>
                <a:gd name="T83" fmla="*/ 291177 h 1053"/>
                <a:gd name="T84" fmla="*/ 122723 w 1145"/>
                <a:gd name="T85" fmla="*/ 230843 h 1053"/>
                <a:gd name="T86" fmla="*/ 151110 w 1145"/>
                <a:gd name="T87" fmla="*/ 194118 h 1053"/>
                <a:gd name="T88" fmla="*/ 161592 w 1145"/>
                <a:gd name="T89" fmla="*/ 144802 h 1053"/>
                <a:gd name="T90" fmla="*/ 162466 w 1145"/>
                <a:gd name="T91" fmla="*/ 94436 h 1053"/>
                <a:gd name="T92" fmla="*/ 167270 w 1145"/>
                <a:gd name="T93" fmla="*/ 64007 h 1053"/>
                <a:gd name="T94" fmla="*/ 192164 w 1145"/>
                <a:gd name="T95" fmla="*/ 18363 h 1053"/>
                <a:gd name="T96" fmla="*/ 214437 w 1145"/>
                <a:gd name="T97" fmla="*/ 15739 h 1053"/>
                <a:gd name="T98" fmla="*/ 243698 w 1145"/>
                <a:gd name="T99" fmla="*/ 40398 h 1053"/>
                <a:gd name="T100" fmla="*/ 278200 w 1145"/>
                <a:gd name="T101" fmla="*/ 38299 h 1053"/>
                <a:gd name="T102" fmla="*/ 292613 w 1145"/>
                <a:gd name="T103" fmla="*/ 23084 h 1053"/>
                <a:gd name="T104" fmla="*/ 320564 w 1145"/>
                <a:gd name="T105" fmla="*/ 17838 h 1053"/>
                <a:gd name="T106" fmla="*/ 347205 w 1145"/>
                <a:gd name="T107" fmla="*/ 8919 h 1053"/>
                <a:gd name="T108" fmla="*/ 361617 w 1145"/>
                <a:gd name="T109" fmla="*/ 4197 h 1053"/>
                <a:gd name="T110" fmla="*/ 375156 w 1145"/>
                <a:gd name="T111" fmla="*/ 12591 h 105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1" name="Freeform 249">
              <a:extLst>
                <a:ext uri="{FF2B5EF4-FFF2-40B4-BE49-F238E27FC236}">
                  <a16:creationId xmlns:a16="http://schemas.microsoft.com/office/drawing/2014/main" id="{99B542D7-E8ED-40D7-95DC-7F2028005F5B}"/>
                </a:ext>
              </a:extLst>
            </p:cNvPr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5767388" y="3590926"/>
              <a:ext cx="55562" cy="55563"/>
            </a:xfrm>
            <a:custGeom>
              <a:avLst/>
              <a:gdLst>
                <a:gd name="T0" fmla="*/ 53340 w 125"/>
                <a:gd name="T1" fmla="*/ 0 h 81"/>
                <a:gd name="T2" fmla="*/ 53784 w 125"/>
                <a:gd name="T3" fmla="*/ 18521 h 81"/>
                <a:gd name="T4" fmla="*/ 55118 w 125"/>
                <a:gd name="T5" fmla="*/ 31554 h 81"/>
                <a:gd name="T6" fmla="*/ 55562 w 125"/>
                <a:gd name="T7" fmla="*/ 36356 h 81"/>
                <a:gd name="T8" fmla="*/ 55562 w 125"/>
                <a:gd name="T9" fmla="*/ 40472 h 81"/>
                <a:gd name="T10" fmla="*/ 55562 w 125"/>
                <a:gd name="T11" fmla="*/ 44588 h 81"/>
                <a:gd name="T12" fmla="*/ 54673 w 125"/>
                <a:gd name="T13" fmla="*/ 47331 h 81"/>
                <a:gd name="T14" fmla="*/ 52895 w 125"/>
                <a:gd name="T15" fmla="*/ 49389 h 81"/>
                <a:gd name="T16" fmla="*/ 49784 w 125"/>
                <a:gd name="T17" fmla="*/ 50761 h 81"/>
                <a:gd name="T18" fmla="*/ 45783 w 125"/>
                <a:gd name="T19" fmla="*/ 52133 h 81"/>
                <a:gd name="T20" fmla="*/ 40449 w 125"/>
                <a:gd name="T21" fmla="*/ 52819 h 81"/>
                <a:gd name="T22" fmla="*/ 25336 w 125"/>
                <a:gd name="T23" fmla="*/ 54191 h 81"/>
                <a:gd name="T24" fmla="*/ 3111 w 125"/>
                <a:gd name="T25" fmla="*/ 55563 h 81"/>
                <a:gd name="T26" fmla="*/ 2222 w 125"/>
                <a:gd name="T27" fmla="*/ 54191 h 81"/>
                <a:gd name="T28" fmla="*/ 1333 w 125"/>
                <a:gd name="T29" fmla="*/ 49389 h 81"/>
                <a:gd name="T30" fmla="*/ 444 w 125"/>
                <a:gd name="T31" fmla="*/ 40472 h 81"/>
                <a:gd name="T32" fmla="*/ 0 w 125"/>
                <a:gd name="T33" fmla="*/ 29496 h 81"/>
                <a:gd name="T34" fmla="*/ 0 w 125"/>
                <a:gd name="T35" fmla="*/ 25381 h 81"/>
                <a:gd name="T36" fmla="*/ 444 w 125"/>
                <a:gd name="T37" fmla="*/ 21265 h 81"/>
                <a:gd name="T38" fmla="*/ 889 w 125"/>
                <a:gd name="T39" fmla="*/ 17149 h 81"/>
                <a:gd name="T40" fmla="*/ 1778 w 125"/>
                <a:gd name="T41" fmla="*/ 13719 h 81"/>
                <a:gd name="T42" fmla="*/ 3556 w 125"/>
                <a:gd name="T43" fmla="*/ 10289 h 81"/>
                <a:gd name="T44" fmla="*/ 4889 w 125"/>
                <a:gd name="T45" fmla="*/ 6860 h 81"/>
                <a:gd name="T46" fmla="*/ 6223 w 125"/>
                <a:gd name="T47" fmla="*/ 3430 h 81"/>
                <a:gd name="T48" fmla="*/ 8890 w 125"/>
                <a:gd name="T49" fmla="*/ 0 h 81"/>
                <a:gd name="T50" fmla="*/ 53340 w 125"/>
                <a:gd name="T51" fmla="*/ 0 h 8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2" name="Freeform 250">
              <a:extLst>
                <a:ext uri="{FF2B5EF4-FFF2-40B4-BE49-F238E27FC236}">
                  <a16:creationId xmlns:a16="http://schemas.microsoft.com/office/drawing/2014/main" id="{3CF86DBC-AC63-4FCB-B519-42EA53256050}"/>
                </a:ext>
              </a:extLst>
            </p:cNvPr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5749925" y="3590926"/>
              <a:ext cx="152400" cy="201613"/>
            </a:xfrm>
            <a:custGeom>
              <a:avLst/>
              <a:gdLst>
                <a:gd name="T0" fmla="*/ 112475 w 355"/>
                <a:gd name="T1" fmla="*/ 7794 h 388"/>
                <a:gd name="T2" fmla="*/ 110329 w 355"/>
                <a:gd name="T3" fmla="*/ 19226 h 388"/>
                <a:gd name="T4" fmla="*/ 113334 w 355"/>
                <a:gd name="T5" fmla="*/ 26501 h 388"/>
                <a:gd name="T6" fmla="*/ 121491 w 355"/>
                <a:gd name="T7" fmla="*/ 31177 h 388"/>
                <a:gd name="T8" fmla="*/ 136945 w 355"/>
                <a:gd name="T9" fmla="*/ 28579 h 388"/>
                <a:gd name="T10" fmla="*/ 142526 w 355"/>
                <a:gd name="T11" fmla="*/ 29618 h 388"/>
                <a:gd name="T12" fmla="*/ 145961 w 355"/>
                <a:gd name="T13" fmla="*/ 35334 h 388"/>
                <a:gd name="T14" fmla="*/ 148107 w 355"/>
                <a:gd name="T15" fmla="*/ 43129 h 388"/>
                <a:gd name="T16" fmla="*/ 150683 w 355"/>
                <a:gd name="T17" fmla="*/ 48844 h 388"/>
                <a:gd name="T18" fmla="*/ 148107 w 355"/>
                <a:gd name="T19" fmla="*/ 56119 h 388"/>
                <a:gd name="T20" fmla="*/ 137375 w 355"/>
                <a:gd name="T21" fmla="*/ 70668 h 388"/>
                <a:gd name="T22" fmla="*/ 149395 w 355"/>
                <a:gd name="T23" fmla="*/ 90934 h 388"/>
                <a:gd name="T24" fmla="*/ 152400 w 355"/>
                <a:gd name="T25" fmla="*/ 104963 h 388"/>
                <a:gd name="T26" fmla="*/ 151541 w 355"/>
                <a:gd name="T27" fmla="*/ 113797 h 388"/>
                <a:gd name="T28" fmla="*/ 148107 w 355"/>
                <a:gd name="T29" fmla="*/ 131984 h 388"/>
                <a:gd name="T30" fmla="*/ 142955 w 355"/>
                <a:gd name="T31" fmla="*/ 140817 h 388"/>
                <a:gd name="T32" fmla="*/ 133940 w 355"/>
                <a:gd name="T33" fmla="*/ 145494 h 388"/>
                <a:gd name="T34" fmla="*/ 122779 w 355"/>
                <a:gd name="T35" fmla="*/ 146533 h 388"/>
                <a:gd name="T36" fmla="*/ 115910 w 355"/>
                <a:gd name="T37" fmla="*/ 146533 h 388"/>
                <a:gd name="T38" fmla="*/ 108183 w 355"/>
                <a:gd name="T39" fmla="*/ 137700 h 388"/>
                <a:gd name="T40" fmla="*/ 103031 w 355"/>
                <a:gd name="T41" fmla="*/ 134582 h 388"/>
                <a:gd name="T42" fmla="*/ 94874 w 355"/>
                <a:gd name="T43" fmla="*/ 139778 h 388"/>
                <a:gd name="T44" fmla="*/ 88006 w 355"/>
                <a:gd name="T45" fmla="*/ 144974 h 388"/>
                <a:gd name="T46" fmla="*/ 83283 w 355"/>
                <a:gd name="T47" fmla="*/ 148092 h 388"/>
                <a:gd name="T48" fmla="*/ 79420 w 355"/>
                <a:gd name="T49" fmla="*/ 154847 h 388"/>
                <a:gd name="T50" fmla="*/ 80278 w 355"/>
                <a:gd name="T51" fmla="*/ 166798 h 388"/>
                <a:gd name="T52" fmla="*/ 88864 w 355"/>
                <a:gd name="T53" fmla="*/ 186024 h 388"/>
                <a:gd name="T54" fmla="*/ 83713 w 355"/>
                <a:gd name="T55" fmla="*/ 183426 h 388"/>
                <a:gd name="T56" fmla="*/ 75985 w 355"/>
                <a:gd name="T57" fmla="*/ 184466 h 388"/>
                <a:gd name="T58" fmla="*/ 69546 w 355"/>
                <a:gd name="T59" fmla="*/ 189662 h 388"/>
                <a:gd name="T60" fmla="*/ 62677 w 355"/>
                <a:gd name="T61" fmla="*/ 201613 h 388"/>
                <a:gd name="T62" fmla="*/ 52803 w 355"/>
                <a:gd name="T63" fmla="*/ 192260 h 388"/>
                <a:gd name="T64" fmla="*/ 48510 w 355"/>
                <a:gd name="T65" fmla="*/ 186024 h 388"/>
                <a:gd name="T66" fmla="*/ 41212 w 355"/>
                <a:gd name="T67" fmla="*/ 168357 h 388"/>
                <a:gd name="T68" fmla="*/ 21465 w 355"/>
                <a:gd name="T69" fmla="*/ 145494 h 388"/>
                <a:gd name="T70" fmla="*/ 9445 w 355"/>
                <a:gd name="T71" fmla="*/ 131984 h 388"/>
                <a:gd name="T72" fmla="*/ 2146 w 355"/>
                <a:gd name="T73" fmla="*/ 115876 h 388"/>
                <a:gd name="T74" fmla="*/ 429 w 355"/>
                <a:gd name="T75" fmla="*/ 97169 h 388"/>
                <a:gd name="T76" fmla="*/ 4722 w 355"/>
                <a:gd name="T77" fmla="*/ 84179 h 388"/>
                <a:gd name="T78" fmla="*/ 17601 w 355"/>
                <a:gd name="T79" fmla="*/ 69629 h 388"/>
                <a:gd name="T80" fmla="*/ 23182 w 355"/>
                <a:gd name="T81" fmla="*/ 60276 h 388"/>
                <a:gd name="T82" fmla="*/ 24041 w 355"/>
                <a:gd name="T83" fmla="*/ 47286 h 388"/>
                <a:gd name="T84" fmla="*/ 46364 w 355"/>
                <a:gd name="T85" fmla="*/ 43129 h 388"/>
                <a:gd name="T86" fmla="*/ 66970 w 355"/>
                <a:gd name="T87" fmla="*/ 41570 h 388"/>
                <a:gd name="T88" fmla="*/ 73839 w 355"/>
                <a:gd name="T89" fmla="*/ 37932 h 388"/>
                <a:gd name="T90" fmla="*/ 75985 w 355"/>
                <a:gd name="T91" fmla="*/ 32736 h 388"/>
                <a:gd name="T92" fmla="*/ 74697 w 355"/>
                <a:gd name="T93" fmla="*/ 21304 h 388"/>
                <a:gd name="T94" fmla="*/ 71692 w 355"/>
                <a:gd name="T95" fmla="*/ 6235 h 38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3" name="Freeform 251">
              <a:extLst>
                <a:ext uri="{FF2B5EF4-FFF2-40B4-BE49-F238E27FC236}">
                  <a16:creationId xmlns:a16="http://schemas.microsoft.com/office/drawing/2014/main" id="{290166D9-42AB-46B2-A54A-987296DF6E03}"/>
                </a:ext>
              </a:extLst>
            </p:cNvPr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6283325" y="3995738"/>
              <a:ext cx="260350" cy="520700"/>
            </a:xfrm>
            <a:custGeom>
              <a:avLst/>
              <a:gdLst>
                <a:gd name="T0" fmla="*/ 0 w 599"/>
                <a:gd name="T1" fmla="*/ 135812 h 993"/>
                <a:gd name="T2" fmla="*/ 79105 w 599"/>
                <a:gd name="T3" fmla="*/ 117459 h 993"/>
                <a:gd name="T4" fmla="*/ 99967 w 599"/>
                <a:gd name="T5" fmla="*/ 125849 h 993"/>
                <a:gd name="T6" fmla="*/ 112137 w 599"/>
                <a:gd name="T7" fmla="*/ 135288 h 993"/>
                <a:gd name="T8" fmla="*/ 109530 w 599"/>
                <a:gd name="T9" fmla="*/ 155214 h 993"/>
                <a:gd name="T10" fmla="*/ 101706 w 599"/>
                <a:gd name="T11" fmla="*/ 171469 h 993"/>
                <a:gd name="T12" fmla="*/ 108660 w 599"/>
                <a:gd name="T13" fmla="*/ 187200 h 993"/>
                <a:gd name="T14" fmla="*/ 127784 w 599"/>
                <a:gd name="T15" fmla="*/ 191395 h 993"/>
                <a:gd name="T16" fmla="*/ 138651 w 599"/>
                <a:gd name="T17" fmla="*/ 178286 h 993"/>
                <a:gd name="T18" fmla="*/ 146909 w 599"/>
                <a:gd name="T19" fmla="*/ 166225 h 993"/>
                <a:gd name="T20" fmla="*/ 144301 w 599"/>
                <a:gd name="T21" fmla="*/ 136861 h 993"/>
                <a:gd name="T22" fmla="*/ 136477 w 599"/>
                <a:gd name="T23" fmla="*/ 106972 h 993"/>
                <a:gd name="T24" fmla="*/ 117788 w 599"/>
                <a:gd name="T25" fmla="*/ 82326 h 993"/>
                <a:gd name="T26" fmla="*/ 110399 w 599"/>
                <a:gd name="T27" fmla="*/ 65546 h 993"/>
                <a:gd name="T28" fmla="*/ 117353 w 599"/>
                <a:gd name="T29" fmla="*/ 32511 h 993"/>
                <a:gd name="T30" fmla="*/ 139085 w 599"/>
                <a:gd name="T31" fmla="*/ 28840 h 993"/>
                <a:gd name="T32" fmla="*/ 181680 w 599"/>
                <a:gd name="T33" fmla="*/ 31462 h 993"/>
                <a:gd name="T34" fmla="*/ 226448 w 599"/>
                <a:gd name="T35" fmla="*/ 18877 h 993"/>
                <a:gd name="T36" fmla="*/ 259481 w 599"/>
                <a:gd name="T37" fmla="*/ 1573 h 993"/>
                <a:gd name="T38" fmla="*/ 259481 w 599"/>
                <a:gd name="T39" fmla="*/ 15731 h 993"/>
                <a:gd name="T40" fmla="*/ 259481 w 599"/>
                <a:gd name="T41" fmla="*/ 66071 h 993"/>
                <a:gd name="T42" fmla="*/ 257308 w 599"/>
                <a:gd name="T43" fmla="*/ 119556 h 993"/>
                <a:gd name="T44" fmla="*/ 254265 w 599"/>
                <a:gd name="T45" fmla="*/ 144726 h 993"/>
                <a:gd name="T46" fmla="*/ 239053 w 599"/>
                <a:gd name="T47" fmla="*/ 176713 h 993"/>
                <a:gd name="T48" fmla="*/ 203412 w 599"/>
                <a:gd name="T49" fmla="*/ 210797 h 993"/>
                <a:gd name="T50" fmla="*/ 162556 w 599"/>
                <a:gd name="T51" fmla="*/ 223382 h 993"/>
                <a:gd name="T52" fmla="*/ 153428 w 599"/>
                <a:gd name="T53" fmla="*/ 243308 h 993"/>
                <a:gd name="T54" fmla="*/ 127350 w 599"/>
                <a:gd name="T55" fmla="*/ 265856 h 993"/>
                <a:gd name="T56" fmla="*/ 105618 w 599"/>
                <a:gd name="T57" fmla="*/ 287879 h 993"/>
                <a:gd name="T58" fmla="*/ 99533 w 599"/>
                <a:gd name="T59" fmla="*/ 305184 h 993"/>
                <a:gd name="T60" fmla="*/ 103010 w 599"/>
                <a:gd name="T61" fmla="*/ 324585 h 993"/>
                <a:gd name="T62" fmla="*/ 116049 w 599"/>
                <a:gd name="T63" fmla="*/ 342938 h 993"/>
                <a:gd name="T64" fmla="*/ 110399 w 599"/>
                <a:gd name="T65" fmla="*/ 363913 h 993"/>
                <a:gd name="T66" fmla="*/ 115180 w 599"/>
                <a:gd name="T67" fmla="*/ 382266 h 993"/>
                <a:gd name="T68" fmla="*/ 116049 w 599"/>
                <a:gd name="T69" fmla="*/ 414253 h 993"/>
                <a:gd name="T70" fmla="*/ 111268 w 599"/>
                <a:gd name="T71" fmla="*/ 426838 h 993"/>
                <a:gd name="T72" fmla="*/ 83886 w 599"/>
                <a:gd name="T73" fmla="*/ 457776 h 993"/>
                <a:gd name="T74" fmla="*/ 63892 w 599"/>
                <a:gd name="T75" fmla="*/ 465117 h 993"/>
                <a:gd name="T76" fmla="*/ 44333 w 599"/>
                <a:gd name="T77" fmla="*/ 468787 h 993"/>
                <a:gd name="T78" fmla="*/ 37814 w 599"/>
                <a:gd name="T79" fmla="*/ 478750 h 993"/>
                <a:gd name="T80" fmla="*/ 41291 w 599"/>
                <a:gd name="T81" fmla="*/ 492384 h 993"/>
                <a:gd name="T82" fmla="*/ 39552 w 599"/>
                <a:gd name="T83" fmla="*/ 520176 h 993"/>
                <a:gd name="T84" fmla="*/ 32163 w 599"/>
                <a:gd name="T85" fmla="*/ 424740 h 993"/>
                <a:gd name="T86" fmla="*/ 25209 w 599"/>
                <a:gd name="T87" fmla="*/ 401144 h 993"/>
                <a:gd name="T88" fmla="*/ 17820 w 599"/>
                <a:gd name="T89" fmla="*/ 377547 h 993"/>
                <a:gd name="T90" fmla="*/ 46941 w 599"/>
                <a:gd name="T91" fmla="*/ 349231 h 993"/>
                <a:gd name="T92" fmla="*/ 47376 w 599"/>
                <a:gd name="T93" fmla="*/ 321964 h 993"/>
                <a:gd name="T94" fmla="*/ 64762 w 599"/>
                <a:gd name="T95" fmla="*/ 299416 h 993"/>
                <a:gd name="T96" fmla="*/ 75628 w 599"/>
                <a:gd name="T97" fmla="*/ 275819 h 993"/>
                <a:gd name="T98" fmla="*/ 73020 w 599"/>
                <a:gd name="T99" fmla="*/ 231247 h 993"/>
                <a:gd name="T100" fmla="*/ 66065 w 599"/>
                <a:gd name="T101" fmla="*/ 190871 h 993"/>
                <a:gd name="T102" fmla="*/ 35206 w 599"/>
                <a:gd name="T103" fmla="*/ 178810 h 99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4" name="Freeform 252">
              <a:extLst>
                <a:ext uri="{FF2B5EF4-FFF2-40B4-BE49-F238E27FC236}">
                  <a16:creationId xmlns:a16="http://schemas.microsoft.com/office/drawing/2014/main" id="{CE40588D-000F-4BED-94C5-8C542BE9B1E4}"/>
                </a:ext>
              </a:extLst>
            </p:cNvPr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6018214" y="4235450"/>
              <a:ext cx="238125" cy="287338"/>
            </a:xfrm>
            <a:custGeom>
              <a:avLst/>
              <a:gdLst>
                <a:gd name="T0" fmla="*/ 13108 w 545"/>
                <a:gd name="T1" fmla="*/ 224008 h 549"/>
                <a:gd name="T2" fmla="*/ 20099 w 545"/>
                <a:gd name="T3" fmla="*/ 237616 h 549"/>
                <a:gd name="T4" fmla="*/ 20099 w 545"/>
                <a:gd name="T5" fmla="*/ 267973 h 549"/>
                <a:gd name="T6" fmla="*/ 20972 w 545"/>
                <a:gd name="T7" fmla="*/ 275824 h 549"/>
                <a:gd name="T8" fmla="*/ 24031 w 545"/>
                <a:gd name="T9" fmla="*/ 281057 h 549"/>
                <a:gd name="T10" fmla="*/ 29711 w 545"/>
                <a:gd name="T11" fmla="*/ 285244 h 549"/>
                <a:gd name="T12" fmla="*/ 43693 w 545"/>
                <a:gd name="T13" fmla="*/ 287338 h 549"/>
                <a:gd name="T14" fmla="*/ 49373 w 545"/>
                <a:gd name="T15" fmla="*/ 285768 h 549"/>
                <a:gd name="T16" fmla="*/ 56800 w 545"/>
                <a:gd name="T17" fmla="*/ 278964 h 549"/>
                <a:gd name="T18" fmla="*/ 62481 w 545"/>
                <a:gd name="T19" fmla="*/ 265356 h 549"/>
                <a:gd name="T20" fmla="*/ 67287 w 545"/>
                <a:gd name="T21" fmla="*/ 249654 h 549"/>
                <a:gd name="T22" fmla="*/ 73841 w 545"/>
                <a:gd name="T23" fmla="*/ 237616 h 549"/>
                <a:gd name="T24" fmla="*/ 79958 w 545"/>
                <a:gd name="T25" fmla="*/ 232906 h 549"/>
                <a:gd name="T26" fmla="*/ 87822 w 545"/>
                <a:gd name="T27" fmla="*/ 232383 h 549"/>
                <a:gd name="T28" fmla="*/ 96998 w 545"/>
                <a:gd name="T29" fmla="*/ 234476 h 549"/>
                <a:gd name="T30" fmla="*/ 110106 w 545"/>
                <a:gd name="T31" fmla="*/ 241280 h 549"/>
                <a:gd name="T32" fmla="*/ 118844 w 545"/>
                <a:gd name="T33" fmla="*/ 244944 h 549"/>
                <a:gd name="T34" fmla="*/ 129767 w 545"/>
                <a:gd name="T35" fmla="*/ 245467 h 549"/>
                <a:gd name="T36" fmla="*/ 139380 w 545"/>
                <a:gd name="T37" fmla="*/ 242850 h 549"/>
                <a:gd name="T38" fmla="*/ 145060 w 545"/>
                <a:gd name="T39" fmla="*/ 237093 h 549"/>
                <a:gd name="T40" fmla="*/ 156857 w 545"/>
                <a:gd name="T41" fmla="*/ 203073 h 549"/>
                <a:gd name="T42" fmla="*/ 166906 w 545"/>
                <a:gd name="T43" fmla="*/ 189989 h 549"/>
                <a:gd name="T44" fmla="*/ 195306 w 545"/>
                <a:gd name="T45" fmla="*/ 164343 h 549"/>
                <a:gd name="T46" fmla="*/ 230260 w 545"/>
                <a:gd name="T47" fmla="*/ 138173 h 549"/>
                <a:gd name="T48" fmla="*/ 230697 w 545"/>
                <a:gd name="T49" fmla="*/ 121425 h 549"/>
                <a:gd name="T50" fmla="*/ 219774 w 545"/>
                <a:gd name="T51" fmla="*/ 114098 h 549"/>
                <a:gd name="T52" fmla="*/ 211909 w 545"/>
                <a:gd name="T53" fmla="*/ 104153 h 549"/>
                <a:gd name="T54" fmla="*/ 200986 w 545"/>
                <a:gd name="T55" fmla="*/ 82171 h 549"/>
                <a:gd name="T56" fmla="*/ 192248 w 545"/>
                <a:gd name="T57" fmla="*/ 69087 h 549"/>
                <a:gd name="T58" fmla="*/ 164721 w 545"/>
                <a:gd name="T59" fmla="*/ 39777 h 549"/>
                <a:gd name="T60" fmla="*/ 156857 w 545"/>
                <a:gd name="T61" fmla="*/ 27739 h 549"/>
                <a:gd name="T62" fmla="*/ 152050 w 545"/>
                <a:gd name="T63" fmla="*/ 12561 h 549"/>
                <a:gd name="T64" fmla="*/ 139380 w 545"/>
                <a:gd name="T65" fmla="*/ 0 h 549"/>
                <a:gd name="T66" fmla="*/ 106610 w 545"/>
                <a:gd name="T67" fmla="*/ 1047 h 549"/>
                <a:gd name="T68" fmla="*/ 76899 w 545"/>
                <a:gd name="T69" fmla="*/ 6804 h 549"/>
                <a:gd name="T70" fmla="*/ 41508 w 545"/>
                <a:gd name="T71" fmla="*/ 11514 h 549"/>
                <a:gd name="T72" fmla="*/ 31022 w 545"/>
                <a:gd name="T73" fmla="*/ 14131 h 549"/>
                <a:gd name="T74" fmla="*/ 29274 w 545"/>
                <a:gd name="T75" fmla="*/ 19889 h 549"/>
                <a:gd name="T76" fmla="*/ 31896 w 545"/>
                <a:gd name="T77" fmla="*/ 29310 h 549"/>
                <a:gd name="T78" fmla="*/ 36702 w 545"/>
                <a:gd name="T79" fmla="*/ 38730 h 549"/>
                <a:gd name="T80" fmla="*/ 37576 w 545"/>
                <a:gd name="T81" fmla="*/ 56002 h 549"/>
                <a:gd name="T82" fmla="*/ 32333 w 545"/>
                <a:gd name="T83" fmla="*/ 89499 h 549"/>
                <a:gd name="T84" fmla="*/ 27089 w 545"/>
                <a:gd name="T85" fmla="*/ 124042 h 549"/>
                <a:gd name="T86" fmla="*/ 20536 w 545"/>
                <a:gd name="T87" fmla="*/ 137650 h 549"/>
                <a:gd name="T88" fmla="*/ 11360 w 545"/>
                <a:gd name="T89" fmla="*/ 144977 h 549"/>
                <a:gd name="T90" fmla="*/ 2185 w 545"/>
                <a:gd name="T91" fmla="*/ 160679 h 549"/>
                <a:gd name="T92" fmla="*/ 437 w 545"/>
                <a:gd name="T93" fmla="*/ 177427 h 549"/>
                <a:gd name="T94" fmla="*/ 3495 w 545"/>
                <a:gd name="T95" fmla="*/ 192082 h 549"/>
                <a:gd name="T96" fmla="*/ 3495 w 545"/>
                <a:gd name="T97" fmla="*/ 204643 h 549"/>
                <a:gd name="T98" fmla="*/ 0 w 545"/>
                <a:gd name="T99" fmla="*/ 213541 h 549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5" name="Freeform 253">
              <a:extLst>
                <a:ext uri="{FF2B5EF4-FFF2-40B4-BE49-F238E27FC236}">
                  <a16:creationId xmlns:a16="http://schemas.microsoft.com/office/drawing/2014/main" id="{A5DC743C-0CC9-48A8-AC6C-BD9336D04797}"/>
                </a:ext>
              </a:extLst>
            </p:cNvPr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6591300" y="4037014"/>
              <a:ext cx="196850" cy="434975"/>
            </a:xfrm>
            <a:custGeom>
              <a:avLst/>
              <a:gdLst>
                <a:gd name="T0" fmla="*/ 48777 w 452"/>
                <a:gd name="T1" fmla="*/ 136452 h 832"/>
                <a:gd name="T2" fmla="*/ 60100 w 452"/>
                <a:gd name="T3" fmla="*/ 129656 h 832"/>
                <a:gd name="T4" fmla="*/ 71859 w 452"/>
                <a:gd name="T5" fmla="*/ 125474 h 832"/>
                <a:gd name="T6" fmla="*/ 83618 w 452"/>
                <a:gd name="T7" fmla="*/ 121291 h 832"/>
                <a:gd name="T8" fmla="*/ 93634 w 452"/>
                <a:gd name="T9" fmla="*/ 113449 h 832"/>
                <a:gd name="T10" fmla="*/ 101038 w 452"/>
                <a:gd name="T11" fmla="*/ 104561 h 832"/>
                <a:gd name="T12" fmla="*/ 101038 w 452"/>
                <a:gd name="T13" fmla="*/ 93582 h 832"/>
                <a:gd name="T14" fmla="*/ 115410 w 452"/>
                <a:gd name="T15" fmla="*/ 93060 h 832"/>
                <a:gd name="T16" fmla="*/ 122813 w 452"/>
                <a:gd name="T17" fmla="*/ 90446 h 832"/>
                <a:gd name="T18" fmla="*/ 129782 w 452"/>
                <a:gd name="T19" fmla="*/ 84695 h 832"/>
                <a:gd name="T20" fmla="*/ 139363 w 452"/>
                <a:gd name="T21" fmla="*/ 69533 h 832"/>
                <a:gd name="T22" fmla="*/ 152428 w 452"/>
                <a:gd name="T23" fmla="*/ 39210 h 832"/>
                <a:gd name="T24" fmla="*/ 164622 w 452"/>
                <a:gd name="T25" fmla="*/ 0 h 832"/>
                <a:gd name="T26" fmla="*/ 167671 w 452"/>
                <a:gd name="T27" fmla="*/ 9933 h 832"/>
                <a:gd name="T28" fmla="*/ 177252 w 452"/>
                <a:gd name="T29" fmla="*/ 24572 h 832"/>
                <a:gd name="T30" fmla="*/ 195108 w 452"/>
                <a:gd name="T31" fmla="*/ 44439 h 832"/>
                <a:gd name="T32" fmla="*/ 191624 w 452"/>
                <a:gd name="T33" fmla="*/ 53849 h 832"/>
                <a:gd name="T34" fmla="*/ 193366 w 452"/>
                <a:gd name="T35" fmla="*/ 72147 h 832"/>
                <a:gd name="T36" fmla="*/ 196850 w 452"/>
                <a:gd name="T37" fmla="*/ 96719 h 832"/>
                <a:gd name="T38" fmla="*/ 195108 w 452"/>
                <a:gd name="T39" fmla="*/ 107698 h 832"/>
                <a:gd name="T40" fmla="*/ 186398 w 452"/>
                <a:gd name="T41" fmla="*/ 122337 h 832"/>
                <a:gd name="T42" fmla="*/ 178123 w 452"/>
                <a:gd name="T43" fmla="*/ 136452 h 832"/>
                <a:gd name="T44" fmla="*/ 176381 w 452"/>
                <a:gd name="T45" fmla="*/ 147954 h 832"/>
                <a:gd name="T46" fmla="*/ 171155 w 452"/>
                <a:gd name="T47" fmla="*/ 161024 h 832"/>
                <a:gd name="T48" fmla="*/ 166800 w 452"/>
                <a:gd name="T49" fmla="*/ 166252 h 832"/>
                <a:gd name="T50" fmla="*/ 164187 w 452"/>
                <a:gd name="T51" fmla="*/ 173572 h 832"/>
                <a:gd name="T52" fmla="*/ 160267 w 452"/>
                <a:gd name="T53" fmla="*/ 190302 h 832"/>
                <a:gd name="T54" fmla="*/ 147202 w 452"/>
                <a:gd name="T55" fmla="*/ 223238 h 832"/>
                <a:gd name="T56" fmla="*/ 139798 w 452"/>
                <a:gd name="T57" fmla="*/ 245719 h 832"/>
                <a:gd name="T58" fmla="*/ 138492 w 452"/>
                <a:gd name="T59" fmla="*/ 261403 h 832"/>
                <a:gd name="T60" fmla="*/ 135008 w 452"/>
                <a:gd name="T61" fmla="*/ 277610 h 832"/>
                <a:gd name="T62" fmla="*/ 122378 w 452"/>
                <a:gd name="T63" fmla="*/ 314730 h 832"/>
                <a:gd name="T64" fmla="*/ 113232 w 452"/>
                <a:gd name="T65" fmla="*/ 333028 h 832"/>
                <a:gd name="T66" fmla="*/ 105393 w 452"/>
                <a:gd name="T67" fmla="*/ 342438 h 832"/>
                <a:gd name="T68" fmla="*/ 101038 w 452"/>
                <a:gd name="T69" fmla="*/ 345052 h 832"/>
                <a:gd name="T70" fmla="*/ 99296 w 452"/>
                <a:gd name="T71" fmla="*/ 373284 h 832"/>
                <a:gd name="T72" fmla="*/ 93634 w 452"/>
                <a:gd name="T73" fmla="*/ 396810 h 832"/>
                <a:gd name="T74" fmla="*/ 83182 w 452"/>
                <a:gd name="T75" fmla="*/ 415631 h 832"/>
                <a:gd name="T76" fmla="*/ 68375 w 452"/>
                <a:gd name="T77" fmla="*/ 428179 h 832"/>
                <a:gd name="T78" fmla="*/ 47906 w 452"/>
                <a:gd name="T79" fmla="*/ 434452 h 832"/>
                <a:gd name="T80" fmla="*/ 34841 w 452"/>
                <a:gd name="T81" fmla="*/ 432361 h 832"/>
                <a:gd name="T82" fmla="*/ 31792 w 452"/>
                <a:gd name="T83" fmla="*/ 427133 h 832"/>
                <a:gd name="T84" fmla="*/ 21775 w 452"/>
                <a:gd name="T85" fmla="*/ 423473 h 832"/>
                <a:gd name="T86" fmla="*/ 11323 w 452"/>
                <a:gd name="T87" fmla="*/ 417200 h 832"/>
                <a:gd name="T88" fmla="*/ 5226 w 452"/>
                <a:gd name="T89" fmla="*/ 406221 h 832"/>
                <a:gd name="T90" fmla="*/ 1307 w 452"/>
                <a:gd name="T91" fmla="*/ 393150 h 832"/>
                <a:gd name="T92" fmla="*/ 0 w 452"/>
                <a:gd name="T93" fmla="*/ 370147 h 832"/>
                <a:gd name="T94" fmla="*/ 1742 w 452"/>
                <a:gd name="T95" fmla="*/ 362828 h 832"/>
                <a:gd name="T96" fmla="*/ 8275 w 452"/>
                <a:gd name="T97" fmla="*/ 354463 h 832"/>
                <a:gd name="T98" fmla="*/ 4791 w 452"/>
                <a:gd name="T99" fmla="*/ 351326 h 832"/>
                <a:gd name="T100" fmla="*/ 0 w 452"/>
                <a:gd name="T101" fmla="*/ 340870 h 832"/>
                <a:gd name="T102" fmla="*/ 2178 w 452"/>
                <a:gd name="T103" fmla="*/ 328322 h 832"/>
                <a:gd name="T104" fmla="*/ 3484 w 452"/>
                <a:gd name="T105" fmla="*/ 318912 h 832"/>
                <a:gd name="T106" fmla="*/ 2178 w 452"/>
                <a:gd name="T107" fmla="*/ 308979 h 832"/>
                <a:gd name="T108" fmla="*/ 7839 w 452"/>
                <a:gd name="T109" fmla="*/ 306887 h 832"/>
                <a:gd name="T110" fmla="*/ 18727 w 452"/>
                <a:gd name="T111" fmla="*/ 296954 h 832"/>
                <a:gd name="T112" fmla="*/ 27437 w 452"/>
                <a:gd name="T113" fmla="*/ 281270 h 832"/>
                <a:gd name="T114" fmla="*/ 33099 w 452"/>
                <a:gd name="T115" fmla="*/ 264540 h 832"/>
                <a:gd name="T116" fmla="*/ 37454 w 452"/>
                <a:gd name="T117" fmla="*/ 241537 h 832"/>
                <a:gd name="T118" fmla="*/ 36147 w 452"/>
                <a:gd name="T119" fmla="*/ 228989 h 832"/>
                <a:gd name="T120" fmla="*/ 30486 w 452"/>
                <a:gd name="T121" fmla="*/ 213305 h 832"/>
                <a:gd name="T122" fmla="*/ 24388 w 452"/>
                <a:gd name="T123" fmla="*/ 199712 h 832"/>
                <a:gd name="T124" fmla="*/ 23082 w 452"/>
                <a:gd name="T125" fmla="*/ 189779 h 83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6" name="Freeform 254">
              <a:extLst>
                <a:ext uri="{FF2B5EF4-FFF2-40B4-BE49-F238E27FC236}">
                  <a16:creationId xmlns:a16="http://schemas.microsoft.com/office/drawing/2014/main" id="{308171EC-BF71-4416-97FD-0E0DDBECC35A}"/>
                </a:ext>
              </a:extLst>
            </p:cNvPr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6267451" y="3735389"/>
              <a:ext cx="36513" cy="66675"/>
            </a:xfrm>
            <a:custGeom>
              <a:avLst/>
              <a:gdLst>
                <a:gd name="T0" fmla="*/ 36513 w 80"/>
                <a:gd name="T1" fmla="*/ 1058 h 126"/>
                <a:gd name="T2" fmla="*/ 36513 w 80"/>
                <a:gd name="T3" fmla="*/ 53446 h 126"/>
                <a:gd name="T4" fmla="*/ 35600 w 80"/>
                <a:gd name="T5" fmla="*/ 55033 h 126"/>
                <a:gd name="T6" fmla="*/ 34231 w 80"/>
                <a:gd name="T7" fmla="*/ 56621 h 126"/>
                <a:gd name="T8" fmla="*/ 31949 w 80"/>
                <a:gd name="T9" fmla="*/ 57679 h 126"/>
                <a:gd name="T10" fmla="*/ 30580 w 80"/>
                <a:gd name="T11" fmla="*/ 58737 h 126"/>
                <a:gd name="T12" fmla="*/ 26472 w 80"/>
                <a:gd name="T13" fmla="*/ 60325 h 126"/>
                <a:gd name="T14" fmla="*/ 21908 w 80"/>
                <a:gd name="T15" fmla="*/ 61383 h 126"/>
                <a:gd name="T16" fmla="*/ 16431 w 80"/>
                <a:gd name="T17" fmla="*/ 61912 h 126"/>
                <a:gd name="T18" fmla="*/ 11410 w 80"/>
                <a:gd name="T19" fmla="*/ 62971 h 126"/>
                <a:gd name="T20" fmla="*/ 5933 w 80"/>
                <a:gd name="T21" fmla="*/ 65087 h 126"/>
                <a:gd name="T22" fmla="*/ 0 w 80"/>
                <a:gd name="T23" fmla="*/ 66675 h 126"/>
                <a:gd name="T24" fmla="*/ 3195 w 80"/>
                <a:gd name="T25" fmla="*/ 21167 h 126"/>
                <a:gd name="T26" fmla="*/ 10497 w 80"/>
                <a:gd name="T27" fmla="*/ 14287 h 126"/>
                <a:gd name="T28" fmla="*/ 18713 w 80"/>
                <a:gd name="T29" fmla="*/ 6350 h 126"/>
                <a:gd name="T30" fmla="*/ 23277 w 80"/>
                <a:gd name="T31" fmla="*/ 2646 h 126"/>
                <a:gd name="T32" fmla="*/ 27385 w 80"/>
                <a:gd name="T33" fmla="*/ 529 h 126"/>
                <a:gd name="T34" fmla="*/ 29667 w 80"/>
                <a:gd name="T35" fmla="*/ 0 h 126"/>
                <a:gd name="T36" fmla="*/ 31949 w 80"/>
                <a:gd name="T37" fmla="*/ 0 h 126"/>
                <a:gd name="T38" fmla="*/ 34231 w 80"/>
                <a:gd name="T39" fmla="*/ 529 h 126"/>
                <a:gd name="T40" fmla="*/ 36513 w 80"/>
                <a:gd name="T41" fmla="*/ 1058 h 12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7" name="Freeform 255">
              <a:extLst>
                <a:ext uri="{FF2B5EF4-FFF2-40B4-BE49-F238E27FC236}">
                  <a16:creationId xmlns:a16="http://schemas.microsoft.com/office/drawing/2014/main" id="{179A76A1-672D-4093-AA13-B966C7050D0F}"/>
                </a:ext>
              </a:extLst>
            </p:cNvPr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6256338" y="3695701"/>
              <a:ext cx="55562" cy="60325"/>
            </a:xfrm>
            <a:custGeom>
              <a:avLst/>
              <a:gdLst>
                <a:gd name="T0" fmla="*/ 50633 w 124"/>
                <a:gd name="T1" fmla="*/ 0 h 117"/>
                <a:gd name="T2" fmla="*/ 51977 w 124"/>
                <a:gd name="T3" fmla="*/ 7734 h 117"/>
                <a:gd name="T4" fmla="*/ 54666 w 124"/>
                <a:gd name="T5" fmla="*/ 18046 h 117"/>
                <a:gd name="T6" fmla="*/ 55562 w 124"/>
                <a:gd name="T7" fmla="*/ 23202 h 117"/>
                <a:gd name="T8" fmla="*/ 55562 w 124"/>
                <a:gd name="T9" fmla="*/ 27842 h 117"/>
                <a:gd name="T10" fmla="*/ 55562 w 124"/>
                <a:gd name="T11" fmla="*/ 30420 h 117"/>
                <a:gd name="T12" fmla="*/ 55114 w 124"/>
                <a:gd name="T13" fmla="*/ 32998 h 117"/>
                <a:gd name="T14" fmla="*/ 54666 w 124"/>
                <a:gd name="T15" fmla="*/ 35576 h 117"/>
                <a:gd name="T16" fmla="*/ 53322 w 124"/>
                <a:gd name="T17" fmla="*/ 37639 h 117"/>
                <a:gd name="T18" fmla="*/ 51081 w 124"/>
                <a:gd name="T19" fmla="*/ 37123 h 117"/>
                <a:gd name="T20" fmla="*/ 48393 w 124"/>
                <a:gd name="T21" fmla="*/ 36607 h 117"/>
                <a:gd name="T22" fmla="*/ 46152 w 124"/>
                <a:gd name="T23" fmla="*/ 37123 h 117"/>
                <a:gd name="T24" fmla="*/ 43016 w 124"/>
                <a:gd name="T25" fmla="*/ 37639 h 117"/>
                <a:gd name="T26" fmla="*/ 37191 w 124"/>
                <a:gd name="T27" fmla="*/ 40217 h 117"/>
                <a:gd name="T28" fmla="*/ 31814 w 124"/>
                <a:gd name="T29" fmla="*/ 43826 h 117"/>
                <a:gd name="T30" fmla="*/ 20612 w 124"/>
                <a:gd name="T31" fmla="*/ 53107 h 117"/>
                <a:gd name="T32" fmla="*/ 11650 w 124"/>
                <a:gd name="T33" fmla="*/ 60325 h 117"/>
                <a:gd name="T34" fmla="*/ 10306 w 124"/>
                <a:gd name="T35" fmla="*/ 57747 h 117"/>
                <a:gd name="T36" fmla="*/ 5825 w 124"/>
                <a:gd name="T37" fmla="*/ 52075 h 117"/>
                <a:gd name="T38" fmla="*/ 1792 w 124"/>
                <a:gd name="T39" fmla="*/ 45888 h 117"/>
                <a:gd name="T40" fmla="*/ 0 w 124"/>
                <a:gd name="T41" fmla="*/ 40732 h 117"/>
                <a:gd name="T42" fmla="*/ 448 w 124"/>
                <a:gd name="T43" fmla="*/ 39185 h 117"/>
                <a:gd name="T44" fmla="*/ 896 w 124"/>
                <a:gd name="T45" fmla="*/ 37123 h 117"/>
                <a:gd name="T46" fmla="*/ 2240 w 124"/>
                <a:gd name="T47" fmla="*/ 34545 h 117"/>
                <a:gd name="T48" fmla="*/ 4033 w 124"/>
                <a:gd name="T49" fmla="*/ 31967 h 117"/>
                <a:gd name="T50" fmla="*/ 7617 w 124"/>
                <a:gd name="T51" fmla="*/ 26811 h 117"/>
                <a:gd name="T52" fmla="*/ 12098 w 124"/>
                <a:gd name="T53" fmla="*/ 21655 h 117"/>
                <a:gd name="T54" fmla="*/ 21508 w 124"/>
                <a:gd name="T55" fmla="*/ 11343 h 117"/>
                <a:gd name="T56" fmla="*/ 26885 w 124"/>
                <a:gd name="T57" fmla="*/ 6187 h 117"/>
                <a:gd name="T58" fmla="*/ 32710 w 124"/>
                <a:gd name="T59" fmla="*/ 6187 h 117"/>
                <a:gd name="T60" fmla="*/ 38535 w 124"/>
                <a:gd name="T61" fmla="*/ 6187 h 117"/>
                <a:gd name="T62" fmla="*/ 44808 w 124"/>
                <a:gd name="T63" fmla="*/ 3094 h 117"/>
                <a:gd name="T64" fmla="*/ 50633 w 124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8" name="Freeform 256">
              <a:extLst>
                <a:ext uri="{FF2B5EF4-FFF2-40B4-BE49-F238E27FC236}">
                  <a16:creationId xmlns:a16="http://schemas.microsoft.com/office/drawing/2014/main" id="{C15B7594-6983-4F43-B0D1-FD2BA20D9998}"/>
                </a:ext>
              </a:extLst>
            </p:cNvPr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6565900" y="2395539"/>
              <a:ext cx="503238" cy="473075"/>
            </a:xfrm>
            <a:custGeom>
              <a:avLst/>
              <a:gdLst>
                <a:gd name="T0" fmla="*/ 403983 w 1156"/>
                <a:gd name="T1" fmla="*/ 100397 h 900"/>
                <a:gd name="T2" fmla="*/ 373946 w 1156"/>
                <a:gd name="T3" fmla="*/ 85154 h 900"/>
                <a:gd name="T4" fmla="*/ 336508 w 1156"/>
                <a:gd name="T5" fmla="*/ 58346 h 900"/>
                <a:gd name="T6" fmla="*/ 268597 w 1156"/>
                <a:gd name="T7" fmla="*/ 54666 h 900"/>
                <a:gd name="T8" fmla="*/ 239865 w 1156"/>
                <a:gd name="T9" fmla="*/ 80948 h 900"/>
                <a:gd name="T10" fmla="*/ 219405 w 1156"/>
                <a:gd name="T11" fmla="*/ 94089 h 900"/>
                <a:gd name="T12" fmla="*/ 185449 w 1156"/>
                <a:gd name="T13" fmla="*/ 103551 h 900"/>
                <a:gd name="T14" fmla="*/ 166730 w 1156"/>
                <a:gd name="T15" fmla="*/ 104602 h 900"/>
                <a:gd name="T16" fmla="*/ 154541 w 1156"/>
                <a:gd name="T17" fmla="*/ 90936 h 900"/>
                <a:gd name="T18" fmla="*/ 113185 w 1156"/>
                <a:gd name="T19" fmla="*/ 71487 h 900"/>
                <a:gd name="T20" fmla="*/ 99255 w 1156"/>
                <a:gd name="T21" fmla="*/ 45205 h 900"/>
                <a:gd name="T22" fmla="*/ 95772 w 1156"/>
                <a:gd name="T23" fmla="*/ 12090 h 900"/>
                <a:gd name="T24" fmla="*/ 81841 w 1156"/>
                <a:gd name="T25" fmla="*/ 526 h 900"/>
                <a:gd name="T26" fmla="*/ 67476 w 1156"/>
                <a:gd name="T27" fmla="*/ 11038 h 900"/>
                <a:gd name="T28" fmla="*/ 59204 w 1156"/>
                <a:gd name="T29" fmla="*/ 35218 h 900"/>
                <a:gd name="T30" fmla="*/ 34391 w 1156"/>
                <a:gd name="T31" fmla="*/ 28385 h 900"/>
                <a:gd name="T32" fmla="*/ 1741 w 1156"/>
                <a:gd name="T33" fmla="*/ 8410 h 900"/>
                <a:gd name="T34" fmla="*/ 2177 w 1156"/>
                <a:gd name="T35" fmla="*/ 37846 h 900"/>
                <a:gd name="T36" fmla="*/ 19590 w 1156"/>
                <a:gd name="T37" fmla="*/ 76743 h 900"/>
                <a:gd name="T38" fmla="*/ 31779 w 1156"/>
                <a:gd name="T39" fmla="*/ 107756 h 900"/>
                <a:gd name="T40" fmla="*/ 58769 w 1156"/>
                <a:gd name="T41" fmla="*/ 149281 h 900"/>
                <a:gd name="T42" fmla="*/ 53110 w 1156"/>
                <a:gd name="T43" fmla="*/ 166102 h 900"/>
                <a:gd name="T44" fmla="*/ 57898 w 1156"/>
                <a:gd name="T45" fmla="*/ 194486 h 900"/>
                <a:gd name="T46" fmla="*/ 81841 w 1156"/>
                <a:gd name="T47" fmla="*/ 224973 h 900"/>
                <a:gd name="T48" fmla="*/ 112750 w 1156"/>
                <a:gd name="T49" fmla="*/ 239691 h 900"/>
                <a:gd name="T50" fmla="*/ 112750 w 1156"/>
                <a:gd name="T51" fmla="*/ 275435 h 900"/>
                <a:gd name="T52" fmla="*/ 145835 w 1156"/>
                <a:gd name="T53" fmla="*/ 305396 h 900"/>
                <a:gd name="T54" fmla="*/ 184143 w 1156"/>
                <a:gd name="T55" fmla="*/ 349024 h 900"/>
                <a:gd name="T56" fmla="*/ 205039 w 1156"/>
                <a:gd name="T57" fmla="*/ 378460 h 900"/>
                <a:gd name="T58" fmla="*/ 219405 w 1156"/>
                <a:gd name="T59" fmla="*/ 385293 h 900"/>
                <a:gd name="T60" fmla="*/ 235947 w 1156"/>
                <a:gd name="T61" fmla="*/ 396857 h 900"/>
                <a:gd name="T62" fmla="*/ 260326 w 1156"/>
                <a:gd name="T63" fmla="*/ 413678 h 900"/>
                <a:gd name="T64" fmla="*/ 298199 w 1156"/>
                <a:gd name="T65" fmla="*/ 417883 h 900"/>
                <a:gd name="T66" fmla="*/ 318659 w 1156"/>
                <a:gd name="T67" fmla="*/ 409998 h 900"/>
                <a:gd name="T68" fmla="*/ 339120 w 1156"/>
                <a:gd name="T69" fmla="*/ 401588 h 900"/>
                <a:gd name="T70" fmla="*/ 348697 w 1156"/>
                <a:gd name="T71" fmla="*/ 418409 h 900"/>
                <a:gd name="T72" fmla="*/ 353921 w 1156"/>
                <a:gd name="T73" fmla="*/ 450473 h 900"/>
                <a:gd name="T74" fmla="*/ 380476 w 1156"/>
                <a:gd name="T75" fmla="*/ 459408 h 900"/>
                <a:gd name="T76" fmla="*/ 440116 w 1156"/>
                <a:gd name="T77" fmla="*/ 468870 h 900"/>
                <a:gd name="T78" fmla="*/ 474942 w 1156"/>
                <a:gd name="T79" fmla="*/ 462037 h 900"/>
                <a:gd name="T80" fmla="*/ 478424 w 1156"/>
                <a:gd name="T81" fmla="*/ 436806 h 900"/>
                <a:gd name="T82" fmla="*/ 503238 w 1156"/>
                <a:gd name="T83" fmla="*/ 404742 h 900"/>
                <a:gd name="T84" fmla="*/ 492790 w 1156"/>
                <a:gd name="T85" fmla="*/ 394229 h 900"/>
                <a:gd name="T86" fmla="*/ 477118 w 1156"/>
                <a:gd name="T87" fmla="*/ 372152 h 900"/>
                <a:gd name="T88" fmla="*/ 448822 w 1156"/>
                <a:gd name="T89" fmla="*/ 337986 h 900"/>
                <a:gd name="T90" fmla="*/ 443163 w 1156"/>
                <a:gd name="T91" fmla="*/ 316960 h 900"/>
                <a:gd name="T92" fmla="*/ 454481 w 1156"/>
                <a:gd name="T93" fmla="*/ 293832 h 900"/>
                <a:gd name="T94" fmla="*/ 456223 w 1156"/>
                <a:gd name="T95" fmla="*/ 276486 h 900"/>
                <a:gd name="T96" fmla="*/ 448387 w 1156"/>
                <a:gd name="T97" fmla="*/ 269127 h 900"/>
                <a:gd name="T98" fmla="*/ 427926 w 1156"/>
                <a:gd name="T99" fmla="*/ 266499 h 900"/>
                <a:gd name="T100" fmla="*/ 415302 w 1156"/>
                <a:gd name="T101" fmla="*/ 238114 h 900"/>
                <a:gd name="T102" fmla="*/ 407901 w 1156"/>
                <a:gd name="T103" fmla="*/ 196063 h 900"/>
                <a:gd name="T104" fmla="*/ 402242 w 1156"/>
                <a:gd name="T105" fmla="*/ 187653 h 900"/>
                <a:gd name="T106" fmla="*/ 409207 w 1156"/>
                <a:gd name="T107" fmla="*/ 175563 h 900"/>
                <a:gd name="T108" fmla="*/ 417914 w 1156"/>
                <a:gd name="T109" fmla="*/ 154012 h 9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9" name="Freeform 257">
              <a:extLst>
                <a:ext uri="{FF2B5EF4-FFF2-40B4-BE49-F238E27FC236}">
                  <a16:creationId xmlns:a16="http://schemas.microsoft.com/office/drawing/2014/main" id="{3954E8E3-25AF-499E-B6CE-91CEB0ACC55C}"/>
                </a:ext>
              </a:extLst>
            </p:cNvPr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6589713" y="3052763"/>
              <a:ext cx="247650" cy="228600"/>
            </a:xfrm>
            <a:custGeom>
              <a:avLst/>
              <a:gdLst>
                <a:gd name="T0" fmla="*/ 11277 w 571"/>
                <a:gd name="T1" fmla="*/ 98045 h 443"/>
                <a:gd name="T2" fmla="*/ 16047 w 571"/>
                <a:gd name="T3" fmla="*/ 91337 h 443"/>
                <a:gd name="T4" fmla="*/ 17782 w 571"/>
                <a:gd name="T5" fmla="*/ 84628 h 443"/>
                <a:gd name="T6" fmla="*/ 16915 w 571"/>
                <a:gd name="T7" fmla="*/ 66567 h 443"/>
                <a:gd name="T8" fmla="*/ 19083 w 571"/>
                <a:gd name="T9" fmla="*/ 61923 h 443"/>
                <a:gd name="T10" fmla="*/ 23854 w 571"/>
                <a:gd name="T11" fmla="*/ 57795 h 443"/>
                <a:gd name="T12" fmla="*/ 29492 w 571"/>
                <a:gd name="T13" fmla="*/ 55215 h 443"/>
                <a:gd name="T14" fmla="*/ 34697 w 571"/>
                <a:gd name="T15" fmla="*/ 53667 h 443"/>
                <a:gd name="T16" fmla="*/ 44672 w 571"/>
                <a:gd name="T17" fmla="*/ 54699 h 443"/>
                <a:gd name="T18" fmla="*/ 53780 w 571"/>
                <a:gd name="T19" fmla="*/ 56247 h 443"/>
                <a:gd name="T20" fmla="*/ 68527 w 571"/>
                <a:gd name="T21" fmla="*/ 61923 h 443"/>
                <a:gd name="T22" fmla="*/ 79803 w 571"/>
                <a:gd name="T23" fmla="*/ 69664 h 443"/>
                <a:gd name="T24" fmla="*/ 89345 w 571"/>
                <a:gd name="T25" fmla="*/ 79468 h 443"/>
                <a:gd name="T26" fmla="*/ 110163 w 571"/>
                <a:gd name="T27" fmla="*/ 47474 h 443"/>
                <a:gd name="T28" fmla="*/ 123608 w 571"/>
                <a:gd name="T29" fmla="*/ 25285 h 443"/>
                <a:gd name="T30" fmla="*/ 233337 w 571"/>
                <a:gd name="T31" fmla="*/ 22189 h 443"/>
                <a:gd name="T32" fmla="*/ 241578 w 571"/>
                <a:gd name="T33" fmla="*/ 40250 h 443"/>
                <a:gd name="T34" fmla="*/ 243747 w 571"/>
                <a:gd name="T35" fmla="*/ 50571 h 443"/>
                <a:gd name="T36" fmla="*/ 244614 w 571"/>
                <a:gd name="T37" fmla="*/ 63471 h 443"/>
                <a:gd name="T38" fmla="*/ 246349 w 571"/>
                <a:gd name="T39" fmla="*/ 77920 h 443"/>
                <a:gd name="T40" fmla="*/ 247650 w 571"/>
                <a:gd name="T41" fmla="*/ 91853 h 443"/>
                <a:gd name="T42" fmla="*/ 244614 w 571"/>
                <a:gd name="T43" fmla="*/ 92885 h 443"/>
                <a:gd name="T44" fmla="*/ 243747 w 571"/>
                <a:gd name="T45" fmla="*/ 92369 h 443"/>
                <a:gd name="T46" fmla="*/ 242012 w 571"/>
                <a:gd name="T47" fmla="*/ 94949 h 443"/>
                <a:gd name="T48" fmla="*/ 237675 w 571"/>
                <a:gd name="T49" fmla="*/ 106818 h 443"/>
                <a:gd name="T50" fmla="*/ 231603 w 571"/>
                <a:gd name="T51" fmla="*/ 116106 h 443"/>
                <a:gd name="T52" fmla="*/ 223362 w 571"/>
                <a:gd name="T53" fmla="*/ 123330 h 443"/>
                <a:gd name="T54" fmla="*/ 214254 w 571"/>
                <a:gd name="T55" fmla="*/ 128491 h 443"/>
                <a:gd name="T56" fmla="*/ 175654 w 571"/>
                <a:gd name="T57" fmla="*/ 146036 h 443"/>
                <a:gd name="T58" fmla="*/ 150498 w 571"/>
                <a:gd name="T59" fmla="*/ 158420 h 443"/>
                <a:gd name="T60" fmla="*/ 127945 w 571"/>
                <a:gd name="T61" fmla="*/ 169257 h 443"/>
                <a:gd name="T62" fmla="*/ 106260 w 571"/>
                <a:gd name="T63" fmla="*/ 178029 h 443"/>
                <a:gd name="T64" fmla="*/ 80671 w 571"/>
                <a:gd name="T65" fmla="*/ 187318 h 443"/>
                <a:gd name="T66" fmla="*/ 72430 w 571"/>
                <a:gd name="T67" fmla="*/ 191446 h 443"/>
                <a:gd name="T68" fmla="*/ 64623 w 571"/>
                <a:gd name="T69" fmla="*/ 196606 h 443"/>
                <a:gd name="T70" fmla="*/ 51612 w 571"/>
                <a:gd name="T71" fmla="*/ 207959 h 443"/>
                <a:gd name="T72" fmla="*/ 39902 w 571"/>
                <a:gd name="T73" fmla="*/ 219828 h 443"/>
                <a:gd name="T74" fmla="*/ 29059 w 571"/>
                <a:gd name="T75" fmla="*/ 228600 h 443"/>
                <a:gd name="T76" fmla="*/ 21686 w 571"/>
                <a:gd name="T77" fmla="*/ 195058 h 443"/>
                <a:gd name="T78" fmla="*/ 14313 w 571"/>
                <a:gd name="T79" fmla="*/ 161516 h 443"/>
                <a:gd name="T80" fmla="*/ 6939 w 571"/>
                <a:gd name="T81" fmla="*/ 129523 h 443"/>
                <a:gd name="T82" fmla="*/ 0 w 571"/>
                <a:gd name="T83" fmla="*/ 101141 h 44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0" name="Freeform 258">
              <a:extLst>
                <a:ext uri="{FF2B5EF4-FFF2-40B4-BE49-F238E27FC236}">
                  <a16:creationId xmlns:a16="http://schemas.microsoft.com/office/drawing/2014/main" id="{4F5BA1A2-DCDD-47CF-BDCE-9794EC7B9E9B}"/>
                </a:ext>
              </a:extLst>
            </p:cNvPr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6784975" y="2827338"/>
              <a:ext cx="120650" cy="120650"/>
            </a:xfrm>
            <a:custGeom>
              <a:avLst/>
              <a:gdLst>
                <a:gd name="T0" fmla="*/ 0 w 286"/>
                <a:gd name="T1" fmla="*/ 58737 h 228"/>
                <a:gd name="T2" fmla="*/ 1687 w 286"/>
                <a:gd name="T3" fmla="*/ 57679 h 228"/>
                <a:gd name="T4" fmla="*/ 2953 w 286"/>
                <a:gd name="T5" fmla="*/ 57679 h 228"/>
                <a:gd name="T6" fmla="*/ 4219 w 286"/>
                <a:gd name="T7" fmla="*/ 58208 h 228"/>
                <a:gd name="T8" fmla="*/ 4640 w 286"/>
                <a:gd name="T9" fmla="*/ 58737 h 228"/>
                <a:gd name="T10" fmla="*/ 5062 w 286"/>
                <a:gd name="T11" fmla="*/ 61912 h 228"/>
                <a:gd name="T12" fmla="*/ 5484 w 286"/>
                <a:gd name="T13" fmla="*/ 65087 h 228"/>
                <a:gd name="T14" fmla="*/ 5906 w 286"/>
                <a:gd name="T15" fmla="*/ 67733 h 228"/>
                <a:gd name="T16" fmla="*/ 6750 w 286"/>
                <a:gd name="T17" fmla="*/ 69321 h 228"/>
                <a:gd name="T18" fmla="*/ 8015 w 286"/>
                <a:gd name="T19" fmla="*/ 70908 h 228"/>
                <a:gd name="T20" fmla="*/ 10124 w 286"/>
                <a:gd name="T21" fmla="*/ 71967 h 228"/>
                <a:gd name="T22" fmla="*/ 12234 w 286"/>
                <a:gd name="T23" fmla="*/ 72496 h 228"/>
                <a:gd name="T24" fmla="*/ 15609 w 286"/>
                <a:gd name="T25" fmla="*/ 73025 h 228"/>
                <a:gd name="T26" fmla="*/ 20249 w 286"/>
                <a:gd name="T27" fmla="*/ 73025 h 228"/>
                <a:gd name="T28" fmla="*/ 25311 w 286"/>
                <a:gd name="T29" fmla="*/ 71967 h 228"/>
                <a:gd name="T30" fmla="*/ 41342 w 286"/>
                <a:gd name="T31" fmla="*/ 68792 h 228"/>
                <a:gd name="T32" fmla="*/ 54419 w 286"/>
                <a:gd name="T33" fmla="*/ 64558 h 228"/>
                <a:gd name="T34" fmla="*/ 60325 w 286"/>
                <a:gd name="T35" fmla="*/ 62442 h 228"/>
                <a:gd name="T36" fmla="*/ 65809 w 286"/>
                <a:gd name="T37" fmla="*/ 60325 h 228"/>
                <a:gd name="T38" fmla="*/ 70449 w 286"/>
                <a:gd name="T39" fmla="*/ 57679 h 228"/>
                <a:gd name="T40" fmla="*/ 75090 w 286"/>
                <a:gd name="T41" fmla="*/ 54504 h 228"/>
                <a:gd name="T42" fmla="*/ 79308 w 286"/>
                <a:gd name="T43" fmla="*/ 50800 h 228"/>
                <a:gd name="T44" fmla="*/ 83527 w 286"/>
                <a:gd name="T45" fmla="*/ 46038 h 228"/>
                <a:gd name="T46" fmla="*/ 87745 w 286"/>
                <a:gd name="T47" fmla="*/ 41275 h 228"/>
                <a:gd name="T48" fmla="*/ 92386 w 286"/>
                <a:gd name="T49" fmla="*/ 34396 h 228"/>
                <a:gd name="T50" fmla="*/ 96604 w 286"/>
                <a:gd name="T51" fmla="*/ 27517 h 228"/>
                <a:gd name="T52" fmla="*/ 101667 w 286"/>
                <a:gd name="T53" fmla="*/ 19579 h 228"/>
                <a:gd name="T54" fmla="*/ 106729 w 286"/>
                <a:gd name="T55" fmla="*/ 10583 h 228"/>
                <a:gd name="T56" fmla="*/ 112213 w 286"/>
                <a:gd name="T57" fmla="*/ 0 h 228"/>
                <a:gd name="T58" fmla="*/ 113900 w 286"/>
                <a:gd name="T59" fmla="*/ 3704 h 228"/>
                <a:gd name="T60" fmla="*/ 115588 w 286"/>
                <a:gd name="T61" fmla="*/ 6879 h 228"/>
                <a:gd name="T62" fmla="*/ 116431 w 286"/>
                <a:gd name="T63" fmla="*/ 10583 h 228"/>
                <a:gd name="T64" fmla="*/ 117697 w 286"/>
                <a:gd name="T65" fmla="*/ 14287 h 228"/>
                <a:gd name="T66" fmla="*/ 118963 w 286"/>
                <a:gd name="T67" fmla="*/ 22225 h 228"/>
                <a:gd name="T68" fmla="*/ 120650 w 286"/>
                <a:gd name="T69" fmla="*/ 32808 h 228"/>
                <a:gd name="T70" fmla="*/ 103776 w 286"/>
                <a:gd name="T71" fmla="*/ 104775 h 228"/>
                <a:gd name="T72" fmla="*/ 95339 w 286"/>
                <a:gd name="T73" fmla="*/ 120650 h 228"/>
                <a:gd name="T74" fmla="*/ 22358 w 286"/>
                <a:gd name="T75" fmla="*/ 111125 h 228"/>
                <a:gd name="T76" fmla="*/ 0 w 286"/>
                <a:gd name="T77" fmla="*/ 58737 h 22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1" name="Freeform 259">
              <a:extLst>
                <a:ext uri="{FF2B5EF4-FFF2-40B4-BE49-F238E27FC236}">
                  <a16:creationId xmlns:a16="http://schemas.microsoft.com/office/drawing/2014/main" id="{0FDFB346-32A8-4D40-8EB3-9692A263BB9C}"/>
                </a:ext>
              </a:extLst>
            </p:cNvPr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6472238" y="2479676"/>
              <a:ext cx="222250" cy="263525"/>
            </a:xfrm>
            <a:custGeom>
              <a:avLst/>
              <a:gdLst>
                <a:gd name="T0" fmla="*/ 202740 w 524"/>
                <a:gd name="T1" fmla="*/ 193078 h 505"/>
                <a:gd name="T2" fmla="*/ 205284 w 524"/>
                <a:gd name="T3" fmla="*/ 180554 h 505"/>
                <a:gd name="T4" fmla="*/ 204860 w 524"/>
                <a:gd name="T5" fmla="*/ 171683 h 505"/>
                <a:gd name="T6" fmla="*/ 202740 w 524"/>
                <a:gd name="T7" fmla="*/ 157593 h 505"/>
                <a:gd name="T8" fmla="*/ 192984 w 524"/>
                <a:gd name="T9" fmla="*/ 156028 h 505"/>
                <a:gd name="T10" fmla="*/ 182805 w 524"/>
                <a:gd name="T11" fmla="*/ 150288 h 505"/>
                <a:gd name="T12" fmla="*/ 172625 w 524"/>
                <a:gd name="T13" fmla="*/ 142982 h 505"/>
                <a:gd name="T14" fmla="*/ 163719 w 524"/>
                <a:gd name="T15" fmla="*/ 133589 h 505"/>
                <a:gd name="T16" fmla="*/ 155236 w 524"/>
                <a:gd name="T17" fmla="*/ 123674 h 505"/>
                <a:gd name="T18" fmla="*/ 149298 w 524"/>
                <a:gd name="T19" fmla="*/ 112716 h 505"/>
                <a:gd name="T20" fmla="*/ 145056 w 524"/>
                <a:gd name="T21" fmla="*/ 102279 h 505"/>
                <a:gd name="T22" fmla="*/ 143784 w 524"/>
                <a:gd name="T23" fmla="*/ 92886 h 505"/>
                <a:gd name="T24" fmla="*/ 144632 w 524"/>
                <a:gd name="T25" fmla="*/ 84537 h 505"/>
                <a:gd name="T26" fmla="*/ 148025 w 524"/>
                <a:gd name="T27" fmla="*/ 78275 h 505"/>
                <a:gd name="T28" fmla="*/ 154812 w 524"/>
                <a:gd name="T29" fmla="*/ 70969 h 505"/>
                <a:gd name="T30" fmla="*/ 150146 w 524"/>
                <a:gd name="T31" fmla="*/ 67838 h 505"/>
                <a:gd name="T32" fmla="*/ 144632 w 524"/>
                <a:gd name="T33" fmla="*/ 62098 h 505"/>
                <a:gd name="T34" fmla="*/ 133604 w 524"/>
                <a:gd name="T35" fmla="*/ 45399 h 505"/>
                <a:gd name="T36" fmla="*/ 123849 w 524"/>
                <a:gd name="T37" fmla="*/ 26613 h 505"/>
                <a:gd name="T38" fmla="*/ 118335 w 524"/>
                <a:gd name="T39" fmla="*/ 13046 h 505"/>
                <a:gd name="T40" fmla="*/ 110277 w 524"/>
                <a:gd name="T41" fmla="*/ 12524 h 505"/>
                <a:gd name="T42" fmla="*/ 101370 w 524"/>
                <a:gd name="T43" fmla="*/ 9915 h 505"/>
                <a:gd name="T44" fmla="*/ 92887 w 524"/>
                <a:gd name="T45" fmla="*/ 5740 h 505"/>
                <a:gd name="T46" fmla="*/ 83556 w 524"/>
                <a:gd name="T47" fmla="*/ 3131 h 505"/>
                <a:gd name="T48" fmla="*/ 72104 w 524"/>
                <a:gd name="T49" fmla="*/ 1565 h 505"/>
                <a:gd name="T50" fmla="*/ 63197 w 524"/>
                <a:gd name="T51" fmla="*/ 4175 h 505"/>
                <a:gd name="T52" fmla="*/ 48352 w 524"/>
                <a:gd name="T53" fmla="*/ 21395 h 505"/>
                <a:gd name="T54" fmla="*/ 41566 w 524"/>
                <a:gd name="T55" fmla="*/ 29744 h 505"/>
                <a:gd name="T56" fmla="*/ 39445 w 524"/>
                <a:gd name="T57" fmla="*/ 33397 h 505"/>
                <a:gd name="T58" fmla="*/ 39869 w 524"/>
                <a:gd name="T59" fmla="*/ 49052 h 505"/>
                <a:gd name="T60" fmla="*/ 40293 w 524"/>
                <a:gd name="T61" fmla="*/ 73056 h 505"/>
                <a:gd name="T62" fmla="*/ 39869 w 524"/>
                <a:gd name="T63" fmla="*/ 85580 h 505"/>
                <a:gd name="T64" fmla="*/ 36476 w 524"/>
                <a:gd name="T65" fmla="*/ 93930 h 505"/>
                <a:gd name="T66" fmla="*/ 28417 w 524"/>
                <a:gd name="T67" fmla="*/ 102801 h 505"/>
                <a:gd name="T68" fmla="*/ 16966 w 524"/>
                <a:gd name="T69" fmla="*/ 111672 h 505"/>
                <a:gd name="T70" fmla="*/ 5514 w 524"/>
                <a:gd name="T71" fmla="*/ 118978 h 505"/>
                <a:gd name="T72" fmla="*/ 848 w 524"/>
                <a:gd name="T73" fmla="*/ 128371 h 505"/>
                <a:gd name="T74" fmla="*/ 848 w 524"/>
                <a:gd name="T75" fmla="*/ 137764 h 505"/>
                <a:gd name="T76" fmla="*/ 0 w 524"/>
                <a:gd name="T77" fmla="*/ 145069 h 505"/>
                <a:gd name="T78" fmla="*/ 0 w 524"/>
                <a:gd name="T79" fmla="*/ 150809 h 505"/>
                <a:gd name="T80" fmla="*/ 2969 w 524"/>
                <a:gd name="T81" fmla="*/ 157071 h 505"/>
                <a:gd name="T82" fmla="*/ 11028 w 524"/>
                <a:gd name="T83" fmla="*/ 163855 h 505"/>
                <a:gd name="T84" fmla="*/ 26297 w 524"/>
                <a:gd name="T85" fmla="*/ 172726 h 505"/>
                <a:gd name="T86" fmla="*/ 50897 w 524"/>
                <a:gd name="T87" fmla="*/ 185250 h 505"/>
                <a:gd name="T88" fmla="*/ 76345 w 524"/>
                <a:gd name="T89" fmla="*/ 195165 h 505"/>
                <a:gd name="T90" fmla="*/ 90766 w 524"/>
                <a:gd name="T91" fmla="*/ 200905 h 505"/>
                <a:gd name="T92" fmla="*/ 100521 w 524"/>
                <a:gd name="T93" fmla="*/ 208733 h 505"/>
                <a:gd name="T94" fmla="*/ 106884 w 524"/>
                <a:gd name="T95" fmla="*/ 218126 h 505"/>
                <a:gd name="T96" fmla="*/ 111125 w 524"/>
                <a:gd name="T97" fmla="*/ 226997 h 505"/>
                <a:gd name="T98" fmla="*/ 112822 w 524"/>
                <a:gd name="T99" fmla="*/ 235346 h 505"/>
                <a:gd name="T100" fmla="*/ 114518 w 524"/>
                <a:gd name="T101" fmla="*/ 244739 h 505"/>
                <a:gd name="T102" fmla="*/ 117487 w 524"/>
                <a:gd name="T103" fmla="*/ 251001 h 505"/>
                <a:gd name="T104" fmla="*/ 121729 w 524"/>
                <a:gd name="T105" fmla="*/ 255176 h 505"/>
                <a:gd name="T106" fmla="*/ 130211 w 524"/>
                <a:gd name="T107" fmla="*/ 259350 h 505"/>
                <a:gd name="T108" fmla="*/ 139118 w 524"/>
                <a:gd name="T109" fmla="*/ 262481 h 505"/>
                <a:gd name="T110" fmla="*/ 142087 w 524"/>
                <a:gd name="T111" fmla="*/ 260916 h 505"/>
                <a:gd name="T112" fmla="*/ 146753 w 524"/>
                <a:gd name="T113" fmla="*/ 260394 h 505"/>
                <a:gd name="T114" fmla="*/ 155236 w 524"/>
                <a:gd name="T115" fmla="*/ 262481 h 505"/>
                <a:gd name="T116" fmla="*/ 162446 w 524"/>
                <a:gd name="T117" fmla="*/ 263525 h 505"/>
                <a:gd name="T118" fmla="*/ 185350 w 524"/>
                <a:gd name="T119" fmla="*/ 263525 h 505"/>
                <a:gd name="T120" fmla="*/ 197226 w 524"/>
                <a:gd name="T121" fmla="*/ 234302 h 505"/>
                <a:gd name="T122" fmla="*/ 208677 w 524"/>
                <a:gd name="T123" fmla="*/ 228040 h 50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2" name="Freeform 260">
              <a:extLst>
                <a:ext uri="{FF2B5EF4-FFF2-40B4-BE49-F238E27FC236}">
                  <a16:creationId xmlns:a16="http://schemas.microsoft.com/office/drawing/2014/main" id="{14169CAC-5B52-4708-BDA7-9496887D5305}"/>
                </a:ext>
              </a:extLst>
            </p:cNvPr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6972300" y="2439988"/>
              <a:ext cx="331788" cy="290512"/>
            </a:xfrm>
            <a:custGeom>
              <a:avLst/>
              <a:gdLst>
                <a:gd name="T0" fmla="*/ 26925 w 764"/>
                <a:gd name="T1" fmla="*/ 102595 h 555"/>
                <a:gd name="T2" fmla="*/ 40388 w 764"/>
                <a:gd name="T3" fmla="*/ 99455 h 555"/>
                <a:gd name="T4" fmla="*/ 55588 w 764"/>
                <a:gd name="T5" fmla="*/ 95267 h 555"/>
                <a:gd name="T6" fmla="*/ 75999 w 764"/>
                <a:gd name="T7" fmla="*/ 79040 h 555"/>
                <a:gd name="T8" fmla="*/ 84250 w 764"/>
                <a:gd name="T9" fmla="*/ 65954 h 555"/>
                <a:gd name="T10" fmla="*/ 86421 w 764"/>
                <a:gd name="T11" fmla="*/ 46063 h 555"/>
                <a:gd name="T12" fmla="*/ 90330 w 764"/>
                <a:gd name="T13" fmla="*/ 36118 h 555"/>
                <a:gd name="T14" fmla="*/ 104227 w 764"/>
                <a:gd name="T15" fmla="*/ 31407 h 555"/>
                <a:gd name="T16" fmla="*/ 127678 w 764"/>
                <a:gd name="T17" fmla="*/ 32454 h 555"/>
                <a:gd name="T18" fmla="*/ 142877 w 764"/>
                <a:gd name="T19" fmla="*/ 37165 h 555"/>
                <a:gd name="T20" fmla="*/ 157208 w 764"/>
                <a:gd name="T21" fmla="*/ 47110 h 555"/>
                <a:gd name="T22" fmla="*/ 167631 w 764"/>
                <a:gd name="T23" fmla="*/ 48680 h 555"/>
                <a:gd name="T24" fmla="*/ 181962 w 764"/>
                <a:gd name="T25" fmla="*/ 43969 h 555"/>
                <a:gd name="T26" fmla="*/ 199768 w 764"/>
                <a:gd name="T27" fmla="*/ 31930 h 555"/>
                <a:gd name="T28" fmla="*/ 208019 w 764"/>
                <a:gd name="T29" fmla="*/ 17274 h 555"/>
                <a:gd name="T30" fmla="*/ 220613 w 764"/>
                <a:gd name="T31" fmla="*/ 2094 h 555"/>
                <a:gd name="T32" fmla="*/ 230167 w 764"/>
                <a:gd name="T33" fmla="*/ 9945 h 555"/>
                <a:gd name="T34" fmla="*/ 238853 w 764"/>
                <a:gd name="T35" fmla="*/ 23555 h 555"/>
                <a:gd name="T36" fmla="*/ 243630 w 764"/>
                <a:gd name="T37" fmla="*/ 45540 h 555"/>
                <a:gd name="T38" fmla="*/ 247538 w 764"/>
                <a:gd name="T39" fmla="*/ 52868 h 555"/>
                <a:gd name="T40" fmla="*/ 255789 w 764"/>
                <a:gd name="T41" fmla="*/ 54438 h 555"/>
                <a:gd name="T42" fmla="*/ 270121 w 764"/>
                <a:gd name="T43" fmla="*/ 38211 h 555"/>
                <a:gd name="T44" fmla="*/ 322668 w 764"/>
                <a:gd name="T45" fmla="*/ 34547 h 555"/>
                <a:gd name="T46" fmla="*/ 329617 w 764"/>
                <a:gd name="T47" fmla="*/ 45540 h 555"/>
                <a:gd name="T48" fmla="*/ 294874 w 764"/>
                <a:gd name="T49" fmla="*/ 52345 h 555"/>
                <a:gd name="T50" fmla="*/ 262738 w 764"/>
                <a:gd name="T51" fmla="*/ 58626 h 555"/>
                <a:gd name="T52" fmla="*/ 249275 w 764"/>
                <a:gd name="T53" fmla="*/ 68048 h 555"/>
                <a:gd name="T54" fmla="*/ 247972 w 764"/>
                <a:gd name="T55" fmla="*/ 76946 h 555"/>
                <a:gd name="T56" fmla="*/ 252749 w 764"/>
                <a:gd name="T57" fmla="*/ 85845 h 555"/>
                <a:gd name="T58" fmla="*/ 261001 w 764"/>
                <a:gd name="T59" fmla="*/ 94220 h 555"/>
                <a:gd name="T60" fmla="*/ 262304 w 764"/>
                <a:gd name="T61" fmla="*/ 102072 h 555"/>
                <a:gd name="T62" fmla="*/ 257961 w 764"/>
                <a:gd name="T63" fmla="*/ 111494 h 555"/>
                <a:gd name="T64" fmla="*/ 249275 w 764"/>
                <a:gd name="T65" fmla="*/ 124056 h 555"/>
                <a:gd name="T66" fmla="*/ 245367 w 764"/>
                <a:gd name="T67" fmla="*/ 133478 h 555"/>
                <a:gd name="T68" fmla="*/ 235378 w 764"/>
                <a:gd name="T69" fmla="*/ 140807 h 555"/>
                <a:gd name="T70" fmla="*/ 225390 w 764"/>
                <a:gd name="T71" fmla="*/ 162268 h 555"/>
                <a:gd name="T72" fmla="*/ 220613 w 764"/>
                <a:gd name="T73" fmla="*/ 190011 h 555"/>
                <a:gd name="T74" fmla="*/ 215836 w 764"/>
                <a:gd name="T75" fmla="*/ 222464 h 555"/>
                <a:gd name="T76" fmla="*/ 207150 w 764"/>
                <a:gd name="T77" fmla="*/ 215659 h 555"/>
                <a:gd name="T78" fmla="*/ 199768 w 764"/>
                <a:gd name="T79" fmla="*/ 213042 h 555"/>
                <a:gd name="T80" fmla="*/ 190648 w 764"/>
                <a:gd name="T81" fmla="*/ 218800 h 555"/>
                <a:gd name="T82" fmla="*/ 178488 w 764"/>
                <a:gd name="T83" fmla="*/ 230316 h 555"/>
                <a:gd name="T84" fmla="*/ 170671 w 764"/>
                <a:gd name="T85" fmla="*/ 232410 h 555"/>
                <a:gd name="T86" fmla="*/ 162854 w 764"/>
                <a:gd name="T87" fmla="*/ 242355 h 555"/>
                <a:gd name="T88" fmla="*/ 158511 w 764"/>
                <a:gd name="T89" fmla="*/ 267480 h 555"/>
                <a:gd name="T90" fmla="*/ 151997 w 764"/>
                <a:gd name="T91" fmla="*/ 274809 h 555"/>
                <a:gd name="T92" fmla="*/ 117255 w 764"/>
                <a:gd name="T93" fmla="*/ 285801 h 555"/>
                <a:gd name="T94" fmla="*/ 84250 w 764"/>
                <a:gd name="T95" fmla="*/ 289989 h 555"/>
                <a:gd name="T96" fmla="*/ 49073 w 764"/>
                <a:gd name="T97" fmla="*/ 283707 h 555"/>
                <a:gd name="T98" fmla="*/ 41256 w 764"/>
                <a:gd name="T99" fmla="*/ 271145 h 555"/>
                <a:gd name="T100" fmla="*/ 49942 w 764"/>
                <a:gd name="T101" fmla="*/ 255441 h 555"/>
                <a:gd name="T102" fmla="*/ 54285 w 764"/>
                <a:gd name="T103" fmla="*/ 241832 h 555"/>
                <a:gd name="T104" fmla="*/ 53416 w 764"/>
                <a:gd name="T105" fmla="*/ 231363 h 555"/>
                <a:gd name="T106" fmla="*/ 48205 w 764"/>
                <a:gd name="T107" fmla="*/ 226652 h 555"/>
                <a:gd name="T108" fmla="*/ 29965 w 764"/>
                <a:gd name="T109" fmla="*/ 225605 h 555"/>
                <a:gd name="T110" fmla="*/ 22582 w 764"/>
                <a:gd name="T111" fmla="*/ 220370 h 555"/>
                <a:gd name="T112" fmla="*/ 14765 w 764"/>
                <a:gd name="T113" fmla="*/ 201003 h 555"/>
                <a:gd name="T114" fmla="*/ 8251 w 764"/>
                <a:gd name="T115" fmla="*/ 161745 h 555"/>
                <a:gd name="T116" fmla="*/ 4343 w 764"/>
                <a:gd name="T117" fmla="*/ 152323 h 555"/>
                <a:gd name="T118" fmla="*/ 0 w 764"/>
                <a:gd name="T119" fmla="*/ 146565 h 555"/>
                <a:gd name="T120" fmla="*/ 869 w 764"/>
                <a:gd name="T121" fmla="*/ 140283 h 555"/>
                <a:gd name="T122" fmla="*/ 9554 w 764"/>
                <a:gd name="T123" fmla="*/ 129814 h 555"/>
                <a:gd name="T124" fmla="*/ 14765 w 764"/>
                <a:gd name="T125" fmla="*/ 115681 h 55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3" name="Freeform 261">
              <a:extLst>
                <a:ext uri="{FF2B5EF4-FFF2-40B4-BE49-F238E27FC236}">
                  <a16:creationId xmlns:a16="http://schemas.microsoft.com/office/drawing/2014/main" id="{9C6F9046-EBE0-4190-83A1-23841119578B}"/>
                </a:ext>
              </a:extLst>
            </p:cNvPr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7004051" y="2489201"/>
              <a:ext cx="365125" cy="423863"/>
            </a:xfrm>
            <a:custGeom>
              <a:avLst/>
              <a:gdLst>
                <a:gd name="T0" fmla="*/ 342277 w 831"/>
                <a:gd name="T1" fmla="*/ 42804 h 812"/>
                <a:gd name="T2" fmla="*/ 310642 w 831"/>
                <a:gd name="T3" fmla="*/ 15138 h 812"/>
                <a:gd name="T4" fmla="*/ 246932 w 831"/>
                <a:gd name="T5" fmla="*/ 5220 h 812"/>
                <a:gd name="T6" fmla="*/ 219251 w 831"/>
                <a:gd name="T7" fmla="*/ 15138 h 812"/>
                <a:gd name="T8" fmla="*/ 213539 w 831"/>
                <a:gd name="T9" fmla="*/ 25578 h 812"/>
                <a:gd name="T10" fmla="*/ 218372 w 831"/>
                <a:gd name="T11" fmla="*/ 37062 h 812"/>
                <a:gd name="T12" fmla="*/ 227160 w 831"/>
                <a:gd name="T13" fmla="*/ 46980 h 812"/>
                <a:gd name="T14" fmla="*/ 226720 w 831"/>
                <a:gd name="T15" fmla="*/ 57942 h 812"/>
                <a:gd name="T16" fmla="*/ 215736 w 831"/>
                <a:gd name="T17" fmla="*/ 73080 h 812"/>
                <a:gd name="T18" fmla="*/ 210903 w 831"/>
                <a:gd name="T19" fmla="*/ 84564 h 812"/>
                <a:gd name="T20" fmla="*/ 197721 w 831"/>
                <a:gd name="T21" fmla="*/ 96048 h 812"/>
                <a:gd name="T22" fmla="*/ 187615 w 831"/>
                <a:gd name="T23" fmla="*/ 126846 h 812"/>
                <a:gd name="T24" fmla="*/ 184540 w 831"/>
                <a:gd name="T25" fmla="*/ 173304 h 812"/>
                <a:gd name="T26" fmla="*/ 172237 w 831"/>
                <a:gd name="T27" fmla="*/ 166518 h 812"/>
                <a:gd name="T28" fmla="*/ 162571 w 831"/>
                <a:gd name="T29" fmla="*/ 164430 h 812"/>
                <a:gd name="T30" fmla="*/ 148511 w 831"/>
                <a:gd name="T31" fmla="*/ 176958 h 812"/>
                <a:gd name="T32" fmla="*/ 137526 w 831"/>
                <a:gd name="T33" fmla="*/ 183222 h 812"/>
                <a:gd name="T34" fmla="*/ 127420 w 831"/>
                <a:gd name="T35" fmla="*/ 193140 h 812"/>
                <a:gd name="T36" fmla="*/ 123026 w 831"/>
                <a:gd name="T37" fmla="*/ 221327 h 812"/>
                <a:gd name="T38" fmla="*/ 103254 w 831"/>
                <a:gd name="T39" fmla="*/ 230723 h 812"/>
                <a:gd name="T40" fmla="*/ 55801 w 831"/>
                <a:gd name="T41" fmla="*/ 241163 h 812"/>
                <a:gd name="T42" fmla="*/ 11424 w 831"/>
                <a:gd name="T43" fmla="*/ 234377 h 812"/>
                <a:gd name="T44" fmla="*/ 22408 w 831"/>
                <a:gd name="T45" fmla="*/ 263609 h 812"/>
                <a:gd name="T46" fmla="*/ 42181 w 831"/>
                <a:gd name="T47" fmla="*/ 281879 h 812"/>
                <a:gd name="T48" fmla="*/ 54044 w 831"/>
                <a:gd name="T49" fmla="*/ 301193 h 812"/>
                <a:gd name="T50" fmla="*/ 62392 w 831"/>
                <a:gd name="T51" fmla="*/ 311111 h 812"/>
                <a:gd name="T52" fmla="*/ 43499 w 831"/>
                <a:gd name="T53" fmla="*/ 337733 h 812"/>
                <a:gd name="T54" fmla="*/ 38226 w 831"/>
                <a:gd name="T55" fmla="*/ 350261 h 812"/>
                <a:gd name="T56" fmla="*/ 47892 w 831"/>
                <a:gd name="T57" fmla="*/ 375839 h 812"/>
                <a:gd name="T58" fmla="*/ 97542 w 831"/>
                <a:gd name="T59" fmla="*/ 370619 h 812"/>
                <a:gd name="T60" fmla="*/ 132693 w 831"/>
                <a:gd name="T61" fmla="*/ 368009 h 812"/>
                <a:gd name="T62" fmla="*/ 144995 w 831"/>
                <a:gd name="T63" fmla="*/ 376361 h 812"/>
                <a:gd name="T64" fmla="*/ 157738 w 831"/>
                <a:gd name="T65" fmla="*/ 394631 h 812"/>
                <a:gd name="T66" fmla="*/ 179267 w 831"/>
                <a:gd name="T67" fmla="*/ 409769 h 812"/>
                <a:gd name="T68" fmla="*/ 197282 w 831"/>
                <a:gd name="T69" fmla="*/ 419165 h 812"/>
                <a:gd name="T70" fmla="*/ 202115 w 831"/>
                <a:gd name="T71" fmla="*/ 412901 h 812"/>
                <a:gd name="T72" fmla="*/ 213978 w 831"/>
                <a:gd name="T73" fmla="*/ 404027 h 812"/>
                <a:gd name="T74" fmla="*/ 243417 w 831"/>
                <a:gd name="T75" fmla="*/ 398807 h 812"/>
                <a:gd name="T76" fmla="*/ 262310 w 831"/>
                <a:gd name="T77" fmla="*/ 391499 h 812"/>
                <a:gd name="T78" fmla="*/ 271537 w 831"/>
                <a:gd name="T79" fmla="*/ 379493 h 812"/>
                <a:gd name="T80" fmla="*/ 256598 w 831"/>
                <a:gd name="T81" fmla="*/ 365399 h 812"/>
                <a:gd name="T82" fmla="*/ 238144 w 831"/>
                <a:gd name="T83" fmla="*/ 334601 h 812"/>
                <a:gd name="T84" fmla="*/ 231114 w 831"/>
                <a:gd name="T85" fmla="*/ 325727 h 812"/>
                <a:gd name="T86" fmla="*/ 231114 w 831"/>
                <a:gd name="T87" fmla="*/ 301715 h 812"/>
                <a:gd name="T88" fmla="*/ 255719 w 831"/>
                <a:gd name="T89" fmla="*/ 293885 h 812"/>
                <a:gd name="T90" fmla="*/ 273295 w 831"/>
                <a:gd name="T91" fmla="*/ 277181 h 812"/>
                <a:gd name="T92" fmla="*/ 302294 w 831"/>
                <a:gd name="T93" fmla="*/ 217673 h 812"/>
                <a:gd name="T94" fmla="*/ 320748 w 831"/>
                <a:gd name="T95" fmla="*/ 192096 h 812"/>
                <a:gd name="T96" fmla="*/ 318551 w 831"/>
                <a:gd name="T97" fmla="*/ 172260 h 812"/>
                <a:gd name="T98" fmla="*/ 320308 w 831"/>
                <a:gd name="T99" fmla="*/ 159210 h 812"/>
                <a:gd name="T100" fmla="*/ 329975 w 831"/>
                <a:gd name="T101" fmla="*/ 150858 h 812"/>
                <a:gd name="T102" fmla="*/ 294385 w 831"/>
                <a:gd name="T103" fmla="*/ 108054 h 812"/>
                <a:gd name="T104" fmla="*/ 333050 w 831"/>
                <a:gd name="T105" fmla="*/ 73080 h 812"/>
                <a:gd name="T106" fmla="*/ 353701 w 831"/>
                <a:gd name="T107" fmla="*/ 64206 h 8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4" name="Freeform 262">
              <a:extLst>
                <a:ext uri="{FF2B5EF4-FFF2-40B4-BE49-F238E27FC236}">
                  <a16:creationId xmlns:a16="http://schemas.microsoft.com/office/drawing/2014/main" id="{8DF4E5FD-7BFE-4926-A695-89F980C0ACF0}"/>
                </a:ext>
              </a:extLst>
            </p:cNvPr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7794626" y="2757489"/>
              <a:ext cx="220663" cy="585787"/>
            </a:xfrm>
            <a:custGeom>
              <a:avLst/>
              <a:gdLst>
                <a:gd name="T0" fmla="*/ 191387 w 505"/>
                <a:gd name="T1" fmla="*/ 557569 h 1121"/>
                <a:gd name="T2" fmla="*/ 193572 w 505"/>
                <a:gd name="T3" fmla="*/ 537189 h 1121"/>
                <a:gd name="T4" fmla="*/ 174346 w 505"/>
                <a:gd name="T5" fmla="*/ 534054 h 1121"/>
                <a:gd name="T6" fmla="*/ 176967 w 505"/>
                <a:gd name="T7" fmla="*/ 500088 h 1121"/>
                <a:gd name="T8" fmla="*/ 183085 w 505"/>
                <a:gd name="T9" fmla="*/ 486501 h 1121"/>
                <a:gd name="T10" fmla="*/ 180463 w 505"/>
                <a:gd name="T11" fmla="*/ 469779 h 1121"/>
                <a:gd name="T12" fmla="*/ 173909 w 505"/>
                <a:gd name="T13" fmla="*/ 466644 h 1121"/>
                <a:gd name="T14" fmla="*/ 166917 w 505"/>
                <a:gd name="T15" fmla="*/ 437903 h 1121"/>
                <a:gd name="T16" fmla="*/ 141574 w 505"/>
                <a:gd name="T17" fmla="*/ 375719 h 1121"/>
                <a:gd name="T18" fmla="*/ 129339 w 505"/>
                <a:gd name="T19" fmla="*/ 367358 h 1121"/>
                <a:gd name="T20" fmla="*/ 123222 w 505"/>
                <a:gd name="T21" fmla="*/ 375196 h 1121"/>
                <a:gd name="T22" fmla="*/ 98752 w 505"/>
                <a:gd name="T23" fmla="*/ 387738 h 1121"/>
                <a:gd name="T24" fmla="*/ 73846 w 505"/>
                <a:gd name="T25" fmla="*/ 384602 h 1121"/>
                <a:gd name="T26" fmla="*/ 58115 w 505"/>
                <a:gd name="T27" fmla="*/ 296290 h 1121"/>
                <a:gd name="T28" fmla="*/ 44133 w 505"/>
                <a:gd name="T29" fmla="*/ 271730 h 1121"/>
                <a:gd name="T30" fmla="*/ 22285 w 505"/>
                <a:gd name="T31" fmla="*/ 262324 h 1121"/>
                <a:gd name="T32" fmla="*/ 3496 w 505"/>
                <a:gd name="T33" fmla="*/ 246125 h 1121"/>
                <a:gd name="T34" fmla="*/ 10050 w 505"/>
                <a:gd name="T35" fmla="*/ 232538 h 1121"/>
                <a:gd name="T36" fmla="*/ 25343 w 505"/>
                <a:gd name="T37" fmla="*/ 188643 h 1121"/>
                <a:gd name="T38" fmla="*/ 29276 w 505"/>
                <a:gd name="T39" fmla="*/ 144748 h 1121"/>
                <a:gd name="T40" fmla="*/ 34957 w 505"/>
                <a:gd name="T41" fmla="*/ 138478 h 1121"/>
                <a:gd name="T42" fmla="*/ 49376 w 505"/>
                <a:gd name="T43" fmla="*/ 134820 h 1121"/>
                <a:gd name="T44" fmla="*/ 58552 w 505"/>
                <a:gd name="T45" fmla="*/ 116008 h 1121"/>
                <a:gd name="T46" fmla="*/ 61174 w 505"/>
                <a:gd name="T47" fmla="*/ 61139 h 1121"/>
                <a:gd name="T48" fmla="*/ 69476 w 505"/>
                <a:gd name="T49" fmla="*/ 51211 h 1121"/>
                <a:gd name="T50" fmla="*/ 93072 w 505"/>
                <a:gd name="T51" fmla="*/ 38669 h 1121"/>
                <a:gd name="T52" fmla="*/ 102248 w 505"/>
                <a:gd name="T53" fmla="*/ 10974 h 1121"/>
                <a:gd name="T54" fmla="*/ 121037 w 505"/>
                <a:gd name="T55" fmla="*/ 16199 h 1121"/>
                <a:gd name="T56" fmla="*/ 136330 w 505"/>
                <a:gd name="T57" fmla="*/ 25605 h 1121"/>
                <a:gd name="T58" fmla="*/ 147254 w 505"/>
                <a:gd name="T59" fmla="*/ 63752 h 1121"/>
                <a:gd name="T60" fmla="*/ 146380 w 505"/>
                <a:gd name="T61" fmla="*/ 87267 h 1121"/>
                <a:gd name="T62" fmla="*/ 131087 w 505"/>
                <a:gd name="T63" fmla="*/ 112872 h 1121"/>
                <a:gd name="T64" fmla="*/ 128028 w 505"/>
                <a:gd name="T65" fmla="*/ 128027 h 1121"/>
                <a:gd name="T66" fmla="*/ 135020 w 505"/>
                <a:gd name="T67" fmla="*/ 136388 h 1121"/>
                <a:gd name="T68" fmla="*/ 151187 w 505"/>
                <a:gd name="T69" fmla="*/ 141091 h 1121"/>
                <a:gd name="T70" fmla="*/ 162111 w 505"/>
                <a:gd name="T71" fmla="*/ 152064 h 1121"/>
                <a:gd name="T72" fmla="*/ 173909 w 505"/>
                <a:gd name="T73" fmla="*/ 180282 h 1121"/>
                <a:gd name="T74" fmla="*/ 187891 w 505"/>
                <a:gd name="T75" fmla="*/ 209023 h 1121"/>
                <a:gd name="T76" fmla="*/ 202748 w 505"/>
                <a:gd name="T77" fmla="*/ 218429 h 1121"/>
                <a:gd name="T78" fmla="*/ 220663 w 505"/>
                <a:gd name="T79" fmla="*/ 218429 h 1121"/>
                <a:gd name="T80" fmla="*/ 207991 w 505"/>
                <a:gd name="T81" fmla="*/ 258143 h 1121"/>
                <a:gd name="T82" fmla="*/ 186580 w 505"/>
                <a:gd name="T83" fmla="*/ 266504 h 1121"/>
                <a:gd name="T84" fmla="*/ 167354 w 505"/>
                <a:gd name="T85" fmla="*/ 275910 h 1121"/>
                <a:gd name="T86" fmla="*/ 157304 w 505"/>
                <a:gd name="T87" fmla="*/ 298903 h 1121"/>
                <a:gd name="T88" fmla="*/ 161674 w 505"/>
                <a:gd name="T89" fmla="*/ 332869 h 1121"/>
                <a:gd name="T90" fmla="*/ 175656 w 505"/>
                <a:gd name="T91" fmla="*/ 356907 h 1121"/>
                <a:gd name="T92" fmla="*/ 187891 w 505"/>
                <a:gd name="T93" fmla="*/ 384080 h 1121"/>
                <a:gd name="T94" fmla="*/ 187017 w 505"/>
                <a:gd name="T95" fmla="*/ 405505 h 1121"/>
                <a:gd name="T96" fmla="*/ 183085 w 505"/>
                <a:gd name="T97" fmla="*/ 418569 h 1121"/>
                <a:gd name="T98" fmla="*/ 190076 w 505"/>
                <a:gd name="T99" fmla="*/ 444696 h 1121"/>
                <a:gd name="T100" fmla="*/ 211050 w 505"/>
                <a:gd name="T101" fmla="*/ 504268 h 1121"/>
                <a:gd name="T102" fmla="*/ 200126 w 505"/>
                <a:gd name="T103" fmla="*/ 565407 h 112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5" name="Freeform 263">
              <a:extLst>
                <a:ext uri="{FF2B5EF4-FFF2-40B4-BE49-F238E27FC236}">
                  <a16:creationId xmlns:a16="http://schemas.microsoft.com/office/drawing/2014/main" id="{EB82241C-43FE-4E9B-AA19-C8A5300AC969}"/>
                </a:ext>
              </a:extLst>
            </p:cNvPr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5118101" y="3267075"/>
              <a:ext cx="80963" cy="58738"/>
            </a:xfrm>
            <a:custGeom>
              <a:avLst/>
              <a:gdLst>
                <a:gd name="T0" fmla="*/ 80963 w 180"/>
                <a:gd name="T1" fmla="*/ 3671 h 112"/>
                <a:gd name="T2" fmla="*/ 76915 w 180"/>
                <a:gd name="T3" fmla="*/ 12587 h 112"/>
                <a:gd name="T4" fmla="*/ 73316 w 180"/>
                <a:gd name="T5" fmla="*/ 20453 h 112"/>
                <a:gd name="T6" fmla="*/ 68369 w 180"/>
                <a:gd name="T7" fmla="*/ 27796 h 112"/>
                <a:gd name="T8" fmla="*/ 63421 w 180"/>
                <a:gd name="T9" fmla="*/ 34613 h 112"/>
                <a:gd name="T10" fmla="*/ 58023 w 180"/>
                <a:gd name="T11" fmla="*/ 41956 h 112"/>
                <a:gd name="T12" fmla="*/ 51726 w 180"/>
                <a:gd name="T13" fmla="*/ 48249 h 112"/>
                <a:gd name="T14" fmla="*/ 45429 w 180"/>
                <a:gd name="T15" fmla="*/ 53494 h 112"/>
                <a:gd name="T16" fmla="*/ 39132 w 180"/>
                <a:gd name="T17" fmla="*/ 58738 h 112"/>
                <a:gd name="T18" fmla="*/ 36883 w 180"/>
                <a:gd name="T19" fmla="*/ 56116 h 112"/>
                <a:gd name="T20" fmla="*/ 35534 w 180"/>
                <a:gd name="T21" fmla="*/ 52969 h 112"/>
                <a:gd name="T22" fmla="*/ 34184 w 180"/>
                <a:gd name="T23" fmla="*/ 49822 h 112"/>
                <a:gd name="T24" fmla="*/ 33285 w 180"/>
                <a:gd name="T25" fmla="*/ 46151 h 112"/>
                <a:gd name="T26" fmla="*/ 31486 w 180"/>
                <a:gd name="T27" fmla="*/ 42480 h 112"/>
                <a:gd name="T28" fmla="*/ 30586 w 180"/>
                <a:gd name="T29" fmla="*/ 38809 h 112"/>
                <a:gd name="T30" fmla="*/ 29237 w 180"/>
                <a:gd name="T31" fmla="*/ 36187 h 112"/>
                <a:gd name="T32" fmla="*/ 26988 w 180"/>
                <a:gd name="T33" fmla="*/ 33040 h 112"/>
                <a:gd name="T34" fmla="*/ 20241 w 180"/>
                <a:gd name="T35" fmla="*/ 25173 h 112"/>
                <a:gd name="T36" fmla="*/ 16193 w 180"/>
                <a:gd name="T37" fmla="*/ 19929 h 112"/>
                <a:gd name="T38" fmla="*/ 13494 w 180"/>
                <a:gd name="T39" fmla="*/ 17307 h 112"/>
                <a:gd name="T40" fmla="*/ 11245 w 180"/>
                <a:gd name="T41" fmla="*/ 16258 h 112"/>
                <a:gd name="T42" fmla="*/ 8096 w 180"/>
                <a:gd name="T43" fmla="*/ 15733 h 112"/>
                <a:gd name="T44" fmla="*/ 0 w 180"/>
                <a:gd name="T45" fmla="*/ 13636 h 112"/>
                <a:gd name="T46" fmla="*/ 11695 w 180"/>
                <a:gd name="T47" fmla="*/ 7342 h 112"/>
                <a:gd name="T48" fmla="*/ 18442 w 180"/>
                <a:gd name="T49" fmla="*/ 4720 h 112"/>
                <a:gd name="T50" fmla="*/ 25188 w 180"/>
                <a:gd name="T51" fmla="*/ 2622 h 112"/>
                <a:gd name="T52" fmla="*/ 33285 w 180"/>
                <a:gd name="T53" fmla="*/ 1573 h 112"/>
                <a:gd name="T54" fmla="*/ 41831 w 180"/>
                <a:gd name="T55" fmla="*/ 524 h 112"/>
                <a:gd name="T56" fmla="*/ 51277 w 180"/>
                <a:gd name="T57" fmla="*/ 0 h 112"/>
                <a:gd name="T58" fmla="*/ 60722 w 180"/>
                <a:gd name="T59" fmla="*/ 524 h 112"/>
                <a:gd name="T60" fmla="*/ 70618 w 180"/>
                <a:gd name="T61" fmla="*/ 1573 h 112"/>
                <a:gd name="T62" fmla="*/ 80963 w 180"/>
                <a:gd name="T63" fmla="*/ 3671 h 11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6" name="Freeform 264">
              <a:extLst>
                <a:ext uri="{FF2B5EF4-FFF2-40B4-BE49-F238E27FC236}">
                  <a16:creationId xmlns:a16="http://schemas.microsoft.com/office/drawing/2014/main" id="{E72D9F05-1F06-435F-A4A4-6238BF4BC90B}"/>
                </a:ext>
              </a:extLst>
            </p:cNvPr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5202238" y="3349626"/>
              <a:ext cx="74612" cy="100013"/>
            </a:xfrm>
            <a:custGeom>
              <a:avLst/>
              <a:gdLst>
                <a:gd name="T0" fmla="*/ 0 w 173"/>
                <a:gd name="T1" fmla="*/ 35421 h 192"/>
                <a:gd name="T2" fmla="*/ 11645 w 173"/>
                <a:gd name="T3" fmla="*/ 21878 h 192"/>
                <a:gd name="T4" fmla="*/ 21995 w 173"/>
                <a:gd name="T5" fmla="*/ 10939 h 192"/>
                <a:gd name="T6" fmla="*/ 24152 w 173"/>
                <a:gd name="T7" fmla="*/ 8334 h 192"/>
                <a:gd name="T8" fmla="*/ 27171 w 173"/>
                <a:gd name="T9" fmla="*/ 6251 h 192"/>
                <a:gd name="T10" fmla="*/ 30190 w 173"/>
                <a:gd name="T11" fmla="*/ 4167 h 192"/>
                <a:gd name="T12" fmla="*/ 32778 w 173"/>
                <a:gd name="T13" fmla="*/ 3125 h 192"/>
                <a:gd name="T14" fmla="*/ 35797 w 173"/>
                <a:gd name="T15" fmla="*/ 1563 h 192"/>
                <a:gd name="T16" fmla="*/ 38815 w 173"/>
                <a:gd name="T17" fmla="*/ 1042 h 192"/>
                <a:gd name="T18" fmla="*/ 42266 w 173"/>
                <a:gd name="T19" fmla="*/ 521 h 192"/>
                <a:gd name="T20" fmla="*/ 46147 w 173"/>
                <a:gd name="T21" fmla="*/ 0 h 192"/>
                <a:gd name="T22" fmla="*/ 50029 w 173"/>
                <a:gd name="T23" fmla="*/ 521 h 192"/>
                <a:gd name="T24" fmla="*/ 53479 w 173"/>
                <a:gd name="T25" fmla="*/ 1042 h 192"/>
                <a:gd name="T26" fmla="*/ 56929 w 173"/>
                <a:gd name="T27" fmla="*/ 2605 h 192"/>
                <a:gd name="T28" fmla="*/ 59948 w 173"/>
                <a:gd name="T29" fmla="*/ 4167 h 192"/>
                <a:gd name="T30" fmla="*/ 62536 w 173"/>
                <a:gd name="T31" fmla="*/ 6772 h 192"/>
                <a:gd name="T32" fmla="*/ 65124 w 173"/>
                <a:gd name="T33" fmla="*/ 9897 h 192"/>
                <a:gd name="T34" fmla="*/ 66849 w 173"/>
                <a:gd name="T35" fmla="*/ 12502 h 192"/>
                <a:gd name="T36" fmla="*/ 69005 w 173"/>
                <a:gd name="T37" fmla="*/ 15627 h 192"/>
                <a:gd name="T38" fmla="*/ 70299 w 173"/>
                <a:gd name="T39" fmla="*/ 19273 h 192"/>
                <a:gd name="T40" fmla="*/ 71593 w 173"/>
                <a:gd name="T41" fmla="*/ 22399 h 192"/>
                <a:gd name="T42" fmla="*/ 72456 w 173"/>
                <a:gd name="T43" fmla="*/ 26045 h 192"/>
                <a:gd name="T44" fmla="*/ 72887 w 173"/>
                <a:gd name="T45" fmla="*/ 29691 h 192"/>
                <a:gd name="T46" fmla="*/ 74181 w 173"/>
                <a:gd name="T47" fmla="*/ 37505 h 192"/>
                <a:gd name="T48" fmla="*/ 74612 w 173"/>
                <a:gd name="T49" fmla="*/ 45318 h 192"/>
                <a:gd name="T50" fmla="*/ 67711 w 173"/>
                <a:gd name="T51" fmla="*/ 59383 h 192"/>
                <a:gd name="T52" fmla="*/ 62967 w 173"/>
                <a:gd name="T53" fmla="*/ 71363 h 192"/>
                <a:gd name="T54" fmla="*/ 59948 w 173"/>
                <a:gd name="T55" fmla="*/ 77093 h 192"/>
                <a:gd name="T56" fmla="*/ 56067 w 173"/>
                <a:gd name="T57" fmla="*/ 83344 h 192"/>
                <a:gd name="T58" fmla="*/ 50460 w 173"/>
                <a:gd name="T59" fmla="*/ 90637 h 192"/>
                <a:gd name="T60" fmla="*/ 42697 w 173"/>
                <a:gd name="T61" fmla="*/ 100013 h 192"/>
                <a:gd name="T62" fmla="*/ 37090 w 173"/>
                <a:gd name="T63" fmla="*/ 95325 h 192"/>
                <a:gd name="T64" fmla="*/ 31915 w 173"/>
                <a:gd name="T65" fmla="*/ 91679 h 192"/>
                <a:gd name="T66" fmla="*/ 27171 w 173"/>
                <a:gd name="T67" fmla="*/ 88032 h 192"/>
                <a:gd name="T68" fmla="*/ 23289 w 173"/>
                <a:gd name="T69" fmla="*/ 84907 h 192"/>
                <a:gd name="T70" fmla="*/ 19839 w 173"/>
                <a:gd name="T71" fmla="*/ 81261 h 192"/>
                <a:gd name="T72" fmla="*/ 17251 w 173"/>
                <a:gd name="T73" fmla="*/ 78135 h 192"/>
                <a:gd name="T74" fmla="*/ 14664 w 173"/>
                <a:gd name="T75" fmla="*/ 75010 h 192"/>
                <a:gd name="T76" fmla="*/ 12938 w 173"/>
                <a:gd name="T77" fmla="*/ 71363 h 192"/>
                <a:gd name="T78" fmla="*/ 9488 w 173"/>
                <a:gd name="T79" fmla="*/ 64071 h 192"/>
                <a:gd name="T80" fmla="*/ 6901 w 173"/>
                <a:gd name="T81" fmla="*/ 55736 h 192"/>
                <a:gd name="T82" fmla="*/ 3882 w 173"/>
                <a:gd name="T83" fmla="*/ 46881 h 192"/>
                <a:gd name="T84" fmla="*/ 0 w 173"/>
                <a:gd name="T85" fmla="*/ 35421 h 19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7" name="Freeform 265">
              <a:extLst>
                <a:ext uri="{FF2B5EF4-FFF2-40B4-BE49-F238E27FC236}">
                  <a16:creationId xmlns:a16="http://schemas.microsoft.com/office/drawing/2014/main" id="{DAECC4EC-FCA0-4192-A47B-23083EEB84B7}"/>
                </a:ext>
              </a:extLst>
            </p:cNvPr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5245101" y="3400426"/>
              <a:ext cx="104775" cy="131763"/>
            </a:xfrm>
            <a:custGeom>
              <a:avLst/>
              <a:gdLst>
                <a:gd name="T0" fmla="*/ 33276 w 233"/>
                <a:gd name="T1" fmla="*/ 0 h 252"/>
                <a:gd name="T2" fmla="*/ 37323 w 233"/>
                <a:gd name="T3" fmla="*/ 1046 h 252"/>
                <a:gd name="T4" fmla="*/ 40021 w 233"/>
                <a:gd name="T5" fmla="*/ 1569 h 252"/>
                <a:gd name="T6" fmla="*/ 42719 w 233"/>
                <a:gd name="T7" fmla="*/ 1569 h 252"/>
                <a:gd name="T8" fmla="*/ 44518 w 233"/>
                <a:gd name="T9" fmla="*/ 1046 h 252"/>
                <a:gd name="T10" fmla="*/ 47666 w 233"/>
                <a:gd name="T11" fmla="*/ 523 h 252"/>
                <a:gd name="T12" fmla="*/ 50814 w 233"/>
                <a:gd name="T13" fmla="*/ 0 h 252"/>
                <a:gd name="T14" fmla="*/ 56210 w 233"/>
                <a:gd name="T15" fmla="*/ 8889 h 252"/>
                <a:gd name="T16" fmla="*/ 62955 w 233"/>
                <a:gd name="T17" fmla="*/ 19346 h 252"/>
                <a:gd name="T18" fmla="*/ 64754 w 233"/>
                <a:gd name="T19" fmla="*/ 21961 h 252"/>
                <a:gd name="T20" fmla="*/ 66552 w 233"/>
                <a:gd name="T21" fmla="*/ 24052 h 252"/>
                <a:gd name="T22" fmla="*/ 68801 w 233"/>
                <a:gd name="T23" fmla="*/ 25621 h 252"/>
                <a:gd name="T24" fmla="*/ 70599 w 233"/>
                <a:gd name="T25" fmla="*/ 27189 h 252"/>
                <a:gd name="T26" fmla="*/ 73298 w 233"/>
                <a:gd name="T27" fmla="*/ 28235 h 252"/>
                <a:gd name="T28" fmla="*/ 75546 w 233"/>
                <a:gd name="T29" fmla="*/ 29281 h 252"/>
                <a:gd name="T30" fmla="*/ 78244 w 233"/>
                <a:gd name="T31" fmla="*/ 29281 h 252"/>
                <a:gd name="T32" fmla="*/ 80942 w 233"/>
                <a:gd name="T33" fmla="*/ 29281 h 252"/>
                <a:gd name="T34" fmla="*/ 80942 w 233"/>
                <a:gd name="T35" fmla="*/ 41830 h 252"/>
                <a:gd name="T36" fmla="*/ 86788 w 233"/>
                <a:gd name="T37" fmla="*/ 53856 h 252"/>
                <a:gd name="T38" fmla="*/ 95332 w 233"/>
                <a:gd name="T39" fmla="*/ 66927 h 252"/>
                <a:gd name="T40" fmla="*/ 96681 w 233"/>
                <a:gd name="T41" fmla="*/ 70587 h 252"/>
                <a:gd name="T42" fmla="*/ 98929 w 233"/>
                <a:gd name="T43" fmla="*/ 74247 h 252"/>
                <a:gd name="T44" fmla="*/ 100278 w 233"/>
                <a:gd name="T45" fmla="*/ 78953 h 252"/>
                <a:gd name="T46" fmla="*/ 101627 w 233"/>
                <a:gd name="T47" fmla="*/ 83659 h 252"/>
                <a:gd name="T48" fmla="*/ 103426 w 233"/>
                <a:gd name="T49" fmla="*/ 88888 h 252"/>
                <a:gd name="T50" fmla="*/ 104325 w 233"/>
                <a:gd name="T51" fmla="*/ 94116 h 252"/>
                <a:gd name="T52" fmla="*/ 104775 w 233"/>
                <a:gd name="T53" fmla="*/ 99868 h 252"/>
                <a:gd name="T54" fmla="*/ 104775 w 233"/>
                <a:gd name="T55" fmla="*/ 106665 h 252"/>
                <a:gd name="T56" fmla="*/ 104325 w 233"/>
                <a:gd name="T57" fmla="*/ 112940 h 252"/>
                <a:gd name="T58" fmla="*/ 103426 w 233"/>
                <a:gd name="T59" fmla="*/ 119214 h 252"/>
                <a:gd name="T60" fmla="*/ 102077 w 233"/>
                <a:gd name="T61" fmla="*/ 125489 h 252"/>
                <a:gd name="T62" fmla="*/ 101627 w 233"/>
                <a:gd name="T63" fmla="*/ 131763 h 252"/>
                <a:gd name="T64" fmla="*/ 99829 w 233"/>
                <a:gd name="T65" fmla="*/ 131763 h 252"/>
                <a:gd name="T66" fmla="*/ 96681 w 233"/>
                <a:gd name="T67" fmla="*/ 130717 h 252"/>
                <a:gd name="T68" fmla="*/ 93533 w 233"/>
                <a:gd name="T69" fmla="*/ 128626 h 252"/>
                <a:gd name="T70" fmla="*/ 89036 w 233"/>
                <a:gd name="T71" fmla="*/ 126011 h 252"/>
                <a:gd name="T72" fmla="*/ 79143 w 233"/>
                <a:gd name="T73" fmla="*/ 118168 h 252"/>
                <a:gd name="T74" fmla="*/ 67901 w 233"/>
                <a:gd name="T75" fmla="*/ 108757 h 252"/>
                <a:gd name="T76" fmla="*/ 56210 w 233"/>
                <a:gd name="T77" fmla="*/ 97254 h 252"/>
                <a:gd name="T78" fmla="*/ 44968 w 233"/>
                <a:gd name="T79" fmla="*/ 86273 h 252"/>
                <a:gd name="T80" fmla="*/ 35075 w 233"/>
                <a:gd name="T81" fmla="*/ 75816 h 252"/>
                <a:gd name="T82" fmla="*/ 27430 w 233"/>
                <a:gd name="T83" fmla="*/ 67450 h 252"/>
                <a:gd name="T84" fmla="*/ 24732 w 233"/>
                <a:gd name="T85" fmla="*/ 65359 h 252"/>
                <a:gd name="T86" fmla="*/ 21585 w 233"/>
                <a:gd name="T87" fmla="*/ 62744 h 252"/>
                <a:gd name="T88" fmla="*/ 18437 w 233"/>
                <a:gd name="T89" fmla="*/ 60653 h 252"/>
                <a:gd name="T90" fmla="*/ 14839 w 233"/>
                <a:gd name="T91" fmla="*/ 58561 h 252"/>
                <a:gd name="T92" fmla="*/ 7645 w 233"/>
                <a:gd name="T93" fmla="*/ 54378 h 252"/>
                <a:gd name="T94" fmla="*/ 0 w 233"/>
                <a:gd name="T95" fmla="*/ 51764 h 252"/>
                <a:gd name="T96" fmla="*/ 17987 w 233"/>
                <a:gd name="T97" fmla="*/ 32941 h 252"/>
                <a:gd name="T98" fmla="*/ 26531 w 233"/>
                <a:gd name="T99" fmla="*/ 22483 h 252"/>
                <a:gd name="T100" fmla="*/ 29229 w 233"/>
                <a:gd name="T101" fmla="*/ 17255 h 252"/>
                <a:gd name="T102" fmla="*/ 31028 w 233"/>
                <a:gd name="T103" fmla="*/ 13072 h 252"/>
                <a:gd name="T104" fmla="*/ 32377 w 233"/>
                <a:gd name="T105" fmla="*/ 7320 h 252"/>
                <a:gd name="T106" fmla="*/ 33276 w 233"/>
                <a:gd name="T107" fmla="*/ 0 h 2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8" name="Freeform 266">
              <a:extLst>
                <a:ext uri="{FF2B5EF4-FFF2-40B4-BE49-F238E27FC236}">
                  <a16:creationId xmlns:a16="http://schemas.microsoft.com/office/drawing/2014/main" id="{D840E476-C1E2-474B-BED5-E4BF0F19CA2E}"/>
                </a:ext>
              </a:extLst>
            </p:cNvPr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5459414" y="3319463"/>
              <a:ext cx="104775" cy="201612"/>
            </a:xfrm>
            <a:custGeom>
              <a:avLst/>
              <a:gdLst>
                <a:gd name="T0" fmla="*/ 5537 w 246"/>
                <a:gd name="T1" fmla="*/ 199490 h 380"/>
                <a:gd name="T2" fmla="*/ 5963 w 246"/>
                <a:gd name="T3" fmla="*/ 194715 h 380"/>
                <a:gd name="T4" fmla="*/ 6389 w 246"/>
                <a:gd name="T5" fmla="*/ 190470 h 380"/>
                <a:gd name="T6" fmla="*/ 7666 w 246"/>
                <a:gd name="T7" fmla="*/ 186226 h 380"/>
                <a:gd name="T8" fmla="*/ 8518 w 246"/>
                <a:gd name="T9" fmla="*/ 182512 h 380"/>
                <a:gd name="T10" fmla="*/ 10648 w 246"/>
                <a:gd name="T11" fmla="*/ 176676 h 380"/>
                <a:gd name="T12" fmla="*/ 11074 w 246"/>
                <a:gd name="T13" fmla="*/ 173492 h 380"/>
                <a:gd name="T14" fmla="*/ 10648 w 246"/>
                <a:gd name="T15" fmla="*/ 170309 h 380"/>
                <a:gd name="T16" fmla="*/ 9796 w 246"/>
                <a:gd name="T17" fmla="*/ 166595 h 380"/>
                <a:gd name="T18" fmla="*/ 8092 w 246"/>
                <a:gd name="T19" fmla="*/ 161820 h 380"/>
                <a:gd name="T20" fmla="*/ 5537 w 246"/>
                <a:gd name="T21" fmla="*/ 156515 h 380"/>
                <a:gd name="T22" fmla="*/ 3833 w 246"/>
                <a:gd name="T23" fmla="*/ 151209 h 380"/>
                <a:gd name="T24" fmla="*/ 1704 w 246"/>
                <a:gd name="T25" fmla="*/ 145903 h 380"/>
                <a:gd name="T26" fmla="*/ 426 w 246"/>
                <a:gd name="T27" fmla="*/ 141659 h 380"/>
                <a:gd name="T28" fmla="*/ 0 w 246"/>
                <a:gd name="T29" fmla="*/ 137414 h 380"/>
                <a:gd name="T30" fmla="*/ 426 w 246"/>
                <a:gd name="T31" fmla="*/ 133170 h 380"/>
                <a:gd name="T32" fmla="*/ 852 w 246"/>
                <a:gd name="T33" fmla="*/ 128926 h 380"/>
                <a:gd name="T34" fmla="*/ 1278 w 246"/>
                <a:gd name="T35" fmla="*/ 125212 h 380"/>
                <a:gd name="T36" fmla="*/ 2555 w 246"/>
                <a:gd name="T37" fmla="*/ 122028 h 380"/>
                <a:gd name="T38" fmla="*/ 4685 w 246"/>
                <a:gd name="T39" fmla="*/ 115662 h 380"/>
                <a:gd name="T40" fmla="*/ 8092 w 246"/>
                <a:gd name="T41" fmla="*/ 109825 h 380"/>
                <a:gd name="T42" fmla="*/ 11074 w 246"/>
                <a:gd name="T43" fmla="*/ 104520 h 380"/>
                <a:gd name="T44" fmla="*/ 14481 w 246"/>
                <a:gd name="T45" fmla="*/ 98153 h 380"/>
                <a:gd name="T46" fmla="*/ 17463 w 246"/>
                <a:gd name="T47" fmla="*/ 91787 h 380"/>
                <a:gd name="T48" fmla="*/ 20018 w 246"/>
                <a:gd name="T49" fmla="*/ 84889 h 380"/>
                <a:gd name="T50" fmla="*/ 11074 w 246"/>
                <a:gd name="T51" fmla="*/ 38731 h 380"/>
                <a:gd name="T52" fmla="*/ 11074 w 246"/>
                <a:gd name="T53" fmla="*/ 26528 h 380"/>
                <a:gd name="T54" fmla="*/ 10222 w 246"/>
                <a:gd name="T55" fmla="*/ 17508 h 380"/>
                <a:gd name="T56" fmla="*/ 10222 w 246"/>
                <a:gd name="T57" fmla="*/ 13264 h 380"/>
                <a:gd name="T58" fmla="*/ 10222 w 246"/>
                <a:gd name="T59" fmla="*/ 8489 h 380"/>
                <a:gd name="T60" fmla="*/ 10648 w 246"/>
                <a:gd name="T61" fmla="*/ 4244 h 380"/>
                <a:gd name="T62" fmla="*/ 11074 w 246"/>
                <a:gd name="T63" fmla="*/ 0 h 380"/>
                <a:gd name="T64" fmla="*/ 76665 w 246"/>
                <a:gd name="T65" fmla="*/ 0 h 380"/>
                <a:gd name="T66" fmla="*/ 93701 w 246"/>
                <a:gd name="T67" fmla="*/ 68442 h 380"/>
                <a:gd name="T68" fmla="*/ 93701 w 246"/>
                <a:gd name="T69" fmla="*/ 111417 h 380"/>
                <a:gd name="T70" fmla="*/ 93701 w 246"/>
                <a:gd name="T71" fmla="*/ 116723 h 380"/>
                <a:gd name="T72" fmla="*/ 94127 w 246"/>
                <a:gd name="T73" fmla="*/ 122028 h 380"/>
                <a:gd name="T74" fmla="*/ 94979 w 246"/>
                <a:gd name="T75" fmla="*/ 127334 h 380"/>
                <a:gd name="T76" fmla="*/ 95831 w 246"/>
                <a:gd name="T77" fmla="*/ 132639 h 380"/>
                <a:gd name="T78" fmla="*/ 97109 w 246"/>
                <a:gd name="T79" fmla="*/ 137414 h 380"/>
                <a:gd name="T80" fmla="*/ 99664 w 246"/>
                <a:gd name="T81" fmla="*/ 142190 h 380"/>
                <a:gd name="T82" fmla="*/ 101794 w 246"/>
                <a:gd name="T83" fmla="*/ 147495 h 380"/>
                <a:gd name="T84" fmla="*/ 104775 w 246"/>
                <a:gd name="T85" fmla="*/ 153331 h 380"/>
                <a:gd name="T86" fmla="*/ 95405 w 246"/>
                <a:gd name="T87" fmla="*/ 156515 h 380"/>
                <a:gd name="T88" fmla="*/ 86035 w 246"/>
                <a:gd name="T89" fmla="*/ 160228 h 380"/>
                <a:gd name="T90" fmla="*/ 77091 w 246"/>
                <a:gd name="T91" fmla="*/ 164473 h 380"/>
                <a:gd name="T92" fmla="*/ 68146 w 246"/>
                <a:gd name="T93" fmla="*/ 169248 h 380"/>
                <a:gd name="T94" fmla="*/ 60054 w 246"/>
                <a:gd name="T95" fmla="*/ 174023 h 380"/>
                <a:gd name="T96" fmla="*/ 51110 w 246"/>
                <a:gd name="T97" fmla="*/ 179329 h 380"/>
                <a:gd name="T98" fmla="*/ 42591 w 246"/>
                <a:gd name="T99" fmla="*/ 184104 h 380"/>
                <a:gd name="T100" fmla="*/ 34073 w 246"/>
                <a:gd name="T101" fmla="*/ 189940 h 380"/>
                <a:gd name="T102" fmla="*/ 31944 w 246"/>
                <a:gd name="T103" fmla="*/ 192593 h 380"/>
                <a:gd name="T104" fmla="*/ 29388 w 246"/>
                <a:gd name="T105" fmla="*/ 194715 h 380"/>
                <a:gd name="T106" fmla="*/ 26407 w 246"/>
                <a:gd name="T107" fmla="*/ 197368 h 380"/>
                <a:gd name="T108" fmla="*/ 22999 w 246"/>
                <a:gd name="T109" fmla="*/ 199490 h 380"/>
                <a:gd name="T110" fmla="*/ 19592 w 246"/>
                <a:gd name="T111" fmla="*/ 201081 h 380"/>
                <a:gd name="T112" fmla="*/ 15333 w 246"/>
                <a:gd name="T113" fmla="*/ 201612 h 380"/>
                <a:gd name="T114" fmla="*/ 13203 w 246"/>
                <a:gd name="T115" fmla="*/ 201612 h 380"/>
                <a:gd name="T116" fmla="*/ 10648 w 246"/>
                <a:gd name="T117" fmla="*/ 201081 h 380"/>
                <a:gd name="T118" fmla="*/ 8518 w 246"/>
                <a:gd name="T119" fmla="*/ 200551 h 380"/>
                <a:gd name="T120" fmla="*/ 5537 w 246"/>
                <a:gd name="T121" fmla="*/ 199490 h 38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9" name="Freeform 267">
              <a:extLst>
                <a:ext uri="{FF2B5EF4-FFF2-40B4-BE49-F238E27FC236}">
                  <a16:creationId xmlns:a16="http://schemas.microsoft.com/office/drawing/2014/main" id="{DAA996F7-8C80-4073-BE6B-0815F5ADCF7A}"/>
                </a:ext>
              </a:extLst>
            </p:cNvPr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5111751" y="3235325"/>
              <a:ext cx="87313" cy="58738"/>
            </a:xfrm>
            <a:custGeom>
              <a:avLst/>
              <a:gdLst>
                <a:gd name="T0" fmla="*/ 3167 w 193"/>
                <a:gd name="T1" fmla="*/ 30915 h 38"/>
                <a:gd name="T2" fmla="*/ 17191 w 193"/>
                <a:gd name="T3" fmla="*/ 17003 h 38"/>
                <a:gd name="T4" fmla="*/ 30311 w 193"/>
                <a:gd name="T5" fmla="*/ 7729 h 38"/>
                <a:gd name="T6" fmla="*/ 36192 w 193"/>
                <a:gd name="T7" fmla="*/ 4637 h 38"/>
                <a:gd name="T8" fmla="*/ 42526 w 193"/>
                <a:gd name="T9" fmla="*/ 3091 h 38"/>
                <a:gd name="T10" fmla="*/ 49764 w 193"/>
                <a:gd name="T11" fmla="*/ 1546 h 38"/>
                <a:gd name="T12" fmla="*/ 57002 w 193"/>
                <a:gd name="T13" fmla="*/ 0 h 38"/>
                <a:gd name="T14" fmla="*/ 62431 w 193"/>
                <a:gd name="T15" fmla="*/ 1546 h 38"/>
                <a:gd name="T16" fmla="*/ 67407 w 193"/>
                <a:gd name="T17" fmla="*/ 1546 h 38"/>
                <a:gd name="T18" fmla="*/ 72384 w 193"/>
                <a:gd name="T19" fmla="*/ 3091 h 38"/>
                <a:gd name="T20" fmla="*/ 76455 w 193"/>
                <a:gd name="T21" fmla="*/ 6183 h 38"/>
                <a:gd name="T22" fmla="*/ 80527 w 193"/>
                <a:gd name="T23" fmla="*/ 9274 h 38"/>
                <a:gd name="T24" fmla="*/ 83241 w 193"/>
                <a:gd name="T25" fmla="*/ 17003 h 38"/>
                <a:gd name="T26" fmla="*/ 84599 w 193"/>
                <a:gd name="T27" fmla="*/ 20095 h 38"/>
                <a:gd name="T28" fmla="*/ 85503 w 193"/>
                <a:gd name="T29" fmla="*/ 27823 h 38"/>
                <a:gd name="T30" fmla="*/ 86408 w 193"/>
                <a:gd name="T31" fmla="*/ 32460 h 38"/>
                <a:gd name="T32" fmla="*/ 87313 w 193"/>
                <a:gd name="T33" fmla="*/ 40189 h 38"/>
                <a:gd name="T34" fmla="*/ 82789 w 193"/>
                <a:gd name="T35" fmla="*/ 41735 h 38"/>
                <a:gd name="T36" fmla="*/ 78265 w 193"/>
                <a:gd name="T37" fmla="*/ 43281 h 38"/>
                <a:gd name="T38" fmla="*/ 74646 w 193"/>
                <a:gd name="T39" fmla="*/ 43281 h 38"/>
                <a:gd name="T40" fmla="*/ 70574 w 193"/>
                <a:gd name="T41" fmla="*/ 43281 h 38"/>
                <a:gd name="T42" fmla="*/ 62431 w 193"/>
                <a:gd name="T43" fmla="*/ 41735 h 38"/>
                <a:gd name="T44" fmla="*/ 54288 w 193"/>
                <a:gd name="T45" fmla="*/ 40189 h 38"/>
                <a:gd name="T46" fmla="*/ 46597 w 193"/>
                <a:gd name="T47" fmla="*/ 40189 h 38"/>
                <a:gd name="T48" fmla="*/ 40264 w 193"/>
                <a:gd name="T49" fmla="*/ 43281 h 38"/>
                <a:gd name="T50" fmla="*/ 34382 w 193"/>
                <a:gd name="T51" fmla="*/ 46372 h 38"/>
                <a:gd name="T52" fmla="*/ 28501 w 193"/>
                <a:gd name="T53" fmla="*/ 49464 h 38"/>
                <a:gd name="T54" fmla="*/ 22168 w 193"/>
                <a:gd name="T55" fmla="*/ 52555 h 38"/>
                <a:gd name="T56" fmla="*/ 15834 w 193"/>
                <a:gd name="T57" fmla="*/ 55647 h 38"/>
                <a:gd name="T58" fmla="*/ 8596 w 193"/>
                <a:gd name="T59" fmla="*/ 57192 h 38"/>
                <a:gd name="T60" fmla="*/ 0 w 193"/>
                <a:gd name="T61" fmla="*/ 58738 h 38"/>
                <a:gd name="T62" fmla="*/ 0 w 193"/>
                <a:gd name="T63" fmla="*/ 51009 h 38"/>
                <a:gd name="T64" fmla="*/ 452 w 193"/>
                <a:gd name="T65" fmla="*/ 44826 h 38"/>
                <a:gd name="T66" fmla="*/ 1357 w 193"/>
                <a:gd name="T67" fmla="*/ 37098 h 38"/>
                <a:gd name="T68" fmla="*/ 3167 w 193"/>
                <a:gd name="T69" fmla="*/ 30915 h 3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0" name="Freeform 268">
              <a:extLst>
                <a:ext uri="{FF2B5EF4-FFF2-40B4-BE49-F238E27FC236}">
                  <a16:creationId xmlns:a16="http://schemas.microsoft.com/office/drawing/2014/main" id="{B788A5C9-0B74-4BB7-B79A-3A3743AC0100}"/>
                </a:ext>
              </a:extLst>
            </p:cNvPr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5537201" y="3313114"/>
              <a:ext cx="42863" cy="155575"/>
            </a:xfrm>
            <a:custGeom>
              <a:avLst/>
              <a:gdLst>
                <a:gd name="T0" fmla="*/ 22947 w 99"/>
                <a:gd name="T1" fmla="*/ 6202 h 301"/>
                <a:gd name="T2" fmla="*/ 25545 w 99"/>
                <a:gd name="T3" fmla="*/ 6202 h 301"/>
                <a:gd name="T4" fmla="*/ 25545 w 99"/>
                <a:gd name="T5" fmla="*/ 9820 h 301"/>
                <a:gd name="T6" fmla="*/ 26843 w 99"/>
                <a:gd name="T7" fmla="*/ 13438 h 301"/>
                <a:gd name="T8" fmla="*/ 27276 w 99"/>
                <a:gd name="T9" fmla="*/ 17056 h 301"/>
                <a:gd name="T10" fmla="*/ 28575 w 99"/>
                <a:gd name="T11" fmla="*/ 21708 h 301"/>
                <a:gd name="T12" fmla="*/ 31173 w 99"/>
                <a:gd name="T13" fmla="*/ 29978 h 301"/>
                <a:gd name="T14" fmla="*/ 34204 w 99"/>
                <a:gd name="T15" fmla="*/ 38765 h 301"/>
                <a:gd name="T16" fmla="*/ 37667 w 99"/>
                <a:gd name="T17" fmla="*/ 48068 h 301"/>
                <a:gd name="T18" fmla="*/ 40265 w 99"/>
                <a:gd name="T19" fmla="*/ 57372 h 301"/>
                <a:gd name="T20" fmla="*/ 41564 w 99"/>
                <a:gd name="T21" fmla="*/ 62023 h 301"/>
                <a:gd name="T22" fmla="*/ 42430 w 99"/>
                <a:gd name="T23" fmla="*/ 66675 h 301"/>
                <a:gd name="T24" fmla="*/ 42863 w 99"/>
                <a:gd name="T25" fmla="*/ 71327 h 301"/>
                <a:gd name="T26" fmla="*/ 42863 w 99"/>
                <a:gd name="T27" fmla="*/ 76495 h 301"/>
                <a:gd name="T28" fmla="*/ 42863 w 99"/>
                <a:gd name="T29" fmla="*/ 149373 h 301"/>
                <a:gd name="T30" fmla="*/ 38533 w 99"/>
                <a:gd name="T31" fmla="*/ 149890 h 301"/>
                <a:gd name="T32" fmla="*/ 34637 w 99"/>
                <a:gd name="T33" fmla="*/ 151440 h 301"/>
                <a:gd name="T34" fmla="*/ 31606 w 99"/>
                <a:gd name="T35" fmla="*/ 153508 h 301"/>
                <a:gd name="T36" fmla="*/ 28575 w 99"/>
                <a:gd name="T37" fmla="*/ 155575 h 301"/>
                <a:gd name="T38" fmla="*/ 25545 w 99"/>
                <a:gd name="T39" fmla="*/ 149890 h 301"/>
                <a:gd name="T40" fmla="*/ 23380 w 99"/>
                <a:gd name="T41" fmla="*/ 144721 h 301"/>
                <a:gd name="T42" fmla="*/ 20782 w 99"/>
                <a:gd name="T43" fmla="*/ 140069 h 301"/>
                <a:gd name="T44" fmla="*/ 19483 w 99"/>
                <a:gd name="T45" fmla="*/ 135417 h 301"/>
                <a:gd name="T46" fmla="*/ 18617 w 99"/>
                <a:gd name="T47" fmla="*/ 130249 h 301"/>
                <a:gd name="T48" fmla="*/ 17751 w 99"/>
                <a:gd name="T49" fmla="*/ 125080 h 301"/>
                <a:gd name="T50" fmla="*/ 17318 w 99"/>
                <a:gd name="T51" fmla="*/ 119912 h 301"/>
                <a:gd name="T52" fmla="*/ 17318 w 99"/>
                <a:gd name="T53" fmla="*/ 114743 h 301"/>
                <a:gd name="T54" fmla="*/ 17318 w 99"/>
                <a:gd name="T55" fmla="*/ 72877 h 301"/>
                <a:gd name="T56" fmla="*/ 0 w 99"/>
                <a:gd name="T57" fmla="*/ 3101 h 301"/>
                <a:gd name="T58" fmla="*/ 2165 w 99"/>
                <a:gd name="T59" fmla="*/ 1034 h 301"/>
                <a:gd name="T60" fmla="*/ 4330 w 99"/>
                <a:gd name="T61" fmla="*/ 0 h 301"/>
                <a:gd name="T62" fmla="*/ 6061 w 99"/>
                <a:gd name="T63" fmla="*/ 0 h 301"/>
                <a:gd name="T64" fmla="*/ 8659 w 99"/>
                <a:gd name="T65" fmla="*/ 0 h 301"/>
                <a:gd name="T66" fmla="*/ 11257 w 99"/>
                <a:gd name="T67" fmla="*/ 0 h 301"/>
                <a:gd name="T68" fmla="*/ 13855 w 99"/>
                <a:gd name="T69" fmla="*/ 1034 h 301"/>
                <a:gd name="T70" fmla="*/ 16020 w 99"/>
                <a:gd name="T71" fmla="*/ 2067 h 301"/>
                <a:gd name="T72" fmla="*/ 17751 w 99"/>
                <a:gd name="T73" fmla="*/ 3101 h 301"/>
                <a:gd name="T74" fmla="*/ 20349 w 99"/>
                <a:gd name="T75" fmla="*/ 5169 h 301"/>
                <a:gd name="T76" fmla="*/ 22947 w 99"/>
                <a:gd name="T77" fmla="*/ 6202 h 30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1" name="Freeform 269">
              <a:extLst>
                <a:ext uri="{FF2B5EF4-FFF2-40B4-BE49-F238E27FC236}">
                  <a16:creationId xmlns:a16="http://schemas.microsoft.com/office/drawing/2014/main" id="{FD874E6A-BECF-431B-9E0F-40D4A07FB9F6}"/>
                </a:ext>
              </a:extLst>
            </p:cNvPr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5562600" y="3275013"/>
              <a:ext cx="76200" cy="188912"/>
            </a:xfrm>
            <a:custGeom>
              <a:avLst/>
              <a:gdLst>
                <a:gd name="T0" fmla="*/ 0 w 173"/>
                <a:gd name="T1" fmla="*/ 42333 h 357"/>
                <a:gd name="T2" fmla="*/ 3964 w 173"/>
                <a:gd name="T3" fmla="*/ 38100 h 357"/>
                <a:gd name="T4" fmla="*/ 7488 w 173"/>
                <a:gd name="T5" fmla="*/ 34396 h 357"/>
                <a:gd name="T6" fmla="*/ 11012 w 173"/>
                <a:gd name="T7" fmla="*/ 31750 h 357"/>
                <a:gd name="T8" fmla="*/ 14535 w 173"/>
                <a:gd name="T9" fmla="*/ 29633 h 357"/>
                <a:gd name="T10" fmla="*/ 17618 w 173"/>
                <a:gd name="T11" fmla="*/ 26458 h 357"/>
                <a:gd name="T12" fmla="*/ 29511 w 173"/>
                <a:gd name="T13" fmla="*/ 26458 h 357"/>
                <a:gd name="T14" fmla="*/ 41403 w 173"/>
                <a:gd name="T15" fmla="*/ 0 h 357"/>
                <a:gd name="T16" fmla="*/ 44487 w 173"/>
                <a:gd name="T17" fmla="*/ 1587 h 357"/>
                <a:gd name="T18" fmla="*/ 47570 w 173"/>
                <a:gd name="T19" fmla="*/ 3704 h 357"/>
                <a:gd name="T20" fmla="*/ 51094 w 173"/>
                <a:gd name="T21" fmla="*/ 6350 h 357"/>
                <a:gd name="T22" fmla="*/ 54177 w 173"/>
                <a:gd name="T23" fmla="*/ 9525 h 357"/>
                <a:gd name="T24" fmla="*/ 57701 w 173"/>
                <a:gd name="T25" fmla="*/ 11642 h 357"/>
                <a:gd name="T26" fmla="*/ 61224 w 173"/>
                <a:gd name="T27" fmla="*/ 14287 h 357"/>
                <a:gd name="T28" fmla="*/ 63867 w 173"/>
                <a:gd name="T29" fmla="*/ 15346 h 357"/>
                <a:gd name="T30" fmla="*/ 67391 w 173"/>
                <a:gd name="T31" fmla="*/ 15875 h 357"/>
                <a:gd name="T32" fmla="*/ 71795 w 173"/>
                <a:gd name="T33" fmla="*/ 20637 h 357"/>
                <a:gd name="T34" fmla="*/ 76200 w 173"/>
                <a:gd name="T35" fmla="*/ 26458 h 357"/>
                <a:gd name="T36" fmla="*/ 76200 w 173"/>
                <a:gd name="T37" fmla="*/ 32279 h 357"/>
                <a:gd name="T38" fmla="*/ 76200 w 173"/>
                <a:gd name="T39" fmla="*/ 36512 h 357"/>
                <a:gd name="T40" fmla="*/ 76200 w 173"/>
                <a:gd name="T41" fmla="*/ 42333 h 357"/>
                <a:gd name="T42" fmla="*/ 76200 w 173"/>
                <a:gd name="T43" fmla="*/ 51858 h 357"/>
                <a:gd name="T44" fmla="*/ 76200 w 173"/>
                <a:gd name="T45" fmla="*/ 57679 h 357"/>
                <a:gd name="T46" fmla="*/ 75319 w 173"/>
                <a:gd name="T47" fmla="*/ 62442 h 357"/>
                <a:gd name="T48" fmla="*/ 73557 w 173"/>
                <a:gd name="T49" fmla="*/ 67204 h 357"/>
                <a:gd name="T50" fmla="*/ 71795 w 173"/>
                <a:gd name="T51" fmla="*/ 71437 h 357"/>
                <a:gd name="T52" fmla="*/ 66950 w 173"/>
                <a:gd name="T53" fmla="*/ 79904 h 357"/>
                <a:gd name="T54" fmla="*/ 61665 w 173"/>
                <a:gd name="T55" fmla="*/ 88371 h 357"/>
                <a:gd name="T56" fmla="*/ 56379 w 173"/>
                <a:gd name="T57" fmla="*/ 96837 h 357"/>
                <a:gd name="T58" fmla="*/ 51534 w 173"/>
                <a:gd name="T59" fmla="*/ 105833 h 357"/>
                <a:gd name="T60" fmla="*/ 49332 w 173"/>
                <a:gd name="T61" fmla="*/ 110596 h 357"/>
                <a:gd name="T62" fmla="*/ 48010 w 173"/>
                <a:gd name="T63" fmla="*/ 115887 h 357"/>
                <a:gd name="T64" fmla="*/ 47570 w 173"/>
                <a:gd name="T65" fmla="*/ 121179 h 357"/>
                <a:gd name="T66" fmla="*/ 47129 w 173"/>
                <a:gd name="T67" fmla="*/ 127000 h 357"/>
                <a:gd name="T68" fmla="*/ 47570 w 173"/>
                <a:gd name="T69" fmla="*/ 144462 h 357"/>
                <a:gd name="T70" fmla="*/ 48010 w 173"/>
                <a:gd name="T71" fmla="*/ 155045 h 357"/>
                <a:gd name="T72" fmla="*/ 48451 w 173"/>
                <a:gd name="T73" fmla="*/ 159808 h 357"/>
                <a:gd name="T74" fmla="*/ 48010 w 173"/>
                <a:gd name="T75" fmla="*/ 165629 h 357"/>
                <a:gd name="T76" fmla="*/ 48010 w 173"/>
                <a:gd name="T77" fmla="*/ 173037 h 357"/>
                <a:gd name="T78" fmla="*/ 47129 w 173"/>
                <a:gd name="T79" fmla="*/ 182562 h 357"/>
                <a:gd name="T80" fmla="*/ 42725 w 173"/>
                <a:gd name="T81" fmla="*/ 183091 h 357"/>
                <a:gd name="T82" fmla="*/ 38761 w 173"/>
                <a:gd name="T83" fmla="*/ 183620 h 357"/>
                <a:gd name="T84" fmla="*/ 34797 w 173"/>
                <a:gd name="T85" fmla="*/ 184679 h 357"/>
                <a:gd name="T86" fmla="*/ 31273 w 173"/>
                <a:gd name="T87" fmla="*/ 185737 h 357"/>
                <a:gd name="T88" fmla="*/ 27749 w 173"/>
                <a:gd name="T89" fmla="*/ 186795 h 357"/>
                <a:gd name="T90" fmla="*/ 24225 w 173"/>
                <a:gd name="T91" fmla="*/ 187854 h 357"/>
                <a:gd name="T92" fmla="*/ 21142 w 173"/>
                <a:gd name="T93" fmla="*/ 188912 h 357"/>
                <a:gd name="T94" fmla="*/ 17618 w 173"/>
                <a:gd name="T95" fmla="*/ 188912 h 357"/>
                <a:gd name="T96" fmla="*/ 17618 w 173"/>
                <a:gd name="T97" fmla="*/ 114300 h 357"/>
                <a:gd name="T98" fmla="*/ 17618 w 173"/>
                <a:gd name="T99" fmla="*/ 109008 h 357"/>
                <a:gd name="T100" fmla="*/ 17178 w 173"/>
                <a:gd name="T101" fmla="*/ 104246 h 357"/>
                <a:gd name="T102" fmla="*/ 16297 w 173"/>
                <a:gd name="T103" fmla="*/ 99483 h 357"/>
                <a:gd name="T104" fmla="*/ 14976 w 173"/>
                <a:gd name="T105" fmla="*/ 94721 h 357"/>
                <a:gd name="T106" fmla="*/ 12333 w 173"/>
                <a:gd name="T107" fmla="*/ 85196 h 357"/>
                <a:gd name="T108" fmla="*/ 8809 w 173"/>
                <a:gd name="T109" fmla="*/ 75671 h 357"/>
                <a:gd name="T110" fmla="*/ 5726 w 173"/>
                <a:gd name="T111" fmla="*/ 66675 h 357"/>
                <a:gd name="T112" fmla="*/ 3083 w 173"/>
                <a:gd name="T113" fmla="*/ 58208 h 357"/>
                <a:gd name="T114" fmla="*/ 1762 w 173"/>
                <a:gd name="T115" fmla="*/ 53446 h 357"/>
                <a:gd name="T116" fmla="*/ 1321 w 173"/>
                <a:gd name="T117" fmla="*/ 49742 h 357"/>
                <a:gd name="T118" fmla="*/ 0 w 173"/>
                <a:gd name="T119" fmla="*/ 46037 h 357"/>
                <a:gd name="T120" fmla="*/ 0 w 173"/>
                <a:gd name="T121" fmla="*/ 42333 h 35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2" name="Freeform 270">
              <a:extLst>
                <a:ext uri="{FF2B5EF4-FFF2-40B4-BE49-F238E27FC236}">
                  <a16:creationId xmlns:a16="http://schemas.microsoft.com/office/drawing/2014/main" id="{58795F93-2ED4-4E12-8AFC-CF3F468313C7}"/>
                </a:ext>
              </a:extLst>
            </p:cNvPr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6291263" y="4479926"/>
              <a:ext cx="25400" cy="60325"/>
            </a:xfrm>
            <a:custGeom>
              <a:avLst/>
              <a:gdLst>
                <a:gd name="T0" fmla="*/ 5080 w 50"/>
                <a:gd name="T1" fmla="*/ 0 h 74"/>
                <a:gd name="T2" fmla="*/ 3048 w 50"/>
                <a:gd name="T3" fmla="*/ 11413 h 74"/>
                <a:gd name="T4" fmla="*/ 1016 w 50"/>
                <a:gd name="T5" fmla="*/ 21195 h 74"/>
                <a:gd name="T6" fmla="*/ 0 w 50"/>
                <a:gd name="T7" fmla="*/ 29347 h 74"/>
                <a:gd name="T8" fmla="*/ 0 w 50"/>
                <a:gd name="T9" fmla="*/ 35054 h 74"/>
                <a:gd name="T10" fmla="*/ 0 w 50"/>
                <a:gd name="T11" fmla="*/ 40760 h 74"/>
                <a:gd name="T12" fmla="*/ 1016 w 50"/>
                <a:gd name="T13" fmla="*/ 45651 h 74"/>
                <a:gd name="T14" fmla="*/ 3048 w 50"/>
                <a:gd name="T15" fmla="*/ 49727 h 74"/>
                <a:gd name="T16" fmla="*/ 5080 w 50"/>
                <a:gd name="T17" fmla="*/ 55434 h 74"/>
                <a:gd name="T18" fmla="*/ 25400 w 50"/>
                <a:gd name="T19" fmla="*/ 60325 h 74"/>
                <a:gd name="T20" fmla="*/ 25400 w 50"/>
                <a:gd name="T21" fmla="*/ 41575 h 74"/>
                <a:gd name="T22" fmla="*/ 25400 w 50"/>
                <a:gd name="T23" fmla="*/ 27717 h 74"/>
                <a:gd name="T24" fmla="*/ 25400 w 50"/>
                <a:gd name="T25" fmla="*/ 15489 h 74"/>
                <a:gd name="T26" fmla="*/ 25400 w 50"/>
                <a:gd name="T27" fmla="*/ 0 h 74"/>
                <a:gd name="T28" fmla="*/ 19304 w 50"/>
                <a:gd name="T29" fmla="*/ 0 h 74"/>
                <a:gd name="T30" fmla="*/ 12700 w 50"/>
                <a:gd name="T31" fmla="*/ 0 h 74"/>
                <a:gd name="T32" fmla="*/ 7112 w 50"/>
                <a:gd name="T33" fmla="*/ 0 h 74"/>
                <a:gd name="T34" fmla="*/ 5080 w 50"/>
                <a:gd name="T35" fmla="*/ 0 h 7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3" name="Freeform 271">
              <a:extLst>
                <a:ext uri="{FF2B5EF4-FFF2-40B4-BE49-F238E27FC236}">
                  <a16:creationId xmlns:a16="http://schemas.microsoft.com/office/drawing/2014/main" id="{1AAFF8D4-3948-4C01-B2B9-2C9079C73E1D}"/>
                </a:ext>
              </a:extLst>
            </p:cNvPr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6186488" y="4576763"/>
              <a:ext cx="61912" cy="57150"/>
            </a:xfrm>
            <a:custGeom>
              <a:avLst/>
              <a:gdLst>
                <a:gd name="T0" fmla="*/ 1376 w 135"/>
                <a:gd name="T1" fmla="*/ 32074 h 98"/>
                <a:gd name="T2" fmla="*/ 5045 w 135"/>
                <a:gd name="T3" fmla="*/ 31491 h 98"/>
                <a:gd name="T4" fmla="*/ 8255 w 135"/>
                <a:gd name="T5" fmla="*/ 30908 h 98"/>
                <a:gd name="T6" fmla="*/ 11007 w 135"/>
                <a:gd name="T7" fmla="*/ 29158 h 98"/>
                <a:gd name="T8" fmla="*/ 14217 w 135"/>
                <a:gd name="T9" fmla="*/ 27409 h 98"/>
                <a:gd name="T10" fmla="*/ 19262 w 135"/>
                <a:gd name="T11" fmla="*/ 22160 h 98"/>
                <a:gd name="T12" fmla="*/ 23848 w 135"/>
                <a:gd name="T13" fmla="*/ 16329 h 98"/>
                <a:gd name="T14" fmla="*/ 27975 w 135"/>
                <a:gd name="T15" fmla="*/ 10497 h 98"/>
                <a:gd name="T16" fmla="*/ 32561 w 135"/>
                <a:gd name="T17" fmla="*/ 4665 h 98"/>
                <a:gd name="T18" fmla="*/ 34854 w 135"/>
                <a:gd name="T19" fmla="*/ 2916 h 98"/>
                <a:gd name="T20" fmla="*/ 37606 w 135"/>
                <a:gd name="T21" fmla="*/ 1166 h 98"/>
                <a:gd name="T22" fmla="*/ 40357 w 135"/>
                <a:gd name="T23" fmla="*/ 0 h 98"/>
                <a:gd name="T24" fmla="*/ 44026 w 135"/>
                <a:gd name="T25" fmla="*/ 0 h 98"/>
                <a:gd name="T26" fmla="*/ 46778 w 135"/>
                <a:gd name="T27" fmla="*/ 0 h 98"/>
                <a:gd name="T28" fmla="*/ 50447 w 135"/>
                <a:gd name="T29" fmla="*/ 1749 h 98"/>
                <a:gd name="T30" fmla="*/ 53657 w 135"/>
                <a:gd name="T31" fmla="*/ 3499 h 98"/>
                <a:gd name="T32" fmla="*/ 56409 w 135"/>
                <a:gd name="T33" fmla="*/ 6415 h 98"/>
                <a:gd name="T34" fmla="*/ 58702 w 135"/>
                <a:gd name="T35" fmla="*/ 9331 h 98"/>
                <a:gd name="T36" fmla="*/ 60536 w 135"/>
                <a:gd name="T37" fmla="*/ 13996 h 98"/>
                <a:gd name="T38" fmla="*/ 61453 w 135"/>
                <a:gd name="T39" fmla="*/ 17495 h 98"/>
                <a:gd name="T40" fmla="*/ 61912 w 135"/>
                <a:gd name="T41" fmla="*/ 21577 h 98"/>
                <a:gd name="T42" fmla="*/ 61453 w 135"/>
                <a:gd name="T43" fmla="*/ 23327 h 98"/>
                <a:gd name="T44" fmla="*/ 60536 w 135"/>
                <a:gd name="T45" fmla="*/ 25076 h 98"/>
                <a:gd name="T46" fmla="*/ 59160 w 135"/>
                <a:gd name="T47" fmla="*/ 27409 h 98"/>
                <a:gd name="T48" fmla="*/ 56867 w 135"/>
                <a:gd name="T49" fmla="*/ 29741 h 98"/>
                <a:gd name="T50" fmla="*/ 51823 w 135"/>
                <a:gd name="T51" fmla="*/ 35573 h 98"/>
                <a:gd name="T52" fmla="*/ 45861 w 135"/>
                <a:gd name="T53" fmla="*/ 41988 h 98"/>
                <a:gd name="T54" fmla="*/ 39899 w 135"/>
                <a:gd name="T55" fmla="*/ 47819 h 98"/>
                <a:gd name="T56" fmla="*/ 33937 w 135"/>
                <a:gd name="T57" fmla="*/ 53068 h 98"/>
                <a:gd name="T58" fmla="*/ 28892 w 135"/>
                <a:gd name="T59" fmla="*/ 55984 h 98"/>
                <a:gd name="T60" fmla="*/ 25223 w 135"/>
                <a:gd name="T61" fmla="*/ 57150 h 98"/>
                <a:gd name="T62" fmla="*/ 23389 w 135"/>
                <a:gd name="T63" fmla="*/ 56567 h 98"/>
                <a:gd name="T64" fmla="*/ 19720 w 135"/>
                <a:gd name="T65" fmla="*/ 53651 h 98"/>
                <a:gd name="T66" fmla="*/ 14675 w 135"/>
                <a:gd name="T67" fmla="*/ 49569 h 98"/>
                <a:gd name="T68" fmla="*/ 9631 w 135"/>
                <a:gd name="T69" fmla="*/ 44904 h 98"/>
                <a:gd name="T70" fmla="*/ 5045 w 135"/>
                <a:gd name="T71" fmla="*/ 39655 h 98"/>
                <a:gd name="T72" fmla="*/ 2293 w 135"/>
                <a:gd name="T73" fmla="*/ 36156 h 98"/>
                <a:gd name="T74" fmla="*/ 459 w 135"/>
                <a:gd name="T75" fmla="*/ 34407 h 98"/>
                <a:gd name="T76" fmla="*/ 0 w 135"/>
                <a:gd name="T77" fmla="*/ 33240 h 98"/>
                <a:gd name="T78" fmla="*/ 0 w 135"/>
                <a:gd name="T79" fmla="*/ 32657 h 98"/>
                <a:gd name="T80" fmla="*/ 1376 w 135"/>
                <a:gd name="T81" fmla="*/ 32074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4" name="Freeform 272">
              <a:extLst>
                <a:ext uri="{FF2B5EF4-FFF2-40B4-BE49-F238E27FC236}">
                  <a16:creationId xmlns:a16="http://schemas.microsoft.com/office/drawing/2014/main" id="{11685AB4-2E73-429A-B975-6C56C525DE04}"/>
                </a:ext>
              </a:extLst>
            </p:cNvPr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8404225" y="2290763"/>
              <a:ext cx="120650" cy="171450"/>
            </a:xfrm>
            <a:custGeom>
              <a:avLst/>
              <a:gdLst>
                <a:gd name="T0" fmla="*/ 108857 w 266"/>
                <a:gd name="T1" fmla="*/ 4733 h 326"/>
                <a:gd name="T2" fmla="*/ 108857 w 266"/>
                <a:gd name="T3" fmla="*/ 14726 h 326"/>
                <a:gd name="T4" fmla="*/ 112939 w 266"/>
                <a:gd name="T5" fmla="*/ 22089 h 326"/>
                <a:gd name="T6" fmla="*/ 111125 w 266"/>
                <a:gd name="T7" fmla="*/ 28926 h 326"/>
                <a:gd name="T8" fmla="*/ 102054 w 266"/>
                <a:gd name="T9" fmla="*/ 26296 h 326"/>
                <a:gd name="T10" fmla="*/ 95250 w 266"/>
                <a:gd name="T11" fmla="*/ 26822 h 326"/>
                <a:gd name="T12" fmla="*/ 88446 w 266"/>
                <a:gd name="T13" fmla="*/ 34185 h 326"/>
                <a:gd name="T14" fmla="*/ 87539 w 266"/>
                <a:gd name="T15" fmla="*/ 41022 h 326"/>
                <a:gd name="T16" fmla="*/ 89807 w 266"/>
                <a:gd name="T17" fmla="*/ 46807 h 326"/>
                <a:gd name="T18" fmla="*/ 97518 w 266"/>
                <a:gd name="T19" fmla="*/ 57851 h 326"/>
                <a:gd name="T20" fmla="*/ 101600 w 266"/>
                <a:gd name="T21" fmla="*/ 64162 h 326"/>
                <a:gd name="T22" fmla="*/ 102054 w 266"/>
                <a:gd name="T23" fmla="*/ 69947 h 326"/>
                <a:gd name="T24" fmla="*/ 100693 w 266"/>
                <a:gd name="T25" fmla="*/ 75207 h 326"/>
                <a:gd name="T26" fmla="*/ 93889 w 266"/>
                <a:gd name="T27" fmla="*/ 80992 h 326"/>
                <a:gd name="T28" fmla="*/ 90714 w 266"/>
                <a:gd name="T29" fmla="*/ 84147 h 326"/>
                <a:gd name="T30" fmla="*/ 82096 w 266"/>
                <a:gd name="T31" fmla="*/ 87303 h 326"/>
                <a:gd name="T32" fmla="*/ 74386 w 266"/>
                <a:gd name="T33" fmla="*/ 93614 h 326"/>
                <a:gd name="T34" fmla="*/ 72571 w 266"/>
                <a:gd name="T35" fmla="*/ 100451 h 326"/>
                <a:gd name="T36" fmla="*/ 78468 w 266"/>
                <a:gd name="T37" fmla="*/ 108865 h 326"/>
                <a:gd name="T38" fmla="*/ 85725 w 266"/>
                <a:gd name="T39" fmla="*/ 113073 h 326"/>
                <a:gd name="T40" fmla="*/ 97064 w 266"/>
                <a:gd name="T41" fmla="*/ 119384 h 326"/>
                <a:gd name="T42" fmla="*/ 111125 w 266"/>
                <a:gd name="T43" fmla="*/ 136213 h 326"/>
                <a:gd name="T44" fmla="*/ 113846 w 266"/>
                <a:gd name="T45" fmla="*/ 149887 h 326"/>
                <a:gd name="T46" fmla="*/ 99786 w 266"/>
                <a:gd name="T47" fmla="*/ 153043 h 326"/>
                <a:gd name="T48" fmla="*/ 93889 w 266"/>
                <a:gd name="T49" fmla="*/ 156724 h 326"/>
                <a:gd name="T50" fmla="*/ 89807 w 266"/>
                <a:gd name="T51" fmla="*/ 164087 h 326"/>
                <a:gd name="T52" fmla="*/ 85725 w 266"/>
                <a:gd name="T53" fmla="*/ 171450 h 326"/>
                <a:gd name="T54" fmla="*/ 77107 w 266"/>
                <a:gd name="T55" fmla="*/ 168820 h 326"/>
                <a:gd name="T56" fmla="*/ 75746 w 266"/>
                <a:gd name="T57" fmla="*/ 166191 h 326"/>
                <a:gd name="T58" fmla="*/ 69850 w 266"/>
                <a:gd name="T59" fmla="*/ 163035 h 326"/>
                <a:gd name="T60" fmla="*/ 63046 w 266"/>
                <a:gd name="T61" fmla="*/ 158302 h 326"/>
                <a:gd name="T62" fmla="*/ 57150 w 266"/>
                <a:gd name="T63" fmla="*/ 155146 h 326"/>
                <a:gd name="T64" fmla="*/ 44450 w 266"/>
                <a:gd name="T65" fmla="*/ 152517 h 326"/>
                <a:gd name="T66" fmla="*/ 28575 w 266"/>
                <a:gd name="T67" fmla="*/ 145680 h 326"/>
                <a:gd name="T68" fmla="*/ 24493 w 266"/>
                <a:gd name="T69" fmla="*/ 140947 h 326"/>
                <a:gd name="T70" fmla="*/ 24946 w 266"/>
                <a:gd name="T71" fmla="*/ 134636 h 326"/>
                <a:gd name="T72" fmla="*/ 31750 w 266"/>
                <a:gd name="T73" fmla="*/ 128325 h 326"/>
                <a:gd name="T74" fmla="*/ 26761 w 266"/>
                <a:gd name="T75" fmla="*/ 116228 h 326"/>
                <a:gd name="T76" fmla="*/ 15421 w 266"/>
                <a:gd name="T77" fmla="*/ 102029 h 326"/>
                <a:gd name="T78" fmla="*/ 5896 w 266"/>
                <a:gd name="T79" fmla="*/ 95717 h 326"/>
                <a:gd name="T80" fmla="*/ 1814 w 266"/>
                <a:gd name="T81" fmla="*/ 89932 h 326"/>
                <a:gd name="T82" fmla="*/ 8618 w 266"/>
                <a:gd name="T83" fmla="*/ 79940 h 326"/>
                <a:gd name="T84" fmla="*/ 24493 w 266"/>
                <a:gd name="T85" fmla="*/ 65214 h 326"/>
                <a:gd name="T86" fmla="*/ 33111 w 266"/>
                <a:gd name="T87" fmla="*/ 55222 h 326"/>
                <a:gd name="T88" fmla="*/ 39914 w 266"/>
                <a:gd name="T89" fmla="*/ 48385 h 326"/>
                <a:gd name="T90" fmla="*/ 49893 w 266"/>
                <a:gd name="T91" fmla="*/ 46281 h 326"/>
                <a:gd name="T92" fmla="*/ 65314 w 266"/>
                <a:gd name="T93" fmla="*/ 36814 h 326"/>
                <a:gd name="T94" fmla="*/ 76200 w 266"/>
                <a:gd name="T95" fmla="*/ 24192 h 326"/>
                <a:gd name="T96" fmla="*/ 86632 w 266"/>
                <a:gd name="T97" fmla="*/ 11044 h 326"/>
                <a:gd name="T98" fmla="*/ 99786 w 266"/>
                <a:gd name="T99" fmla="*/ 2104 h 326"/>
                <a:gd name="T100" fmla="*/ 107950 w 266"/>
                <a:gd name="T101" fmla="*/ 0 h 32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5" name="Freeform 273">
              <a:extLst>
                <a:ext uri="{FF2B5EF4-FFF2-40B4-BE49-F238E27FC236}">
                  <a16:creationId xmlns:a16="http://schemas.microsoft.com/office/drawing/2014/main" id="{753D5CBA-86BC-4C44-BF45-8731EC8C9464}"/>
                </a:ext>
              </a:extLst>
            </p:cNvPr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7475539" y="2705101"/>
              <a:ext cx="206375" cy="123825"/>
            </a:xfrm>
            <a:custGeom>
              <a:avLst/>
              <a:gdLst>
                <a:gd name="T0" fmla="*/ 37682 w 471"/>
                <a:gd name="T1" fmla="*/ 0 h 237"/>
                <a:gd name="T2" fmla="*/ 40311 w 471"/>
                <a:gd name="T3" fmla="*/ 3657 h 237"/>
                <a:gd name="T4" fmla="*/ 44693 w 471"/>
                <a:gd name="T5" fmla="*/ 6792 h 237"/>
                <a:gd name="T6" fmla="*/ 54770 w 471"/>
                <a:gd name="T7" fmla="*/ 12017 h 237"/>
                <a:gd name="T8" fmla="*/ 69668 w 471"/>
                <a:gd name="T9" fmla="*/ 19331 h 237"/>
                <a:gd name="T10" fmla="*/ 97710 w 471"/>
                <a:gd name="T11" fmla="*/ 40230 h 237"/>
                <a:gd name="T12" fmla="*/ 110855 w 471"/>
                <a:gd name="T13" fmla="*/ 50679 h 237"/>
                <a:gd name="T14" fmla="*/ 124000 w 471"/>
                <a:gd name="T15" fmla="*/ 59039 h 237"/>
                <a:gd name="T16" fmla="*/ 138460 w 471"/>
                <a:gd name="T17" fmla="*/ 66353 h 237"/>
                <a:gd name="T18" fmla="*/ 155548 w 471"/>
                <a:gd name="T19" fmla="*/ 72623 h 237"/>
                <a:gd name="T20" fmla="*/ 174827 w 471"/>
                <a:gd name="T21" fmla="*/ 76280 h 237"/>
                <a:gd name="T22" fmla="*/ 197612 w 471"/>
                <a:gd name="T23" fmla="*/ 77325 h 237"/>
                <a:gd name="T24" fmla="*/ 198050 w 471"/>
                <a:gd name="T25" fmla="*/ 97702 h 237"/>
                <a:gd name="T26" fmla="*/ 201117 w 471"/>
                <a:gd name="T27" fmla="*/ 110241 h 237"/>
                <a:gd name="T28" fmla="*/ 204622 w 471"/>
                <a:gd name="T29" fmla="*/ 118600 h 237"/>
                <a:gd name="T30" fmla="*/ 204622 w 471"/>
                <a:gd name="T31" fmla="*/ 123303 h 237"/>
                <a:gd name="T32" fmla="*/ 197612 w 471"/>
                <a:gd name="T33" fmla="*/ 123303 h 237"/>
                <a:gd name="T34" fmla="*/ 182276 w 471"/>
                <a:gd name="T35" fmla="*/ 120690 h 237"/>
                <a:gd name="T36" fmla="*/ 158615 w 471"/>
                <a:gd name="T37" fmla="*/ 114421 h 237"/>
                <a:gd name="T38" fmla="*/ 138021 w 471"/>
                <a:gd name="T39" fmla="*/ 108151 h 237"/>
                <a:gd name="T40" fmla="*/ 128820 w 471"/>
                <a:gd name="T41" fmla="*/ 106061 h 237"/>
                <a:gd name="T42" fmla="*/ 125753 w 471"/>
                <a:gd name="T43" fmla="*/ 103971 h 237"/>
                <a:gd name="T44" fmla="*/ 121371 w 471"/>
                <a:gd name="T45" fmla="*/ 99269 h 237"/>
                <a:gd name="T46" fmla="*/ 116990 w 471"/>
                <a:gd name="T47" fmla="*/ 92999 h 237"/>
                <a:gd name="T48" fmla="*/ 111732 w 471"/>
                <a:gd name="T49" fmla="*/ 86730 h 237"/>
                <a:gd name="T50" fmla="*/ 105159 w 471"/>
                <a:gd name="T51" fmla="*/ 83072 h 237"/>
                <a:gd name="T52" fmla="*/ 99463 w 471"/>
                <a:gd name="T53" fmla="*/ 83072 h 237"/>
                <a:gd name="T54" fmla="*/ 89824 w 471"/>
                <a:gd name="T55" fmla="*/ 85162 h 237"/>
                <a:gd name="T56" fmla="*/ 80184 w 471"/>
                <a:gd name="T57" fmla="*/ 87252 h 237"/>
                <a:gd name="T58" fmla="*/ 74050 w 471"/>
                <a:gd name="T59" fmla="*/ 87775 h 237"/>
                <a:gd name="T60" fmla="*/ 69230 w 471"/>
                <a:gd name="T61" fmla="*/ 85685 h 237"/>
                <a:gd name="T62" fmla="*/ 64848 w 471"/>
                <a:gd name="T63" fmla="*/ 80983 h 237"/>
                <a:gd name="T64" fmla="*/ 60905 w 471"/>
                <a:gd name="T65" fmla="*/ 77325 h 237"/>
                <a:gd name="T66" fmla="*/ 53456 w 471"/>
                <a:gd name="T67" fmla="*/ 75758 h 237"/>
                <a:gd name="T68" fmla="*/ 40311 w 471"/>
                <a:gd name="T69" fmla="*/ 70533 h 237"/>
                <a:gd name="T70" fmla="*/ 21032 w 471"/>
                <a:gd name="T71" fmla="*/ 61129 h 237"/>
                <a:gd name="T72" fmla="*/ 5258 w 471"/>
                <a:gd name="T73" fmla="*/ 50157 h 237"/>
                <a:gd name="T74" fmla="*/ 3067 w 471"/>
                <a:gd name="T75" fmla="*/ 0 h 2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6" name="Freeform 274">
              <a:extLst>
                <a:ext uri="{FF2B5EF4-FFF2-40B4-BE49-F238E27FC236}">
                  <a16:creationId xmlns:a16="http://schemas.microsoft.com/office/drawing/2014/main" id="{EA6089CE-3A92-4858-884A-5A49788D0EBA}"/>
                </a:ext>
              </a:extLst>
            </p:cNvPr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7691439" y="2760664"/>
              <a:ext cx="73025" cy="65087"/>
            </a:xfrm>
            <a:custGeom>
              <a:avLst/>
              <a:gdLst>
                <a:gd name="T0" fmla="*/ 73025 w 167"/>
                <a:gd name="T1" fmla="*/ 22754 h 123"/>
                <a:gd name="T2" fmla="*/ 71713 w 167"/>
                <a:gd name="T3" fmla="*/ 28575 h 123"/>
                <a:gd name="T4" fmla="*/ 70401 w 167"/>
                <a:gd name="T5" fmla="*/ 34925 h 123"/>
                <a:gd name="T6" fmla="*/ 67778 w 167"/>
                <a:gd name="T7" fmla="*/ 41804 h 123"/>
                <a:gd name="T8" fmla="*/ 65591 w 167"/>
                <a:gd name="T9" fmla="*/ 49212 h 123"/>
                <a:gd name="T10" fmla="*/ 63842 w 167"/>
                <a:gd name="T11" fmla="*/ 52387 h 123"/>
                <a:gd name="T12" fmla="*/ 62093 w 167"/>
                <a:gd name="T13" fmla="*/ 55562 h 123"/>
                <a:gd name="T14" fmla="*/ 60344 w 167"/>
                <a:gd name="T15" fmla="*/ 58208 h 123"/>
                <a:gd name="T16" fmla="*/ 57720 w 167"/>
                <a:gd name="T17" fmla="*/ 60325 h 123"/>
                <a:gd name="T18" fmla="*/ 55534 w 167"/>
                <a:gd name="T19" fmla="*/ 62441 h 123"/>
                <a:gd name="T20" fmla="*/ 52910 w 167"/>
                <a:gd name="T21" fmla="*/ 64029 h 123"/>
                <a:gd name="T22" fmla="*/ 50287 w 167"/>
                <a:gd name="T23" fmla="*/ 64558 h 123"/>
                <a:gd name="T24" fmla="*/ 46788 w 167"/>
                <a:gd name="T25" fmla="*/ 65087 h 123"/>
                <a:gd name="T26" fmla="*/ 43728 w 167"/>
                <a:gd name="T27" fmla="*/ 64558 h 123"/>
                <a:gd name="T28" fmla="*/ 40229 w 167"/>
                <a:gd name="T29" fmla="*/ 62970 h 123"/>
                <a:gd name="T30" fmla="*/ 38043 w 167"/>
                <a:gd name="T31" fmla="*/ 61383 h 123"/>
                <a:gd name="T32" fmla="*/ 36731 w 167"/>
                <a:gd name="T33" fmla="*/ 59795 h 123"/>
                <a:gd name="T34" fmla="*/ 35857 w 167"/>
                <a:gd name="T35" fmla="*/ 57679 h 123"/>
                <a:gd name="T36" fmla="*/ 35419 w 167"/>
                <a:gd name="T37" fmla="*/ 55562 h 123"/>
                <a:gd name="T38" fmla="*/ 31047 w 167"/>
                <a:gd name="T39" fmla="*/ 55033 h 123"/>
                <a:gd name="T40" fmla="*/ 26674 w 167"/>
                <a:gd name="T41" fmla="*/ 54504 h 123"/>
                <a:gd name="T42" fmla="*/ 22301 w 167"/>
                <a:gd name="T43" fmla="*/ 53445 h 123"/>
                <a:gd name="T44" fmla="*/ 17928 w 167"/>
                <a:gd name="T45" fmla="*/ 51858 h 123"/>
                <a:gd name="T46" fmla="*/ 9183 w 167"/>
                <a:gd name="T47" fmla="*/ 48683 h 123"/>
                <a:gd name="T48" fmla="*/ 0 w 167"/>
                <a:gd name="T49" fmla="*/ 45508 h 123"/>
                <a:gd name="T50" fmla="*/ 875 w 167"/>
                <a:gd name="T51" fmla="*/ 40746 h 123"/>
                <a:gd name="T52" fmla="*/ 2186 w 167"/>
                <a:gd name="T53" fmla="*/ 35454 h 123"/>
                <a:gd name="T54" fmla="*/ 3935 w 167"/>
                <a:gd name="T55" fmla="*/ 29633 h 123"/>
                <a:gd name="T56" fmla="*/ 6559 w 167"/>
                <a:gd name="T57" fmla="*/ 22754 h 123"/>
                <a:gd name="T58" fmla="*/ 8746 w 167"/>
                <a:gd name="T59" fmla="*/ 22754 h 123"/>
                <a:gd name="T60" fmla="*/ 11369 w 167"/>
                <a:gd name="T61" fmla="*/ 22225 h 123"/>
                <a:gd name="T62" fmla="*/ 13118 w 167"/>
                <a:gd name="T63" fmla="*/ 21696 h 123"/>
                <a:gd name="T64" fmla="*/ 14430 w 167"/>
                <a:gd name="T65" fmla="*/ 20108 h 123"/>
                <a:gd name="T66" fmla="*/ 17491 w 167"/>
                <a:gd name="T67" fmla="*/ 17462 h 123"/>
                <a:gd name="T68" fmla="*/ 19677 w 167"/>
                <a:gd name="T69" fmla="*/ 13758 h 123"/>
                <a:gd name="T70" fmla="*/ 22738 w 167"/>
                <a:gd name="T71" fmla="*/ 6350 h 123"/>
                <a:gd name="T72" fmla="*/ 26674 w 167"/>
                <a:gd name="T73" fmla="*/ 0 h 123"/>
                <a:gd name="T74" fmla="*/ 27986 w 167"/>
                <a:gd name="T75" fmla="*/ 2117 h 123"/>
                <a:gd name="T76" fmla="*/ 29297 w 167"/>
                <a:gd name="T77" fmla="*/ 3704 h 123"/>
                <a:gd name="T78" fmla="*/ 31921 w 167"/>
                <a:gd name="T79" fmla="*/ 5821 h 123"/>
                <a:gd name="T80" fmla="*/ 34107 w 167"/>
                <a:gd name="T81" fmla="*/ 7408 h 123"/>
                <a:gd name="T82" fmla="*/ 40229 w 167"/>
                <a:gd name="T83" fmla="*/ 11112 h 123"/>
                <a:gd name="T84" fmla="*/ 46788 w 167"/>
                <a:gd name="T85" fmla="*/ 14817 h 123"/>
                <a:gd name="T86" fmla="*/ 53348 w 167"/>
                <a:gd name="T87" fmla="*/ 18521 h 123"/>
                <a:gd name="T88" fmla="*/ 60781 w 167"/>
                <a:gd name="T89" fmla="*/ 20637 h 123"/>
                <a:gd name="T90" fmla="*/ 66903 w 167"/>
                <a:gd name="T91" fmla="*/ 22225 h 123"/>
                <a:gd name="T92" fmla="*/ 73025 w 167"/>
                <a:gd name="T93" fmla="*/ 22754 h 12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7" name="Freeform 275">
              <a:extLst>
                <a:ext uri="{FF2B5EF4-FFF2-40B4-BE49-F238E27FC236}">
                  <a16:creationId xmlns:a16="http://schemas.microsoft.com/office/drawing/2014/main" id="{3D5F983D-23F7-4A2B-8678-F368FBA412BB}"/>
                </a:ext>
              </a:extLst>
            </p:cNvPr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7681913" y="2832100"/>
              <a:ext cx="133350" cy="166688"/>
            </a:xfrm>
            <a:custGeom>
              <a:avLst/>
              <a:gdLst>
                <a:gd name="T0" fmla="*/ 112868 w 306"/>
                <a:gd name="T1" fmla="*/ 83084 h 321"/>
                <a:gd name="T2" fmla="*/ 109818 w 306"/>
                <a:gd name="T3" fmla="*/ 89835 h 321"/>
                <a:gd name="T4" fmla="*/ 105896 w 306"/>
                <a:gd name="T5" fmla="*/ 94508 h 321"/>
                <a:gd name="T6" fmla="*/ 101538 w 306"/>
                <a:gd name="T7" fmla="*/ 96586 h 321"/>
                <a:gd name="T8" fmla="*/ 97180 w 306"/>
                <a:gd name="T9" fmla="*/ 95547 h 321"/>
                <a:gd name="T10" fmla="*/ 93258 w 306"/>
                <a:gd name="T11" fmla="*/ 92431 h 321"/>
                <a:gd name="T12" fmla="*/ 91079 w 306"/>
                <a:gd name="T13" fmla="*/ 87758 h 321"/>
                <a:gd name="T14" fmla="*/ 89772 w 306"/>
                <a:gd name="T15" fmla="*/ 83084 h 321"/>
                <a:gd name="T16" fmla="*/ 91079 w 306"/>
                <a:gd name="T17" fmla="*/ 76853 h 321"/>
                <a:gd name="T18" fmla="*/ 92822 w 306"/>
                <a:gd name="T19" fmla="*/ 70622 h 321"/>
                <a:gd name="T20" fmla="*/ 100230 w 306"/>
                <a:gd name="T21" fmla="*/ 59198 h 321"/>
                <a:gd name="T22" fmla="*/ 107203 w 306"/>
                <a:gd name="T23" fmla="*/ 48293 h 321"/>
                <a:gd name="T24" fmla="*/ 108946 w 306"/>
                <a:gd name="T25" fmla="*/ 42581 h 321"/>
                <a:gd name="T26" fmla="*/ 110253 w 306"/>
                <a:gd name="T27" fmla="*/ 35830 h 321"/>
                <a:gd name="T28" fmla="*/ 56216 w 306"/>
                <a:gd name="T29" fmla="*/ 35311 h 321"/>
                <a:gd name="T30" fmla="*/ 51858 w 306"/>
                <a:gd name="T31" fmla="*/ 30637 h 321"/>
                <a:gd name="T32" fmla="*/ 48808 w 306"/>
                <a:gd name="T33" fmla="*/ 23367 h 321"/>
                <a:gd name="T34" fmla="*/ 47065 w 306"/>
                <a:gd name="T35" fmla="*/ 14540 h 321"/>
                <a:gd name="T36" fmla="*/ 44014 w 306"/>
                <a:gd name="T37" fmla="*/ 9866 h 321"/>
                <a:gd name="T38" fmla="*/ 39221 w 306"/>
                <a:gd name="T39" fmla="*/ 8828 h 321"/>
                <a:gd name="T40" fmla="*/ 34863 w 306"/>
                <a:gd name="T41" fmla="*/ 6231 h 321"/>
                <a:gd name="T42" fmla="*/ 32684 w 306"/>
                <a:gd name="T43" fmla="*/ 2077 h 321"/>
                <a:gd name="T44" fmla="*/ 28326 w 306"/>
                <a:gd name="T45" fmla="*/ 0 h 321"/>
                <a:gd name="T46" fmla="*/ 21353 w 306"/>
                <a:gd name="T47" fmla="*/ 0 h 321"/>
                <a:gd name="T48" fmla="*/ 14817 w 306"/>
                <a:gd name="T49" fmla="*/ 519 h 321"/>
                <a:gd name="T50" fmla="*/ 9587 w 306"/>
                <a:gd name="T51" fmla="*/ 2596 h 321"/>
                <a:gd name="T52" fmla="*/ 4358 w 306"/>
                <a:gd name="T53" fmla="*/ 7270 h 321"/>
                <a:gd name="T54" fmla="*/ 436 w 306"/>
                <a:gd name="T55" fmla="*/ 12982 h 321"/>
                <a:gd name="T56" fmla="*/ 872 w 306"/>
                <a:gd name="T57" fmla="*/ 18175 h 321"/>
                <a:gd name="T58" fmla="*/ 6537 w 306"/>
                <a:gd name="T59" fmla="*/ 23887 h 321"/>
                <a:gd name="T60" fmla="*/ 15252 w 306"/>
                <a:gd name="T61" fmla="*/ 30118 h 321"/>
                <a:gd name="T62" fmla="*/ 23532 w 306"/>
                <a:gd name="T63" fmla="*/ 34792 h 321"/>
                <a:gd name="T64" fmla="*/ 20482 w 306"/>
                <a:gd name="T65" fmla="*/ 41023 h 321"/>
                <a:gd name="T66" fmla="*/ 10895 w 306"/>
                <a:gd name="T67" fmla="*/ 50370 h 321"/>
                <a:gd name="T68" fmla="*/ 7408 w 306"/>
                <a:gd name="T69" fmla="*/ 55563 h 321"/>
                <a:gd name="T70" fmla="*/ 6101 w 306"/>
                <a:gd name="T71" fmla="*/ 59198 h 321"/>
                <a:gd name="T72" fmla="*/ 6101 w 306"/>
                <a:gd name="T73" fmla="*/ 63352 h 321"/>
                <a:gd name="T74" fmla="*/ 7844 w 306"/>
                <a:gd name="T75" fmla="*/ 66987 h 321"/>
                <a:gd name="T76" fmla="*/ 12202 w 306"/>
                <a:gd name="T77" fmla="*/ 73218 h 321"/>
                <a:gd name="T78" fmla="*/ 20482 w 306"/>
                <a:gd name="T79" fmla="*/ 81007 h 321"/>
                <a:gd name="T80" fmla="*/ 27890 w 306"/>
                <a:gd name="T81" fmla="*/ 85161 h 321"/>
                <a:gd name="T82" fmla="*/ 32684 w 306"/>
                <a:gd name="T83" fmla="*/ 86200 h 321"/>
                <a:gd name="T84" fmla="*/ 46629 w 306"/>
                <a:gd name="T85" fmla="*/ 140724 h 321"/>
                <a:gd name="T86" fmla="*/ 47065 w 306"/>
                <a:gd name="T87" fmla="*/ 136570 h 321"/>
                <a:gd name="T88" fmla="*/ 48808 w 306"/>
                <a:gd name="T89" fmla="*/ 132935 h 321"/>
                <a:gd name="T90" fmla="*/ 55345 w 306"/>
                <a:gd name="T91" fmla="*/ 127742 h 321"/>
                <a:gd name="T92" fmla="*/ 64496 w 306"/>
                <a:gd name="T93" fmla="*/ 124627 h 321"/>
                <a:gd name="T94" fmla="*/ 75826 w 306"/>
                <a:gd name="T95" fmla="*/ 122030 h 321"/>
                <a:gd name="T96" fmla="*/ 75826 w 306"/>
                <a:gd name="T97" fmla="*/ 109048 h 321"/>
                <a:gd name="T98" fmla="*/ 79749 w 306"/>
                <a:gd name="T99" fmla="*/ 110087 h 321"/>
                <a:gd name="T100" fmla="*/ 84106 w 306"/>
                <a:gd name="T101" fmla="*/ 110087 h 321"/>
                <a:gd name="T102" fmla="*/ 92822 w 306"/>
                <a:gd name="T103" fmla="*/ 109048 h 321"/>
                <a:gd name="T104" fmla="*/ 101102 w 306"/>
                <a:gd name="T105" fmla="*/ 135531 h 321"/>
                <a:gd name="T106" fmla="*/ 112868 w 306"/>
                <a:gd name="T107" fmla="*/ 166688 h 321"/>
                <a:gd name="T108" fmla="*/ 118533 w 306"/>
                <a:gd name="T109" fmla="*/ 161495 h 321"/>
                <a:gd name="T110" fmla="*/ 122891 w 306"/>
                <a:gd name="T111" fmla="*/ 156822 h 321"/>
                <a:gd name="T112" fmla="*/ 128556 w 306"/>
                <a:gd name="T113" fmla="*/ 145398 h 321"/>
                <a:gd name="T114" fmla="*/ 133350 w 306"/>
                <a:gd name="T115" fmla="*/ 122030 h 3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8" name="Freeform 276">
              <a:extLst>
                <a:ext uri="{FF2B5EF4-FFF2-40B4-BE49-F238E27FC236}">
                  <a16:creationId xmlns:a16="http://schemas.microsoft.com/office/drawing/2014/main" id="{BFD634C7-7E98-4673-83EA-BE5B69E54A60}"/>
                </a:ext>
              </a:extLst>
            </p:cNvPr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7999413" y="2947989"/>
              <a:ext cx="201612" cy="269875"/>
            </a:xfrm>
            <a:custGeom>
              <a:avLst/>
              <a:gdLst>
                <a:gd name="T0" fmla="*/ 40237 w 471"/>
                <a:gd name="T1" fmla="*/ 6252 h 518"/>
                <a:gd name="T2" fmla="*/ 28679 w 471"/>
                <a:gd name="T3" fmla="*/ 16672 h 518"/>
                <a:gd name="T4" fmla="*/ 17122 w 471"/>
                <a:gd name="T5" fmla="*/ 25529 h 518"/>
                <a:gd name="T6" fmla="*/ 11557 w 471"/>
                <a:gd name="T7" fmla="*/ 42722 h 518"/>
                <a:gd name="T8" fmla="*/ 3424 w 471"/>
                <a:gd name="T9" fmla="*/ 61477 h 518"/>
                <a:gd name="T10" fmla="*/ 2996 w 471"/>
                <a:gd name="T11" fmla="*/ 70855 h 518"/>
                <a:gd name="T12" fmla="*/ 12842 w 471"/>
                <a:gd name="T13" fmla="*/ 79712 h 518"/>
                <a:gd name="T14" fmla="*/ 21403 w 471"/>
                <a:gd name="T15" fmla="*/ 87527 h 518"/>
                <a:gd name="T16" fmla="*/ 26539 w 471"/>
                <a:gd name="T17" fmla="*/ 89611 h 518"/>
                <a:gd name="T18" fmla="*/ 32104 w 471"/>
                <a:gd name="T19" fmla="*/ 109930 h 518"/>
                <a:gd name="T20" fmla="*/ 35956 w 471"/>
                <a:gd name="T21" fmla="*/ 141710 h 518"/>
                <a:gd name="T22" fmla="*/ 40237 w 471"/>
                <a:gd name="T23" fmla="*/ 155777 h 518"/>
                <a:gd name="T24" fmla="*/ 44517 w 471"/>
                <a:gd name="T25" fmla="*/ 157340 h 518"/>
                <a:gd name="T26" fmla="*/ 47942 w 471"/>
                <a:gd name="T27" fmla="*/ 154735 h 518"/>
                <a:gd name="T28" fmla="*/ 54791 w 471"/>
                <a:gd name="T29" fmla="*/ 139626 h 518"/>
                <a:gd name="T30" fmla="*/ 62067 w 471"/>
                <a:gd name="T31" fmla="*/ 136500 h 518"/>
                <a:gd name="T32" fmla="*/ 68488 w 471"/>
                <a:gd name="T33" fmla="*/ 141710 h 518"/>
                <a:gd name="T34" fmla="*/ 74053 w 471"/>
                <a:gd name="T35" fmla="*/ 144315 h 518"/>
                <a:gd name="T36" fmla="*/ 78333 w 471"/>
                <a:gd name="T37" fmla="*/ 142752 h 518"/>
                <a:gd name="T38" fmla="*/ 82186 w 471"/>
                <a:gd name="T39" fmla="*/ 134938 h 518"/>
                <a:gd name="T40" fmla="*/ 86894 w 471"/>
                <a:gd name="T41" fmla="*/ 127123 h 518"/>
                <a:gd name="T42" fmla="*/ 90747 w 471"/>
                <a:gd name="T43" fmla="*/ 125560 h 518"/>
                <a:gd name="T44" fmla="*/ 103160 w 471"/>
                <a:gd name="T45" fmla="*/ 128686 h 518"/>
                <a:gd name="T46" fmla="*/ 110865 w 471"/>
                <a:gd name="T47" fmla="*/ 141189 h 518"/>
                <a:gd name="T48" fmla="*/ 131840 w 471"/>
                <a:gd name="T49" fmla="*/ 175054 h 518"/>
                <a:gd name="T50" fmla="*/ 145965 w 471"/>
                <a:gd name="T51" fmla="*/ 199020 h 518"/>
                <a:gd name="T52" fmla="*/ 153242 w 471"/>
                <a:gd name="T53" fmla="*/ 218297 h 518"/>
                <a:gd name="T54" fmla="*/ 156667 w 471"/>
                <a:gd name="T55" fmla="*/ 238094 h 518"/>
                <a:gd name="T56" fmla="*/ 153670 w 471"/>
                <a:gd name="T57" fmla="*/ 244867 h 518"/>
                <a:gd name="T58" fmla="*/ 145109 w 471"/>
                <a:gd name="T59" fmla="*/ 253724 h 518"/>
                <a:gd name="T60" fmla="*/ 155382 w 471"/>
                <a:gd name="T61" fmla="*/ 258413 h 518"/>
                <a:gd name="T62" fmla="*/ 167796 w 471"/>
                <a:gd name="T63" fmla="*/ 269875 h 518"/>
                <a:gd name="T64" fmla="*/ 171648 w 471"/>
                <a:gd name="T65" fmla="*/ 259976 h 518"/>
                <a:gd name="T66" fmla="*/ 176785 w 471"/>
                <a:gd name="T67" fmla="*/ 254766 h 518"/>
                <a:gd name="T68" fmla="*/ 190055 w 471"/>
                <a:gd name="T69" fmla="*/ 251640 h 518"/>
                <a:gd name="T70" fmla="*/ 200328 w 471"/>
                <a:gd name="T71" fmla="*/ 228195 h 518"/>
                <a:gd name="T72" fmla="*/ 192195 w 471"/>
                <a:gd name="T73" fmla="*/ 201625 h 518"/>
                <a:gd name="T74" fmla="*/ 180209 w 471"/>
                <a:gd name="T75" fmla="*/ 180785 h 518"/>
                <a:gd name="T76" fmla="*/ 147678 w 471"/>
                <a:gd name="T77" fmla="*/ 144315 h 518"/>
                <a:gd name="T78" fmla="*/ 119426 w 471"/>
                <a:gd name="T79" fmla="*/ 113577 h 518"/>
                <a:gd name="T80" fmla="*/ 95883 w 471"/>
                <a:gd name="T81" fmla="*/ 84401 h 518"/>
                <a:gd name="T82" fmla="*/ 76621 w 471"/>
                <a:gd name="T83" fmla="*/ 54704 h 518"/>
                <a:gd name="T84" fmla="*/ 54362 w 471"/>
                <a:gd name="T85" fmla="*/ 20840 h 518"/>
                <a:gd name="T86" fmla="*/ 49226 w 471"/>
                <a:gd name="T87" fmla="*/ 7294 h 51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9" name="Freeform 277">
              <a:extLst>
                <a:ext uri="{FF2B5EF4-FFF2-40B4-BE49-F238E27FC236}">
                  <a16:creationId xmlns:a16="http://schemas.microsoft.com/office/drawing/2014/main" id="{504D03E1-5403-4A8E-A3F7-511F652D79E5}"/>
                </a:ext>
              </a:extLst>
            </p:cNvPr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8081963" y="3198814"/>
              <a:ext cx="133350" cy="130175"/>
            </a:xfrm>
            <a:custGeom>
              <a:avLst/>
              <a:gdLst>
                <a:gd name="T0" fmla="*/ 69178 w 293"/>
                <a:gd name="T1" fmla="*/ 10054 h 246"/>
                <a:gd name="T2" fmla="*/ 81466 w 293"/>
                <a:gd name="T3" fmla="*/ 15875 h 246"/>
                <a:gd name="T4" fmla="*/ 89203 w 293"/>
                <a:gd name="T5" fmla="*/ 15875 h 246"/>
                <a:gd name="T6" fmla="*/ 91934 w 293"/>
                <a:gd name="T7" fmla="*/ 9525 h 246"/>
                <a:gd name="T8" fmla="*/ 95575 w 293"/>
                <a:gd name="T9" fmla="*/ 5292 h 246"/>
                <a:gd name="T10" fmla="*/ 99671 w 293"/>
                <a:gd name="T11" fmla="*/ 3175 h 246"/>
                <a:gd name="T12" fmla="*/ 111504 w 293"/>
                <a:gd name="T13" fmla="*/ 1058 h 246"/>
                <a:gd name="T14" fmla="*/ 133350 w 293"/>
                <a:gd name="T15" fmla="*/ 42333 h 246"/>
                <a:gd name="T16" fmla="*/ 121062 w 293"/>
                <a:gd name="T17" fmla="*/ 56621 h 246"/>
                <a:gd name="T18" fmla="*/ 107863 w 293"/>
                <a:gd name="T19" fmla="*/ 74613 h 246"/>
                <a:gd name="T20" fmla="*/ 102402 w 293"/>
                <a:gd name="T21" fmla="*/ 84138 h 246"/>
                <a:gd name="T22" fmla="*/ 97851 w 293"/>
                <a:gd name="T23" fmla="*/ 94192 h 246"/>
                <a:gd name="T24" fmla="*/ 95120 w 293"/>
                <a:gd name="T25" fmla="*/ 104246 h 246"/>
                <a:gd name="T26" fmla="*/ 93755 w 293"/>
                <a:gd name="T27" fmla="*/ 114300 h 246"/>
                <a:gd name="T28" fmla="*/ 89203 w 293"/>
                <a:gd name="T29" fmla="*/ 114829 h 246"/>
                <a:gd name="T30" fmla="*/ 84652 w 293"/>
                <a:gd name="T31" fmla="*/ 116417 h 246"/>
                <a:gd name="T32" fmla="*/ 77370 w 293"/>
                <a:gd name="T33" fmla="*/ 121179 h 246"/>
                <a:gd name="T34" fmla="*/ 70088 w 293"/>
                <a:gd name="T35" fmla="*/ 126471 h 246"/>
                <a:gd name="T36" fmla="*/ 60531 w 293"/>
                <a:gd name="T37" fmla="*/ 130175 h 246"/>
                <a:gd name="T38" fmla="*/ 46422 w 293"/>
                <a:gd name="T39" fmla="*/ 127000 h 246"/>
                <a:gd name="T40" fmla="*/ 32313 w 293"/>
                <a:gd name="T41" fmla="*/ 122767 h 246"/>
                <a:gd name="T42" fmla="*/ 26852 w 293"/>
                <a:gd name="T43" fmla="*/ 119592 h 246"/>
                <a:gd name="T44" fmla="*/ 22301 w 293"/>
                <a:gd name="T45" fmla="*/ 116417 h 246"/>
                <a:gd name="T46" fmla="*/ 19570 w 293"/>
                <a:gd name="T47" fmla="*/ 112183 h 246"/>
                <a:gd name="T48" fmla="*/ 18660 w 293"/>
                <a:gd name="T49" fmla="*/ 107950 h 246"/>
                <a:gd name="T50" fmla="*/ 21391 w 293"/>
                <a:gd name="T51" fmla="*/ 94192 h 246"/>
                <a:gd name="T52" fmla="*/ 20480 w 293"/>
                <a:gd name="T53" fmla="*/ 85725 h 246"/>
                <a:gd name="T54" fmla="*/ 18205 w 293"/>
                <a:gd name="T55" fmla="*/ 77788 h 246"/>
                <a:gd name="T56" fmla="*/ 10923 w 293"/>
                <a:gd name="T57" fmla="*/ 62971 h 246"/>
                <a:gd name="T58" fmla="*/ 3641 w 293"/>
                <a:gd name="T59" fmla="*/ 48154 h 246"/>
                <a:gd name="T60" fmla="*/ 910 w 293"/>
                <a:gd name="T61" fmla="*/ 39158 h 246"/>
                <a:gd name="T62" fmla="*/ 0 w 293"/>
                <a:gd name="T63" fmla="*/ 29104 h 246"/>
                <a:gd name="T64" fmla="*/ 910 w 293"/>
                <a:gd name="T65" fmla="*/ 23813 h 246"/>
                <a:gd name="T66" fmla="*/ 3641 w 293"/>
                <a:gd name="T67" fmla="*/ 19050 h 246"/>
                <a:gd name="T68" fmla="*/ 7737 w 293"/>
                <a:gd name="T69" fmla="*/ 15346 h 246"/>
                <a:gd name="T70" fmla="*/ 11833 w 293"/>
                <a:gd name="T71" fmla="*/ 11642 h 246"/>
                <a:gd name="T72" fmla="*/ 21846 w 293"/>
                <a:gd name="T73" fmla="*/ 7408 h 246"/>
                <a:gd name="T74" fmla="*/ 30493 w 293"/>
                <a:gd name="T75" fmla="*/ 6350 h 246"/>
                <a:gd name="T76" fmla="*/ 43691 w 293"/>
                <a:gd name="T77" fmla="*/ 6350 h 246"/>
                <a:gd name="T78" fmla="*/ 60531 w 293"/>
                <a:gd name="T79" fmla="*/ 6350 h 2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0" name="Freeform 278">
              <a:extLst>
                <a:ext uri="{FF2B5EF4-FFF2-40B4-BE49-F238E27FC236}">
                  <a16:creationId xmlns:a16="http://schemas.microsoft.com/office/drawing/2014/main" id="{536D546F-D36E-49D4-84CB-ADFCF26BE092}"/>
                </a:ext>
              </a:extLst>
            </p:cNvPr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8483601" y="2435226"/>
              <a:ext cx="85725" cy="130175"/>
            </a:xfrm>
            <a:custGeom>
              <a:avLst/>
              <a:gdLst>
                <a:gd name="T0" fmla="*/ 7715 w 200"/>
                <a:gd name="T1" fmla="*/ 21696 h 246"/>
                <a:gd name="T2" fmla="*/ 12002 w 200"/>
                <a:gd name="T3" fmla="*/ 13758 h 246"/>
                <a:gd name="T4" fmla="*/ 16288 w 200"/>
                <a:gd name="T5" fmla="*/ 8467 h 246"/>
                <a:gd name="T6" fmla="*/ 21431 w 200"/>
                <a:gd name="T7" fmla="*/ 4763 h 246"/>
                <a:gd name="T8" fmla="*/ 31290 w 200"/>
                <a:gd name="T9" fmla="*/ 529 h 246"/>
                <a:gd name="T10" fmla="*/ 37719 w 200"/>
                <a:gd name="T11" fmla="*/ 6350 h 246"/>
                <a:gd name="T12" fmla="*/ 46292 w 200"/>
                <a:gd name="T13" fmla="*/ 17992 h 246"/>
                <a:gd name="T14" fmla="*/ 53578 w 200"/>
                <a:gd name="T15" fmla="*/ 26458 h 246"/>
                <a:gd name="T16" fmla="*/ 59579 w 200"/>
                <a:gd name="T17" fmla="*/ 30692 h 246"/>
                <a:gd name="T18" fmla="*/ 65151 w 200"/>
                <a:gd name="T19" fmla="*/ 33867 h 246"/>
                <a:gd name="T20" fmla="*/ 71152 w 200"/>
                <a:gd name="T21" fmla="*/ 35454 h 246"/>
                <a:gd name="T22" fmla="*/ 78867 w 200"/>
                <a:gd name="T23" fmla="*/ 50800 h 246"/>
                <a:gd name="T24" fmla="*/ 83582 w 200"/>
                <a:gd name="T25" fmla="*/ 72496 h 246"/>
                <a:gd name="T26" fmla="*/ 85296 w 200"/>
                <a:gd name="T27" fmla="*/ 87313 h 246"/>
                <a:gd name="T28" fmla="*/ 85725 w 200"/>
                <a:gd name="T29" fmla="*/ 97896 h 246"/>
                <a:gd name="T30" fmla="*/ 84868 w 200"/>
                <a:gd name="T31" fmla="*/ 104246 h 246"/>
                <a:gd name="T32" fmla="*/ 83582 w 200"/>
                <a:gd name="T33" fmla="*/ 109537 h 246"/>
                <a:gd name="T34" fmla="*/ 81010 w 200"/>
                <a:gd name="T35" fmla="*/ 113242 h 246"/>
                <a:gd name="T36" fmla="*/ 76724 w 200"/>
                <a:gd name="T37" fmla="*/ 116417 h 246"/>
                <a:gd name="T38" fmla="*/ 70295 w 200"/>
                <a:gd name="T39" fmla="*/ 118533 h 246"/>
                <a:gd name="T40" fmla="*/ 60008 w 200"/>
                <a:gd name="T41" fmla="*/ 118533 h 246"/>
                <a:gd name="T42" fmla="*/ 50578 w 200"/>
                <a:gd name="T43" fmla="*/ 121179 h 246"/>
                <a:gd name="T44" fmla="*/ 47577 w 200"/>
                <a:gd name="T45" fmla="*/ 124354 h 246"/>
                <a:gd name="T46" fmla="*/ 46292 w 200"/>
                <a:gd name="T47" fmla="*/ 128058 h 246"/>
                <a:gd name="T48" fmla="*/ 42005 w 200"/>
                <a:gd name="T49" fmla="*/ 129646 h 246"/>
                <a:gd name="T50" fmla="*/ 36433 w 200"/>
                <a:gd name="T51" fmla="*/ 127000 h 246"/>
                <a:gd name="T52" fmla="*/ 33004 w 200"/>
                <a:gd name="T53" fmla="*/ 121708 h 246"/>
                <a:gd name="T54" fmla="*/ 31290 w 200"/>
                <a:gd name="T55" fmla="*/ 114300 h 246"/>
                <a:gd name="T56" fmla="*/ 30861 w 200"/>
                <a:gd name="T57" fmla="*/ 101600 h 246"/>
                <a:gd name="T58" fmla="*/ 30432 w 200"/>
                <a:gd name="T59" fmla="*/ 88900 h 246"/>
                <a:gd name="T60" fmla="*/ 29575 w 200"/>
                <a:gd name="T61" fmla="*/ 81492 h 246"/>
                <a:gd name="T62" fmla="*/ 27432 w 200"/>
                <a:gd name="T63" fmla="*/ 75142 h 246"/>
                <a:gd name="T64" fmla="*/ 24003 w 200"/>
                <a:gd name="T65" fmla="*/ 70908 h 246"/>
                <a:gd name="T66" fmla="*/ 17145 w 200"/>
                <a:gd name="T67" fmla="*/ 66146 h 246"/>
                <a:gd name="T68" fmla="*/ 7715 w 200"/>
                <a:gd name="T69" fmla="*/ 60854 h 246"/>
                <a:gd name="T70" fmla="*/ 2572 w 200"/>
                <a:gd name="T71" fmla="*/ 56092 h 246"/>
                <a:gd name="T72" fmla="*/ 429 w 200"/>
                <a:gd name="T73" fmla="*/ 51858 h 246"/>
                <a:gd name="T74" fmla="*/ 429 w 200"/>
                <a:gd name="T75" fmla="*/ 46038 h 246"/>
                <a:gd name="T76" fmla="*/ 2143 w 200"/>
                <a:gd name="T77" fmla="*/ 41275 h 246"/>
                <a:gd name="T78" fmla="*/ 4286 w 200"/>
                <a:gd name="T79" fmla="*/ 35983 h 246"/>
                <a:gd name="T80" fmla="*/ 5572 w 200"/>
                <a:gd name="T81" fmla="*/ 29633 h 24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1" name="Freeform 279">
              <a:extLst>
                <a:ext uri="{FF2B5EF4-FFF2-40B4-BE49-F238E27FC236}">
                  <a16:creationId xmlns:a16="http://schemas.microsoft.com/office/drawing/2014/main" id="{3E651A17-D10E-4458-B36F-A54C79C14BED}"/>
                </a:ext>
              </a:extLst>
            </p:cNvPr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9051926" y="3732213"/>
              <a:ext cx="231775" cy="254000"/>
            </a:xfrm>
            <a:custGeom>
              <a:avLst/>
              <a:gdLst>
                <a:gd name="T0" fmla="*/ 39204 w 538"/>
                <a:gd name="T1" fmla="*/ 10953 h 487"/>
                <a:gd name="T2" fmla="*/ 68929 w 538"/>
                <a:gd name="T3" fmla="*/ 24513 h 487"/>
                <a:gd name="T4" fmla="*/ 87023 w 538"/>
                <a:gd name="T5" fmla="*/ 36509 h 487"/>
                <a:gd name="T6" fmla="*/ 108995 w 538"/>
                <a:gd name="T7" fmla="*/ 57372 h 487"/>
                <a:gd name="T8" fmla="*/ 129243 w 538"/>
                <a:gd name="T9" fmla="*/ 70932 h 487"/>
                <a:gd name="T10" fmla="*/ 128812 w 538"/>
                <a:gd name="T11" fmla="*/ 83971 h 487"/>
                <a:gd name="T12" fmla="*/ 149491 w 538"/>
                <a:gd name="T13" fmla="*/ 106920 h 487"/>
                <a:gd name="T14" fmla="*/ 169308 w 538"/>
                <a:gd name="T15" fmla="*/ 129347 h 487"/>
                <a:gd name="T16" fmla="*/ 163276 w 538"/>
                <a:gd name="T17" fmla="*/ 130390 h 487"/>
                <a:gd name="T18" fmla="*/ 160261 w 538"/>
                <a:gd name="T19" fmla="*/ 133520 h 487"/>
                <a:gd name="T20" fmla="*/ 160261 w 538"/>
                <a:gd name="T21" fmla="*/ 144994 h 487"/>
                <a:gd name="T22" fmla="*/ 162415 w 538"/>
                <a:gd name="T23" fmla="*/ 156990 h 487"/>
                <a:gd name="T24" fmla="*/ 167585 w 538"/>
                <a:gd name="T25" fmla="*/ 169507 h 487"/>
                <a:gd name="T26" fmla="*/ 175339 w 538"/>
                <a:gd name="T27" fmla="*/ 181503 h 487"/>
                <a:gd name="T28" fmla="*/ 184386 w 538"/>
                <a:gd name="T29" fmla="*/ 190891 h 487"/>
                <a:gd name="T30" fmla="*/ 194295 w 538"/>
                <a:gd name="T31" fmla="*/ 196107 h 487"/>
                <a:gd name="T32" fmla="*/ 198603 w 538"/>
                <a:gd name="T33" fmla="*/ 203409 h 487"/>
                <a:gd name="T34" fmla="*/ 203342 w 538"/>
                <a:gd name="T35" fmla="*/ 211754 h 487"/>
                <a:gd name="T36" fmla="*/ 210665 w 538"/>
                <a:gd name="T37" fmla="*/ 217491 h 487"/>
                <a:gd name="T38" fmla="*/ 221005 w 538"/>
                <a:gd name="T39" fmla="*/ 225314 h 487"/>
                <a:gd name="T40" fmla="*/ 223159 w 538"/>
                <a:gd name="T41" fmla="*/ 231573 h 487"/>
                <a:gd name="T42" fmla="*/ 226174 w 538"/>
                <a:gd name="T43" fmla="*/ 234702 h 487"/>
                <a:gd name="T44" fmla="*/ 231775 w 538"/>
                <a:gd name="T45" fmla="*/ 237832 h 487"/>
                <a:gd name="T46" fmla="*/ 230052 w 538"/>
                <a:gd name="T47" fmla="*/ 246177 h 487"/>
                <a:gd name="T48" fmla="*/ 223590 w 538"/>
                <a:gd name="T49" fmla="*/ 252435 h 487"/>
                <a:gd name="T50" fmla="*/ 211096 w 538"/>
                <a:gd name="T51" fmla="*/ 254000 h 487"/>
                <a:gd name="T52" fmla="*/ 193002 w 538"/>
                <a:gd name="T53" fmla="*/ 250349 h 487"/>
                <a:gd name="T54" fmla="*/ 178355 w 538"/>
                <a:gd name="T55" fmla="*/ 243047 h 487"/>
                <a:gd name="T56" fmla="*/ 166292 w 538"/>
                <a:gd name="T57" fmla="*/ 232616 h 487"/>
                <a:gd name="T58" fmla="*/ 152937 w 538"/>
                <a:gd name="T59" fmla="*/ 216448 h 487"/>
                <a:gd name="T60" fmla="*/ 134412 w 538"/>
                <a:gd name="T61" fmla="*/ 190370 h 487"/>
                <a:gd name="T62" fmla="*/ 118042 w 538"/>
                <a:gd name="T63" fmla="*/ 172115 h 487"/>
                <a:gd name="T64" fmla="*/ 105979 w 538"/>
                <a:gd name="T65" fmla="*/ 164813 h 487"/>
                <a:gd name="T66" fmla="*/ 91331 w 538"/>
                <a:gd name="T67" fmla="*/ 161162 h 487"/>
                <a:gd name="T68" fmla="*/ 77546 w 538"/>
                <a:gd name="T69" fmla="*/ 161684 h 487"/>
                <a:gd name="T70" fmla="*/ 65914 w 538"/>
                <a:gd name="T71" fmla="*/ 165335 h 487"/>
                <a:gd name="T72" fmla="*/ 48681 w 538"/>
                <a:gd name="T73" fmla="*/ 179938 h 487"/>
                <a:gd name="T74" fmla="*/ 58590 w 538"/>
                <a:gd name="T75" fmla="*/ 188283 h 487"/>
                <a:gd name="T76" fmla="*/ 60313 w 538"/>
                <a:gd name="T77" fmla="*/ 192977 h 487"/>
                <a:gd name="T78" fmla="*/ 53420 w 538"/>
                <a:gd name="T79" fmla="*/ 209146 h 487"/>
                <a:gd name="T80" fmla="*/ 48681 w 538"/>
                <a:gd name="T81" fmla="*/ 215926 h 487"/>
                <a:gd name="T82" fmla="*/ 20248 w 538"/>
                <a:gd name="T83" fmla="*/ 210189 h 487"/>
                <a:gd name="T84" fmla="*/ 8616 w 538"/>
                <a:gd name="T85" fmla="*/ 135084 h 487"/>
                <a:gd name="T86" fmla="*/ 8616 w 538"/>
                <a:gd name="T87" fmla="*/ 0 h 48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2" name="Freeform 280">
              <a:extLst>
                <a:ext uri="{FF2B5EF4-FFF2-40B4-BE49-F238E27FC236}">
                  <a16:creationId xmlns:a16="http://schemas.microsoft.com/office/drawing/2014/main" id="{B47FFC86-3E63-4298-9578-A39C9D91F8FC}"/>
                </a:ext>
              </a:extLst>
            </p:cNvPr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9244013" y="3716339"/>
              <a:ext cx="106362" cy="128587"/>
            </a:xfrm>
            <a:custGeom>
              <a:avLst/>
              <a:gdLst>
                <a:gd name="T0" fmla="*/ 57175 w 253"/>
                <a:gd name="T1" fmla="*/ 523 h 246"/>
                <a:gd name="T2" fmla="*/ 66003 w 253"/>
                <a:gd name="T3" fmla="*/ 4182 h 246"/>
                <a:gd name="T4" fmla="*/ 75252 w 253"/>
                <a:gd name="T5" fmla="*/ 10977 h 246"/>
                <a:gd name="T6" fmla="*/ 83660 w 253"/>
                <a:gd name="T7" fmla="*/ 19340 h 246"/>
                <a:gd name="T8" fmla="*/ 91648 w 253"/>
                <a:gd name="T9" fmla="*/ 29795 h 246"/>
                <a:gd name="T10" fmla="*/ 98374 w 253"/>
                <a:gd name="T11" fmla="*/ 39726 h 246"/>
                <a:gd name="T12" fmla="*/ 102999 w 253"/>
                <a:gd name="T13" fmla="*/ 49135 h 246"/>
                <a:gd name="T14" fmla="*/ 105942 w 253"/>
                <a:gd name="T15" fmla="*/ 58021 h 246"/>
                <a:gd name="T16" fmla="*/ 105942 w 253"/>
                <a:gd name="T17" fmla="*/ 66907 h 246"/>
                <a:gd name="T18" fmla="*/ 102158 w 253"/>
                <a:gd name="T19" fmla="*/ 78929 h 246"/>
                <a:gd name="T20" fmla="*/ 96272 w 253"/>
                <a:gd name="T21" fmla="*/ 90952 h 246"/>
                <a:gd name="T22" fmla="*/ 87864 w 253"/>
                <a:gd name="T23" fmla="*/ 101929 h 246"/>
                <a:gd name="T24" fmla="*/ 77354 w 253"/>
                <a:gd name="T25" fmla="*/ 111860 h 246"/>
                <a:gd name="T26" fmla="*/ 66003 w 253"/>
                <a:gd name="T27" fmla="*/ 119701 h 246"/>
                <a:gd name="T28" fmla="*/ 54232 w 253"/>
                <a:gd name="T29" fmla="*/ 125451 h 246"/>
                <a:gd name="T30" fmla="*/ 42040 w 253"/>
                <a:gd name="T31" fmla="*/ 128064 h 246"/>
                <a:gd name="T32" fmla="*/ 31110 w 253"/>
                <a:gd name="T33" fmla="*/ 128064 h 246"/>
                <a:gd name="T34" fmla="*/ 22281 w 253"/>
                <a:gd name="T35" fmla="*/ 125451 h 246"/>
                <a:gd name="T36" fmla="*/ 13873 w 253"/>
                <a:gd name="T37" fmla="*/ 122314 h 246"/>
                <a:gd name="T38" fmla="*/ 4624 w 253"/>
                <a:gd name="T39" fmla="*/ 119701 h 246"/>
                <a:gd name="T40" fmla="*/ 1261 w 253"/>
                <a:gd name="T41" fmla="*/ 114474 h 246"/>
                <a:gd name="T42" fmla="*/ 4204 w 253"/>
                <a:gd name="T43" fmla="*/ 107156 h 246"/>
                <a:gd name="T44" fmla="*/ 9249 w 253"/>
                <a:gd name="T45" fmla="*/ 102451 h 246"/>
                <a:gd name="T46" fmla="*/ 15555 w 253"/>
                <a:gd name="T47" fmla="*/ 99838 h 246"/>
                <a:gd name="T48" fmla="*/ 21020 w 253"/>
                <a:gd name="T49" fmla="*/ 102974 h 246"/>
                <a:gd name="T50" fmla="*/ 25224 w 253"/>
                <a:gd name="T51" fmla="*/ 108201 h 246"/>
                <a:gd name="T52" fmla="*/ 28587 w 253"/>
                <a:gd name="T53" fmla="*/ 105065 h 246"/>
                <a:gd name="T54" fmla="*/ 31530 w 253"/>
                <a:gd name="T55" fmla="*/ 99315 h 246"/>
                <a:gd name="T56" fmla="*/ 35314 w 253"/>
                <a:gd name="T57" fmla="*/ 94088 h 246"/>
                <a:gd name="T58" fmla="*/ 38257 w 253"/>
                <a:gd name="T59" fmla="*/ 94611 h 246"/>
                <a:gd name="T60" fmla="*/ 41200 w 253"/>
                <a:gd name="T61" fmla="*/ 93565 h 246"/>
                <a:gd name="T62" fmla="*/ 44563 w 253"/>
                <a:gd name="T63" fmla="*/ 93043 h 246"/>
                <a:gd name="T64" fmla="*/ 50448 w 253"/>
                <a:gd name="T65" fmla="*/ 90952 h 246"/>
                <a:gd name="T66" fmla="*/ 62640 w 253"/>
                <a:gd name="T67" fmla="*/ 85725 h 246"/>
                <a:gd name="T68" fmla="*/ 75252 w 253"/>
                <a:gd name="T69" fmla="*/ 76839 h 246"/>
                <a:gd name="T70" fmla="*/ 82819 w 253"/>
                <a:gd name="T71" fmla="*/ 70566 h 246"/>
                <a:gd name="T72" fmla="*/ 88285 w 253"/>
                <a:gd name="T73" fmla="*/ 64294 h 246"/>
                <a:gd name="T74" fmla="*/ 91648 w 253"/>
                <a:gd name="T75" fmla="*/ 58021 h 246"/>
                <a:gd name="T76" fmla="*/ 92068 w 253"/>
                <a:gd name="T77" fmla="*/ 51226 h 246"/>
                <a:gd name="T78" fmla="*/ 89966 w 253"/>
                <a:gd name="T79" fmla="*/ 45999 h 246"/>
                <a:gd name="T80" fmla="*/ 88285 w 253"/>
                <a:gd name="T81" fmla="*/ 41817 h 246"/>
                <a:gd name="T82" fmla="*/ 87023 w 253"/>
                <a:gd name="T83" fmla="*/ 37635 h 246"/>
                <a:gd name="T84" fmla="*/ 84501 w 253"/>
                <a:gd name="T85" fmla="*/ 35022 h 246"/>
                <a:gd name="T86" fmla="*/ 80297 w 253"/>
                <a:gd name="T87" fmla="*/ 33976 h 246"/>
                <a:gd name="T88" fmla="*/ 77354 w 253"/>
                <a:gd name="T89" fmla="*/ 31885 h 246"/>
                <a:gd name="T90" fmla="*/ 75673 w 253"/>
                <a:gd name="T91" fmla="*/ 28226 h 246"/>
                <a:gd name="T92" fmla="*/ 58856 w 253"/>
                <a:gd name="T93" fmla="*/ 25613 h 246"/>
                <a:gd name="T94" fmla="*/ 57175 w 253"/>
                <a:gd name="T95" fmla="*/ 22999 h 246"/>
                <a:gd name="T96" fmla="*/ 57175 w 253"/>
                <a:gd name="T97" fmla="*/ 18818 h 246"/>
                <a:gd name="T98" fmla="*/ 58856 w 253"/>
                <a:gd name="T99" fmla="*/ 9409 h 246"/>
                <a:gd name="T100" fmla="*/ 46244 w 253"/>
                <a:gd name="T101" fmla="*/ 5750 h 246"/>
                <a:gd name="T102" fmla="*/ 40779 w 253"/>
                <a:gd name="T103" fmla="*/ 6273 h 246"/>
                <a:gd name="T104" fmla="*/ 36155 w 253"/>
                <a:gd name="T105" fmla="*/ 9409 h 246"/>
                <a:gd name="T106" fmla="*/ 43722 w 253"/>
                <a:gd name="T107" fmla="*/ 2614 h 246"/>
                <a:gd name="T108" fmla="*/ 47506 w 253"/>
                <a:gd name="T109" fmla="*/ 523 h 246"/>
                <a:gd name="T110" fmla="*/ 53391 w 253"/>
                <a:gd name="T111" fmla="*/ 0 h 24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3" name="Freeform 281">
              <a:extLst>
                <a:ext uri="{FF2B5EF4-FFF2-40B4-BE49-F238E27FC236}">
                  <a16:creationId xmlns:a16="http://schemas.microsoft.com/office/drawing/2014/main" id="{88FCC5DD-98DE-4953-BA5A-45E0C999AF1C}"/>
                </a:ext>
              </a:extLst>
            </p:cNvPr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7519988" y="3349626"/>
              <a:ext cx="63500" cy="119063"/>
            </a:xfrm>
            <a:custGeom>
              <a:avLst/>
              <a:gdLst>
                <a:gd name="T0" fmla="*/ 18465 w 141"/>
                <a:gd name="T1" fmla="*/ 119063 h 228"/>
                <a:gd name="T2" fmla="*/ 16213 w 141"/>
                <a:gd name="T3" fmla="*/ 114885 h 228"/>
                <a:gd name="T4" fmla="*/ 13060 w 141"/>
                <a:gd name="T5" fmla="*/ 108619 h 228"/>
                <a:gd name="T6" fmla="*/ 9908 w 141"/>
                <a:gd name="T7" fmla="*/ 101308 h 228"/>
                <a:gd name="T8" fmla="*/ 7206 w 141"/>
                <a:gd name="T9" fmla="*/ 92953 h 228"/>
                <a:gd name="T10" fmla="*/ 4504 w 141"/>
                <a:gd name="T11" fmla="*/ 85120 h 228"/>
                <a:gd name="T12" fmla="*/ 2252 w 141"/>
                <a:gd name="T13" fmla="*/ 77287 h 228"/>
                <a:gd name="T14" fmla="*/ 901 w 141"/>
                <a:gd name="T15" fmla="*/ 70498 h 228"/>
                <a:gd name="T16" fmla="*/ 0 w 141"/>
                <a:gd name="T17" fmla="*/ 64231 h 228"/>
                <a:gd name="T18" fmla="*/ 901 w 141"/>
                <a:gd name="T19" fmla="*/ 54309 h 228"/>
                <a:gd name="T20" fmla="*/ 1801 w 141"/>
                <a:gd name="T21" fmla="*/ 45432 h 228"/>
                <a:gd name="T22" fmla="*/ 2702 w 141"/>
                <a:gd name="T23" fmla="*/ 36554 h 228"/>
                <a:gd name="T24" fmla="*/ 4053 w 141"/>
                <a:gd name="T25" fmla="*/ 28721 h 228"/>
                <a:gd name="T26" fmla="*/ 8106 w 141"/>
                <a:gd name="T27" fmla="*/ 14622 h 228"/>
                <a:gd name="T28" fmla="*/ 12610 w 141"/>
                <a:gd name="T29" fmla="*/ 0 h 228"/>
                <a:gd name="T30" fmla="*/ 20266 w 141"/>
                <a:gd name="T31" fmla="*/ 8355 h 228"/>
                <a:gd name="T32" fmla="*/ 27922 w 141"/>
                <a:gd name="T33" fmla="*/ 14622 h 228"/>
                <a:gd name="T34" fmla="*/ 34227 w 141"/>
                <a:gd name="T35" fmla="*/ 19322 h 228"/>
                <a:gd name="T36" fmla="*/ 40082 w 141"/>
                <a:gd name="T37" fmla="*/ 25066 h 228"/>
                <a:gd name="T38" fmla="*/ 42784 w 141"/>
                <a:gd name="T39" fmla="*/ 28721 h 228"/>
                <a:gd name="T40" fmla="*/ 45486 w 141"/>
                <a:gd name="T41" fmla="*/ 32899 h 228"/>
                <a:gd name="T42" fmla="*/ 48188 w 141"/>
                <a:gd name="T43" fmla="*/ 38643 h 228"/>
                <a:gd name="T44" fmla="*/ 51340 w 141"/>
                <a:gd name="T45" fmla="*/ 44910 h 228"/>
                <a:gd name="T46" fmla="*/ 54043 w 141"/>
                <a:gd name="T47" fmla="*/ 52221 h 228"/>
                <a:gd name="T48" fmla="*/ 57195 w 141"/>
                <a:gd name="T49" fmla="*/ 61098 h 228"/>
                <a:gd name="T50" fmla="*/ 59897 w 141"/>
                <a:gd name="T51" fmla="*/ 72064 h 228"/>
                <a:gd name="T52" fmla="*/ 63500 w 141"/>
                <a:gd name="T53" fmla="*/ 84075 h 228"/>
                <a:gd name="T54" fmla="*/ 63050 w 141"/>
                <a:gd name="T55" fmla="*/ 88253 h 228"/>
                <a:gd name="T56" fmla="*/ 62149 w 141"/>
                <a:gd name="T57" fmla="*/ 92430 h 228"/>
                <a:gd name="T58" fmla="*/ 60798 w 141"/>
                <a:gd name="T59" fmla="*/ 97130 h 228"/>
                <a:gd name="T60" fmla="*/ 58996 w 141"/>
                <a:gd name="T61" fmla="*/ 100264 h 228"/>
                <a:gd name="T62" fmla="*/ 57195 w 141"/>
                <a:gd name="T63" fmla="*/ 103919 h 228"/>
                <a:gd name="T64" fmla="*/ 54493 w 141"/>
                <a:gd name="T65" fmla="*/ 106530 h 228"/>
                <a:gd name="T66" fmla="*/ 51791 w 141"/>
                <a:gd name="T67" fmla="*/ 109141 h 228"/>
                <a:gd name="T68" fmla="*/ 48638 w 141"/>
                <a:gd name="T69" fmla="*/ 111230 h 228"/>
                <a:gd name="T70" fmla="*/ 45035 w 141"/>
                <a:gd name="T71" fmla="*/ 113319 h 228"/>
                <a:gd name="T72" fmla="*/ 41883 w 141"/>
                <a:gd name="T73" fmla="*/ 114885 h 228"/>
                <a:gd name="T74" fmla="*/ 38280 w 141"/>
                <a:gd name="T75" fmla="*/ 116452 h 228"/>
                <a:gd name="T76" fmla="*/ 34227 w 141"/>
                <a:gd name="T77" fmla="*/ 117496 h 228"/>
                <a:gd name="T78" fmla="*/ 26571 w 141"/>
                <a:gd name="T79" fmla="*/ 118541 h 228"/>
                <a:gd name="T80" fmla="*/ 18465 w 141"/>
                <a:gd name="T81" fmla="*/ 119063 h 22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214" name="Group 282">
              <a:extLst>
                <a:ext uri="{FF2B5EF4-FFF2-40B4-BE49-F238E27FC236}">
                  <a16:creationId xmlns:a16="http://schemas.microsoft.com/office/drawing/2014/main" id="{795AF59C-6507-4E9F-81BB-E4C802A04212}"/>
                </a:ext>
              </a:extLst>
            </p:cNvPr>
            <p:cNvGrpSpPr>
              <a:grpSpLocks/>
            </p:cNvGrpSpPr>
            <p:nvPr>
              <p:custDataLst>
                <p:tags r:id="rId209"/>
              </p:custDataLst>
            </p:nvPr>
          </p:nvGrpSpPr>
          <p:grpSpPr bwMode="auto">
            <a:xfrm>
              <a:off x="8459788" y="3060700"/>
              <a:ext cx="233362" cy="439738"/>
              <a:chOff x="5062" y="2295"/>
              <a:chExt cx="177" cy="279"/>
            </a:xfrm>
          </p:grpSpPr>
          <p:sp>
            <p:nvSpPr>
              <p:cNvPr id="459" name="Freeform 283">
                <a:extLst>
                  <a:ext uri="{FF2B5EF4-FFF2-40B4-BE49-F238E27FC236}">
                    <a16:creationId xmlns:a16="http://schemas.microsoft.com/office/drawing/2014/main" id="{2E706AFE-CC13-43B9-90B8-A5100189C0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12 w 60"/>
                  <a:gd name="T1" fmla="*/ 37 h 110"/>
                  <a:gd name="T2" fmla="*/ 13 w 60"/>
                  <a:gd name="T3" fmla="*/ 37 h 110"/>
                  <a:gd name="T4" fmla="*/ 15 w 60"/>
                  <a:gd name="T5" fmla="*/ 36 h 110"/>
                  <a:gd name="T6" fmla="*/ 16 w 60"/>
                  <a:gd name="T7" fmla="*/ 34 h 110"/>
                  <a:gd name="T8" fmla="*/ 16 w 60"/>
                  <a:gd name="T9" fmla="*/ 32 h 110"/>
                  <a:gd name="T10" fmla="*/ 17 w 60"/>
                  <a:gd name="T11" fmla="*/ 30 h 110"/>
                  <a:gd name="T12" fmla="*/ 18 w 60"/>
                  <a:gd name="T13" fmla="*/ 28 h 110"/>
                  <a:gd name="T14" fmla="*/ 19 w 60"/>
                  <a:gd name="T15" fmla="*/ 26 h 110"/>
                  <a:gd name="T16" fmla="*/ 19 w 60"/>
                  <a:gd name="T17" fmla="*/ 25 h 110"/>
                  <a:gd name="T18" fmla="*/ 19 w 60"/>
                  <a:gd name="T19" fmla="*/ 20 h 110"/>
                  <a:gd name="T20" fmla="*/ 18 w 60"/>
                  <a:gd name="T21" fmla="*/ 16 h 110"/>
                  <a:gd name="T22" fmla="*/ 18 w 60"/>
                  <a:gd name="T23" fmla="*/ 13 h 110"/>
                  <a:gd name="T24" fmla="*/ 17 w 60"/>
                  <a:gd name="T25" fmla="*/ 10 h 110"/>
                  <a:gd name="T26" fmla="*/ 16 w 60"/>
                  <a:gd name="T27" fmla="*/ 7 h 110"/>
                  <a:gd name="T28" fmla="*/ 15 w 60"/>
                  <a:gd name="T29" fmla="*/ 4 h 110"/>
                  <a:gd name="T30" fmla="*/ 14 w 60"/>
                  <a:gd name="T31" fmla="*/ 2 h 110"/>
                  <a:gd name="T32" fmla="*/ 12 w 60"/>
                  <a:gd name="T33" fmla="*/ 0 h 110"/>
                  <a:gd name="T34" fmla="*/ 11 w 60"/>
                  <a:gd name="T35" fmla="*/ 1 h 110"/>
                  <a:gd name="T36" fmla="*/ 10 w 60"/>
                  <a:gd name="T37" fmla="*/ 3 h 110"/>
                  <a:gd name="T38" fmla="*/ 9 w 60"/>
                  <a:gd name="T39" fmla="*/ 4 h 110"/>
                  <a:gd name="T40" fmla="*/ 8 w 60"/>
                  <a:gd name="T41" fmla="*/ 6 h 110"/>
                  <a:gd name="T42" fmla="*/ 6 w 60"/>
                  <a:gd name="T43" fmla="*/ 10 h 110"/>
                  <a:gd name="T44" fmla="*/ 5 w 60"/>
                  <a:gd name="T45" fmla="*/ 13 h 110"/>
                  <a:gd name="T46" fmla="*/ 3 w 60"/>
                  <a:gd name="T47" fmla="*/ 17 h 110"/>
                  <a:gd name="T48" fmla="*/ 2 w 60"/>
                  <a:gd name="T49" fmla="*/ 21 h 110"/>
                  <a:gd name="T50" fmla="*/ 2 w 60"/>
                  <a:gd name="T51" fmla="*/ 22 h 110"/>
                  <a:gd name="T52" fmla="*/ 1 w 60"/>
                  <a:gd name="T53" fmla="*/ 23 h 110"/>
                  <a:gd name="T54" fmla="*/ 1 w 60"/>
                  <a:gd name="T55" fmla="*/ 24 h 110"/>
                  <a:gd name="T56" fmla="*/ 0 w 60"/>
                  <a:gd name="T57" fmla="*/ 25 h 110"/>
                  <a:gd name="T58" fmla="*/ 0 w 60"/>
                  <a:gd name="T59" fmla="*/ 26 h 110"/>
                  <a:gd name="T60" fmla="*/ 1 w 60"/>
                  <a:gd name="T61" fmla="*/ 28 h 110"/>
                  <a:gd name="T62" fmla="*/ 2 w 60"/>
                  <a:gd name="T63" fmla="*/ 30 h 110"/>
                  <a:gd name="T64" fmla="*/ 4 w 60"/>
                  <a:gd name="T65" fmla="*/ 32 h 110"/>
                  <a:gd name="T66" fmla="*/ 6 w 60"/>
                  <a:gd name="T67" fmla="*/ 34 h 110"/>
                  <a:gd name="T68" fmla="*/ 8 w 60"/>
                  <a:gd name="T69" fmla="*/ 36 h 110"/>
                  <a:gd name="T70" fmla="*/ 10 w 60"/>
                  <a:gd name="T71" fmla="*/ 37 h 110"/>
                  <a:gd name="T72" fmla="*/ 12 w 60"/>
                  <a:gd name="T73" fmla="*/ 37 h 11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0" name="Freeform 284">
                <a:extLst>
                  <a:ext uri="{FF2B5EF4-FFF2-40B4-BE49-F238E27FC236}">
                    <a16:creationId xmlns:a16="http://schemas.microsoft.com/office/drawing/2014/main" id="{B4127452-3464-46A3-BDDD-3FE0D57587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4 h 75"/>
                  <a:gd name="T2" fmla="*/ 3 w 72"/>
                  <a:gd name="T3" fmla="*/ 6 h 75"/>
                  <a:gd name="T4" fmla="*/ 5 w 72"/>
                  <a:gd name="T5" fmla="*/ 8 h 75"/>
                  <a:gd name="T6" fmla="*/ 8 w 72"/>
                  <a:gd name="T7" fmla="*/ 11 h 75"/>
                  <a:gd name="T8" fmla="*/ 10 w 72"/>
                  <a:gd name="T9" fmla="*/ 13 h 75"/>
                  <a:gd name="T10" fmla="*/ 12 w 72"/>
                  <a:gd name="T11" fmla="*/ 16 h 75"/>
                  <a:gd name="T12" fmla="*/ 14 w 72"/>
                  <a:gd name="T13" fmla="*/ 19 h 75"/>
                  <a:gd name="T14" fmla="*/ 15 w 72"/>
                  <a:gd name="T15" fmla="*/ 22 h 75"/>
                  <a:gd name="T16" fmla="*/ 15 w 72"/>
                  <a:gd name="T17" fmla="*/ 25 h 75"/>
                  <a:gd name="T18" fmla="*/ 24 w 72"/>
                  <a:gd name="T19" fmla="*/ 25 h 75"/>
                  <a:gd name="T20" fmla="*/ 22 w 72"/>
                  <a:gd name="T21" fmla="*/ 17 h 75"/>
                  <a:gd name="T22" fmla="*/ 20 w 72"/>
                  <a:gd name="T23" fmla="*/ 11 h 75"/>
                  <a:gd name="T24" fmla="*/ 20 w 72"/>
                  <a:gd name="T25" fmla="*/ 9 h 75"/>
                  <a:gd name="T26" fmla="*/ 21 w 72"/>
                  <a:gd name="T27" fmla="*/ 6 h 75"/>
                  <a:gd name="T28" fmla="*/ 22 w 72"/>
                  <a:gd name="T29" fmla="*/ 4 h 75"/>
                  <a:gd name="T30" fmla="*/ 24 w 72"/>
                  <a:gd name="T31" fmla="*/ 0 h 75"/>
                  <a:gd name="T32" fmla="*/ 17 w 72"/>
                  <a:gd name="T33" fmla="*/ 0 h 75"/>
                  <a:gd name="T34" fmla="*/ 11 w 72"/>
                  <a:gd name="T35" fmla="*/ 0 h 75"/>
                  <a:gd name="T36" fmla="*/ 7 w 72"/>
                  <a:gd name="T37" fmla="*/ 0 h 75"/>
                  <a:gd name="T38" fmla="*/ 4 w 72"/>
                  <a:gd name="T39" fmla="*/ 1 h 75"/>
                  <a:gd name="T40" fmla="*/ 3 w 72"/>
                  <a:gd name="T41" fmla="*/ 2 h 75"/>
                  <a:gd name="T42" fmla="*/ 2 w 72"/>
                  <a:gd name="T43" fmla="*/ 2 h 75"/>
                  <a:gd name="T44" fmla="*/ 1 w 72"/>
                  <a:gd name="T45" fmla="*/ 3 h 75"/>
                  <a:gd name="T46" fmla="*/ 0 w 72"/>
                  <a:gd name="T47" fmla="*/ 4 h 7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1" name="Freeform 285">
                <a:extLst>
                  <a:ext uri="{FF2B5EF4-FFF2-40B4-BE49-F238E27FC236}">
                    <a16:creationId xmlns:a16="http://schemas.microsoft.com/office/drawing/2014/main" id="{0F85E2FA-F7B6-4DB4-8CFD-982CE5B9B0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5 w 15"/>
                  <a:gd name="T1" fmla="*/ 16 h 49"/>
                  <a:gd name="T2" fmla="*/ 5 w 15"/>
                  <a:gd name="T3" fmla="*/ 11 h 49"/>
                  <a:gd name="T4" fmla="*/ 5 w 15"/>
                  <a:gd name="T5" fmla="*/ 6 h 49"/>
                  <a:gd name="T6" fmla="*/ 5 w 15"/>
                  <a:gd name="T7" fmla="*/ 4 h 49"/>
                  <a:gd name="T8" fmla="*/ 4 w 15"/>
                  <a:gd name="T9" fmla="*/ 2 h 49"/>
                  <a:gd name="T10" fmla="*/ 4 w 15"/>
                  <a:gd name="T11" fmla="*/ 1 h 49"/>
                  <a:gd name="T12" fmla="*/ 3 w 15"/>
                  <a:gd name="T13" fmla="*/ 0 h 49"/>
                  <a:gd name="T14" fmla="*/ 1 w 15"/>
                  <a:gd name="T15" fmla="*/ 2 h 49"/>
                  <a:gd name="T16" fmla="*/ 1 w 15"/>
                  <a:gd name="T17" fmla="*/ 5 h 49"/>
                  <a:gd name="T18" fmla="*/ 0 w 15"/>
                  <a:gd name="T19" fmla="*/ 8 h 49"/>
                  <a:gd name="T20" fmla="*/ 0 w 15"/>
                  <a:gd name="T21" fmla="*/ 10 h 49"/>
                  <a:gd name="T22" fmla="*/ 0 w 15"/>
                  <a:gd name="T23" fmla="*/ 12 h 49"/>
                  <a:gd name="T24" fmla="*/ 1 w 15"/>
                  <a:gd name="T25" fmla="*/ 14 h 49"/>
                  <a:gd name="T26" fmla="*/ 2 w 15"/>
                  <a:gd name="T27" fmla="*/ 14 h 49"/>
                  <a:gd name="T28" fmla="*/ 3 w 15"/>
                  <a:gd name="T29" fmla="*/ 15 h 49"/>
                  <a:gd name="T30" fmla="*/ 4 w 15"/>
                  <a:gd name="T31" fmla="*/ 16 h 49"/>
                  <a:gd name="T32" fmla="*/ 5 w 15"/>
                  <a:gd name="T33" fmla="*/ 16 h 4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2" name="Freeform 286">
                <a:extLst>
                  <a:ext uri="{FF2B5EF4-FFF2-40B4-BE49-F238E27FC236}">
                    <a16:creationId xmlns:a16="http://schemas.microsoft.com/office/drawing/2014/main" id="{B6A93568-A9C8-4674-AFC6-8943046C64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6 w 47"/>
                  <a:gd name="T1" fmla="*/ 2 h 40"/>
                  <a:gd name="T2" fmla="*/ 0 w 47"/>
                  <a:gd name="T3" fmla="*/ 12 h 40"/>
                  <a:gd name="T4" fmla="*/ 2 w 47"/>
                  <a:gd name="T5" fmla="*/ 13 h 40"/>
                  <a:gd name="T6" fmla="*/ 4 w 47"/>
                  <a:gd name="T7" fmla="*/ 13 h 40"/>
                  <a:gd name="T8" fmla="*/ 6 w 47"/>
                  <a:gd name="T9" fmla="*/ 13 h 40"/>
                  <a:gd name="T10" fmla="*/ 8 w 47"/>
                  <a:gd name="T11" fmla="*/ 12 h 40"/>
                  <a:gd name="T12" fmla="*/ 10 w 47"/>
                  <a:gd name="T13" fmla="*/ 12 h 40"/>
                  <a:gd name="T14" fmla="*/ 12 w 47"/>
                  <a:gd name="T15" fmla="*/ 11 h 40"/>
                  <a:gd name="T16" fmla="*/ 14 w 47"/>
                  <a:gd name="T17" fmla="*/ 10 h 40"/>
                  <a:gd name="T18" fmla="*/ 15 w 47"/>
                  <a:gd name="T19" fmla="*/ 8 h 40"/>
                  <a:gd name="T20" fmla="*/ 15 w 47"/>
                  <a:gd name="T21" fmla="*/ 0 h 40"/>
                  <a:gd name="T22" fmla="*/ 13 w 47"/>
                  <a:gd name="T23" fmla="*/ 0 h 40"/>
                  <a:gd name="T24" fmla="*/ 11 w 47"/>
                  <a:gd name="T25" fmla="*/ 0 h 40"/>
                  <a:gd name="T26" fmla="*/ 8 w 47"/>
                  <a:gd name="T27" fmla="*/ 1 h 40"/>
                  <a:gd name="T28" fmla="*/ 6 w 47"/>
                  <a:gd name="T29" fmla="*/ 2 h 4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3" name="Freeform 287">
                <a:extLst>
                  <a:ext uri="{FF2B5EF4-FFF2-40B4-BE49-F238E27FC236}">
                    <a16:creationId xmlns:a16="http://schemas.microsoft.com/office/drawing/2014/main" id="{B13800AA-C431-4E99-8E15-5317E2F861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1 w 39"/>
                  <a:gd name="T3" fmla="*/ 3 h 31"/>
                  <a:gd name="T4" fmla="*/ 2 w 39"/>
                  <a:gd name="T5" fmla="*/ 4 h 31"/>
                  <a:gd name="T6" fmla="*/ 4 w 39"/>
                  <a:gd name="T7" fmla="*/ 6 h 31"/>
                  <a:gd name="T8" fmla="*/ 6 w 39"/>
                  <a:gd name="T9" fmla="*/ 7 h 31"/>
                  <a:gd name="T10" fmla="*/ 8 w 39"/>
                  <a:gd name="T11" fmla="*/ 8 h 31"/>
                  <a:gd name="T12" fmla="*/ 9 w 39"/>
                  <a:gd name="T13" fmla="*/ 9 h 31"/>
                  <a:gd name="T14" fmla="*/ 11 w 39"/>
                  <a:gd name="T15" fmla="*/ 10 h 31"/>
                  <a:gd name="T16" fmla="*/ 13 w 39"/>
                  <a:gd name="T17" fmla="*/ 10 h 31"/>
                  <a:gd name="T18" fmla="*/ 11 w 39"/>
                  <a:gd name="T19" fmla="*/ 7 h 31"/>
                  <a:gd name="T20" fmla="*/ 8 w 39"/>
                  <a:gd name="T21" fmla="*/ 5 h 31"/>
                  <a:gd name="T22" fmla="*/ 5 w 39"/>
                  <a:gd name="T23" fmla="*/ 2 h 31"/>
                  <a:gd name="T24" fmla="*/ 2 w 39"/>
                  <a:gd name="T25" fmla="*/ 0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4" name="Freeform 288">
                <a:extLst>
                  <a:ext uri="{FF2B5EF4-FFF2-40B4-BE49-F238E27FC236}">
                    <a16:creationId xmlns:a16="http://schemas.microsoft.com/office/drawing/2014/main" id="{55BBDF37-DA2D-4EA1-B897-41D9AF5AD9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10 w 34"/>
                  <a:gd name="T3" fmla="*/ 6 h 19"/>
                  <a:gd name="T4" fmla="*/ 10 w 34"/>
                  <a:gd name="T5" fmla="*/ 0 h 19"/>
                  <a:gd name="T6" fmla="*/ 7 w 34"/>
                  <a:gd name="T7" fmla="*/ 0 h 19"/>
                  <a:gd name="T8" fmla="*/ 4 w 34"/>
                  <a:gd name="T9" fmla="*/ 0 h 19"/>
                  <a:gd name="T10" fmla="*/ 2 w 34"/>
                  <a:gd name="T11" fmla="*/ 0 h 19"/>
                  <a:gd name="T12" fmla="*/ 0 w 34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5" name="Freeform 289">
                <a:extLst>
                  <a:ext uri="{FF2B5EF4-FFF2-40B4-BE49-F238E27FC236}">
                    <a16:creationId xmlns:a16="http://schemas.microsoft.com/office/drawing/2014/main" id="{2F2B65C9-9CE8-429C-A419-7D2A5CF7B5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6 w 19"/>
                  <a:gd name="T3" fmla="*/ 4 h 12"/>
                  <a:gd name="T4" fmla="*/ 4 w 19"/>
                  <a:gd name="T5" fmla="*/ 2 h 12"/>
                  <a:gd name="T6" fmla="*/ 2 w 19"/>
                  <a:gd name="T7" fmla="*/ 2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6" name="Freeform 290">
                <a:extLst>
                  <a:ext uri="{FF2B5EF4-FFF2-40B4-BE49-F238E27FC236}">
                    <a16:creationId xmlns:a16="http://schemas.microsoft.com/office/drawing/2014/main" id="{54070C0B-2B15-47C0-A948-26BECA8F1D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38 w 126"/>
                  <a:gd name="T1" fmla="*/ 0 h 166"/>
                  <a:gd name="T2" fmla="*/ 39 w 126"/>
                  <a:gd name="T3" fmla="*/ 2 h 166"/>
                  <a:gd name="T4" fmla="*/ 40 w 126"/>
                  <a:gd name="T5" fmla="*/ 3 h 166"/>
                  <a:gd name="T6" fmla="*/ 41 w 126"/>
                  <a:gd name="T7" fmla="*/ 4 h 166"/>
                  <a:gd name="T8" fmla="*/ 42 w 126"/>
                  <a:gd name="T9" fmla="*/ 6 h 166"/>
                  <a:gd name="T10" fmla="*/ 42 w 126"/>
                  <a:gd name="T11" fmla="*/ 7 h 166"/>
                  <a:gd name="T12" fmla="*/ 42 w 126"/>
                  <a:gd name="T13" fmla="*/ 8 h 166"/>
                  <a:gd name="T14" fmla="*/ 41 w 126"/>
                  <a:gd name="T15" fmla="*/ 11 h 166"/>
                  <a:gd name="T16" fmla="*/ 39 w 126"/>
                  <a:gd name="T17" fmla="*/ 14 h 166"/>
                  <a:gd name="T18" fmla="*/ 38 w 126"/>
                  <a:gd name="T19" fmla="*/ 17 h 166"/>
                  <a:gd name="T20" fmla="*/ 35 w 126"/>
                  <a:gd name="T21" fmla="*/ 20 h 166"/>
                  <a:gd name="T22" fmla="*/ 30 w 126"/>
                  <a:gd name="T23" fmla="*/ 28 h 166"/>
                  <a:gd name="T24" fmla="*/ 24 w 126"/>
                  <a:gd name="T25" fmla="*/ 34 h 166"/>
                  <a:gd name="T26" fmla="*/ 18 w 126"/>
                  <a:gd name="T27" fmla="*/ 42 h 166"/>
                  <a:gd name="T28" fmla="*/ 11 w 126"/>
                  <a:gd name="T29" fmla="*/ 48 h 166"/>
                  <a:gd name="T30" fmla="*/ 8 w 126"/>
                  <a:gd name="T31" fmla="*/ 50 h 166"/>
                  <a:gd name="T32" fmla="*/ 5 w 126"/>
                  <a:gd name="T33" fmla="*/ 52 h 166"/>
                  <a:gd name="T34" fmla="*/ 2 w 126"/>
                  <a:gd name="T35" fmla="*/ 54 h 166"/>
                  <a:gd name="T36" fmla="*/ 0 w 126"/>
                  <a:gd name="T37" fmla="*/ 55 h 166"/>
                  <a:gd name="T38" fmla="*/ 0 w 126"/>
                  <a:gd name="T39" fmla="*/ 53 h 166"/>
                  <a:gd name="T40" fmla="*/ 0 w 126"/>
                  <a:gd name="T41" fmla="*/ 51 h 166"/>
                  <a:gd name="T42" fmla="*/ 0 w 126"/>
                  <a:gd name="T43" fmla="*/ 48 h 166"/>
                  <a:gd name="T44" fmla="*/ 0 w 126"/>
                  <a:gd name="T45" fmla="*/ 45 h 166"/>
                  <a:gd name="T46" fmla="*/ 1 w 126"/>
                  <a:gd name="T47" fmla="*/ 43 h 166"/>
                  <a:gd name="T48" fmla="*/ 2 w 126"/>
                  <a:gd name="T49" fmla="*/ 42 h 166"/>
                  <a:gd name="T50" fmla="*/ 4 w 126"/>
                  <a:gd name="T51" fmla="*/ 41 h 166"/>
                  <a:gd name="T52" fmla="*/ 5 w 126"/>
                  <a:gd name="T53" fmla="*/ 40 h 166"/>
                  <a:gd name="T54" fmla="*/ 9 w 126"/>
                  <a:gd name="T55" fmla="*/ 38 h 166"/>
                  <a:gd name="T56" fmla="*/ 11 w 126"/>
                  <a:gd name="T57" fmla="*/ 36 h 166"/>
                  <a:gd name="T58" fmla="*/ 13 w 126"/>
                  <a:gd name="T59" fmla="*/ 34 h 166"/>
                  <a:gd name="T60" fmla="*/ 16 w 126"/>
                  <a:gd name="T61" fmla="*/ 32 h 166"/>
                  <a:gd name="T62" fmla="*/ 18 w 126"/>
                  <a:gd name="T63" fmla="*/ 29 h 166"/>
                  <a:gd name="T64" fmla="*/ 19 w 126"/>
                  <a:gd name="T65" fmla="*/ 27 h 166"/>
                  <a:gd name="T66" fmla="*/ 22 w 126"/>
                  <a:gd name="T67" fmla="*/ 22 h 166"/>
                  <a:gd name="T68" fmla="*/ 24 w 126"/>
                  <a:gd name="T69" fmla="*/ 17 h 166"/>
                  <a:gd name="T70" fmla="*/ 26 w 126"/>
                  <a:gd name="T71" fmla="*/ 12 h 166"/>
                  <a:gd name="T72" fmla="*/ 29 w 126"/>
                  <a:gd name="T73" fmla="*/ 8 h 166"/>
                  <a:gd name="T74" fmla="*/ 31 w 126"/>
                  <a:gd name="T75" fmla="*/ 5 h 166"/>
                  <a:gd name="T76" fmla="*/ 32 w 126"/>
                  <a:gd name="T77" fmla="*/ 4 h 166"/>
                  <a:gd name="T78" fmla="*/ 35 w 126"/>
                  <a:gd name="T79" fmla="*/ 2 h 166"/>
                  <a:gd name="T80" fmla="*/ 38 w 126"/>
                  <a:gd name="T81" fmla="*/ 0 h 16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7" name="Freeform 291">
                <a:extLst>
                  <a:ext uri="{FF2B5EF4-FFF2-40B4-BE49-F238E27FC236}">
                    <a16:creationId xmlns:a16="http://schemas.microsoft.com/office/drawing/2014/main" id="{6669F56F-558D-4867-8B74-3634EFDAE2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3 w 259"/>
                  <a:gd name="T1" fmla="*/ 60 h 259"/>
                  <a:gd name="T2" fmla="*/ 0 w 259"/>
                  <a:gd name="T3" fmla="*/ 54 h 259"/>
                  <a:gd name="T4" fmla="*/ 0 w 259"/>
                  <a:gd name="T5" fmla="*/ 47 h 259"/>
                  <a:gd name="T6" fmla="*/ 2 w 259"/>
                  <a:gd name="T7" fmla="*/ 43 h 259"/>
                  <a:gd name="T8" fmla="*/ 6 w 259"/>
                  <a:gd name="T9" fmla="*/ 42 h 259"/>
                  <a:gd name="T10" fmla="*/ 11 w 259"/>
                  <a:gd name="T11" fmla="*/ 39 h 259"/>
                  <a:gd name="T12" fmla="*/ 16 w 259"/>
                  <a:gd name="T13" fmla="*/ 33 h 259"/>
                  <a:gd name="T14" fmla="*/ 20 w 259"/>
                  <a:gd name="T15" fmla="*/ 30 h 259"/>
                  <a:gd name="T16" fmla="*/ 22 w 259"/>
                  <a:gd name="T17" fmla="*/ 29 h 259"/>
                  <a:gd name="T18" fmla="*/ 27 w 259"/>
                  <a:gd name="T19" fmla="*/ 29 h 259"/>
                  <a:gd name="T20" fmla="*/ 31 w 259"/>
                  <a:gd name="T21" fmla="*/ 31 h 259"/>
                  <a:gd name="T22" fmla="*/ 33 w 259"/>
                  <a:gd name="T23" fmla="*/ 35 h 259"/>
                  <a:gd name="T24" fmla="*/ 35 w 259"/>
                  <a:gd name="T25" fmla="*/ 37 h 259"/>
                  <a:gd name="T26" fmla="*/ 39 w 259"/>
                  <a:gd name="T27" fmla="*/ 37 h 259"/>
                  <a:gd name="T28" fmla="*/ 44 w 259"/>
                  <a:gd name="T29" fmla="*/ 35 h 259"/>
                  <a:gd name="T30" fmla="*/ 49 w 259"/>
                  <a:gd name="T31" fmla="*/ 31 h 259"/>
                  <a:gd name="T32" fmla="*/ 53 w 259"/>
                  <a:gd name="T33" fmla="*/ 26 h 259"/>
                  <a:gd name="T34" fmla="*/ 57 w 259"/>
                  <a:gd name="T35" fmla="*/ 17 h 259"/>
                  <a:gd name="T36" fmla="*/ 62 w 259"/>
                  <a:gd name="T37" fmla="*/ 5 h 259"/>
                  <a:gd name="T38" fmla="*/ 64 w 259"/>
                  <a:gd name="T39" fmla="*/ 1 h 259"/>
                  <a:gd name="T40" fmla="*/ 66 w 259"/>
                  <a:gd name="T41" fmla="*/ 4 h 259"/>
                  <a:gd name="T42" fmla="*/ 70 w 259"/>
                  <a:gd name="T43" fmla="*/ 6 h 259"/>
                  <a:gd name="T44" fmla="*/ 72 w 259"/>
                  <a:gd name="T45" fmla="*/ 11 h 259"/>
                  <a:gd name="T46" fmla="*/ 72 w 259"/>
                  <a:gd name="T47" fmla="*/ 17 h 259"/>
                  <a:gd name="T48" fmla="*/ 74 w 259"/>
                  <a:gd name="T49" fmla="*/ 20 h 259"/>
                  <a:gd name="T50" fmla="*/ 77 w 259"/>
                  <a:gd name="T51" fmla="*/ 23 h 259"/>
                  <a:gd name="T52" fmla="*/ 77 w 259"/>
                  <a:gd name="T53" fmla="*/ 29 h 259"/>
                  <a:gd name="T54" fmla="*/ 77 w 259"/>
                  <a:gd name="T55" fmla="*/ 35 h 259"/>
                  <a:gd name="T56" fmla="*/ 78 w 259"/>
                  <a:gd name="T57" fmla="*/ 37 h 259"/>
                  <a:gd name="T58" fmla="*/ 80 w 259"/>
                  <a:gd name="T59" fmla="*/ 40 h 259"/>
                  <a:gd name="T60" fmla="*/ 82 w 259"/>
                  <a:gd name="T61" fmla="*/ 45 h 259"/>
                  <a:gd name="T62" fmla="*/ 83 w 259"/>
                  <a:gd name="T63" fmla="*/ 53 h 259"/>
                  <a:gd name="T64" fmla="*/ 80 w 259"/>
                  <a:gd name="T65" fmla="*/ 78 h 259"/>
                  <a:gd name="T66" fmla="*/ 78 w 259"/>
                  <a:gd name="T67" fmla="*/ 74 h 259"/>
                  <a:gd name="T68" fmla="*/ 78 w 259"/>
                  <a:gd name="T69" fmla="*/ 69 h 259"/>
                  <a:gd name="T70" fmla="*/ 78 w 259"/>
                  <a:gd name="T71" fmla="*/ 64 h 259"/>
                  <a:gd name="T72" fmla="*/ 73 w 259"/>
                  <a:gd name="T73" fmla="*/ 62 h 259"/>
                  <a:gd name="T74" fmla="*/ 68 w 259"/>
                  <a:gd name="T75" fmla="*/ 59 h 259"/>
                  <a:gd name="T76" fmla="*/ 64 w 259"/>
                  <a:gd name="T77" fmla="*/ 66 h 259"/>
                  <a:gd name="T78" fmla="*/ 62 w 259"/>
                  <a:gd name="T79" fmla="*/ 73 h 259"/>
                  <a:gd name="T80" fmla="*/ 61 w 259"/>
                  <a:gd name="T81" fmla="*/ 86 h 259"/>
                  <a:gd name="T82" fmla="*/ 41 w 259"/>
                  <a:gd name="T83" fmla="*/ 80 h 259"/>
                  <a:gd name="T84" fmla="*/ 36 w 259"/>
                  <a:gd name="T85" fmla="*/ 73 h 259"/>
                  <a:gd name="T86" fmla="*/ 32 w 259"/>
                  <a:gd name="T87" fmla="*/ 69 h 259"/>
                  <a:gd name="T88" fmla="*/ 32 w 259"/>
                  <a:gd name="T89" fmla="*/ 65 h 259"/>
                  <a:gd name="T90" fmla="*/ 34 w 259"/>
                  <a:gd name="T91" fmla="*/ 62 h 259"/>
                  <a:gd name="T92" fmla="*/ 37 w 259"/>
                  <a:gd name="T93" fmla="*/ 60 h 259"/>
                  <a:gd name="T94" fmla="*/ 38 w 259"/>
                  <a:gd name="T95" fmla="*/ 57 h 259"/>
                  <a:gd name="T96" fmla="*/ 31 w 259"/>
                  <a:gd name="T97" fmla="*/ 51 h 259"/>
                  <a:gd name="T98" fmla="*/ 9 w 259"/>
                  <a:gd name="T99" fmla="*/ 51 h 259"/>
                  <a:gd name="T100" fmla="*/ 7 w 259"/>
                  <a:gd name="T101" fmla="*/ 54 h 259"/>
                  <a:gd name="T102" fmla="*/ 5 w 259"/>
                  <a:gd name="T103" fmla="*/ 58 h 259"/>
                  <a:gd name="T104" fmla="*/ 4 w 259"/>
                  <a:gd name="T105" fmla="*/ 62 h 25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8" name="Freeform 292">
                <a:extLst>
                  <a:ext uri="{FF2B5EF4-FFF2-40B4-BE49-F238E27FC236}">
                    <a16:creationId xmlns:a16="http://schemas.microsoft.com/office/drawing/2014/main" id="{2D841E0F-8F85-4791-947C-9BF416FB85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23 w 72"/>
                  <a:gd name="T1" fmla="*/ 14 h 92"/>
                  <a:gd name="T2" fmla="*/ 23 w 72"/>
                  <a:gd name="T3" fmla="*/ 31 h 92"/>
                  <a:gd name="T4" fmla="*/ 21 w 72"/>
                  <a:gd name="T5" fmla="*/ 29 h 92"/>
                  <a:gd name="T6" fmla="*/ 19 w 72"/>
                  <a:gd name="T7" fmla="*/ 27 h 92"/>
                  <a:gd name="T8" fmla="*/ 16 w 72"/>
                  <a:gd name="T9" fmla="*/ 25 h 92"/>
                  <a:gd name="T10" fmla="*/ 15 w 72"/>
                  <a:gd name="T11" fmla="*/ 23 h 92"/>
                  <a:gd name="T12" fmla="*/ 12 w 72"/>
                  <a:gd name="T13" fmla="*/ 20 h 92"/>
                  <a:gd name="T14" fmla="*/ 10 w 72"/>
                  <a:gd name="T15" fmla="*/ 16 h 92"/>
                  <a:gd name="T16" fmla="*/ 8 w 72"/>
                  <a:gd name="T17" fmla="*/ 11 h 92"/>
                  <a:gd name="T18" fmla="*/ 6 w 72"/>
                  <a:gd name="T19" fmla="*/ 8 h 92"/>
                  <a:gd name="T20" fmla="*/ 4 w 72"/>
                  <a:gd name="T21" fmla="*/ 4 h 92"/>
                  <a:gd name="T22" fmla="*/ 0 w 72"/>
                  <a:gd name="T23" fmla="*/ 0 h 92"/>
                  <a:gd name="T24" fmla="*/ 8 w 72"/>
                  <a:gd name="T25" fmla="*/ 4 h 92"/>
                  <a:gd name="T26" fmla="*/ 14 w 72"/>
                  <a:gd name="T27" fmla="*/ 7 h 92"/>
                  <a:gd name="T28" fmla="*/ 16 w 72"/>
                  <a:gd name="T29" fmla="*/ 9 h 92"/>
                  <a:gd name="T30" fmla="*/ 19 w 72"/>
                  <a:gd name="T31" fmla="*/ 10 h 92"/>
                  <a:gd name="T32" fmla="*/ 21 w 72"/>
                  <a:gd name="T33" fmla="*/ 12 h 92"/>
                  <a:gd name="T34" fmla="*/ 23 w 72"/>
                  <a:gd name="T35" fmla="*/ 14 h 9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9" name="Freeform 293">
                <a:extLst>
                  <a:ext uri="{FF2B5EF4-FFF2-40B4-BE49-F238E27FC236}">
                    <a16:creationId xmlns:a16="http://schemas.microsoft.com/office/drawing/2014/main" id="{3CA6BA41-2510-40AC-9B94-BF9C1E6CD4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2 w 46"/>
                  <a:gd name="T1" fmla="*/ 2 h 62"/>
                  <a:gd name="T2" fmla="*/ 7 w 46"/>
                  <a:gd name="T3" fmla="*/ 2 h 62"/>
                  <a:gd name="T4" fmla="*/ 11 w 46"/>
                  <a:gd name="T5" fmla="*/ 1 h 62"/>
                  <a:gd name="T6" fmla="*/ 14 w 46"/>
                  <a:gd name="T7" fmla="*/ 0 h 62"/>
                  <a:gd name="T8" fmla="*/ 16 w 46"/>
                  <a:gd name="T9" fmla="*/ 0 h 62"/>
                  <a:gd name="T10" fmla="*/ 16 w 46"/>
                  <a:gd name="T11" fmla="*/ 3 h 62"/>
                  <a:gd name="T12" fmla="*/ 16 w 46"/>
                  <a:gd name="T13" fmla="*/ 6 h 62"/>
                  <a:gd name="T14" fmla="*/ 16 w 46"/>
                  <a:gd name="T15" fmla="*/ 9 h 62"/>
                  <a:gd name="T16" fmla="*/ 16 w 46"/>
                  <a:gd name="T17" fmla="*/ 13 h 62"/>
                  <a:gd name="T18" fmla="*/ 16 w 46"/>
                  <a:gd name="T19" fmla="*/ 16 h 62"/>
                  <a:gd name="T20" fmla="*/ 14 w 46"/>
                  <a:gd name="T21" fmla="*/ 18 h 62"/>
                  <a:gd name="T22" fmla="*/ 14 w 46"/>
                  <a:gd name="T23" fmla="*/ 19 h 62"/>
                  <a:gd name="T24" fmla="*/ 13 w 46"/>
                  <a:gd name="T25" fmla="*/ 20 h 62"/>
                  <a:gd name="T26" fmla="*/ 12 w 46"/>
                  <a:gd name="T27" fmla="*/ 21 h 62"/>
                  <a:gd name="T28" fmla="*/ 11 w 46"/>
                  <a:gd name="T29" fmla="*/ 21 h 62"/>
                  <a:gd name="T30" fmla="*/ 9 w 46"/>
                  <a:gd name="T31" fmla="*/ 21 h 62"/>
                  <a:gd name="T32" fmla="*/ 8 w 46"/>
                  <a:gd name="T33" fmla="*/ 20 h 62"/>
                  <a:gd name="T34" fmla="*/ 6 w 46"/>
                  <a:gd name="T35" fmla="*/ 20 h 62"/>
                  <a:gd name="T36" fmla="*/ 5 w 46"/>
                  <a:gd name="T37" fmla="*/ 19 h 62"/>
                  <a:gd name="T38" fmla="*/ 4 w 46"/>
                  <a:gd name="T39" fmla="*/ 18 h 62"/>
                  <a:gd name="T40" fmla="*/ 2 w 46"/>
                  <a:gd name="T41" fmla="*/ 17 h 62"/>
                  <a:gd name="T42" fmla="*/ 2 w 46"/>
                  <a:gd name="T43" fmla="*/ 16 h 62"/>
                  <a:gd name="T44" fmla="*/ 1 w 46"/>
                  <a:gd name="T45" fmla="*/ 15 h 62"/>
                  <a:gd name="T46" fmla="*/ 0 w 46"/>
                  <a:gd name="T47" fmla="*/ 12 h 62"/>
                  <a:gd name="T48" fmla="*/ 0 w 46"/>
                  <a:gd name="T49" fmla="*/ 8 h 62"/>
                  <a:gd name="T50" fmla="*/ 0 w 46"/>
                  <a:gd name="T51" fmla="*/ 5 h 62"/>
                  <a:gd name="T52" fmla="*/ 0 w 46"/>
                  <a:gd name="T53" fmla="*/ 2 h 62"/>
                  <a:gd name="T54" fmla="*/ 2 w 46"/>
                  <a:gd name="T55" fmla="*/ 2 h 62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0" name="Freeform 294">
                <a:extLst>
                  <a:ext uri="{FF2B5EF4-FFF2-40B4-BE49-F238E27FC236}">
                    <a16:creationId xmlns:a16="http://schemas.microsoft.com/office/drawing/2014/main" id="{0B73F787-4F03-42CC-95AF-1CCDD9998E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19 w 152"/>
                  <a:gd name="T1" fmla="*/ 0 h 296"/>
                  <a:gd name="T2" fmla="*/ 22 w 152"/>
                  <a:gd name="T3" fmla="*/ 3 h 296"/>
                  <a:gd name="T4" fmla="*/ 25 w 152"/>
                  <a:gd name="T5" fmla="*/ 6 h 296"/>
                  <a:gd name="T6" fmla="*/ 29 w 152"/>
                  <a:gd name="T7" fmla="*/ 8 h 296"/>
                  <a:gd name="T8" fmla="*/ 33 w 152"/>
                  <a:gd name="T9" fmla="*/ 8 h 296"/>
                  <a:gd name="T10" fmla="*/ 36 w 152"/>
                  <a:gd name="T11" fmla="*/ 7 h 296"/>
                  <a:gd name="T12" fmla="*/ 39 w 152"/>
                  <a:gd name="T13" fmla="*/ 4 h 296"/>
                  <a:gd name="T14" fmla="*/ 40 w 152"/>
                  <a:gd name="T15" fmla="*/ 12 h 296"/>
                  <a:gd name="T16" fmla="*/ 43 w 152"/>
                  <a:gd name="T17" fmla="*/ 21 h 296"/>
                  <a:gd name="T18" fmla="*/ 46 w 152"/>
                  <a:gd name="T19" fmla="*/ 28 h 296"/>
                  <a:gd name="T20" fmla="*/ 48 w 152"/>
                  <a:gd name="T21" fmla="*/ 31 h 296"/>
                  <a:gd name="T22" fmla="*/ 50 w 152"/>
                  <a:gd name="T23" fmla="*/ 33 h 296"/>
                  <a:gd name="T24" fmla="*/ 47 w 152"/>
                  <a:gd name="T25" fmla="*/ 40 h 296"/>
                  <a:gd name="T26" fmla="*/ 42 w 152"/>
                  <a:gd name="T27" fmla="*/ 46 h 296"/>
                  <a:gd name="T28" fmla="*/ 38 w 152"/>
                  <a:gd name="T29" fmla="*/ 52 h 296"/>
                  <a:gd name="T30" fmla="*/ 37 w 152"/>
                  <a:gd name="T31" fmla="*/ 57 h 296"/>
                  <a:gd name="T32" fmla="*/ 38 w 152"/>
                  <a:gd name="T33" fmla="*/ 65 h 296"/>
                  <a:gd name="T34" fmla="*/ 38 w 152"/>
                  <a:gd name="T35" fmla="*/ 68 h 296"/>
                  <a:gd name="T36" fmla="*/ 37 w 152"/>
                  <a:gd name="T37" fmla="*/ 72 h 296"/>
                  <a:gd name="T38" fmla="*/ 41 w 152"/>
                  <a:gd name="T39" fmla="*/ 72 h 296"/>
                  <a:gd name="T40" fmla="*/ 48 w 152"/>
                  <a:gd name="T41" fmla="*/ 72 h 296"/>
                  <a:gd name="T42" fmla="*/ 45 w 152"/>
                  <a:gd name="T43" fmla="*/ 83 h 296"/>
                  <a:gd name="T44" fmla="*/ 45 w 152"/>
                  <a:gd name="T45" fmla="*/ 88 h 296"/>
                  <a:gd name="T46" fmla="*/ 48 w 152"/>
                  <a:gd name="T47" fmla="*/ 94 h 296"/>
                  <a:gd name="T48" fmla="*/ 41 w 152"/>
                  <a:gd name="T49" fmla="*/ 96 h 296"/>
                  <a:gd name="T50" fmla="*/ 35 w 152"/>
                  <a:gd name="T51" fmla="*/ 98 h 296"/>
                  <a:gd name="T52" fmla="*/ 28 w 152"/>
                  <a:gd name="T53" fmla="*/ 97 h 296"/>
                  <a:gd name="T54" fmla="*/ 24 w 152"/>
                  <a:gd name="T55" fmla="*/ 95 h 296"/>
                  <a:gd name="T56" fmla="*/ 22 w 152"/>
                  <a:gd name="T57" fmla="*/ 93 h 296"/>
                  <a:gd name="T58" fmla="*/ 22 w 152"/>
                  <a:gd name="T59" fmla="*/ 90 h 296"/>
                  <a:gd name="T60" fmla="*/ 28 w 152"/>
                  <a:gd name="T61" fmla="*/ 84 h 296"/>
                  <a:gd name="T62" fmla="*/ 23 w 152"/>
                  <a:gd name="T63" fmla="*/ 82 h 296"/>
                  <a:gd name="T64" fmla="*/ 17 w 152"/>
                  <a:gd name="T65" fmla="*/ 80 h 296"/>
                  <a:gd name="T66" fmla="*/ 13 w 152"/>
                  <a:gd name="T67" fmla="*/ 76 h 296"/>
                  <a:gd name="T68" fmla="*/ 8 w 152"/>
                  <a:gd name="T69" fmla="*/ 73 h 296"/>
                  <a:gd name="T70" fmla="*/ 5 w 152"/>
                  <a:gd name="T71" fmla="*/ 68 h 296"/>
                  <a:gd name="T72" fmla="*/ 2 w 152"/>
                  <a:gd name="T73" fmla="*/ 63 h 296"/>
                  <a:gd name="T74" fmla="*/ 0 w 152"/>
                  <a:gd name="T75" fmla="*/ 57 h 296"/>
                  <a:gd name="T76" fmla="*/ 0 w 152"/>
                  <a:gd name="T77" fmla="*/ 51 h 296"/>
                  <a:gd name="T78" fmla="*/ 0 w 152"/>
                  <a:gd name="T79" fmla="*/ 43 h 296"/>
                  <a:gd name="T80" fmla="*/ 9 w 152"/>
                  <a:gd name="T81" fmla="*/ 35 h 296"/>
                  <a:gd name="T82" fmla="*/ 11 w 152"/>
                  <a:gd name="T83" fmla="*/ 15 h 296"/>
                  <a:gd name="T84" fmla="*/ 10 w 152"/>
                  <a:gd name="T85" fmla="*/ 6 h 296"/>
                  <a:gd name="T86" fmla="*/ 9 w 152"/>
                  <a:gd name="T87" fmla="*/ 1 h 29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1" name="Freeform 295">
                <a:extLst>
                  <a:ext uri="{FF2B5EF4-FFF2-40B4-BE49-F238E27FC236}">
                    <a16:creationId xmlns:a16="http://schemas.microsoft.com/office/drawing/2014/main" id="{3A94451D-006E-481F-957F-79F7B00E94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8 w 26"/>
                  <a:gd name="T1" fmla="*/ 13 h 38"/>
                  <a:gd name="T2" fmla="*/ 8 w 26"/>
                  <a:gd name="T3" fmla="*/ 0 h 38"/>
                  <a:gd name="T4" fmla="*/ 6 w 26"/>
                  <a:gd name="T5" fmla="*/ 0 h 38"/>
                  <a:gd name="T6" fmla="*/ 4 w 26"/>
                  <a:gd name="T7" fmla="*/ 1 h 38"/>
                  <a:gd name="T8" fmla="*/ 2 w 26"/>
                  <a:gd name="T9" fmla="*/ 3 h 38"/>
                  <a:gd name="T10" fmla="*/ 0 w 26"/>
                  <a:gd name="T11" fmla="*/ 4 h 38"/>
                  <a:gd name="T12" fmla="*/ 6 w 26"/>
                  <a:gd name="T13" fmla="*/ 10 h 38"/>
                  <a:gd name="T14" fmla="*/ 8 w 26"/>
                  <a:gd name="T15" fmla="*/ 13 h 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2" name="Freeform 296">
                <a:extLst>
                  <a:ext uri="{FF2B5EF4-FFF2-40B4-BE49-F238E27FC236}">
                    <a16:creationId xmlns:a16="http://schemas.microsoft.com/office/drawing/2014/main" id="{BB993795-BF48-40F8-9973-4067D1E414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6 h 31"/>
                  <a:gd name="T2" fmla="*/ 2 w 34"/>
                  <a:gd name="T3" fmla="*/ 7 h 31"/>
                  <a:gd name="T4" fmla="*/ 5 w 34"/>
                  <a:gd name="T5" fmla="*/ 8 h 31"/>
                  <a:gd name="T6" fmla="*/ 8 w 34"/>
                  <a:gd name="T7" fmla="*/ 10 h 31"/>
                  <a:gd name="T8" fmla="*/ 10 w 34"/>
                  <a:gd name="T9" fmla="*/ 10 h 31"/>
                  <a:gd name="T10" fmla="*/ 10 w 34"/>
                  <a:gd name="T11" fmla="*/ 8 h 31"/>
                  <a:gd name="T12" fmla="*/ 9 w 34"/>
                  <a:gd name="T13" fmla="*/ 5 h 31"/>
                  <a:gd name="T14" fmla="*/ 8 w 34"/>
                  <a:gd name="T15" fmla="*/ 2 h 31"/>
                  <a:gd name="T16" fmla="*/ 6 w 34"/>
                  <a:gd name="T17" fmla="*/ 0 h 31"/>
                  <a:gd name="T18" fmla="*/ 5 w 34"/>
                  <a:gd name="T19" fmla="*/ 2 h 31"/>
                  <a:gd name="T20" fmla="*/ 3 w 34"/>
                  <a:gd name="T21" fmla="*/ 4 h 31"/>
                  <a:gd name="T22" fmla="*/ 2 w 34"/>
                  <a:gd name="T23" fmla="*/ 5 h 31"/>
                  <a:gd name="T24" fmla="*/ 2 w 34"/>
                  <a:gd name="T25" fmla="*/ 5 h 31"/>
                  <a:gd name="T26" fmla="*/ 1 w 34"/>
                  <a:gd name="T27" fmla="*/ 6 h 31"/>
                  <a:gd name="T28" fmla="*/ 0 w 34"/>
                  <a:gd name="T29" fmla="*/ 6 h 3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3" name="Freeform 297">
                <a:extLst>
                  <a:ext uri="{FF2B5EF4-FFF2-40B4-BE49-F238E27FC236}">
                    <a16:creationId xmlns:a16="http://schemas.microsoft.com/office/drawing/2014/main" id="{F7B6AF45-9890-4DBA-9399-ACF392F288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2 h 37"/>
                  <a:gd name="T2" fmla="*/ 0 w 20"/>
                  <a:gd name="T3" fmla="*/ 12 h 37"/>
                  <a:gd name="T4" fmla="*/ 2 w 20"/>
                  <a:gd name="T5" fmla="*/ 11 h 37"/>
                  <a:gd name="T6" fmla="*/ 6 w 20"/>
                  <a:gd name="T7" fmla="*/ 10 h 37"/>
                  <a:gd name="T8" fmla="*/ 6 w 20"/>
                  <a:gd name="T9" fmla="*/ 0 h 37"/>
                  <a:gd name="T10" fmla="*/ 0 w 20"/>
                  <a:gd name="T11" fmla="*/ 2 h 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4" name="Line 298">
                <a:extLst>
                  <a:ext uri="{FF2B5EF4-FFF2-40B4-BE49-F238E27FC236}">
                    <a16:creationId xmlns:a16="http://schemas.microsoft.com/office/drawing/2014/main" id="{255805F0-5DAC-4522-A181-9099D82BA6F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5" name="Freeform 299">
                <a:extLst>
                  <a:ext uri="{FF2B5EF4-FFF2-40B4-BE49-F238E27FC236}">
                    <a16:creationId xmlns:a16="http://schemas.microsoft.com/office/drawing/2014/main" id="{1D1FBAC4-C7FE-45FF-91EA-D1A6BBF20C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6 h 18"/>
                  <a:gd name="T2" fmla="*/ 0 w 13"/>
                  <a:gd name="T3" fmla="*/ 4 h 18"/>
                  <a:gd name="T4" fmla="*/ 1 w 13"/>
                  <a:gd name="T5" fmla="*/ 3 h 18"/>
                  <a:gd name="T6" fmla="*/ 2 w 13"/>
                  <a:gd name="T7" fmla="*/ 1 h 18"/>
                  <a:gd name="T8" fmla="*/ 4 w 13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6" name="Line 300">
                <a:extLst>
                  <a:ext uri="{FF2B5EF4-FFF2-40B4-BE49-F238E27FC236}">
                    <a16:creationId xmlns:a16="http://schemas.microsoft.com/office/drawing/2014/main" id="{B34029F9-4D69-4F46-A873-5B62D4BCC10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7" name="Freeform 301">
                <a:extLst>
                  <a:ext uri="{FF2B5EF4-FFF2-40B4-BE49-F238E27FC236}">
                    <a16:creationId xmlns:a16="http://schemas.microsoft.com/office/drawing/2014/main" id="{7D7840C0-A230-4055-8743-A8858F0313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7 w 27"/>
                  <a:gd name="T3" fmla="*/ 10 h 31"/>
                  <a:gd name="T4" fmla="*/ 9 w 27"/>
                  <a:gd name="T5" fmla="*/ 4 h 3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8" name="Freeform 302">
                <a:extLst>
                  <a:ext uri="{FF2B5EF4-FFF2-40B4-BE49-F238E27FC236}">
                    <a16:creationId xmlns:a16="http://schemas.microsoft.com/office/drawing/2014/main" id="{2669569A-8587-4B35-B5AB-D19998BBB6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6 w 20"/>
                  <a:gd name="T1" fmla="*/ 0 h 1"/>
                  <a:gd name="T2" fmla="*/ 3 w 20"/>
                  <a:gd name="T3" fmla="*/ 0 h 1"/>
                  <a:gd name="T4" fmla="*/ 0 w 20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9" name="Freeform 303">
                <a:extLst>
                  <a:ext uri="{FF2B5EF4-FFF2-40B4-BE49-F238E27FC236}">
                    <a16:creationId xmlns:a16="http://schemas.microsoft.com/office/drawing/2014/main" id="{0C881BB8-C510-4BC2-BFC5-7B26858F8B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5 h 13"/>
                  <a:gd name="T2" fmla="*/ 2 w 34"/>
                  <a:gd name="T3" fmla="*/ 5 h 13"/>
                  <a:gd name="T4" fmla="*/ 4 w 34"/>
                  <a:gd name="T5" fmla="*/ 4 h 13"/>
                  <a:gd name="T6" fmla="*/ 6 w 34"/>
                  <a:gd name="T7" fmla="*/ 4 h 13"/>
                  <a:gd name="T8" fmla="*/ 7 w 34"/>
                  <a:gd name="T9" fmla="*/ 3 h 13"/>
                  <a:gd name="T10" fmla="*/ 10 w 34"/>
                  <a:gd name="T11" fmla="*/ 1 h 13"/>
                  <a:gd name="T12" fmla="*/ 12 w 34"/>
                  <a:gd name="T13" fmla="*/ 0 h 13"/>
                  <a:gd name="T14" fmla="*/ 9 w 34"/>
                  <a:gd name="T15" fmla="*/ 0 h 13"/>
                  <a:gd name="T16" fmla="*/ 5 w 34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80" name="Freeform 304">
                <a:extLst>
                  <a:ext uri="{FF2B5EF4-FFF2-40B4-BE49-F238E27FC236}">
                    <a16:creationId xmlns:a16="http://schemas.microsoft.com/office/drawing/2014/main" id="{2F372F9C-F9B8-4135-AC3E-CFFF10F5AC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12 w 34"/>
                  <a:gd name="T1" fmla="*/ 6 h 18"/>
                  <a:gd name="T2" fmla="*/ 12 w 34"/>
                  <a:gd name="T3" fmla="*/ 0 h 18"/>
                  <a:gd name="T4" fmla="*/ 10 w 34"/>
                  <a:gd name="T5" fmla="*/ 0 h 18"/>
                  <a:gd name="T6" fmla="*/ 7 w 34"/>
                  <a:gd name="T7" fmla="*/ 0 h 18"/>
                  <a:gd name="T8" fmla="*/ 4 w 34"/>
                  <a:gd name="T9" fmla="*/ 0 h 18"/>
                  <a:gd name="T10" fmla="*/ 0 w 34"/>
                  <a:gd name="T11" fmla="*/ 0 h 18"/>
                  <a:gd name="T12" fmla="*/ 12 w 34"/>
                  <a:gd name="T13" fmla="*/ 6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81" name="Freeform 305">
                <a:extLst>
                  <a:ext uri="{FF2B5EF4-FFF2-40B4-BE49-F238E27FC236}">
                    <a16:creationId xmlns:a16="http://schemas.microsoft.com/office/drawing/2014/main" id="{51315E1A-13F8-4028-B142-F95EE4D2B6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18 w 59"/>
                  <a:gd name="T1" fmla="*/ 8 h 25"/>
                  <a:gd name="T2" fmla="*/ 19 w 59"/>
                  <a:gd name="T3" fmla="*/ 4 h 25"/>
                  <a:gd name="T4" fmla="*/ 20 w 59"/>
                  <a:gd name="T5" fmla="*/ 0 h 25"/>
                  <a:gd name="T6" fmla="*/ 15 w 59"/>
                  <a:gd name="T7" fmla="*/ 0 h 25"/>
                  <a:gd name="T8" fmla="*/ 9 w 59"/>
                  <a:gd name="T9" fmla="*/ 0 h 25"/>
                  <a:gd name="T10" fmla="*/ 6 w 59"/>
                  <a:gd name="T11" fmla="*/ 0 h 25"/>
                  <a:gd name="T12" fmla="*/ 4 w 59"/>
                  <a:gd name="T13" fmla="*/ 1 h 25"/>
                  <a:gd name="T14" fmla="*/ 2 w 59"/>
                  <a:gd name="T15" fmla="*/ 1 h 25"/>
                  <a:gd name="T16" fmla="*/ 0 w 59"/>
                  <a:gd name="T17" fmla="*/ 2 h 25"/>
                  <a:gd name="T18" fmla="*/ 4 w 59"/>
                  <a:gd name="T19" fmla="*/ 4 h 25"/>
                  <a:gd name="T20" fmla="*/ 9 w 59"/>
                  <a:gd name="T21" fmla="*/ 6 h 25"/>
                  <a:gd name="T22" fmla="*/ 11 w 59"/>
                  <a:gd name="T23" fmla="*/ 7 h 25"/>
                  <a:gd name="T24" fmla="*/ 13 w 59"/>
                  <a:gd name="T25" fmla="*/ 8 h 25"/>
                  <a:gd name="T26" fmla="*/ 16 w 59"/>
                  <a:gd name="T27" fmla="*/ 8 h 25"/>
                  <a:gd name="T28" fmla="*/ 18 w 59"/>
                  <a:gd name="T29" fmla="*/ 8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82" name="Line 306">
                <a:extLst>
                  <a:ext uri="{FF2B5EF4-FFF2-40B4-BE49-F238E27FC236}">
                    <a16:creationId xmlns:a16="http://schemas.microsoft.com/office/drawing/2014/main" id="{3C2284CE-E8FF-4D86-85DE-D0D9A7D12FF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215" name="Freeform 307">
              <a:extLst>
                <a:ext uri="{FF2B5EF4-FFF2-40B4-BE49-F238E27FC236}">
                  <a16:creationId xmlns:a16="http://schemas.microsoft.com/office/drawing/2014/main" id="{4CB19752-9522-42AC-BE91-37EC49A130D0}"/>
                </a:ext>
              </a:extLst>
            </p:cNvPr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8804275" y="3879851"/>
              <a:ext cx="14288" cy="55563"/>
            </a:xfrm>
            <a:custGeom>
              <a:avLst/>
              <a:gdLst>
                <a:gd name="T0" fmla="*/ 0 w 33"/>
                <a:gd name="T1" fmla="*/ 55563 h 43"/>
                <a:gd name="T2" fmla="*/ 433 w 33"/>
                <a:gd name="T3" fmla="*/ 43934 h 43"/>
                <a:gd name="T4" fmla="*/ 866 w 33"/>
                <a:gd name="T5" fmla="*/ 34888 h 43"/>
                <a:gd name="T6" fmla="*/ 2165 w 33"/>
                <a:gd name="T7" fmla="*/ 27135 h 43"/>
                <a:gd name="T8" fmla="*/ 3897 w 33"/>
                <a:gd name="T9" fmla="*/ 19382 h 43"/>
                <a:gd name="T10" fmla="*/ 6062 w 33"/>
                <a:gd name="T11" fmla="*/ 11629 h 43"/>
                <a:gd name="T12" fmla="*/ 8659 w 33"/>
                <a:gd name="T13" fmla="*/ 6461 h 43"/>
                <a:gd name="T14" fmla="*/ 11257 w 33"/>
                <a:gd name="T15" fmla="*/ 2584 h 43"/>
                <a:gd name="T16" fmla="*/ 14288 w 33"/>
                <a:gd name="T17" fmla="*/ 0 h 43"/>
                <a:gd name="T18" fmla="*/ 14288 w 33"/>
                <a:gd name="T19" fmla="*/ 32304 h 43"/>
                <a:gd name="T20" fmla="*/ 9958 w 33"/>
                <a:gd name="T21" fmla="*/ 34888 h 43"/>
                <a:gd name="T22" fmla="*/ 7793 w 33"/>
                <a:gd name="T23" fmla="*/ 37473 h 43"/>
                <a:gd name="T24" fmla="*/ 6928 w 33"/>
                <a:gd name="T25" fmla="*/ 41349 h 43"/>
                <a:gd name="T26" fmla="*/ 6928 w 33"/>
                <a:gd name="T27" fmla="*/ 43934 h 43"/>
                <a:gd name="T28" fmla="*/ 6928 w 33"/>
                <a:gd name="T29" fmla="*/ 46518 h 43"/>
                <a:gd name="T30" fmla="*/ 6062 w 33"/>
                <a:gd name="T31" fmla="*/ 49102 h 43"/>
                <a:gd name="T32" fmla="*/ 4330 w 33"/>
                <a:gd name="T33" fmla="*/ 52979 h 43"/>
                <a:gd name="T34" fmla="*/ 0 w 33"/>
                <a:gd name="T35" fmla="*/ 55563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6" name="Freeform 308">
              <a:extLst>
                <a:ext uri="{FF2B5EF4-FFF2-40B4-BE49-F238E27FC236}">
                  <a16:creationId xmlns:a16="http://schemas.microsoft.com/office/drawing/2014/main" id="{F43A7736-407B-43AE-B3E7-5BE7DEA7509D}"/>
                </a:ext>
              </a:extLst>
            </p:cNvPr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8880476" y="3819525"/>
              <a:ext cx="22225" cy="58738"/>
            </a:xfrm>
            <a:custGeom>
              <a:avLst/>
              <a:gdLst>
                <a:gd name="T0" fmla="*/ 0 w 54"/>
                <a:gd name="T1" fmla="*/ 35115 h 92"/>
                <a:gd name="T2" fmla="*/ 412 w 54"/>
                <a:gd name="T3" fmla="*/ 32561 h 92"/>
                <a:gd name="T4" fmla="*/ 823 w 54"/>
                <a:gd name="T5" fmla="*/ 29369 h 92"/>
                <a:gd name="T6" fmla="*/ 1235 w 54"/>
                <a:gd name="T7" fmla="*/ 26815 h 92"/>
                <a:gd name="T8" fmla="*/ 2469 w 54"/>
                <a:gd name="T9" fmla="*/ 23623 h 92"/>
                <a:gd name="T10" fmla="*/ 4527 w 54"/>
                <a:gd name="T11" fmla="*/ 18515 h 92"/>
                <a:gd name="T12" fmla="*/ 7408 w 54"/>
                <a:gd name="T13" fmla="*/ 13408 h 92"/>
                <a:gd name="T14" fmla="*/ 12759 w 54"/>
                <a:gd name="T15" fmla="*/ 4469 h 92"/>
                <a:gd name="T16" fmla="*/ 16875 w 54"/>
                <a:gd name="T17" fmla="*/ 0 h 92"/>
                <a:gd name="T18" fmla="*/ 22225 w 54"/>
                <a:gd name="T19" fmla="*/ 7661 h 92"/>
                <a:gd name="T20" fmla="*/ 20990 w 54"/>
                <a:gd name="T21" fmla="*/ 13408 h 92"/>
                <a:gd name="T22" fmla="*/ 19344 w 54"/>
                <a:gd name="T23" fmla="*/ 18515 h 92"/>
                <a:gd name="T24" fmla="*/ 18109 w 54"/>
                <a:gd name="T25" fmla="*/ 22346 h 92"/>
                <a:gd name="T26" fmla="*/ 16875 w 54"/>
                <a:gd name="T27" fmla="*/ 26177 h 92"/>
                <a:gd name="T28" fmla="*/ 13582 w 54"/>
                <a:gd name="T29" fmla="*/ 31284 h 92"/>
                <a:gd name="T30" fmla="*/ 11524 w 54"/>
                <a:gd name="T31" fmla="*/ 35115 h 92"/>
                <a:gd name="T32" fmla="*/ 10701 w 54"/>
                <a:gd name="T33" fmla="*/ 40861 h 92"/>
                <a:gd name="T34" fmla="*/ 10701 w 54"/>
                <a:gd name="T35" fmla="*/ 47246 h 92"/>
                <a:gd name="T36" fmla="*/ 9878 w 54"/>
                <a:gd name="T37" fmla="*/ 52992 h 92"/>
                <a:gd name="T38" fmla="*/ 8231 w 54"/>
                <a:gd name="T39" fmla="*/ 58738 h 92"/>
                <a:gd name="T40" fmla="*/ 5762 w 54"/>
                <a:gd name="T41" fmla="*/ 52992 h 92"/>
                <a:gd name="T42" fmla="*/ 3293 w 54"/>
                <a:gd name="T43" fmla="*/ 47246 h 92"/>
                <a:gd name="T44" fmla="*/ 2058 w 54"/>
                <a:gd name="T45" fmla="*/ 44692 h 92"/>
                <a:gd name="T46" fmla="*/ 823 w 54"/>
                <a:gd name="T47" fmla="*/ 40861 h 92"/>
                <a:gd name="T48" fmla="*/ 412 w 54"/>
                <a:gd name="T49" fmla="*/ 38307 h 92"/>
                <a:gd name="T50" fmla="*/ 0 w 54"/>
                <a:gd name="T51" fmla="*/ 35115 h 9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7" name="Freeform 309">
              <a:extLst>
                <a:ext uri="{FF2B5EF4-FFF2-40B4-BE49-F238E27FC236}">
                  <a16:creationId xmlns:a16="http://schemas.microsoft.com/office/drawing/2014/main" id="{2A42A56D-7C13-4507-BDA6-6138558E4E4E}"/>
                </a:ext>
              </a:extLst>
            </p:cNvPr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8928101" y="3698875"/>
              <a:ext cx="23813" cy="57150"/>
            </a:xfrm>
            <a:custGeom>
              <a:avLst/>
              <a:gdLst>
                <a:gd name="T0" fmla="*/ 0 w 60"/>
                <a:gd name="T1" fmla="*/ 0 h 18"/>
                <a:gd name="T2" fmla="*/ 7541 w 60"/>
                <a:gd name="T3" fmla="*/ 12700 h 18"/>
                <a:gd name="T4" fmla="*/ 14685 w 60"/>
                <a:gd name="T5" fmla="*/ 28575 h 18"/>
                <a:gd name="T6" fmla="*/ 17860 w 60"/>
                <a:gd name="T7" fmla="*/ 34925 h 18"/>
                <a:gd name="T8" fmla="*/ 20241 w 60"/>
                <a:gd name="T9" fmla="*/ 41275 h 18"/>
                <a:gd name="T10" fmla="*/ 22225 w 60"/>
                <a:gd name="T11" fmla="*/ 50800 h 18"/>
                <a:gd name="T12" fmla="*/ 23813 w 60"/>
                <a:gd name="T13" fmla="*/ 57150 h 18"/>
                <a:gd name="T14" fmla="*/ 15082 w 60"/>
                <a:gd name="T15" fmla="*/ 57150 h 18"/>
                <a:gd name="T16" fmla="*/ 9128 w 60"/>
                <a:gd name="T17" fmla="*/ 57150 h 18"/>
                <a:gd name="T18" fmla="*/ 3969 w 60"/>
                <a:gd name="T19" fmla="*/ 57150 h 18"/>
                <a:gd name="T20" fmla="*/ 0 w 60"/>
                <a:gd name="T21" fmla="*/ 57150 h 18"/>
                <a:gd name="T22" fmla="*/ 0 w 6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8" name="Freeform 310">
              <a:extLst>
                <a:ext uri="{FF2B5EF4-FFF2-40B4-BE49-F238E27FC236}">
                  <a16:creationId xmlns:a16="http://schemas.microsoft.com/office/drawing/2014/main" id="{1805BC25-A530-4F0C-9584-F85EDCE99E92}"/>
                </a:ext>
              </a:extLst>
            </p:cNvPr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8912225" y="3668713"/>
              <a:ext cx="25400" cy="57150"/>
            </a:xfrm>
            <a:custGeom>
              <a:avLst/>
              <a:gdLst>
                <a:gd name="T0" fmla="*/ 0 w 66"/>
                <a:gd name="T1" fmla="*/ 57150 h 18"/>
                <a:gd name="T2" fmla="*/ 25400 w 66"/>
                <a:gd name="T3" fmla="*/ 57150 h 18"/>
                <a:gd name="T4" fmla="*/ 20012 w 66"/>
                <a:gd name="T5" fmla="*/ 41275 h 18"/>
                <a:gd name="T6" fmla="*/ 15394 w 66"/>
                <a:gd name="T7" fmla="*/ 22225 h 18"/>
                <a:gd name="T8" fmla="*/ 13470 w 66"/>
                <a:gd name="T9" fmla="*/ 12700 h 18"/>
                <a:gd name="T10" fmla="*/ 11161 w 66"/>
                <a:gd name="T11" fmla="*/ 6350 h 18"/>
                <a:gd name="T12" fmla="*/ 9621 w 66"/>
                <a:gd name="T13" fmla="*/ 3175 h 18"/>
                <a:gd name="T14" fmla="*/ 7312 w 66"/>
                <a:gd name="T15" fmla="*/ 0 h 18"/>
                <a:gd name="T16" fmla="*/ 0 w 66"/>
                <a:gd name="T17" fmla="*/ 57150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9" name="Freeform 311">
              <a:extLst>
                <a:ext uri="{FF2B5EF4-FFF2-40B4-BE49-F238E27FC236}">
                  <a16:creationId xmlns:a16="http://schemas.microsoft.com/office/drawing/2014/main" id="{92EA5B10-7BF6-4FCE-B93A-AEF1F5D5CCBD}"/>
                </a:ext>
              </a:extLst>
            </p:cNvPr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8737600" y="3565525"/>
              <a:ext cx="7938" cy="57150"/>
            </a:xfrm>
            <a:custGeom>
              <a:avLst/>
              <a:gdLst>
                <a:gd name="T0" fmla="*/ 0 w 17"/>
                <a:gd name="T1" fmla="*/ 48986 h 42"/>
                <a:gd name="T2" fmla="*/ 6070 w 17"/>
                <a:gd name="T3" fmla="*/ 57150 h 42"/>
                <a:gd name="T4" fmla="*/ 6537 w 17"/>
                <a:gd name="T5" fmla="*/ 44904 h 42"/>
                <a:gd name="T6" fmla="*/ 7471 w 17"/>
                <a:gd name="T7" fmla="*/ 31296 h 42"/>
                <a:gd name="T8" fmla="*/ 7938 w 17"/>
                <a:gd name="T9" fmla="*/ 24493 h 42"/>
                <a:gd name="T10" fmla="*/ 7471 w 17"/>
                <a:gd name="T11" fmla="*/ 16329 h 42"/>
                <a:gd name="T12" fmla="*/ 7471 w 17"/>
                <a:gd name="T13" fmla="*/ 8164 h 42"/>
                <a:gd name="T14" fmla="*/ 6070 w 17"/>
                <a:gd name="T15" fmla="*/ 0 h 42"/>
                <a:gd name="T16" fmla="*/ 0 w 17"/>
                <a:gd name="T17" fmla="*/ 48986 h 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0" name="Freeform 312">
              <a:extLst>
                <a:ext uri="{FF2B5EF4-FFF2-40B4-BE49-F238E27FC236}">
                  <a16:creationId xmlns:a16="http://schemas.microsoft.com/office/drawing/2014/main" id="{884A3482-A8B2-475F-B249-260011B3F2B6}"/>
                </a:ext>
              </a:extLst>
            </p:cNvPr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8664576" y="3700464"/>
              <a:ext cx="30163" cy="58737"/>
            </a:xfrm>
            <a:custGeom>
              <a:avLst/>
              <a:gdLst>
                <a:gd name="T0" fmla="*/ 2514 w 72"/>
                <a:gd name="T1" fmla="*/ 58737 h 29"/>
                <a:gd name="T2" fmla="*/ 6284 w 72"/>
                <a:gd name="T3" fmla="*/ 52661 h 29"/>
                <a:gd name="T4" fmla="*/ 10054 w 72"/>
                <a:gd name="T5" fmla="*/ 48610 h 29"/>
                <a:gd name="T6" fmla="*/ 13406 w 72"/>
                <a:gd name="T7" fmla="*/ 48610 h 29"/>
                <a:gd name="T8" fmla="*/ 16338 w 72"/>
                <a:gd name="T9" fmla="*/ 48610 h 29"/>
                <a:gd name="T10" fmla="*/ 23041 w 72"/>
                <a:gd name="T11" fmla="*/ 54686 h 29"/>
                <a:gd name="T12" fmla="*/ 30163 w 72"/>
                <a:gd name="T13" fmla="*/ 58737 h 29"/>
                <a:gd name="T14" fmla="*/ 30163 w 72"/>
                <a:gd name="T15" fmla="*/ 8102 h 29"/>
                <a:gd name="T16" fmla="*/ 24298 w 72"/>
                <a:gd name="T17" fmla="*/ 2025 h 29"/>
                <a:gd name="T18" fmla="*/ 19690 w 72"/>
                <a:gd name="T19" fmla="*/ 0 h 29"/>
                <a:gd name="T20" fmla="*/ 16338 w 72"/>
                <a:gd name="T21" fmla="*/ 0 h 29"/>
                <a:gd name="T22" fmla="*/ 14244 w 72"/>
                <a:gd name="T23" fmla="*/ 4051 h 29"/>
                <a:gd name="T24" fmla="*/ 11311 w 72"/>
                <a:gd name="T25" fmla="*/ 6076 h 29"/>
                <a:gd name="T26" fmla="*/ 8798 w 72"/>
                <a:gd name="T27" fmla="*/ 10127 h 29"/>
                <a:gd name="T28" fmla="*/ 5027 w 72"/>
                <a:gd name="T29" fmla="*/ 10127 h 29"/>
                <a:gd name="T30" fmla="*/ 0 w 72"/>
                <a:gd name="T31" fmla="*/ 8102 h 29"/>
                <a:gd name="T32" fmla="*/ 1257 w 72"/>
                <a:gd name="T33" fmla="*/ 32407 h 29"/>
                <a:gd name="T34" fmla="*/ 2514 w 72"/>
                <a:gd name="T35" fmla="*/ 58737 h 2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1" name="Freeform 313">
              <a:extLst>
                <a:ext uri="{FF2B5EF4-FFF2-40B4-BE49-F238E27FC236}">
                  <a16:creationId xmlns:a16="http://schemas.microsoft.com/office/drawing/2014/main" id="{042E7E2A-4B8F-4B91-8450-C991C853A8F1}"/>
                </a:ext>
              </a:extLst>
            </p:cNvPr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8672513" y="3886201"/>
              <a:ext cx="19050" cy="55563"/>
            </a:xfrm>
            <a:custGeom>
              <a:avLst/>
              <a:gdLst>
                <a:gd name="T0" fmla="*/ 0 w 46"/>
                <a:gd name="T1" fmla="*/ 0 h 37"/>
                <a:gd name="T2" fmla="*/ 3727 w 46"/>
                <a:gd name="T3" fmla="*/ 13515 h 37"/>
                <a:gd name="T4" fmla="*/ 8283 w 46"/>
                <a:gd name="T5" fmla="*/ 22526 h 37"/>
                <a:gd name="T6" fmla="*/ 12838 w 46"/>
                <a:gd name="T7" fmla="*/ 30034 h 37"/>
                <a:gd name="T8" fmla="*/ 19050 w 46"/>
                <a:gd name="T9" fmla="*/ 37543 h 37"/>
                <a:gd name="T10" fmla="*/ 15323 w 46"/>
                <a:gd name="T11" fmla="*/ 43549 h 37"/>
                <a:gd name="T12" fmla="*/ 12010 w 46"/>
                <a:gd name="T13" fmla="*/ 49556 h 37"/>
                <a:gd name="T14" fmla="*/ 8697 w 46"/>
                <a:gd name="T15" fmla="*/ 54061 h 37"/>
                <a:gd name="T16" fmla="*/ 5384 w 46"/>
                <a:gd name="T17" fmla="*/ 55563 h 37"/>
                <a:gd name="T18" fmla="*/ 3727 w 46"/>
                <a:gd name="T19" fmla="*/ 54061 h 37"/>
                <a:gd name="T20" fmla="*/ 2899 w 46"/>
                <a:gd name="T21" fmla="*/ 49556 h 37"/>
                <a:gd name="T22" fmla="*/ 2071 w 46"/>
                <a:gd name="T23" fmla="*/ 43549 h 37"/>
                <a:gd name="T24" fmla="*/ 1242 w 46"/>
                <a:gd name="T25" fmla="*/ 34539 h 37"/>
                <a:gd name="T26" fmla="*/ 414 w 46"/>
                <a:gd name="T27" fmla="*/ 18020 h 37"/>
                <a:gd name="T28" fmla="*/ 0 w 46"/>
                <a:gd name="T29" fmla="*/ 0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2" name="Freeform 314">
              <a:extLst>
                <a:ext uri="{FF2B5EF4-FFF2-40B4-BE49-F238E27FC236}">
                  <a16:creationId xmlns:a16="http://schemas.microsoft.com/office/drawing/2014/main" id="{B9908554-1863-470F-9C13-C30A4D47CA6D}"/>
                </a:ext>
              </a:extLst>
            </p:cNvPr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8785226" y="3705225"/>
              <a:ext cx="11113" cy="57150"/>
            </a:xfrm>
            <a:custGeom>
              <a:avLst/>
              <a:gdLst>
                <a:gd name="T0" fmla="*/ 0 w 26"/>
                <a:gd name="T1" fmla="*/ 0 h 19"/>
                <a:gd name="T2" fmla="*/ 11113 w 26"/>
                <a:gd name="T3" fmla="*/ 57150 h 19"/>
                <a:gd name="T4" fmla="*/ 11113 w 26"/>
                <a:gd name="T5" fmla="*/ 27071 h 19"/>
                <a:gd name="T6" fmla="*/ 11113 w 26"/>
                <a:gd name="T7" fmla="*/ 0 h 19"/>
                <a:gd name="T8" fmla="*/ 6411 w 26"/>
                <a:gd name="T9" fmla="*/ 0 h 19"/>
                <a:gd name="T10" fmla="*/ 0 w 26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3" name="Freeform 315">
              <a:extLst>
                <a:ext uri="{FF2B5EF4-FFF2-40B4-BE49-F238E27FC236}">
                  <a16:creationId xmlns:a16="http://schemas.microsoft.com/office/drawing/2014/main" id="{E02A3BA9-5850-4559-8546-3EE330A8E8A4}"/>
                </a:ext>
              </a:extLst>
            </p:cNvPr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8645525" y="3700464"/>
              <a:ext cx="19050" cy="58737"/>
            </a:xfrm>
            <a:custGeom>
              <a:avLst/>
              <a:gdLst>
                <a:gd name="T0" fmla="*/ 886 w 43"/>
                <a:gd name="T1" fmla="*/ 0 h 31"/>
                <a:gd name="T2" fmla="*/ 443 w 43"/>
                <a:gd name="T3" fmla="*/ 22737 h 31"/>
                <a:gd name="T4" fmla="*/ 0 w 43"/>
                <a:gd name="T5" fmla="*/ 43579 h 31"/>
                <a:gd name="T6" fmla="*/ 0 w 43"/>
                <a:gd name="T7" fmla="*/ 49263 h 31"/>
                <a:gd name="T8" fmla="*/ 0 w 43"/>
                <a:gd name="T9" fmla="*/ 54948 h 31"/>
                <a:gd name="T10" fmla="*/ 0 w 43"/>
                <a:gd name="T11" fmla="*/ 58737 h 31"/>
                <a:gd name="T12" fmla="*/ 886 w 43"/>
                <a:gd name="T13" fmla="*/ 58737 h 31"/>
                <a:gd name="T14" fmla="*/ 5759 w 43"/>
                <a:gd name="T15" fmla="*/ 41684 h 31"/>
                <a:gd name="T16" fmla="*/ 11076 w 43"/>
                <a:gd name="T17" fmla="*/ 24632 h 31"/>
                <a:gd name="T18" fmla="*/ 15506 w 43"/>
                <a:gd name="T19" fmla="*/ 9474 h 31"/>
                <a:gd name="T20" fmla="*/ 19050 w 43"/>
                <a:gd name="T21" fmla="*/ 0 h 31"/>
                <a:gd name="T22" fmla="*/ 886 w 43"/>
                <a:gd name="T23" fmla="*/ 0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4" name="Freeform 316">
              <a:extLst>
                <a:ext uri="{FF2B5EF4-FFF2-40B4-BE49-F238E27FC236}">
                  <a16:creationId xmlns:a16="http://schemas.microsoft.com/office/drawing/2014/main" id="{EFF4FE40-BF56-4716-8103-94457CB16614}"/>
                </a:ext>
              </a:extLst>
            </p:cNvPr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8689976" y="3748088"/>
              <a:ext cx="30163" cy="57150"/>
            </a:xfrm>
            <a:custGeom>
              <a:avLst/>
              <a:gdLst>
                <a:gd name="T0" fmla="*/ 1699 w 71"/>
                <a:gd name="T1" fmla="*/ 13996 h 49"/>
                <a:gd name="T2" fmla="*/ 1699 w 71"/>
                <a:gd name="T3" fmla="*/ 20994 h 49"/>
                <a:gd name="T4" fmla="*/ 2124 w 71"/>
                <a:gd name="T5" fmla="*/ 29158 h 49"/>
                <a:gd name="T6" fmla="*/ 2974 w 71"/>
                <a:gd name="T7" fmla="*/ 36156 h 49"/>
                <a:gd name="T8" fmla="*/ 3823 w 71"/>
                <a:gd name="T9" fmla="*/ 43154 h 49"/>
                <a:gd name="T10" fmla="*/ 5948 w 71"/>
                <a:gd name="T11" fmla="*/ 47819 h 49"/>
                <a:gd name="T12" fmla="*/ 7647 w 71"/>
                <a:gd name="T13" fmla="*/ 53651 h 49"/>
                <a:gd name="T14" fmla="*/ 9771 w 71"/>
                <a:gd name="T15" fmla="*/ 55984 h 49"/>
                <a:gd name="T16" fmla="*/ 12745 w 71"/>
                <a:gd name="T17" fmla="*/ 57150 h 49"/>
                <a:gd name="T18" fmla="*/ 14869 w 71"/>
                <a:gd name="T19" fmla="*/ 55984 h 49"/>
                <a:gd name="T20" fmla="*/ 16993 w 71"/>
                <a:gd name="T21" fmla="*/ 53651 h 49"/>
                <a:gd name="T22" fmla="*/ 19117 w 71"/>
                <a:gd name="T23" fmla="*/ 48986 h 49"/>
                <a:gd name="T24" fmla="*/ 21242 w 71"/>
                <a:gd name="T25" fmla="*/ 43154 h 49"/>
                <a:gd name="T26" fmla="*/ 25490 w 71"/>
                <a:gd name="T27" fmla="*/ 32657 h 49"/>
                <a:gd name="T28" fmla="*/ 30163 w 71"/>
                <a:gd name="T29" fmla="*/ 20994 h 49"/>
                <a:gd name="T30" fmla="*/ 25915 w 71"/>
                <a:gd name="T31" fmla="*/ 13996 h 49"/>
                <a:gd name="T32" fmla="*/ 22091 w 71"/>
                <a:gd name="T33" fmla="*/ 10497 h 49"/>
                <a:gd name="T34" fmla="*/ 18693 w 71"/>
                <a:gd name="T35" fmla="*/ 8164 h 49"/>
                <a:gd name="T36" fmla="*/ 15719 w 71"/>
                <a:gd name="T37" fmla="*/ 6998 h 49"/>
                <a:gd name="T38" fmla="*/ 12320 w 71"/>
                <a:gd name="T39" fmla="*/ 6998 h 49"/>
                <a:gd name="T40" fmla="*/ 8921 w 71"/>
                <a:gd name="T41" fmla="*/ 5832 h 49"/>
                <a:gd name="T42" fmla="*/ 5948 w 71"/>
                <a:gd name="T43" fmla="*/ 3499 h 49"/>
                <a:gd name="T44" fmla="*/ 1699 w 71"/>
                <a:gd name="T45" fmla="*/ 0 h 49"/>
                <a:gd name="T46" fmla="*/ 1274 w 71"/>
                <a:gd name="T47" fmla="*/ 1166 h 49"/>
                <a:gd name="T48" fmla="*/ 425 w 71"/>
                <a:gd name="T49" fmla="*/ 6998 h 49"/>
                <a:gd name="T50" fmla="*/ 0 w 71"/>
                <a:gd name="T51" fmla="*/ 9331 h 49"/>
                <a:gd name="T52" fmla="*/ 0 w 71"/>
                <a:gd name="T53" fmla="*/ 11663 h 49"/>
                <a:gd name="T54" fmla="*/ 425 w 71"/>
                <a:gd name="T55" fmla="*/ 12830 h 49"/>
                <a:gd name="T56" fmla="*/ 1699 w 71"/>
                <a:gd name="T57" fmla="*/ 13996 h 4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5" name="Freeform 317">
              <a:extLst>
                <a:ext uri="{FF2B5EF4-FFF2-40B4-BE49-F238E27FC236}">
                  <a16:creationId xmlns:a16="http://schemas.microsoft.com/office/drawing/2014/main" id="{0E63E3CB-7078-41A2-BD99-357871FC6FF8}"/>
                </a:ext>
              </a:extLst>
            </p:cNvPr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8491539" y="3951289"/>
              <a:ext cx="46037" cy="58737"/>
            </a:xfrm>
            <a:custGeom>
              <a:avLst/>
              <a:gdLst>
                <a:gd name="T0" fmla="*/ 18908 w 112"/>
                <a:gd name="T1" fmla="*/ 4518 h 26"/>
                <a:gd name="T2" fmla="*/ 23019 w 112"/>
                <a:gd name="T3" fmla="*/ 4518 h 26"/>
                <a:gd name="T4" fmla="*/ 27129 w 112"/>
                <a:gd name="T5" fmla="*/ 6777 h 26"/>
                <a:gd name="T6" fmla="*/ 30417 w 112"/>
                <a:gd name="T7" fmla="*/ 9036 h 26"/>
                <a:gd name="T8" fmla="*/ 34528 w 112"/>
                <a:gd name="T9" fmla="*/ 13555 h 26"/>
                <a:gd name="T10" fmla="*/ 37816 w 112"/>
                <a:gd name="T11" fmla="*/ 20332 h 26"/>
                <a:gd name="T12" fmla="*/ 41104 w 112"/>
                <a:gd name="T13" fmla="*/ 27109 h 26"/>
                <a:gd name="T14" fmla="*/ 43571 w 112"/>
                <a:gd name="T15" fmla="*/ 36146 h 26"/>
                <a:gd name="T16" fmla="*/ 46037 w 112"/>
                <a:gd name="T17" fmla="*/ 45182 h 26"/>
                <a:gd name="T18" fmla="*/ 45215 w 112"/>
                <a:gd name="T19" fmla="*/ 49701 h 26"/>
                <a:gd name="T20" fmla="*/ 43160 w 112"/>
                <a:gd name="T21" fmla="*/ 51960 h 26"/>
                <a:gd name="T22" fmla="*/ 41516 w 112"/>
                <a:gd name="T23" fmla="*/ 56478 h 26"/>
                <a:gd name="T24" fmla="*/ 39049 w 112"/>
                <a:gd name="T25" fmla="*/ 56478 h 26"/>
                <a:gd name="T26" fmla="*/ 35761 w 112"/>
                <a:gd name="T27" fmla="*/ 58737 h 26"/>
                <a:gd name="T28" fmla="*/ 32473 w 112"/>
                <a:gd name="T29" fmla="*/ 58737 h 26"/>
                <a:gd name="T30" fmla="*/ 27129 w 112"/>
                <a:gd name="T31" fmla="*/ 54219 h 26"/>
                <a:gd name="T32" fmla="*/ 16853 w 112"/>
                <a:gd name="T33" fmla="*/ 42923 h 26"/>
                <a:gd name="T34" fmla="*/ 6577 w 112"/>
                <a:gd name="T35" fmla="*/ 29369 h 26"/>
                <a:gd name="T36" fmla="*/ 0 w 112"/>
                <a:gd name="T37" fmla="*/ 18073 h 26"/>
                <a:gd name="T38" fmla="*/ 2055 w 112"/>
                <a:gd name="T39" fmla="*/ 9036 h 26"/>
                <a:gd name="T40" fmla="*/ 4521 w 112"/>
                <a:gd name="T41" fmla="*/ 4518 h 26"/>
                <a:gd name="T42" fmla="*/ 7399 w 112"/>
                <a:gd name="T43" fmla="*/ 2259 h 26"/>
                <a:gd name="T44" fmla="*/ 10276 w 112"/>
                <a:gd name="T45" fmla="*/ 0 h 26"/>
                <a:gd name="T46" fmla="*/ 15209 w 112"/>
                <a:gd name="T47" fmla="*/ 2259 h 26"/>
                <a:gd name="T48" fmla="*/ 18908 w 112"/>
                <a:gd name="T49" fmla="*/ 4518 h 2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6" name="Freeform 318">
              <a:extLst>
                <a:ext uri="{FF2B5EF4-FFF2-40B4-BE49-F238E27FC236}">
                  <a16:creationId xmlns:a16="http://schemas.microsoft.com/office/drawing/2014/main" id="{0B24E9BD-DCC6-4409-913F-B9C90F32B9A2}"/>
                </a:ext>
              </a:extLst>
            </p:cNvPr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8589964" y="3989389"/>
              <a:ext cx="14287" cy="58737"/>
            </a:xfrm>
            <a:custGeom>
              <a:avLst/>
              <a:gdLst>
                <a:gd name="T0" fmla="*/ 0 w 41"/>
                <a:gd name="T1" fmla="*/ 0 h 25"/>
                <a:gd name="T2" fmla="*/ 14287 w 41"/>
                <a:gd name="T3" fmla="*/ 0 h 25"/>
                <a:gd name="T4" fmla="*/ 9757 w 41"/>
                <a:gd name="T5" fmla="*/ 18796 h 25"/>
                <a:gd name="T6" fmla="*/ 6272 w 41"/>
                <a:gd name="T7" fmla="*/ 35242 h 25"/>
                <a:gd name="T8" fmla="*/ 3136 w 41"/>
                <a:gd name="T9" fmla="*/ 46990 h 25"/>
                <a:gd name="T10" fmla="*/ 0 w 41"/>
                <a:gd name="T11" fmla="*/ 58737 h 25"/>
                <a:gd name="T12" fmla="*/ 0 w 41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7" name="Freeform 319">
              <a:extLst>
                <a:ext uri="{FF2B5EF4-FFF2-40B4-BE49-F238E27FC236}">
                  <a16:creationId xmlns:a16="http://schemas.microsoft.com/office/drawing/2014/main" id="{3B37E4AF-44D3-42CE-B2EC-56CE99FF6B8F}"/>
                </a:ext>
              </a:extLst>
            </p:cNvPr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8423276" y="3921126"/>
              <a:ext cx="36513" cy="55563"/>
            </a:xfrm>
            <a:custGeom>
              <a:avLst/>
              <a:gdLst>
                <a:gd name="T0" fmla="*/ 0 w 81"/>
                <a:gd name="T1" fmla="*/ 55563 h 31"/>
                <a:gd name="T2" fmla="*/ 0 w 81"/>
                <a:gd name="T3" fmla="*/ 39432 h 31"/>
                <a:gd name="T4" fmla="*/ 0 w 81"/>
                <a:gd name="T5" fmla="*/ 23301 h 31"/>
                <a:gd name="T6" fmla="*/ 0 w 81"/>
                <a:gd name="T7" fmla="*/ 17924 h 31"/>
                <a:gd name="T8" fmla="*/ 902 w 81"/>
                <a:gd name="T9" fmla="*/ 14339 h 31"/>
                <a:gd name="T10" fmla="*/ 1352 w 81"/>
                <a:gd name="T11" fmla="*/ 10754 h 31"/>
                <a:gd name="T12" fmla="*/ 1803 w 81"/>
                <a:gd name="T13" fmla="*/ 7169 h 31"/>
                <a:gd name="T14" fmla="*/ 3606 w 81"/>
                <a:gd name="T15" fmla="*/ 3585 h 31"/>
                <a:gd name="T16" fmla="*/ 6311 w 81"/>
                <a:gd name="T17" fmla="*/ 0 h 31"/>
                <a:gd name="T18" fmla="*/ 11720 w 81"/>
                <a:gd name="T19" fmla="*/ 1792 h 31"/>
                <a:gd name="T20" fmla="*/ 18482 w 81"/>
                <a:gd name="T21" fmla="*/ 1792 h 31"/>
                <a:gd name="T22" fmla="*/ 25244 w 81"/>
                <a:gd name="T23" fmla="*/ 1792 h 31"/>
                <a:gd name="T24" fmla="*/ 29301 w 81"/>
                <a:gd name="T25" fmla="*/ 1792 h 31"/>
                <a:gd name="T26" fmla="*/ 32907 w 81"/>
                <a:gd name="T27" fmla="*/ 1792 h 31"/>
                <a:gd name="T28" fmla="*/ 36513 w 81"/>
                <a:gd name="T29" fmla="*/ 1792 h 31"/>
                <a:gd name="T30" fmla="*/ 32907 w 81"/>
                <a:gd name="T31" fmla="*/ 10754 h 31"/>
                <a:gd name="T32" fmla="*/ 30202 w 81"/>
                <a:gd name="T33" fmla="*/ 17924 h 31"/>
                <a:gd name="T34" fmla="*/ 28850 w 81"/>
                <a:gd name="T35" fmla="*/ 25093 h 31"/>
                <a:gd name="T36" fmla="*/ 27948 w 81"/>
                <a:gd name="T37" fmla="*/ 32262 h 31"/>
                <a:gd name="T38" fmla="*/ 26596 w 81"/>
                <a:gd name="T39" fmla="*/ 37639 h 31"/>
                <a:gd name="T40" fmla="*/ 24342 w 81"/>
                <a:gd name="T41" fmla="*/ 41224 h 31"/>
                <a:gd name="T42" fmla="*/ 21187 w 81"/>
                <a:gd name="T43" fmla="*/ 44809 h 31"/>
                <a:gd name="T44" fmla="*/ 15326 w 81"/>
                <a:gd name="T45" fmla="*/ 44809 h 31"/>
                <a:gd name="T46" fmla="*/ 0 w 81"/>
                <a:gd name="T47" fmla="*/ 55563 h 3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8" name="Freeform 320">
              <a:extLst>
                <a:ext uri="{FF2B5EF4-FFF2-40B4-BE49-F238E27FC236}">
                  <a16:creationId xmlns:a16="http://schemas.microsoft.com/office/drawing/2014/main" id="{508212C5-5924-4C1D-8227-18EA09E8EF46}"/>
                </a:ext>
              </a:extLst>
            </p:cNvPr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8467725" y="3906838"/>
              <a:ext cx="39688" cy="55562"/>
            </a:xfrm>
            <a:custGeom>
              <a:avLst/>
              <a:gdLst>
                <a:gd name="T0" fmla="*/ 892 w 89"/>
                <a:gd name="T1" fmla="*/ 55562 h 49"/>
                <a:gd name="T2" fmla="*/ 39688 w 89"/>
                <a:gd name="T3" fmla="*/ 55562 h 49"/>
                <a:gd name="T4" fmla="*/ 34783 w 89"/>
                <a:gd name="T5" fmla="*/ 46491 h 49"/>
                <a:gd name="T6" fmla="*/ 30323 w 89"/>
                <a:gd name="T7" fmla="*/ 39687 h 49"/>
                <a:gd name="T8" fmla="*/ 25418 w 89"/>
                <a:gd name="T9" fmla="*/ 34018 h 49"/>
                <a:gd name="T10" fmla="*/ 20513 w 89"/>
                <a:gd name="T11" fmla="*/ 28348 h 49"/>
                <a:gd name="T12" fmla="*/ 16054 w 89"/>
                <a:gd name="T13" fmla="*/ 23812 h 49"/>
                <a:gd name="T14" fmla="*/ 11594 w 89"/>
                <a:gd name="T15" fmla="*/ 15875 h 49"/>
                <a:gd name="T16" fmla="*/ 7135 w 89"/>
                <a:gd name="T17" fmla="*/ 9071 h 49"/>
                <a:gd name="T18" fmla="*/ 4013 w 89"/>
                <a:gd name="T19" fmla="*/ 0 h 49"/>
                <a:gd name="T20" fmla="*/ 1784 w 89"/>
                <a:gd name="T21" fmla="*/ 11339 h 49"/>
                <a:gd name="T22" fmla="*/ 446 w 89"/>
                <a:gd name="T23" fmla="*/ 26080 h 49"/>
                <a:gd name="T24" fmla="*/ 0 w 89"/>
                <a:gd name="T25" fmla="*/ 32884 h 49"/>
                <a:gd name="T26" fmla="*/ 0 w 89"/>
                <a:gd name="T27" fmla="*/ 40821 h 49"/>
                <a:gd name="T28" fmla="*/ 0 w 89"/>
                <a:gd name="T29" fmla="*/ 48758 h 49"/>
                <a:gd name="T30" fmla="*/ 892 w 89"/>
                <a:gd name="T31" fmla="*/ 55562 h 4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9" name="Freeform 321">
              <a:extLst>
                <a:ext uri="{FF2B5EF4-FFF2-40B4-BE49-F238E27FC236}">
                  <a16:creationId xmlns:a16="http://schemas.microsoft.com/office/drawing/2014/main" id="{7C957074-DE25-49C1-A01C-146CE164E23A}"/>
                </a:ext>
              </a:extLst>
            </p:cNvPr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8520113" y="3916364"/>
              <a:ext cx="36512" cy="58737"/>
            </a:xfrm>
            <a:custGeom>
              <a:avLst/>
              <a:gdLst>
                <a:gd name="T0" fmla="*/ 0 w 86"/>
                <a:gd name="T1" fmla="*/ 26815 h 46"/>
                <a:gd name="T2" fmla="*/ 5944 w 86"/>
                <a:gd name="T3" fmla="*/ 33199 h 46"/>
                <a:gd name="T4" fmla="*/ 10614 w 86"/>
                <a:gd name="T5" fmla="*/ 37030 h 46"/>
                <a:gd name="T6" fmla="*/ 12737 w 86"/>
                <a:gd name="T7" fmla="*/ 38307 h 46"/>
                <a:gd name="T8" fmla="*/ 15284 w 86"/>
                <a:gd name="T9" fmla="*/ 38307 h 46"/>
                <a:gd name="T10" fmla="*/ 17407 w 86"/>
                <a:gd name="T11" fmla="*/ 37030 h 46"/>
                <a:gd name="T12" fmla="*/ 19530 w 86"/>
                <a:gd name="T13" fmla="*/ 34476 h 46"/>
                <a:gd name="T14" fmla="*/ 19530 w 86"/>
                <a:gd name="T15" fmla="*/ 45968 h 46"/>
                <a:gd name="T16" fmla="*/ 19530 w 86"/>
                <a:gd name="T17" fmla="*/ 58737 h 46"/>
                <a:gd name="T18" fmla="*/ 23775 w 86"/>
                <a:gd name="T19" fmla="*/ 57460 h 46"/>
                <a:gd name="T20" fmla="*/ 28445 w 86"/>
                <a:gd name="T21" fmla="*/ 54906 h 46"/>
                <a:gd name="T22" fmla="*/ 32691 w 86"/>
                <a:gd name="T23" fmla="*/ 51076 h 46"/>
                <a:gd name="T24" fmla="*/ 36512 w 86"/>
                <a:gd name="T25" fmla="*/ 51076 h 46"/>
                <a:gd name="T26" fmla="*/ 35238 w 86"/>
                <a:gd name="T27" fmla="*/ 40861 h 46"/>
                <a:gd name="T28" fmla="*/ 33965 w 86"/>
                <a:gd name="T29" fmla="*/ 31922 h 46"/>
                <a:gd name="T30" fmla="*/ 31417 w 86"/>
                <a:gd name="T31" fmla="*/ 24261 h 46"/>
                <a:gd name="T32" fmla="*/ 29719 w 86"/>
                <a:gd name="T33" fmla="*/ 17876 h 46"/>
                <a:gd name="T34" fmla="*/ 27172 w 86"/>
                <a:gd name="T35" fmla="*/ 11492 h 46"/>
                <a:gd name="T36" fmla="*/ 24624 w 86"/>
                <a:gd name="T37" fmla="*/ 7661 h 46"/>
                <a:gd name="T38" fmla="*/ 21652 w 86"/>
                <a:gd name="T39" fmla="*/ 3831 h 46"/>
                <a:gd name="T40" fmla="*/ 19530 w 86"/>
                <a:gd name="T41" fmla="*/ 1277 h 46"/>
                <a:gd name="T42" fmla="*/ 16558 w 86"/>
                <a:gd name="T43" fmla="*/ 0 h 46"/>
                <a:gd name="T44" fmla="*/ 14010 w 86"/>
                <a:gd name="T45" fmla="*/ 0 h 46"/>
                <a:gd name="T46" fmla="*/ 11039 w 86"/>
                <a:gd name="T47" fmla="*/ 1277 h 46"/>
                <a:gd name="T48" fmla="*/ 8067 w 86"/>
                <a:gd name="T49" fmla="*/ 3831 h 46"/>
                <a:gd name="T50" fmla="*/ 5944 w 86"/>
                <a:gd name="T51" fmla="*/ 7661 h 46"/>
                <a:gd name="T52" fmla="*/ 3396 w 86"/>
                <a:gd name="T53" fmla="*/ 12769 h 46"/>
                <a:gd name="T54" fmla="*/ 1698 w 86"/>
                <a:gd name="T55" fmla="*/ 19153 h 46"/>
                <a:gd name="T56" fmla="*/ 0 w 86"/>
                <a:gd name="T57" fmla="*/ 26815 h 4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0" name="Freeform 322">
              <a:extLst>
                <a:ext uri="{FF2B5EF4-FFF2-40B4-BE49-F238E27FC236}">
                  <a16:creationId xmlns:a16="http://schemas.microsoft.com/office/drawing/2014/main" id="{55B4F3F7-39C5-4104-A35F-CB5FB29E6047}"/>
                </a:ext>
              </a:extLst>
            </p:cNvPr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8572500" y="3921126"/>
              <a:ext cx="25400" cy="55563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55563 h 18"/>
                <a:gd name="T4" fmla="*/ 16790 w 59"/>
                <a:gd name="T5" fmla="*/ 55563 h 18"/>
                <a:gd name="T6" fmla="*/ 25400 w 59"/>
                <a:gd name="T7" fmla="*/ 18521 h 18"/>
                <a:gd name="T8" fmla="*/ 21956 w 59"/>
                <a:gd name="T9" fmla="*/ 15434 h 18"/>
                <a:gd name="T10" fmla="*/ 19373 w 59"/>
                <a:gd name="T11" fmla="*/ 12347 h 18"/>
                <a:gd name="T12" fmla="*/ 15929 w 59"/>
                <a:gd name="T13" fmla="*/ 15434 h 18"/>
                <a:gd name="T14" fmla="*/ 12485 w 59"/>
                <a:gd name="T15" fmla="*/ 18521 h 18"/>
                <a:gd name="T16" fmla="*/ 9471 w 59"/>
                <a:gd name="T17" fmla="*/ 18521 h 18"/>
                <a:gd name="T18" fmla="*/ 6027 w 59"/>
                <a:gd name="T19" fmla="*/ 15434 h 18"/>
                <a:gd name="T20" fmla="*/ 3014 w 59"/>
                <a:gd name="T21" fmla="*/ 12347 h 18"/>
                <a:gd name="T22" fmla="*/ 0 w 59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1" name="Freeform 323">
              <a:extLst>
                <a:ext uri="{FF2B5EF4-FFF2-40B4-BE49-F238E27FC236}">
                  <a16:creationId xmlns:a16="http://schemas.microsoft.com/office/drawing/2014/main" id="{F4F17BC8-FF50-4CDB-B9DA-84351DA5E4F0}"/>
                </a:ext>
              </a:extLst>
            </p:cNvPr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8645525" y="3913188"/>
              <a:ext cx="1588" cy="55562"/>
            </a:xfrm>
            <a:custGeom>
              <a:avLst/>
              <a:gdLst>
                <a:gd name="T0" fmla="*/ 1588 w 4"/>
                <a:gd name="T1" fmla="*/ 55562 h 19"/>
                <a:gd name="T2" fmla="*/ 1588 w 4"/>
                <a:gd name="T3" fmla="*/ 0 h 19"/>
                <a:gd name="T4" fmla="*/ 794 w 4"/>
                <a:gd name="T5" fmla="*/ 2924 h 19"/>
                <a:gd name="T6" fmla="*/ 397 w 4"/>
                <a:gd name="T7" fmla="*/ 8773 h 19"/>
                <a:gd name="T8" fmla="*/ 0 w 4"/>
                <a:gd name="T9" fmla="*/ 17546 h 19"/>
                <a:gd name="T10" fmla="*/ 0 w 4"/>
                <a:gd name="T11" fmla="*/ 29243 h 19"/>
                <a:gd name="T12" fmla="*/ 0 w 4"/>
                <a:gd name="T13" fmla="*/ 40940 h 19"/>
                <a:gd name="T14" fmla="*/ 397 w 4"/>
                <a:gd name="T15" fmla="*/ 46789 h 19"/>
                <a:gd name="T16" fmla="*/ 794 w 4"/>
                <a:gd name="T17" fmla="*/ 55562 h 19"/>
                <a:gd name="T18" fmla="*/ 1588 w 4"/>
                <a:gd name="T19" fmla="*/ 55562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2" name="Freeform 324">
              <a:extLst>
                <a:ext uri="{FF2B5EF4-FFF2-40B4-BE49-F238E27FC236}">
                  <a16:creationId xmlns:a16="http://schemas.microsoft.com/office/drawing/2014/main" id="{0DF896D2-48B4-40DF-89C3-281F8CF08712}"/>
                </a:ext>
              </a:extLst>
            </p:cNvPr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8220075" y="3727450"/>
              <a:ext cx="20638" cy="58738"/>
            </a:xfrm>
            <a:custGeom>
              <a:avLst/>
              <a:gdLst>
                <a:gd name="T0" fmla="*/ 0 w 46"/>
                <a:gd name="T1" fmla="*/ 58738 h 50"/>
                <a:gd name="T2" fmla="*/ 3141 w 46"/>
                <a:gd name="T3" fmla="*/ 0 h 50"/>
                <a:gd name="T4" fmla="*/ 10319 w 46"/>
                <a:gd name="T5" fmla="*/ 9398 h 50"/>
                <a:gd name="T6" fmla="*/ 15254 w 46"/>
                <a:gd name="T7" fmla="*/ 16447 h 50"/>
                <a:gd name="T8" fmla="*/ 16600 w 46"/>
                <a:gd name="T9" fmla="*/ 21146 h 50"/>
                <a:gd name="T10" fmla="*/ 18395 w 46"/>
                <a:gd name="T11" fmla="*/ 25845 h 50"/>
                <a:gd name="T12" fmla="*/ 19741 w 46"/>
                <a:gd name="T13" fmla="*/ 35243 h 50"/>
                <a:gd name="T14" fmla="*/ 20638 w 46"/>
                <a:gd name="T15" fmla="*/ 44641 h 50"/>
                <a:gd name="T16" fmla="*/ 15254 w 46"/>
                <a:gd name="T17" fmla="*/ 49340 h 50"/>
                <a:gd name="T18" fmla="*/ 9422 w 46"/>
                <a:gd name="T19" fmla="*/ 54039 h 50"/>
                <a:gd name="T20" fmla="*/ 3589 w 46"/>
                <a:gd name="T21" fmla="*/ 57563 h 50"/>
                <a:gd name="T22" fmla="*/ 0 w 46"/>
                <a:gd name="T23" fmla="*/ 58738 h 5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3" name="Freeform 325">
              <a:extLst>
                <a:ext uri="{FF2B5EF4-FFF2-40B4-BE49-F238E27FC236}">
                  <a16:creationId xmlns:a16="http://schemas.microsoft.com/office/drawing/2014/main" id="{60D0E207-D90C-4BEB-A3B9-429DDA2F0D44}"/>
                </a:ext>
              </a:extLst>
            </p:cNvPr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8166101" y="3700464"/>
              <a:ext cx="30163" cy="58737"/>
            </a:xfrm>
            <a:custGeom>
              <a:avLst/>
              <a:gdLst>
                <a:gd name="T0" fmla="*/ 0 w 66"/>
                <a:gd name="T1" fmla="*/ 0 h 80"/>
                <a:gd name="T2" fmla="*/ 4570 w 66"/>
                <a:gd name="T3" fmla="*/ 0 h 80"/>
                <a:gd name="T4" fmla="*/ 8226 w 66"/>
                <a:gd name="T5" fmla="*/ 0 h 80"/>
                <a:gd name="T6" fmla="*/ 11882 w 66"/>
                <a:gd name="T7" fmla="*/ 0 h 80"/>
                <a:gd name="T8" fmla="*/ 15082 w 66"/>
                <a:gd name="T9" fmla="*/ 0 h 80"/>
                <a:gd name="T10" fmla="*/ 15082 w 66"/>
                <a:gd name="T11" fmla="*/ 5139 h 80"/>
                <a:gd name="T12" fmla="*/ 15539 w 66"/>
                <a:gd name="T13" fmla="*/ 10279 h 80"/>
                <a:gd name="T14" fmla="*/ 16453 w 66"/>
                <a:gd name="T15" fmla="*/ 15418 h 80"/>
                <a:gd name="T16" fmla="*/ 17367 w 66"/>
                <a:gd name="T17" fmla="*/ 19824 h 80"/>
                <a:gd name="T18" fmla="*/ 20109 w 66"/>
                <a:gd name="T19" fmla="*/ 26432 h 80"/>
                <a:gd name="T20" fmla="*/ 22394 w 66"/>
                <a:gd name="T21" fmla="*/ 33040 h 80"/>
                <a:gd name="T22" fmla="*/ 25593 w 66"/>
                <a:gd name="T23" fmla="*/ 38179 h 80"/>
                <a:gd name="T24" fmla="*/ 27878 w 66"/>
                <a:gd name="T25" fmla="*/ 44053 h 80"/>
                <a:gd name="T26" fmla="*/ 28335 w 66"/>
                <a:gd name="T27" fmla="*/ 47724 h 80"/>
                <a:gd name="T28" fmla="*/ 29706 w 66"/>
                <a:gd name="T29" fmla="*/ 50661 h 80"/>
                <a:gd name="T30" fmla="*/ 30163 w 66"/>
                <a:gd name="T31" fmla="*/ 55066 h 80"/>
                <a:gd name="T32" fmla="*/ 30163 w 66"/>
                <a:gd name="T33" fmla="*/ 58737 h 80"/>
                <a:gd name="T34" fmla="*/ 0 w 66"/>
                <a:gd name="T35" fmla="*/ 13216 h 80"/>
                <a:gd name="T36" fmla="*/ 0 w 66"/>
                <a:gd name="T37" fmla="*/ 0 h 8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4" name="Freeform 326">
              <a:extLst>
                <a:ext uri="{FF2B5EF4-FFF2-40B4-BE49-F238E27FC236}">
                  <a16:creationId xmlns:a16="http://schemas.microsoft.com/office/drawing/2014/main" id="{A0B99FB4-479D-4604-A269-9E088422E22C}"/>
                </a:ext>
              </a:extLst>
            </p:cNvPr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8001000" y="3684588"/>
              <a:ext cx="7938" cy="57150"/>
            </a:xfrm>
            <a:custGeom>
              <a:avLst/>
              <a:gdLst>
                <a:gd name="T0" fmla="*/ 7938 w 20"/>
                <a:gd name="T1" fmla="*/ 57150 h 48"/>
                <a:gd name="T2" fmla="*/ 7938 w 20"/>
                <a:gd name="T3" fmla="*/ 46434 h 48"/>
                <a:gd name="T4" fmla="*/ 7541 w 20"/>
                <a:gd name="T5" fmla="*/ 38100 h 48"/>
                <a:gd name="T6" fmla="*/ 6350 w 20"/>
                <a:gd name="T7" fmla="*/ 29766 h 48"/>
                <a:gd name="T8" fmla="*/ 5557 w 20"/>
                <a:gd name="T9" fmla="*/ 22622 h 48"/>
                <a:gd name="T10" fmla="*/ 4763 w 20"/>
                <a:gd name="T11" fmla="*/ 16669 h 48"/>
                <a:gd name="T12" fmla="*/ 3572 w 20"/>
                <a:gd name="T13" fmla="*/ 10716 h 48"/>
                <a:gd name="T14" fmla="*/ 1588 w 20"/>
                <a:gd name="T15" fmla="*/ 4763 h 48"/>
                <a:gd name="T16" fmla="*/ 0 w 20"/>
                <a:gd name="T17" fmla="*/ 0 h 48"/>
                <a:gd name="T18" fmla="*/ 0 w 20"/>
                <a:gd name="T19" fmla="*/ 9525 h 48"/>
                <a:gd name="T20" fmla="*/ 794 w 20"/>
                <a:gd name="T21" fmla="*/ 20241 h 48"/>
                <a:gd name="T22" fmla="*/ 1588 w 20"/>
                <a:gd name="T23" fmla="*/ 28575 h 48"/>
                <a:gd name="T24" fmla="*/ 3175 w 20"/>
                <a:gd name="T25" fmla="*/ 36909 h 48"/>
                <a:gd name="T26" fmla="*/ 5557 w 20"/>
                <a:gd name="T27" fmla="*/ 48816 h 48"/>
                <a:gd name="T28" fmla="*/ 7938 w 20"/>
                <a:gd name="T29" fmla="*/ 57150 h 4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5" name="Line 327" descr="Horizontal dunkel">
              <a:extLst>
                <a:ext uri="{FF2B5EF4-FFF2-40B4-BE49-F238E27FC236}">
                  <a16:creationId xmlns:a16="http://schemas.microsoft.com/office/drawing/2014/main" id="{446070D4-84D6-4E13-BD16-07DA39BC4CC2}"/>
                </a:ext>
              </a:extLst>
            </p:cNvPr>
            <p:cNvSpPr>
              <a:spLocks noChangeShapeType="1"/>
            </p:cNvSpPr>
            <p:nvPr>
              <p:custDataLst>
                <p:tags r:id="rId230"/>
              </p:custDataLst>
            </p:nvPr>
          </p:nvSpPr>
          <p:spPr bwMode="auto">
            <a:xfrm>
              <a:off x="8026401" y="3721100"/>
              <a:ext cx="4763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6" name="Freeform 328">
              <a:extLst>
                <a:ext uri="{FF2B5EF4-FFF2-40B4-BE49-F238E27FC236}">
                  <a16:creationId xmlns:a16="http://schemas.microsoft.com/office/drawing/2014/main" id="{20AFFF86-23C6-4519-8C25-08822A0FAFC5}"/>
                </a:ext>
              </a:extLst>
            </p:cNvPr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8023225" y="3721100"/>
              <a:ext cx="7938" cy="57150"/>
            </a:xfrm>
            <a:custGeom>
              <a:avLst/>
              <a:gdLst>
                <a:gd name="T0" fmla="*/ 7938 w 20"/>
                <a:gd name="T1" fmla="*/ 57150 h 12"/>
                <a:gd name="T2" fmla="*/ 7938 w 20"/>
                <a:gd name="T3" fmla="*/ 38100 h 12"/>
                <a:gd name="T4" fmla="*/ 7144 w 20"/>
                <a:gd name="T5" fmla="*/ 23813 h 12"/>
                <a:gd name="T6" fmla="*/ 5954 w 20"/>
                <a:gd name="T7" fmla="*/ 14288 h 12"/>
                <a:gd name="T8" fmla="*/ 5160 w 20"/>
                <a:gd name="T9" fmla="*/ 9525 h 12"/>
                <a:gd name="T10" fmla="*/ 2778 w 20"/>
                <a:gd name="T11" fmla="*/ 0 h 12"/>
                <a:gd name="T12" fmla="*/ 0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7" name="Freeform 329">
              <a:extLst>
                <a:ext uri="{FF2B5EF4-FFF2-40B4-BE49-F238E27FC236}">
                  <a16:creationId xmlns:a16="http://schemas.microsoft.com/office/drawing/2014/main" id="{0E50567B-A09B-4C9B-8B8F-40287694FB8E}"/>
                </a:ext>
              </a:extLst>
            </p:cNvPr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7924801" y="3565525"/>
              <a:ext cx="22225" cy="57150"/>
            </a:xfrm>
            <a:custGeom>
              <a:avLst/>
              <a:gdLst>
                <a:gd name="T0" fmla="*/ 2935 w 53"/>
                <a:gd name="T1" fmla="*/ 0 h 30"/>
                <a:gd name="T2" fmla="*/ 4613 w 53"/>
                <a:gd name="T3" fmla="*/ 7620 h 30"/>
                <a:gd name="T4" fmla="*/ 9645 w 53"/>
                <a:gd name="T5" fmla="*/ 24765 h 30"/>
                <a:gd name="T6" fmla="*/ 15516 w 53"/>
                <a:gd name="T7" fmla="*/ 43815 h 30"/>
                <a:gd name="T8" fmla="*/ 19290 w 53"/>
                <a:gd name="T9" fmla="*/ 57150 h 30"/>
                <a:gd name="T10" fmla="*/ 20548 w 53"/>
                <a:gd name="T11" fmla="*/ 34290 h 30"/>
                <a:gd name="T12" fmla="*/ 22225 w 53"/>
                <a:gd name="T13" fmla="*/ 11430 h 30"/>
                <a:gd name="T14" fmla="*/ 15516 w 53"/>
                <a:gd name="T15" fmla="*/ 9525 h 30"/>
                <a:gd name="T16" fmla="*/ 10903 w 53"/>
                <a:gd name="T17" fmla="*/ 5715 h 30"/>
                <a:gd name="T18" fmla="*/ 8806 w 53"/>
                <a:gd name="T19" fmla="*/ 5715 h 30"/>
                <a:gd name="T20" fmla="*/ 6290 w 53"/>
                <a:gd name="T21" fmla="*/ 5715 h 30"/>
                <a:gd name="T22" fmla="*/ 3774 w 53"/>
                <a:gd name="T23" fmla="*/ 7620 h 30"/>
                <a:gd name="T24" fmla="*/ 0 w 53"/>
                <a:gd name="T25" fmla="*/ 11430 h 30"/>
                <a:gd name="T26" fmla="*/ 2935 w 53"/>
                <a:gd name="T27" fmla="*/ 0 h 3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8" name="Freeform 330">
              <a:extLst>
                <a:ext uri="{FF2B5EF4-FFF2-40B4-BE49-F238E27FC236}">
                  <a16:creationId xmlns:a16="http://schemas.microsoft.com/office/drawing/2014/main" id="{658C7334-AB8F-4EC9-A241-AB8CE6975A3F}"/>
                </a:ext>
              </a:extLst>
            </p:cNvPr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8453438" y="3929063"/>
              <a:ext cx="11112" cy="57150"/>
            </a:xfrm>
            <a:custGeom>
              <a:avLst/>
              <a:gdLst>
                <a:gd name="T0" fmla="*/ 0 w 33"/>
                <a:gd name="T1" fmla="*/ 11061 h 31"/>
                <a:gd name="T2" fmla="*/ 1347 w 33"/>
                <a:gd name="T3" fmla="*/ 38715 h 31"/>
                <a:gd name="T4" fmla="*/ 2357 w 33"/>
                <a:gd name="T5" fmla="*/ 57150 h 31"/>
                <a:gd name="T6" fmla="*/ 7408 w 33"/>
                <a:gd name="T7" fmla="*/ 57150 h 31"/>
                <a:gd name="T8" fmla="*/ 11112 w 33"/>
                <a:gd name="T9" fmla="*/ 57150 h 31"/>
                <a:gd name="T10" fmla="*/ 11112 w 33"/>
                <a:gd name="T11" fmla="*/ 0 h 31"/>
                <a:gd name="T12" fmla="*/ 9092 w 33"/>
                <a:gd name="T13" fmla="*/ 0 h 31"/>
                <a:gd name="T14" fmla="*/ 6398 w 33"/>
                <a:gd name="T15" fmla="*/ 0 h 31"/>
                <a:gd name="T16" fmla="*/ 3367 w 33"/>
                <a:gd name="T17" fmla="*/ 0 h 31"/>
                <a:gd name="T18" fmla="*/ 0 w 33"/>
                <a:gd name="T19" fmla="*/ 0 h 31"/>
                <a:gd name="T20" fmla="*/ 0 w 33"/>
                <a:gd name="T21" fmla="*/ 11061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9" name="Freeform 331">
              <a:extLst>
                <a:ext uri="{FF2B5EF4-FFF2-40B4-BE49-F238E27FC236}">
                  <a16:creationId xmlns:a16="http://schemas.microsoft.com/office/drawing/2014/main" id="{8439F456-92A3-427C-A590-C87D5ED7EB85}"/>
                </a:ext>
              </a:extLst>
            </p:cNvPr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8969376" y="3886201"/>
              <a:ext cx="28575" cy="55563"/>
            </a:xfrm>
            <a:custGeom>
              <a:avLst/>
              <a:gdLst>
                <a:gd name="T0" fmla="*/ 8353 w 65"/>
                <a:gd name="T1" fmla="*/ 55563 h 68"/>
                <a:gd name="T2" fmla="*/ 7034 w 65"/>
                <a:gd name="T3" fmla="*/ 55563 h 68"/>
                <a:gd name="T4" fmla="*/ 6155 w 65"/>
                <a:gd name="T5" fmla="*/ 53929 h 68"/>
                <a:gd name="T6" fmla="*/ 4836 w 65"/>
                <a:gd name="T7" fmla="*/ 52295 h 68"/>
                <a:gd name="T8" fmla="*/ 3077 w 65"/>
                <a:gd name="T9" fmla="*/ 49843 h 68"/>
                <a:gd name="T10" fmla="*/ 1758 w 65"/>
                <a:gd name="T11" fmla="*/ 48209 h 68"/>
                <a:gd name="T12" fmla="*/ 879 w 65"/>
                <a:gd name="T13" fmla="*/ 44941 h 68"/>
                <a:gd name="T14" fmla="*/ 0 w 65"/>
                <a:gd name="T15" fmla="*/ 42489 h 68"/>
                <a:gd name="T16" fmla="*/ 0 w 65"/>
                <a:gd name="T17" fmla="*/ 40038 h 68"/>
                <a:gd name="T18" fmla="*/ 0 w 65"/>
                <a:gd name="T19" fmla="*/ 31050 h 68"/>
                <a:gd name="T20" fmla="*/ 879 w 65"/>
                <a:gd name="T21" fmla="*/ 23696 h 68"/>
                <a:gd name="T22" fmla="*/ 2198 w 65"/>
                <a:gd name="T23" fmla="*/ 17159 h 68"/>
                <a:gd name="T24" fmla="*/ 3957 w 65"/>
                <a:gd name="T25" fmla="*/ 11439 h 68"/>
                <a:gd name="T26" fmla="*/ 6594 w 65"/>
                <a:gd name="T27" fmla="*/ 6537 h 68"/>
                <a:gd name="T28" fmla="*/ 9672 w 65"/>
                <a:gd name="T29" fmla="*/ 3268 h 68"/>
                <a:gd name="T30" fmla="*/ 13188 w 65"/>
                <a:gd name="T31" fmla="*/ 1634 h 68"/>
                <a:gd name="T32" fmla="*/ 17145 w 65"/>
                <a:gd name="T33" fmla="*/ 0 h 68"/>
                <a:gd name="T34" fmla="*/ 22860 w 65"/>
                <a:gd name="T35" fmla="*/ 0 h 68"/>
                <a:gd name="T36" fmla="*/ 28575 w 65"/>
                <a:gd name="T37" fmla="*/ 0 h 68"/>
                <a:gd name="T38" fmla="*/ 28575 w 65"/>
                <a:gd name="T39" fmla="*/ 35135 h 68"/>
                <a:gd name="T40" fmla="*/ 24618 w 65"/>
                <a:gd name="T41" fmla="*/ 42489 h 68"/>
                <a:gd name="T42" fmla="*/ 19783 w 65"/>
                <a:gd name="T43" fmla="*/ 49843 h 68"/>
                <a:gd name="T44" fmla="*/ 17145 w 65"/>
                <a:gd name="T45" fmla="*/ 52295 h 68"/>
                <a:gd name="T46" fmla="*/ 14947 w 65"/>
                <a:gd name="T47" fmla="*/ 53929 h 68"/>
                <a:gd name="T48" fmla="*/ 11870 w 65"/>
                <a:gd name="T49" fmla="*/ 55563 h 68"/>
                <a:gd name="T50" fmla="*/ 8353 w 65"/>
                <a:gd name="T51" fmla="*/ 55563 h 6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0" name="Freeform 332">
              <a:extLst>
                <a:ext uri="{FF2B5EF4-FFF2-40B4-BE49-F238E27FC236}">
                  <a16:creationId xmlns:a16="http://schemas.microsoft.com/office/drawing/2014/main" id="{6A6B2206-02A6-4873-84BA-3014F717B91F}"/>
                </a:ext>
              </a:extLst>
            </p:cNvPr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7907339" y="3468688"/>
              <a:ext cx="274637" cy="368300"/>
            </a:xfrm>
            <a:custGeom>
              <a:avLst/>
              <a:gdLst>
                <a:gd name="T0" fmla="*/ 220588 w 625"/>
                <a:gd name="T1" fmla="*/ 178843 h 694"/>
                <a:gd name="T2" fmla="*/ 212679 w 625"/>
                <a:gd name="T3" fmla="*/ 180966 h 694"/>
                <a:gd name="T4" fmla="*/ 210482 w 625"/>
                <a:gd name="T5" fmla="*/ 202724 h 694"/>
                <a:gd name="T6" fmla="*/ 226301 w 625"/>
                <a:gd name="T7" fmla="*/ 214399 h 694"/>
                <a:gd name="T8" fmla="*/ 234650 w 625"/>
                <a:gd name="T9" fmla="*/ 214930 h 694"/>
                <a:gd name="T10" fmla="*/ 241681 w 625"/>
                <a:gd name="T11" fmla="*/ 225013 h 694"/>
                <a:gd name="T12" fmla="*/ 246075 w 625"/>
                <a:gd name="T13" fmla="*/ 243587 h 694"/>
                <a:gd name="T14" fmla="*/ 251348 w 625"/>
                <a:gd name="T15" fmla="*/ 251548 h 694"/>
                <a:gd name="T16" fmla="*/ 258378 w 625"/>
                <a:gd name="T17" fmla="*/ 256324 h 694"/>
                <a:gd name="T18" fmla="*/ 269803 w 625"/>
                <a:gd name="T19" fmla="*/ 258447 h 694"/>
                <a:gd name="T20" fmla="*/ 274637 w 625"/>
                <a:gd name="T21" fmla="*/ 267999 h 694"/>
                <a:gd name="T22" fmla="*/ 274637 w 625"/>
                <a:gd name="T23" fmla="*/ 286043 h 694"/>
                <a:gd name="T24" fmla="*/ 271561 w 625"/>
                <a:gd name="T25" fmla="*/ 320007 h 694"/>
                <a:gd name="T26" fmla="*/ 268485 w 625"/>
                <a:gd name="T27" fmla="*/ 356625 h 694"/>
                <a:gd name="T28" fmla="*/ 246954 w 625"/>
                <a:gd name="T29" fmla="*/ 367769 h 694"/>
                <a:gd name="T30" fmla="*/ 236847 w 625"/>
                <a:gd name="T31" fmla="*/ 367769 h 694"/>
                <a:gd name="T32" fmla="*/ 173131 w 625"/>
                <a:gd name="T33" fmla="*/ 299310 h 694"/>
                <a:gd name="T34" fmla="*/ 174449 w 625"/>
                <a:gd name="T35" fmla="*/ 292942 h 694"/>
                <a:gd name="T36" fmla="*/ 173131 w 625"/>
                <a:gd name="T37" fmla="*/ 286043 h 694"/>
                <a:gd name="T38" fmla="*/ 148524 w 625"/>
                <a:gd name="T39" fmla="*/ 258978 h 694"/>
                <a:gd name="T40" fmla="*/ 134023 w 625"/>
                <a:gd name="T41" fmla="*/ 240403 h 694"/>
                <a:gd name="T42" fmla="*/ 128750 w 625"/>
                <a:gd name="T43" fmla="*/ 222360 h 694"/>
                <a:gd name="T44" fmla="*/ 127871 w 625"/>
                <a:gd name="T45" fmla="*/ 202194 h 694"/>
                <a:gd name="T46" fmla="*/ 125234 w 625"/>
                <a:gd name="T47" fmla="*/ 191049 h 694"/>
                <a:gd name="T48" fmla="*/ 117764 w 625"/>
                <a:gd name="T49" fmla="*/ 181497 h 694"/>
                <a:gd name="T50" fmla="*/ 105900 w 625"/>
                <a:gd name="T51" fmla="*/ 164514 h 694"/>
                <a:gd name="T52" fmla="*/ 98430 w 625"/>
                <a:gd name="T53" fmla="*/ 142756 h 694"/>
                <a:gd name="T54" fmla="*/ 93596 w 625"/>
                <a:gd name="T55" fmla="*/ 126305 h 694"/>
                <a:gd name="T56" fmla="*/ 83490 w 625"/>
                <a:gd name="T57" fmla="*/ 112507 h 694"/>
                <a:gd name="T58" fmla="*/ 65913 w 625"/>
                <a:gd name="T59" fmla="*/ 90748 h 694"/>
                <a:gd name="T60" fmla="*/ 59761 w 625"/>
                <a:gd name="T61" fmla="*/ 77481 h 694"/>
                <a:gd name="T62" fmla="*/ 49215 w 625"/>
                <a:gd name="T63" fmla="*/ 70051 h 694"/>
                <a:gd name="T64" fmla="*/ 35154 w 625"/>
                <a:gd name="T65" fmla="*/ 59968 h 694"/>
                <a:gd name="T66" fmla="*/ 21532 w 625"/>
                <a:gd name="T67" fmla="*/ 45109 h 694"/>
                <a:gd name="T68" fmla="*/ 10107 w 625"/>
                <a:gd name="T69" fmla="*/ 27065 h 694"/>
                <a:gd name="T70" fmla="*/ 2197 w 625"/>
                <a:gd name="T71" fmla="*/ 10083 h 694"/>
                <a:gd name="T72" fmla="*/ 4394 w 625"/>
                <a:gd name="T73" fmla="*/ 2123 h 694"/>
                <a:gd name="T74" fmla="*/ 16259 w 625"/>
                <a:gd name="T75" fmla="*/ 6899 h 694"/>
                <a:gd name="T76" fmla="*/ 36911 w 625"/>
                <a:gd name="T77" fmla="*/ 8491 h 694"/>
                <a:gd name="T78" fmla="*/ 50973 w 625"/>
                <a:gd name="T79" fmla="*/ 10614 h 694"/>
                <a:gd name="T80" fmla="*/ 60640 w 625"/>
                <a:gd name="T81" fmla="*/ 14329 h 694"/>
                <a:gd name="T82" fmla="*/ 68549 w 625"/>
                <a:gd name="T83" fmla="*/ 22289 h 694"/>
                <a:gd name="T84" fmla="*/ 89642 w 625"/>
                <a:gd name="T85" fmla="*/ 57845 h 694"/>
                <a:gd name="T86" fmla="*/ 111612 w 625"/>
                <a:gd name="T87" fmla="*/ 86503 h 694"/>
                <a:gd name="T88" fmla="*/ 131386 w 625"/>
                <a:gd name="T89" fmla="*/ 107200 h 694"/>
                <a:gd name="T90" fmla="*/ 144569 w 625"/>
                <a:gd name="T91" fmla="*/ 116221 h 694"/>
                <a:gd name="T92" fmla="*/ 160827 w 625"/>
                <a:gd name="T93" fmla="*/ 120467 h 694"/>
                <a:gd name="T94" fmla="*/ 170495 w 625"/>
                <a:gd name="T95" fmla="*/ 122059 h 694"/>
                <a:gd name="T96" fmla="*/ 176207 w 625"/>
                <a:gd name="T97" fmla="*/ 127897 h 694"/>
                <a:gd name="T98" fmla="*/ 182798 w 625"/>
                <a:gd name="T99" fmla="*/ 137980 h 694"/>
                <a:gd name="T100" fmla="*/ 187632 w 625"/>
                <a:gd name="T101" fmla="*/ 140633 h 6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1" name="Freeform 333">
              <a:extLst>
                <a:ext uri="{FF2B5EF4-FFF2-40B4-BE49-F238E27FC236}">
                  <a16:creationId xmlns:a16="http://schemas.microsoft.com/office/drawing/2014/main" id="{A223578C-3DAE-47FE-8D48-916849D829DE}"/>
                </a:ext>
              </a:extLst>
            </p:cNvPr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8248650" y="3517901"/>
              <a:ext cx="254000" cy="257175"/>
            </a:xfrm>
            <a:custGeom>
              <a:avLst/>
              <a:gdLst>
                <a:gd name="T0" fmla="*/ 224041 w 585"/>
                <a:gd name="T1" fmla="*/ 14606 h 493"/>
                <a:gd name="T2" fmla="*/ 214923 w 585"/>
                <a:gd name="T3" fmla="*/ 28691 h 493"/>
                <a:gd name="T4" fmla="*/ 222304 w 585"/>
                <a:gd name="T5" fmla="*/ 48514 h 493"/>
                <a:gd name="T6" fmla="*/ 231856 w 585"/>
                <a:gd name="T7" fmla="*/ 67815 h 493"/>
                <a:gd name="T8" fmla="*/ 248790 w 585"/>
                <a:gd name="T9" fmla="*/ 92333 h 493"/>
                <a:gd name="T10" fmla="*/ 251829 w 585"/>
                <a:gd name="T11" fmla="*/ 106939 h 493"/>
                <a:gd name="T12" fmla="*/ 237501 w 585"/>
                <a:gd name="T13" fmla="*/ 106417 h 493"/>
                <a:gd name="T14" fmla="*/ 224041 w 585"/>
                <a:gd name="T15" fmla="*/ 121545 h 493"/>
                <a:gd name="T16" fmla="*/ 219699 w 585"/>
                <a:gd name="T17" fmla="*/ 128327 h 493"/>
                <a:gd name="T18" fmla="*/ 224909 w 585"/>
                <a:gd name="T19" fmla="*/ 141368 h 493"/>
                <a:gd name="T20" fmla="*/ 227949 w 585"/>
                <a:gd name="T21" fmla="*/ 153366 h 493"/>
                <a:gd name="T22" fmla="*/ 219265 w 585"/>
                <a:gd name="T23" fmla="*/ 160669 h 493"/>
                <a:gd name="T24" fmla="*/ 199292 w 585"/>
                <a:gd name="T25" fmla="*/ 168494 h 493"/>
                <a:gd name="T26" fmla="*/ 192345 w 585"/>
                <a:gd name="T27" fmla="*/ 184665 h 493"/>
                <a:gd name="T28" fmla="*/ 193214 w 585"/>
                <a:gd name="T29" fmla="*/ 216486 h 493"/>
                <a:gd name="T30" fmla="*/ 186701 w 585"/>
                <a:gd name="T31" fmla="*/ 236831 h 493"/>
                <a:gd name="T32" fmla="*/ 173675 w 585"/>
                <a:gd name="T33" fmla="*/ 246220 h 493"/>
                <a:gd name="T34" fmla="*/ 160650 w 585"/>
                <a:gd name="T35" fmla="*/ 254567 h 493"/>
                <a:gd name="T36" fmla="*/ 148058 w 585"/>
                <a:gd name="T37" fmla="*/ 257175 h 493"/>
                <a:gd name="T38" fmla="*/ 142848 w 585"/>
                <a:gd name="T39" fmla="*/ 254045 h 493"/>
                <a:gd name="T40" fmla="*/ 141979 w 585"/>
                <a:gd name="T41" fmla="*/ 245699 h 493"/>
                <a:gd name="T42" fmla="*/ 131993 w 585"/>
                <a:gd name="T43" fmla="*/ 235266 h 493"/>
                <a:gd name="T44" fmla="*/ 108981 w 585"/>
                <a:gd name="T45" fmla="*/ 236831 h 493"/>
                <a:gd name="T46" fmla="*/ 95087 w 585"/>
                <a:gd name="T47" fmla="*/ 241004 h 493"/>
                <a:gd name="T48" fmla="*/ 76417 w 585"/>
                <a:gd name="T49" fmla="*/ 229527 h 493"/>
                <a:gd name="T50" fmla="*/ 52971 w 585"/>
                <a:gd name="T51" fmla="*/ 227441 h 493"/>
                <a:gd name="T52" fmla="*/ 41248 w 585"/>
                <a:gd name="T53" fmla="*/ 223789 h 493"/>
                <a:gd name="T54" fmla="*/ 35169 w 585"/>
                <a:gd name="T55" fmla="*/ 190925 h 493"/>
                <a:gd name="T56" fmla="*/ 25183 w 585"/>
                <a:gd name="T57" fmla="*/ 161712 h 493"/>
                <a:gd name="T58" fmla="*/ 15197 w 585"/>
                <a:gd name="T59" fmla="*/ 152323 h 493"/>
                <a:gd name="T60" fmla="*/ 5210 w 585"/>
                <a:gd name="T61" fmla="*/ 135630 h 493"/>
                <a:gd name="T62" fmla="*/ 2171 w 585"/>
                <a:gd name="T63" fmla="*/ 106417 h 493"/>
                <a:gd name="T64" fmla="*/ 13460 w 585"/>
                <a:gd name="T65" fmla="*/ 79813 h 493"/>
                <a:gd name="T66" fmla="*/ 23446 w 585"/>
                <a:gd name="T67" fmla="*/ 73553 h 493"/>
                <a:gd name="T68" fmla="*/ 32564 w 585"/>
                <a:gd name="T69" fmla="*/ 79291 h 493"/>
                <a:gd name="T70" fmla="*/ 42116 w 585"/>
                <a:gd name="T71" fmla="*/ 97549 h 493"/>
                <a:gd name="T72" fmla="*/ 56010 w 585"/>
                <a:gd name="T73" fmla="*/ 111634 h 493"/>
                <a:gd name="T74" fmla="*/ 73812 w 585"/>
                <a:gd name="T75" fmla="*/ 111112 h 493"/>
                <a:gd name="T76" fmla="*/ 95956 w 585"/>
                <a:gd name="T77" fmla="*/ 98592 h 493"/>
                <a:gd name="T78" fmla="*/ 101166 w 585"/>
                <a:gd name="T79" fmla="*/ 89724 h 493"/>
                <a:gd name="T80" fmla="*/ 125046 w 585"/>
                <a:gd name="T81" fmla="*/ 92854 h 493"/>
                <a:gd name="T82" fmla="*/ 141545 w 585"/>
                <a:gd name="T83" fmla="*/ 94419 h 493"/>
                <a:gd name="T84" fmla="*/ 146321 w 585"/>
                <a:gd name="T85" fmla="*/ 88681 h 493"/>
                <a:gd name="T86" fmla="*/ 157176 w 585"/>
                <a:gd name="T87" fmla="*/ 82421 h 493"/>
                <a:gd name="T88" fmla="*/ 166294 w 585"/>
                <a:gd name="T89" fmla="*/ 70945 h 493"/>
                <a:gd name="T90" fmla="*/ 180188 w 585"/>
                <a:gd name="T91" fmla="*/ 41211 h 493"/>
                <a:gd name="T92" fmla="*/ 185398 w 585"/>
                <a:gd name="T93" fmla="*/ 13041 h 493"/>
                <a:gd name="T94" fmla="*/ 194082 w 585"/>
                <a:gd name="T95" fmla="*/ 3130 h 493"/>
                <a:gd name="T96" fmla="*/ 207976 w 585"/>
                <a:gd name="T97" fmla="*/ 1043 h 4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2" name="Freeform 334">
              <a:extLst>
                <a:ext uri="{FF2B5EF4-FFF2-40B4-BE49-F238E27FC236}">
                  <a16:creationId xmlns:a16="http://schemas.microsoft.com/office/drawing/2014/main" id="{C9E64934-022E-46EE-9459-2028D36C24C9}"/>
                </a:ext>
              </a:extLst>
            </p:cNvPr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8604251" y="3924300"/>
              <a:ext cx="92075" cy="57150"/>
            </a:xfrm>
            <a:custGeom>
              <a:avLst/>
              <a:gdLst>
                <a:gd name="T0" fmla="*/ 0 w 212"/>
                <a:gd name="T1" fmla="*/ 57150 h 105"/>
                <a:gd name="T2" fmla="*/ 6949 w 212"/>
                <a:gd name="T3" fmla="*/ 46264 h 105"/>
                <a:gd name="T4" fmla="*/ 15201 w 212"/>
                <a:gd name="T5" fmla="*/ 37011 h 105"/>
                <a:gd name="T6" fmla="*/ 19110 w 212"/>
                <a:gd name="T7" fmla="*/ 32657 h 105"/>
                <a:gd name="T8" fmla="*/ 23453 w 212"/>
                <a:gd name="T9" fmla="*/ 28847 h 105"/>
                <a:gd name="T10" fmla="*/ 27796 w 212"/>
                <a:gd name="T11" fmla="*/ 25037 h 105"/>
                <a:gd name="T12" fmla="*/ 31705 w 212"/>
                <a:gd name="T13" fmla="*/ 20683 h 105"/>
                <a:gd name="T14" fmla="*/ 36048 w 212"/>
                <a:gd name="T15" fmla="*/ 17417 h 105"/>
                <a:gd name="T16" fmla="*/ 40826 w 212"/>
                <a:gd name="T17" fmla="*/ 14696 h 105"/>
                <a:gd name="T18" fmla="*/ 46038 w 212"/>
                <a:gd name="T19" fmla="*/ 11430 h 105"/>
                <a:gd name="T20" fmla="*/ 51249 w 212"/>
                <a:gd name="T21" fmla="*/ 8709 h 105"/>
                <a:gd name="T22" fmla="*/ 62542 w 212"/>
                <a:gd name="T23" fmla="*/ 4354 h 105"/>
                <a:gd name="T24" fmla="*/ 74702 w 212"/>
                <a:gd name="T25" fmla="*/ 0 h 105"/>
                <a:gd name="T26" fmla="*/ 92075 w 212"/>
                <a:gd name="T27" fmla="*/ 0 h 105"/>
                <a:gd name="T28" fmla="*/ 87732 w 212"/>
                <a:gd name="T29" fmla="*/ 4899 h 105"/>
                <a:gd name="T30" fmla="*/ 82520 w 212"/>
                <a:gd name="T31" fmla="*/ 9797 h 105"/>
                <a:gd name="T32" fmla="*/ 77308 w 212"/>
                <a:gd name="T33" fmla="*/ 14696 h 105"/>
                <a:gd name="T34" fmla="*/ 71662 w 212"/>
                <a:gd name="T35" fmla="*/ 19050 h 105"/>
                <a:gd name="T36" fmla="*/ 59501 w 212"/>
                <a:gd name="T37" fmla="*/ 28303 h 105"/>
                <a:gd name="T38" fmla="*/ 47340 w 212"/>
                <a:gd name="T39" fmla="*/ 35923 h 105"/>
                <a:gd name="T40" fmla="*/ 34311 w 212"/>
                <a:gd name="T41" fmla="*/ 42999 h 105"/>
                <a:gd name="T42" fmla="*/ 21716 w 212"/>
                <a:gd name="T43" fmla="*/ 48986 h 105"/>
                <a:gd name="T44" fmla="*/ 9989 w 212"/>
                <a:gd name="T45" fmla="*/ 53884 h 105"/>
                <a:gd name="T46" fmla="*/ 0 w 212"/>
                <a:gd name="T47" fmla="*/ 57150 h 10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3" name="Freeform 335">
              <a:extLst>
                <a:ext uri="{FF2B5EF4-FFF2-40B4-BE49-F238E27FC236}">
                  <a16:creationId xmlns:a16="http://schemas.microsoft.com/office/drawing/2014/main" id="{7309D4B2-3283-4850-BAD6-4C08347A685B}"/>
                </a:ext>
              </a:extLst>
            </p:cNvPr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8720138" y="3590925"/>
              <a:ext cx="42862" cy="88900"/>
            </a:xfrm>
            <a:custGeom>
              <a:avLst/>
              <a:gdLst>
                <a:gd name="T0" fmla="*/ 0 w 92"/>
                <a:gd name="T1" fmla="*/ 43379 h 166"/>
                <a:gd name="T2" fmla="*/ 0 w 92"/>
                <a:gd name="T3" fmla="*/ 79260 h 166"/>
                <a:gd name="T4" fmla="*/ 2329 w 92"/>
                <a:gd name="T5" fmla="*/ 77118 h 166"/>
                <a:gd name="T6" fmla="*/ 5591 w 92"/>
                <a:gd name="T7" fmla="*/ 74440 h 166"/>
                <a:gd name="T8" fmla="*/ 6522 w 92"/>
                <a:gd name="T9" fmla="*/ 73369 h 166"/>
                <a:gd name="T10" fmla="*/ 7920 w 92"/>
                <a:gd name="T11" fmla="*/ 72298 h 166"/>
                <a:gd name="T12" fmla="*/ 8386 w 92"/>
                <a:gd name="T13" fmla="*/ 70692 h 166"/>
                <a:gd name="T14" fmla="*/ 8852 w 92"/>
                <a:gd name="T15" fmla="*/ 69620 h 166"/>
                <a:gd name="T16" fmla="*/ 9318 w 92"/>
                <a:gd name="T17" fmla="*/ 73905 h 166"/>
                <a:gd name="T18" fmla="*/ 11181 w 92"/>
                <a:gd name="T19" fmla="*/ 79260 h 166"/>
                <a:gd name="T20" fmla="*/ 12579 w 92"/>
                <a:gd name="T21" fmla="*/ 82473 h 166"/>
                <a:gd name="T22" fmla="*/ 13977 w 92"/>
                <a:gd name="T23" fmla="*/ 85151 h 166"/>
                <a:gd name="T24" fmla="*/ 16306 w 92"/>
                <a:gd name="T25" fmla="*/ 87293 h 166"/>
                <a:gd name="T26" fmla="*/ 18170 w 92"/>
                <a:gd name="T27" fmla="*/ 88900 h 166"/>
                <a:gd name="T28" fmla="*/ 19102 w 92"/>
                <a:gd name="T29" fmla="*/ 84616 h 166"/>
                <a:gd name="T30" fmla="*/ 19102 w 92"/>
                <a:gd name="T31" fmla="*/ 79260 h 166"/>
                <a:gd name="T32" fmla="*/ 19102 w 92"/>
                <a:gd name="T33" fmla="*/ 73369 h 166"/>
                <a:gd name="T34" fmla="*/ 19102 w 92"/>
                <a:gd name="T35" fmla="*/ 67478 h 166"/>
                <a:gd name="T36" fmla="*/ 18636 w 92"/>
                <a:gd name="T37" fmla="*/ 57303 h 166"/>
                <a:gd name="T38" fmla="*/ 18170 w 92"/>
                <a:gd name="T39" fmla="*/ 53019 h 166"/>
                <a:gd name="T40" fmla="*/ 22363 w 92"/>
                <a:gd name="T41" fmla="*/ 53554 h 166"/>
                <a:gd name="T42" fmla="*/ 26556 w 92"/>
                <a:gd name="T43" fmla="*/ 54625 h 166"/>
                <a:gd name="T44" fmla="*/ 29817 w 92"/>
                <a:gd name="T45" fmla="*/ 56232 h 166"/>
                <a:gd name="T46" fmla="*/ 33078 w 92"/>
                <a:gd name="T47" fmla="*/ 57839 h 166"/>
                <a:gd name="T48" fmla="*/ 35408 w 92"/>
                <a:gd name="T49" fmla="*/ 59445 h 166"/>
                <a:gd name="T50" fmla="*/ 38203 w 92"/>
                <a:gd name="T51" fmla="*/ 61052 h 166"/>
                <a:gd name="T52" fmla="*/ 40533 w 92"/>
                <a:gd name="T53" fmla="*/ 62123 h 166"/>
                <a:gd name="T54" fmla="*/ 42862 w 92"/>
                <a:gd name="T55" fmla="*/ 63194 h 166"/>
                <a:gd name="T56" fmla="*/ 39601 w 92"/>
                <a:gd name="T57" fmla="*/ 55161 h 166"/>
                <a:gd name="T58" fmla="*/ 37737 w 92"/>
                <a:gd name="T59" fmla="*/ 47663 h 166"/>
                <a:gd name="T60" fmla="*/ 35408 w 92"/>
                <a:gd name="T61" fmla="*/ 40166 h 166"/>
                <a:gd name="T62" fmla="*/ 34010 w 92"/>
                <a:gd name="T63" fmla="*/ 32133 h 166"/>
                <a:gd name="T64" fmla="*/ 32612 w 92"/>
                <a:gd name="T65" fmla="*/ 25170 h 166"/>
                <a:gd name="T66" fmla="*/ 31215 w 92"/>
                <a:gd name="T67" fmla="*/ 18208 h 166"/>
                <a:gd name="T68" fmla="*/ 29351 w 92"/>
                <a:gd name="T69" fmla="*/ 12317 h 166"/>
                <a:gd name="T70" fmla="*/ 27488 w 92"/>
                <a:gd name="T71" fmla="*/ 6962 h 166"/>
                <a:gd name="T72" fmla="*/ 27488 w 92"/>
                <a:gd name="T73" fmla="*/ 10175 h 166"/>
                <a:gd name="T74" fmla="*/ 27488 w 92"/>
                <a:gd name="T75" fmla="*/ 13389 h 166"/>
                <a:gd name="T76" fmla="*/ 23295 w 92"/>
                <a:gd name="T77" fmla="*/ 12317 h 166"/>
                <a:gd name="T78" fmla="*/ 19567 w 92"/>
                <a:gd name="T79" fmla="*/ 10175 h 166"/>
                <a:gd name="T80" fmla="*/ 16306 w 92"/>
                <a:gd name="T81" fmla="*/ 8033 h 166"/>
                <a:gd name="T82" fmla="*/ 13511 w 92"/>
                <a:gd name="T83" fmla="*/ 5891 h 166"/>
                <a:gd name="T84" fmla="*/ 10716 w 92"/>
                <a:gd name="T85" fmla="*/ 3749 h 166"/>
                <a:gd name="T86" fmla="*/ 7454 w 92"/>
                <a:gd name="T87" fmla="*/ 1607 h 166"/>
                <a:gd name="T88" fmla="*/ 3727 w 92"/>
                <a:gd name="T89" fmla="*/ 536 h 166"/>
                <a:gd name="T90" fmla="*/ 0 w 92"/>
                <a:gd name="T91" fmla="*/ 0 h 166"/>
                <a:gd name="T92" fmla="*/ 0 w 92"/>
                <a:gd name="T93" fmla="*/ 5355 h 166"/>
                <a:gd name="T94" fmla="*/ 0 w 92"/>
                <a:gd name="T95" fmla="*/ 10175 h 166"/>
                <a:gd name="T96" fmla="*/ 0 w 92"/>
                <a:gd name="T97" fmla="*/ 17673 h 166"/>
                <a:gd name="T98" fmla="*/ 0 w 92"/>
                <a:gd name="T99" fmla="*/ 27848 h 166"/>
                <a:gd name="T100" fmla="*/ 0 w 92"/>
                <a:gd name="T101" fmla="*/ 37488 h 166"/>
                <a:gd name="T102" fmla="*/ 0 w 92"/>
                <a:gd name="T103" fmla="*/ 43379 h 16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4" name="Freeform 336">
              <a:extLst>
                <a:ext uri="{FF2B5EF4-FFF2-40B4-BE49-F238E27FC236}">
                  <a16:creationId xmlns:a16="http://schemas.microsoft.com/office/drawing/2014/main" id="{E066605E-4085-4425-85B5-84AC4BF12A6C}"/>
                </a:ext>
              </a:extLst>
            </p:cNvPr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8732839" y="3735388"/>
              <a:ext cx="71437" cy="55562"/>
            </a:xfrm>
            <a:custGeom>
              <a:avLst/>
              <a:gdLst>
                <a:gd name="T0" fmla="*/ 3012 w 166"/>
                <a:gd name="T1" fmla="*/ 0 h 62"/>
                <a:gd name="T2" fmla="*/ 6025 w 166"/>
                <a:gd name="T3" fmla="*/ 2688 h 62"/>
                <a:gd name="T4" fmla="*/ 9468 w 166"/>
                <a:gd name="T5" fmla="*/ 5377 h 62"/>
                <a:gd name="T6" fmla="*/ 12910 w 166"/>
                <a:gd name="T7" fmla="*/ 6273 h 62"/>
                <a:gd name="T8" fmla="*/ 15492 w 166"/>
                <a:gd name="T9" fmla="*/ 7169 h 62"/>
                <a:gd name="T10" fmla="*/ 20656 w 166"/>
                <a:gd name="T11" fmla="*/ 7169 h 62"/>
                <a:gd name="T12" fmla="*/ 24960 w 166"/>
                <a:gd name="T13" fmla="*/ 6273 h 62"/>
                <a:gd name="T14" fmla="*/ 29694 w 166"/>
                <a:gd name="T15" fmla="*/ 4481 h 62"/>
                <a:gd name="T16" fmla="*/ 34427 w 166"/>
                <a:gd name="T17" fmla="*/ 2688 h 62"/>
                <a:gd name="T18" fmla="*/ 39592 w 166"/>
                <a:gd name="T19" fmla="*/ 896 h 62"/>
                <a:gd name="T20" fmla="*/ 45616 w 166"/>
                <a:gd name="T21" fmla="*/ 0 h 62"/>
                <a:gd name="T22" fmla="*/ 47768 w 166"/>
                <a:gd name="T23" fmla="*/ 896 h 62"/>
                <a:gd name="T24" fmla="*/ 49489 w 166"/>
                <a:gd name="T25" fmla="*/ 1792 h 62"/>
                <a:gd name="T26" fmla="*/ 51641 w 166"/>
                <a:gd name="T27" fmla="*/ 4481 h 62"/>
                <a:gd name="T28" fmla="*/ 53363 w 166"/>
                <a:gd name="T29" fmla="*/ 7169 h 62"/>
                <a:gd name="T30" fmla="*/ 56805 w 166"/>
                <a:gd name="T31" fmla="*/ 15235 h 62"/>
                <a:gd name="T32" fmla="*/ 59387 w 166"/>
                <a:gd name="T33" fmla="*/ 23300 h 62"/>
                <a:gd name="T34" fmla="*/ 62400 w 166"/>
                <a:gd name="T35" fmla="*/ 32262 h 62"/>
                <a:gd name="T36" fmla="*/ 64982 w 166"/>
                <a:gd name="T37" fmla="*/ 40327 h 62"/>
                <a:gd name="T38" fmla="*/ 66703 w 166"/>
                <a:gd name="T39" fmla="*/ 43912 h 62"/>
                <a:gd name="T40" fmla="*/ 67994 w 166"/>
                <a:gd name="T41" fmla="*/ 46600 h 62"/>
                <a:gd name="T42" fmla="*/ 69716 w 166"/>
                <a:gd name="T43" fmla="*/ 48393 h 62"/>
                <a:gd name="T44" fmla="*/ 71437 w 166"/>
                <a:gd name="T45" fmla="*/ 50185 h 62"/>
                <a:gd name="T46" fmla="*/ 68425 w 166"/>
                <a:gd name="T47" fmla="*/ 51081 h 62"/>
                <a:gd name="T48" fmla="*/ 64982 w 166"/>
                <a:gd name="T49" fmla="*/ 52874 h 62"/>
                <a:gd name="T50" fmla="*/ 61539 w 166"/>
                <a:gd name="T51" fmla="*/ 54666 h 62"/>
                <a:gd name="T52" fmla="*/ 57236 w 166"/>
                <a:gd name="T53" fmla="*/ 55562 h 62"/>
                <a:gd name="T54" fmla="*/ 53793 w 166"/>
                <a:gd name="T55" fmla="*/ 54666 h 62"/>
                <a:gd name="T56" fmla="*/ 51211 w 166"/>
                <a:gd name="T57" fmla="*/ 51977 h 62"/>
                <a:gd name="T58" fmla="*/ 48198 w 166"/>
                <a:gd name="T59" fmla="*/ 48393 h 62"/>
                <a:gd name="T60" fmla="*/ 45616 w 166"/>
                <a:gd name="T61" fmla="*/ 44808 h 62"/>
                <a:gd name="T62" fmla="*/ 43034 w 166"/>
                <a:gd name="T63" fmla="*/ 40327 h 62"/>
                <a:gd name="T64" fmla="*/ 40022 w 166"/>
                <a:gd name="T65" fmla="*/ 36743 h 62"/>
                <a:gd name="T66" fmla="*/ 37440 w 166"/>
                <a:gd name="T67" fmla="*/ 34950 h 62"/>
                <a:gd name="T68" fmla="*/ 33997 w 166"/>
                <a:gd name="T69" fmla="*/ 34054 h 62"/>
                <a:gd name="T70" fmla="*/ 24099 w 166"/>
                <a:gd name="T71" fmla="*/ 34054 h 62"/>
                <a:gd name="T72" fmla="*/ 15062 w 166"/>
                <a:gd name="T73" fmla="*/ 34950 h 62"/>
                <a:gd name="T74" fmla="*/ 11189 w 166"/>
                <a:gd name="T75" fmla="*/ 36743 h 62"/>
                <a:gd name="T76" fmla="*/ 8177 w 166"/>
                <a:gd name="T77" fmla="*/ 38535 h 62"/>
                <a:gd name="T78" fmla="*/ 5164 w 166"/>
                <a:gd name="T79" fmla="*/ 41223 h 62"/>
                <a:gd name="T80" fmla="*/ 3012 w 166"/>
                <a:gd name="T81" fmla="*/ 44808 h 62"/>
                <a:gd name="T82" fmla="*/ 861 w 166"/>
                <a:gd name="T83" fmla="*/ 40327 h 62"/>
                <a:gd name="T84" fmla="*/ 430 w 166"/>
                <a:gd name="T85" fmla="*/ 35846 h 62"/>
                <a:gd name="T86" fmla="*/ 0 w 166"/>
                <a:gd name="T87" fmla="*/ 30469 h 62"/>
                <a:gd name="T88" fmla="*/ 430 w 166"/>
                <a:gd name="T89" fmla="*/ 25093 h 62"/>
                <a:gd name="T90" fmla="*/ 1721 w 166"/>
                <a:gd name="T91" fmla="*/ 13442 h 62"/>
                <a:gd name="T92" fmla="*/ 3012 w 166"/>
                <a:gd name="T93" fmla="*/ 0 h 6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5" name="Freeform 337">
              <a:extLst>
                <a:ext uri="{FF2B5EF4-FFF2-40B4-BE49-F238E27FC236}">
                  <a16:creationId xmlns:a16="http://schemas.microsoft.com/office/drawing/2014/main" id="{6A82AE1A-25F4-4D06-B335-1A149A1AF07E}"/>
                </a:ext>
              </a:extLst>
            </p:cNvPr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8809039" y="3659188"/>
              <a:ext cx="85725" cy="63500"/>
            </a:xfrm>
            <a:custGeom>
              <a:avLst/>
              <a:gdLst>
                <a:gd name="T0" fmla="*/ 14658 w 193"/>
                <a:gd name="T1" fmla="*/ 18368 h 121"/>
                <a:gd name="T2" fmla="*/ 21320 w 193"/>
                <a:gd name="T3" fmla="*/ 13120 h 121"/>
                <a:gd name="T4" fmla="*/ 30204 w 193"/>
                <a:gd name="T5" fmla="*/ 6298 h 121"/>
                <a:gd name="T6" fmla="*/ 37310 w 193"/>
                <a:gd name="T7" fmla="*/ 2099 h 121"/>
                <a:gd name="T8" fmla="*/ 41752 w 193"/>
                <a:gd name="T9" fmla="*/ 525 h 121"/>
                <a:gd name="T10" fmla="*/ 46638 w 193"/>
                <a:gd name="T11" fmla="*/ 525 h 121"/>
                <a:gd name="T12" fmla="*/ 51524 w 193"/>
                <a:gd name="T13" fmla="*/ 1574 h 121"/>
                <a:gd name="T14" fmla="*/ 58186 w 193"/>
                <a:gd name="T15" fmla="*/ 5248 h 121"/>
                <a:gd name="T16" fmla="*/ 65737 w 193"/>
                <a:gd name="T17" fmla="*/ 11021 h 121"/>
                <a:gd name="T18" fmla="*/ 71956 w 193"/>
                <a:gd name="T19" fmla="*/ 14694 h 121"/>
                <a:gd name="T20" fmla="*/ 76842 w 193"/>
                <a:gd name="T21" fmla="*/ 15744 h 121"/>
                <a:gd name="T22" fmla="*/ 79507 w 193"/>
                <a:gd name="T23" fmla="*/ 25190 h 121"/>
                <a:gd name="T24" fmla="*/ 79062 w 193"/>
                <a:gd name="T25" fmla="*/ 34636 h 121"/>
                <a:gd name="T26" fmla="*/ 80839 w 193"/>
                <a:gd name="T27" fmla="*/ 39360 h 121"/>
                <a:gd name="T28" fmla="*/ 83060 w 193"/>
                <a:gd name="T29" fmla="*/ 46707 h 121"/>
                <a:gd name="T30" fmla="*/ 83504 w 193"/>
                <a:gd name="T31" fmla="*/ 53529 h 121"/>
                <a:gd name="T32" fmla="*/ 84837 w 193"/>
                <a:gd name="T33" fmla="*/ 57202 h 121"/>
                <a:gd name="T34" fmla="*/ 83504 w 193"/>
                <a:gd name="T35" fmla="*/ 59826 h 121"/>
                <a:gd name="T36" fmla="*/ 78618 w 193"/>
                <a:gd name="T37" fmla="*/ 61926 h 121"/>
                <a:gd name="T38" fmla="*/ 70623 w 193"/>
                <a:gd name="T39" fmla="*/ 63500 h 121"/>
                <a:gd name="T40" fmla="*/ 51524 w 193"/>
                <a:gd name="T41" fmla="*/ 62450 h 121"/>
                <a:gd name="T42" fmla="*/ 31980 w 193"/>
                <a:gd name="T43" fmla="*/ 60876 h 121"/>
                <a:gd name="T44" fmla="*/ 27983 w 193"/>
                <a:gd name="T45" fmla="*/ 57727 h 121"/>
                <a:gd name="T46" fmla="*/ 24874 w 193"/>
                <a:gd name="T47" fmla="*/ 52479 h 121"/>
                <a:gd name="T48" fmla="*/ 23985 w 193"/>
                <a:gd name="T49" fmla="*/ 45657 h 121"/>
                <a:gd name="T50" fmla="*/ 20876 w 193"/>
                <a:gd name="T51" fmla="*/ 41459 h 121"/>
                <a:gd name="T52" fmla="*/ 13769 w 193"/>
                <a:gd name="T53" fmla="*/ 39360 h 121"/>
                <a:gd name="T54" fmla="*/ 5774 w 193"/>
                <a:gd name="T55" fmla="*/ 36211 h 121"/>
                <a:gd name="T56" fmla="*/ 1333 w 193"/>
                <a:gd name="T57" fmla="*/ 32537 h 121"/>
                <a:gd name="T58" fmla="*/ 0 w 193"/>
                <a:gd name="T59" fmla="*/ 30438 h 121"/>
                <a:gd name="T60" fmla="*/ 444 w 193"/>
                <a:gd name="T61" fmla="*/ 26764 h 121"/>
                <a:gd name="T62" fmla="*/ 3109 w 193"/>
                <a:gd name="T63" fmla="*/ 23616 h 121"/>
                <a:gd name="T64" fmla="*/ 8883 w 193"/>
                <a:gd name="T65" fmla="*/ 19942 h 12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6" name="Freeform 338">
              <a:extLst>
                <a:ext uri="{FF2B5EF4-FFF2-40B4-BE49-F238E27FC236}">
                  <a16:creationId xmlns:a16="http://schemas.microsoft.com/office/drawing/2014/main" id="{582D0C73-6F7C-4660-A91E-8FCF2E03BD12}"/>
                </a:ext>
              </a:extLst>
            </p:cNvPr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8497889" y="3597275"/>
              <a:ext cx="166687" cy="230188"/>
            </a:xfrm>
            <a:custGeom>
              <a:avLst/>
              <a:gdLst>
                <a:gd name="T0" fmla="*/ 16273 w 379"/>
                <a:gd name="T1" fmla="*/ 220707 h 437"/>
                <a:gd name="T2" fmla="*/ 20231 w 379"/>
                <a:gd name="T3" fmla="*/ 214386 h 437"/>
                <a:gd name="T4" fmla="*/ 10555 w 379"/>
                <a:gd name="T5" fmla="*/ 163818 h 437"/>
                <a:gd name="T6" fmla="*/ 880 w 379"/>
                <a:gd name="T7" fmla="*/ 154863 h 437"/>
                <a:gd name="T8" fmla="*/ 6597 w 379"/>
                <a:gd name="T9" fmla="*/ 142221 h 437"/>
                <a:gd name="T10" fmla="*/ 13634 w 379"/>
                <a:gd name="T11" fmla="*/ 116411 h 437"/>
                <a:gd name="T12" fmla="*/ 17152 w 379"/>
                <a:gd name="T13" fmla="*/ 90600 h 437"/>
                <a:gd name="T14" fmla="*/ 25069 w 379"/>
                <a:gd name="T15" fmla="*/ 83753 h 437"/>
                <a:gd name="T16" fmla="*/ 28587 w 379"/>
                <a:gd name="T17" fmla="*/ 68477 h 437"/>
                <a:gd name="T18" fmla="*/ 33425 w 379"/>
                <a:gd name="T19" fmla="*/ 41086 h 437"/>
                <a:gd name="T20" fmla="*/ 39583 w 379"/>
                <a:gd name="T21" fmla="*/ 26864 h 437"/>
                <a:gd name="T22" fmla="*/ 50578 w 379"/>
                <a:gd name="T23" fmla="*/ 16329 h 437"/>
                <a:gd name="T24" fmla="*/ 67291 w 379"/>
                <a:gd name="T25" fmla="*/ 13169 h 437"/>
                <a:gd name="T26" fmla="*/ 95438 w 379"/>
                <a:gd name="T27" fmla="*/ 20016 h 437"/>
                <a:gd name="T28" fmla="*/ 115230 w 379"/>
                <a:gd name="T29" fmla="*/ 25284 h 437"/>
                <a:gd name="T30" fmla="*/ 133262 w 379"/>
                <a:gd name="T31" fmla="*/ 23704 h 437"/>
                <a:gd name="T32" fmla="*/ 144697 w 379"/>
                <a:gd name="T33" fmla="*/ 16329 h 437"/>
                <a:gd name="T34" fmla="*/ 156571 w 379"/>
                <a:gd name="T35" fmla="*/ 3687 h 437"/>
                <a:gd name="T36" fmla="*/ 164488 w 379"/>
                <a:gd name="T37" fmla="*/ 4741 h 437"/>
                <a:gd name="T38" fmla="*/ 163608 w 379"/>
                <a:gd name="T39" fmla="*/ 18436 h 437"/>
                <a:gd name="T40" fmla="*/ 144697 w 379"/>
                <a:gd name="T41" fmla="*/ 42140 h 437"/>
                <a:gd name="T42" fmla="*/ 128424 w 379"/>
                <a:gd name="T43" fmla="*/ 51094 h 437"/>
                <a:gd name="T44" fmla="*/ 119188 w 379"/>
                <a:gd name="T45" fmla="*/ 49514 h 437"/>
                <a:gd name="T46" fmla="*/ 104674 w 379"/>
                <a:gd name="T47" fmla="*/ 36345 h 437"/>
                <a:gd name="T48" fmla="*/ 93239 w 379"/>
                <a:gd name="T49" fmla="*/ 29498 h 437"/>
                <a:gd name="T50" fmla="*/ 77846 w 379"/>
                <a:gd name="T51" fmla="*/ 29498 h 437"/>
                <a:gd name="T52" fmla="*/ 60693 w 379"/>
                <a:gd name="T53" fmla="*/ 32132 h 437"/>
                <a:gd name="T54" fmla="*/ 50138 w 379"/>
                <a:gd name="T55" fmla="*/ 41613 h 437"/>
                <a:gd name="T56" fmla="*/ 34745 w 379"/>
                <a:gd name="T57" fmla="*/ 84806 h 437"/>
                <a:gd name="T58" fmla="*/ 52337 w 379"/>
                <a:gd name="T59" fmla="*/ 89020 h 437"/>
                <a:gd name="T60" fmla="*/ 58494 w 379"/>
                <a:gd name="T61" fmla="*/ 100608 h 437"/>
                <a:gd name="T62" fmla="*/ 68170 w 379"/>
                <a:gd name="T63" fmla="*/ 88493 h 437"/>
                <a:gd name="T64" fmla="*/ 75647 w 379"/>
                <a:gd name="T65" fmla="*/ 80592 h 437"/>
                <a:gd name="T66" fmla="*/ 97197 w 379"/>
                <a:gd name="T67" fmla="*/ 79012 h 437"/>
                <a:gd name="T68" fmla="*/ 109952 w 379"/>
                <a:gd name="T69" fmla="*/ 77432 h 437"/>
                <a:gd name="T70" fmla="*/ 120067 w 379"/>
                <a:gd name="T71" fmla="*/ 91127 h 437"/>
                <a:gd name="T72" fmla="*/ 122706 w 379"/>
                <a:gd name="T73" fmla="*/ 106929 h 437"/>
                <a:gd name="T74" fmla="*/ 108193 w 379"/>
                <a:gd name="T75" fmla="*/ 101135 h 437"/>
                <a:gd name="T76" fmla="*/ 95878 w 379"/>
                <a:gd name="T77" fmla="*/ 97448 h 437"/>
                <a:gd name="T78" fmla="*/ 84443 w 379"/>
                <a:gd name="T79" fmla="*/ 102715 h 437"/>
                <a:gd name="T80" fmla="*/ 81804 w 379"/>
                <a:gd name="T81" fmla="*/ 110090 h 437"/>
                <a:gd name="T82" fmla="*/ 84443 w 379"/>
                <a:gd name="T83" fmla="*/ 122732 h 437"/>
                <a:gd name="T84" fmla="*/ 96758 w 379"/>
                <a:gd name="T85" fmla="*/ 143275 h 437"/>
                <a:gd name="T86" fmla="*/ 98957 w 379"/>
                <a:gd name="T87" fmla="*/ 155917 h 437"/>
                <a:gd name="T88" fmla="*/ 94559 w 379"/>
                <a:gd name="T89" fmla="*/ 169612 h 437"/>
                <a:gd name="T90" fmla="*/ 90161 w 379"/>
                <a:gd name="T91" fmla="*/ 181727 h 437"/>
                <a:gd name="T92" fmla="*/ 92360 w 379"/>
                <a:gd name="T93" fmla="*/ 187522 h 437"/>
                <a:gd name="T94" fmla="*/ 103795 w 379"/>
                <a:gd name="T95" fmla="*/ 193843 h 437"/>
                <a:gd name="T96" fmla="*/ 110831 w 379"/>
                <a:gd name="T97" fmla="*/ 210698 h 437"/>
                <a:gd name="T98" fmla="*/ 105114 w 379"/>
                <a:gd name="T99" fmla="*/ 225974 h 437"/>
                <a:gd name="T100" fmla="*/ 97197 w 379"/>
                <a:gd name="T101" fmla="*/ 221760 h 437"/>
                <a:gd name="T102" fmla="*/ 88841 w 379"/>
                <a:gd name="T103" fmla="*/ 219653 h 437"/>
                <a:gd name="T104" fmla="*/ 77846 w 379"/>
                <a:gd name="T105" fmla="*/ 210698 h 437"/>
                <a:gd name="T106" fmla="*/ 67291 w 379"/>
                <a:gd name="T107" fmla="*/ 187522 h 437"/>
                <a:gd name="T108" fmla="*/ 60254 w 379"/>
                <a:gd name="T109" fmla="*/ 160131 h 437"/>
                <a:gd name="T110" fmla="*/ 50138 w 379"/>
                <a:gd name="T111" fmla="*/ 138534 h 437"/>
                <a:gd name="T112" fmla="*/ 42661 w 379"/>
                <a:gd name="T113" fmla="*/ 136427 h 437"/>
                <a:gd name="T114" fmla="*/ 46180 w 379"/>
                <a:gd name="T115" fmla="*/ 200690 h 437"/>
                <a:gd name="T116" fmla="*/ 40902 w 379"/>
                <a:gd name="T117" fmla="*/ 212805 h 437"/>
                <a:gd name="T118" fmla="*/ 25069 w 379"/>
                <a:gd name="T119" fmla="*/ 224394 h 437"/>
                <a:gd name="T120" fmla="*/ 25949 w 379"/>
                <a:gd name="T121" fmla="*/ 230188 h 43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7" name="Freeform 339">
              <a:extLst>
                <a:ext uri="{FF2B5EF4-FFF2-40B4-BE49-F238E27FC236}">
                  <a16:creationId xmlns:a16="http://schemas.microsoft.com/office/drawing/2014/main" id="{6AA05800-D32C-4922-9951-1B16D524B739}"/>
                </a:ext>
              </a:extLst>
            </p:cNvPr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8162926" y="3838575"/>
              <a:ext cx="250825" cy="95250"/>
            </a:xfrm>
            <a:custGeom>
              <a:avLst/>
              <a:gdLst>
                <a:gd name="T0" fmla="*/ 4773 w 578"/>
                <a:gd name="T1" fmla="*/ 25883 h 184"/>
                <a:gd name="T2" fmla="*/ 10415 w 578"/>
                <a:gd name="T3" fmla="*/ 16565 h 184"/>
                <a:gd name="T4" fmla="*/ 17792 w 578"/>
                <a:gd name="T5" fmla="*/ 3624 h 184"/>
                <a:gd name="T6" fmla="*/ 23433 w 578"/>
                <a:gd name="T7" fmla="*/ 0 h 184"/>
                <a:gd name="T8" fmla="*/ 34282 w 578"/>
                <a:gd name="T9" fmla="*/ 1035 h 184"/>
                <a:gd name="T10" fmla="*/ 41226 w 578"/>
                <a:gd name="T11" fmla="*/ 1035 h 184"/>
                <a:gd name="T12" fmla="*/ 43829 w 578"/>
                <a:gd name="T13" fmla="*/ 2588 h 184"/>
                <a:gd name="T14" fmla="*/ 49905 w 578"/>
                <a:gd name="T15" fmla="*/ 7765 h 184"/>
                <a:gd name="T16" fmla="*/ 63791 w 578"/>
                <a:gd name="T17" fmla="*/ 13977 h 184"/>
                <a:gd name="T18" fmla="*/ 72904 w 578"/>
                <a:gd name="T19" fmla="*/ 19154 h 184"/>
                <a:gd name="T20" fmla="*/ 77244 w 578"/>
                <a:gd name="T21" fmla="*/ 27436 h 184"/>
                <a:gd name="T22" fmla="*/ 83319 w 578"/>
                <a:gd name="T23" fmla="*/ 31577 h 184"/>
                <a:gd name="T24" fmla="*/ 100243 w 578"/>
                <a:gd name="T25" fmla="*/ 31060 h 184"/>
                <a:gd name="T26" fmla="*/ 120205 w 578"/>
                <a:gd name="T27" fmla="*/ 26401 h 184"/>
                <a:gd name="T28" fmla="*/ 129752 w 578"/>
                <a:gd name="T29" fmla="*/ 20189 h 184"/>
                <a:gd name="T30" fmla="*/ 136261 w 578"/>
                <a:gd name="T31" fmla="*/ 17601 h 184"/>
                <a:gd name="T32" fmla="*/ 141903 w 578"/>
                <a:gd name="T33" fmla="*/ 18118 h 184"/>
                <a:gd name="T34" fmla="*/ 147110 w 578"/>
                <a:gd name="T35" fmla="*/ 16048 h 184"/>
                <a:gd name="T36" fmla="*/ 158827 w 578"/>
                <a:gd name="T37" fmla="*/ 17601 h 184"/>
                <a:gd name="T38" fmla="*/ 173147 w 578"/>
                <a:gd name="T39" fmla="*/ 30542 h 184"/>
                <a:gd name="T40" fmla="*/ 185732 w 578"/>
                <a:gd name="T41" fmla="*/ 46072 h 184"/>
                <a:gd name="T42" fmla="*/ 197883 w 578"/>
                <a:gd name="T43" fmla="*/ 54355 h 184"/>
                <a:gd name="T44" fmla="*/ 207864 w 578"/>
                <a:gd name="T45" fmla="*/ 55390 h 184"/>
                <a:gd name="T46" fmla="*/ 213939 w 578"/>
                <a:gd name="T47" fmla="*/ 55908 h 184"/>
                <a:gd name="T48" fmla="*/ 219146 w 578"/>
                <a:gd name="T49" fmla="*/ 64708 h 184"/>
                <a:gd name="T50" fmla="*/ 226524 w 578"/>
                <a:gd name="T51" fmla="*/ 72473 h 184"/>
                <a:gd name="T52" fmla="*/ 231731 w 578"/>
                <a:gd name="T53" fmla="*/ 71955 h 184"/>
                <a:gd name="T54" fmla="*/ 236938 w 578"/>
                <a:gd name="T55" fmla="*/ 66261 h 184"/>
                <a:gd name="T56" fmla="*/ 242146 w 578"/>
                <a:gd name="T57" fmla="*/ 69367 h 184"/>
                <a:gd name="T58" fmla="*/ 247787 w 578"/>
                <a:gd name="T59" fmla="*/ 75061 h 184"/>
                <a:gd name="T60" fmla="*/ 250825 w 578"/>
                <a:gd name="T61" fmla="*/ 82826 h 184"/>
                <a:gd name="T62" fmla="*/ 249523 w 578"/>
                <a:gd name="T63" fmla="*/ 89556 h 184"/>
                <a:gd name="T64" fmla="*/ 246052 w 578"/>
                <a:gd name="T65" fmla="*/ 94215 h 184"/>
                <a:gd name="T66" fmla="*/ 239108 w 578"/>
                <a:gd name="T67" fmla="*/ 92144 h 184"/>
                <a:gd name="T68" fmla="*/ 228259 w 578"/>
                <a:gd name="T69" fmla="*/ 88003 h 184"/>
                <a:gd name="T70" fmla="*/ 213071 w 578"/>
                <a:gd name="T71" fmla="*/ 89038 h 184"/>
                <a:gd name="T72" fmla="*/ 200486 w 578"/>
                <a:gd name="T73" fmla="*/ 88003 h 184"/>
                <a:gd name="T74" fmla="*/ 195713 w 578"/>
                <a:gd name="T75" fmla="*/ 82826 h 184"/>
                <a:gd name="T76" fmla="*/ 190072 w 578"/>
                <a:gd name="T77" fmla="*/ 79720 h 184"/>
                <a:gd name="T78" fmla="*/ 184864 w 578"/>
                <a:gd name="T79" fmla="*/ 82826 h 184"/>
                <a:gd name="T80" fmla="*/ 180525 w 578"/>
                <a:gd name="T81" fmla="*/ 88003 h 184"/>
                <a:gd name="T82" fmla="*/ 172713 w 578"/>
                <a:gd name="T83" fmla="*/ 88520 h 184"/>
                <a:gd name="T84" fmla="*/ 142337 w 578"/>
                <a:gd name="T85" fmla="*/ 79202 h 184"/>
                <a:gd name="T86" fmla="*/ 120205 w 578"/>
                <a:gd name="T87" fmla="*/ 68332 h 184"/>
                <a:gd name="T88" fmla="*/ 115432 w 578"/>
                <a:gd name="T89" fmla="*/ 63673 h 184"/>
                <a:gd name="T90" fmla="*/ 99809 w 578"/>
                <a:gd name="T91" fmla="*/ 61602 h 184"/>
                <a:gd name="T92" fmla="*/ 87225 w 578"/>
                <a:gd name="T93" fmla="*/ 58496 h 184"/>
                <a:gd name="T94" fmla="*/ 72904 w 578"/>
                <a:gd name="T95" fmla="*/ 57461 h 184"/>
                <a:gd name="T96" fmla="*/ 63357 w 578"/>
                <a:gd name="T97" fmla="*/ 57461 h 184"/>
                <a:gd name="T98" fmla="*/ 53810 w 578"/>
                <a:gd name="T99" fmla="*/ 54355 h 184"/>
                <a:gd name="T100" fmla="*/ 52074 w 578"/>
                <a:gd name="T101" fmla="*/ 51249 h 184"/>
                <a:gd name="T102" fmla="*/ 29943 w 578"/>
                <a:gd name="T103" fmla="*/ 50213 h 184"/>
                <a:gd name="T104" fmla="*/ 19962 w 578"/>
                <a:gd name="T105" fmla="*/ 45554 h 184"/>
                <a:gd name="T106" fmla="*/ 0 w 578"/>
                <a:gd name="T107" fmla="*/ 28471 h 18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8" name="Freeform 340">
              <a:extLst>
                <a:ext uri="{FF2B5EF4-FFF2-40B4-BE49-F238E27FC236}">
                  <a16:creationId xmlns:a16="http://schemas.microsoft.com/office/drawing/2014/main" id="{28E1DD9A-CF6A-4886-8CF5-44092FC610F8}"/>
                </a:ext>
              </a:extLst>
            </p:cNvPr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8843963" y="3695701"/>
              <a:ext cx="214312" cy="252413"/>
            </a:xfrm>
            <a:custGeom>
              <a:avLst/>
              <a:gdLst>
                <a:gd name="T0" fmla="*/ 210384 w 491"/>
                <a:gd name="T1" fmla="*/ 251363 h 481"/>
                <a:gd name="T2" fmla="*/ 199472 w 491"/>
                <a:gd name="T3" fmla="*/ 244017 h 481"/>
                <a:gd name="T4" fmla="*/ 184195 w 491"/>
                <a:gd name="T5" fmla="*/ 227749 h 481"/>
                <a:gd name="T6" fmla="*/ 179830 w 491"/>
                <a:gd name="T7" fmla="*/ 218828 h 481"/>
                <a:gd name="T8" fmla="*/ 164117 w 491"/>
                <a:gd name="T9" fmla="*/ 215155 h 481"/>
                <a:gd name="T10" fmla="*/ 157133 w 491"/>
                <a:gd name="T11" fmla="*/ 213055 h 481"/>
                <a:gd name="T12" fmla="*/ 152768 w 491"/>
                <a:gd name="T13" fmla="*/ 207808 h 481"/>
                <a:gd name="T14" fmla="*/ 151022 w 491"/>
                <a:gd name="T15" fmla="*/ 196263 h 481"/>
                <a:gd name="T16" fmla="*/ 149276 w 491"/>
                <a:gd name="T17" fmla="*/ 174223 h 481"/>
                <a:gd name="T18" fmla="*/ 142729 w 491"/>
                <a:gd name="T19" fmla="*/ 159004 h 481"/>
                <a:gd name="T20" fmla="*/ 139237 w 491"/>
                <a:gd name="T21" fmla="*/ 145361 h 481"/>
                <a:gd name="T22" fmla="*/ 137055 w 491"/>
                <a:gd name="T23" fmla="*/ 128043 h 481"/>
                <a:gd name="T24" fmla="*/ 127452 w 491"/>
                <a:gd name="T25" fmla="*/ 117023 h 481"/>
                <a:gd name="T26" fmla="*/ 113485 w 491"/>
                <a:gd name="T27" fmla="*/ 107577 h 481"/>
                <a:gd name="T28" fmla="*/ 96462 w 491"/>
                <a:gd name="T29" fmla="*/ 99706 h 481"/>
                <a:gd name="T30" fmla="*/ 77694 w 491"/>
                <a:gd name="T31" fmla="*/ 94983 h 481"/>
                <a:gd name="T32" fmla="*/ 58052 w 491"/>
                <a:gd name="T33" fmla="*/ 93409 h 481"/>
                <a:gd name="T34" fmla="*/ 58052 w 491"/>
                <a:gd name="T35" fmla="*/ 81864 h 481"/>
                <a:gd name="T36" fmla="*/ 48013 w 491"/>
                <a:gd name="T37" fmla="*/ 76091 h 481"/>
                <a:gd name="T38" fmla="*/ 37101 w 491"/>
                <a:gd name="T39" fmla="*/ 68220 h 481"/>
                <a:gd name="T40" fmla="*/ 28808 w 491"/>
                <a:gd name="T41" fmla="*/ 58249 h 481"/>
                <a:gd name="T42" fmla="*/ 31863 w 491"/>
                <a:gd name="T43" fmla="*/ 69794 h 481"/>
                <a:gd name="T44" fmla="*/ 23570 w 491"/>
                <a:gd name="T45" fmla="*/ 77141 h 481"/>
                <a:gd name="T46" fmla="*/ 17459 w 491"/>
                <a:gd name="T47" fmla="*/ 93409 h 481"/>
                <a:gd name="T48" fmla="*/ 10476 w 491"/>
                <a:gd name="T49" fmla="*/ 115449 h 481"/>
                <a:gd name="T50" fmla="*/ 5674 w 491"/>
                <a:gd name="T51" fmla="*/ 139063 h 481"/>
                <a:gd name="T52" fmla="*/ 6111 w 491"/>
                <a:gd name="T53" fmla="*/ 124370 h 481"/>
                <a:gd name="T54" fmla="*/ 10039 w 491"/>
                <a:gd name="T55" fmla="*/ 109676 h 481"/>
                <a:gd name="T56" fmla="*/ 13967 w 491"/>
                <a:gd name="T57" fmla="*/ 94983 h 481"/>
                <a:gd name="T58" fmla="*/ 13094 w 491"/>
                <a:gd name="T59" fmla="*/ 75042 h 481"/>
                <a:gd name="T60" fmla="*/ 7420 w 491"/>
                <a:gd name="T61" fmla="*/ 58249 h 481"/>
                <a:gd name="T62" fmla="*/ 0 w 491"/>
                <a:gd name="T63" fmla="*/ 38308 h 481"/>
                <a:gd name="T64" fmla="*/ 14840 w 491"/>
                <a:gd name="T65" fmla="*/ 30961 h 481"/>
                <a:gd name="T66" fmla="*/ 25752 w 491"/>
                <a:gd name="T67" fmla="*/ 28862 h 481"/>
                <a:gd name="T68" fmla="*/ 36664 w 491"/>
                <a:gd name="T69" fmla="*/ 30436 h 481"/>
                <a:gd name="T70" fmla="*/ 44521 w 491"/>
                <a:gd name="T71" fmla="*/ 34635 h 481"/>
                <a:gd name="T72" fmla="*/ 52814 w 491"/>
                <a:gd name="T73" fmla="*/ 43031 h 481"/>
                <a:gd name="T74" fmla="*/ 61107 w 491"/>
                <a:gd name="T75" fmla="*/ 58249 h 481"/>
                <a:gd name="T76" fmla="*/ 79876 w 491"/>
                <a:gd name="T77" fmla="*/ 54051 h 481"/>
                <a:gd name="T78" fmla="*/ 85550 w 491"/>
                <a:gd name="T79" fmla="*/ 50378 h 481"/>
                <a:gd name="T80" fmla="*/ 87296 w 491"/>
                <a:gd name="T81" fmla="*/ 47229 h 481"/>
                <a:gd name="T82" fmla="*/ 90351 w 491"/>
                <a:gd name="T83" fmla="*/ 38308 h 481"/>
                <a:gd name="T84" fmla="*/ 101264 w 491"/>
                <a:gd name="T85" fmla="*/ 28337 h 481"/>
                <a:gd name="T86" fmla="*/ 110866 w 491"/>
                <a:gd name="T87" fmla="*/ 25714 h 481"/>
                <a:gd name="T88" fmla="*/ 114794 w 491"/>
                <a:gd name="T89" fmla="*/ 15743 h 481"/>
                <a:gd name="T90" fmla="*/ 122215 w 491"/>
                <a:gd name="T91" fmla="*/ 4723 h 481"/>
                <a:gd name="T92" fmla="*/ 130944 w 491"/>
                <a:gd name="T93" fmla="*/ 525 h 481"/>
                <a:gd name="T94" fmla="*/ 140983 w 491"/>
                <a:gd name="T95" fmla="*/ 0 h 481"/>
                <a:gd name="T96" fmla="*/ 153205 w 491"/>
                <a:gd name="T97" fmla="*/ 4198 h 481"/>
                <a:gd name="T98" fmla="*/ 174156 w 491"/>
                <a:gd name="T99" fmla="*/ 19941 h 481"/>
                <a:gd name="T100" fmla="*/ 186814 w 491"/>
                <a:gd name="T101" fmla="*/ 27813 h 481"/>
                <a:gd name="T102" fmla="*/ 200345 w 491"/>
                <a:gd name="T103" fmla="*/ 31486 h 481"/>
                <a:gd name="T104" fmla="*/ 214312 w 491"/>
                <a:gd name="T105" fmla="*/ 35159 h 481"/>
                <a:gd name="T106" fmla="*/ 214312 w 491"/>
                <a:gd name="T107" fmla="*/ 171074 h 48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9" name="Freeform 341">
              <a:extLst>
                <a:ext uri="{FF2B5EF4-FFF2-40B4-BE49-F238E27FC236}">
                  <a16:creationId xmlns:a16="http://schemas.microsoft.com/office/drawing/2014/main" id="{428EC4B3-29F1-4406-A928-F773EF1C4437}"/>
                </a:ext>
              </a:extLst>
            </p:cNvPr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7375526" y="2527301"/>
              <a:ext cx="53975" cy="60325"/>
            </a:xfrm>
            <a:custGeom>
              <a:avLst/>
              <a:gdLst>
                <a:gd name="T0" fmla="*/ 0 w 133"/>
                <a:gd name="T1" fmla="*/ 9796 h 117"/>
                <a:gd name="T2" fmla="*/ 29220 w 133"/>
                <a:gd name="T3" fmla="*/ 0 h 117"/>
                <a:gd name="T4" fmla="*/ 32872 w 133"/>
                <a:gd name="T5" fmla="*/ 3094 h 117"/>
                <a:gd name="T6" fmla="*/ 36930 w 133"/>
                <a:gd name="T7" fmla="*/ 7218 h 117"/>
                <a:gd name="T8" fmla="*/ 40989 w 133"/>
                <a:gd name="T9" fmla="*/ 12890 h 117"/>
                <a:gd name="T10" fmla="*/ 44235 w 133"/>
                <a:gd name="T11" fmla="*/ 19077 h 117"/>
                <a:gd name="T12" fmla="*/ 47888 w 133"/>
                <a:gd name="T13" fmla="*/ 25264 h 117"/>
                <a:gd name="T14" fmla="*/ 51134 w 133"/>
                <a:gd name="T15" fmla="*/ 31967 h 117"/>
                <a:gd name="T16" fmla="*/ 51946 w 133"/>
                <a:gd name="T17" fmla="*/ 35061 h 117"/>
                <a:gd name="T18" fmla="*/ 52758 w 133"/>
                <a:gd name="T19" fmla="*/ 38154 h 117"/>
                <a:gd name="T20" fmla="*/ 53163 w 133"/>
                <a:gd name="T21" fmla="*/ 41248 h 117"/>
                <a:gd name="T22" fmla="*/ 53975 w 133"/>
                <a:gd name="T23" fmla="*/ 44341 h 117"/>
                <a:gd name="T24" fmla="*/ 53163 w 133"/>
                <a:gd name="T25" fmla="*/ 47435 h 117"/>
                <a:gd name="T26" fmla="*/ 51946 w 133"/>
                <a:gd name="T27" fmla="*/ 50013 h 117"/>
                <a:gd name="T28" fmla="*/ 50323 w 133"/>
                <a:gd name="T29" fmla="*/ 52591 h 117"/>
                <a:gd name="T30" fmla="*/ 47888 w 133"/>
                <a:gd name="T31" fmla="*/ 55169 h 117"/>
                <a:gd name="T32" fmla="*/ 45858 w 133"/>
                <a:gd name="T33" fmla="*/ 57231 h 117"/>
                <a:gd name="T34" fmla="*/ 43423 w 133"/>
                <a:gd name="T35" fmla="*/ 58778 h 117"/>
                <a:gd name="T36" fmla="*/ 41800 w 133"/>
                <a:gd name="T37" fmla="*/ 60325 h 117"/>
                <a:gd name="T38" fmla="*/ 40583 w 133"/>
                <a:gd name="T39" fmla="*/ 60325 h 117"/>
                <a:gd name="T40" fmla="*/ 29220 w 133"/>
                <a:gd name="T41" fmla="*/ 48982 h 117"/>
                <a:gd name="T42" fmla="*/ 18262 w 133"/>
                <a:gd name="T43" fmla="*/ 36092 h 117"/>
                <a:gd name="T44" fmla="*/ 12986 w 133"/>
                <a:gd name="T45" fmla="*/ 29905 h 117"/>
                <a:gd name="T46" fmla="*/ 7305 w 133"/>
                <a:gd name="T47" fmla="*/ 23718 h 117"/>
                <a:gd name="T48" fmla="*/ 3247 w 133"/>
                <a:gd name="T49" fmla="*/ 17015 h 117"/>
                <a:gd name="T50" fmla="*/ 0 w 133"/>
                <a:gd name="T51" fmla="*/ 9796 h 11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0" name="Freeform 342">
              <a:extLst>
                <a:ext uri="{FF2B5EF4-FFF2-40B4-BE49-F238E27FC236}">
                  <a16:creationId xmlns:a16="http://schemas.microsoft.com/office/drawing/2014/main" id="{E03BEE8E-E67C-468A-9684-E6A4EB7B87F0}"/>
                </a:ext>
              </a:extLst>
            </p:cNvPr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5832476" y="1931988"/>
              <a:ext cx="220663" cy="177800"/>
            </a:xfrm>
            <a:custGeom>
              <a:avLst/>
              <a:gdLst>
                <a:gd name="T0" fmla="*/ 118852 w 505"/>
                <a:gd name="T1" fmla="*/ 18881 h 339"/>
                <a:gd name="T2" fmla="*/ 211487 w 505"/>
                <a:gd name="T3" fmla="*/ 45106 h 339"/>
                <a:gd name="T4" fmla="*/ 208865 w 505"/>
                <a:gd name="T5" fmla="*/ 57169 h 339"/>
                <a:gd name="T6" fmla="*/ 205806 w 505"/>
                <a:gd name="T7" fmla="*/ 67658 h 339"/>
                <a:gd name="T8" fmla="*/ 201437 w 505"/>
                <a:gd name="T9" fmla="*/ 76050 h 339"/>
                <a:gd name="T10" fmla="*/ 197067 w 505"/>
                <a:gd name="T11" fmla="*/ 80246 h 339"/>
                <a:gd name="T12" fmla="*/ 201437 w 505"/>
                <a:gd name="T13" fmla="*/ 96505 h 339"/>
                <a:gd name="T14" fmla="*/ 208428 w 505"/>
                <a:gd name="T15" fmla="*/ 112764 h 339"/>
                <a:gd name="T16" fmla="*/ 220663 w 505"/>
                <a:gd name="T17" fmla="*/ 135317 h 339"/>
                <a:gd name="T18" fmla="*/ 215420 w 505"/>
                <a:gd name="T19" fmla="*/ 142135 h 339"/>
                <a:gd name="T20" fmla="*/ 209302 w 505"/>
                <a:gd name="T21" fmla="*/ 153149 h 339"/>
                <a:gd name="T22" fmla="*/ 204496 w 505"/>
                <a:gd name="T23" fmla="*/ 164688 h 339"/>
                <a:gd name="T24" fmla="*/ 202748 w 505"/>
                <a:gd name="T25" fmla="*/ 177800 h 339"/>
                <a:gd name="T26" fmla="*/ 193572 w 505"/>
                <a:gd name="T27" fmla="*/ 177276 h 339"/>
                <a:gd name="T28" fmla="*/ 180900 w 505"/>
                <a:gd name="T29" fmla="*/ 175702 h 339"/>
                <a:gd name="T30" fmla="*/ 168228 w 505"/>
                <a:gd name="T31" fmla="*/ 173604 h 339"/>
                <a:gd name="T32" fmla="*/ 156430 w 505"/>
                <a:gd name="T33" fmla="*/ 170982 h 339"/>
                <a:gd name="T34" fmla="*/ 132835 w 505"/>
                <a:gd name="T35" fmla="*/ 170457 h 339"/>
                <a:gd name="T36" fmla="*/ 115356 w 505"/>
                <a:gd name="T37" fmla="*/ 168359 h 339"/>
                <a:gd name="T38" fmla="*/ 108365 w 505"/>
                <a:gd name="T39" fmla="*/ 166261 h 339"/>
                <a:gd name="T40" fmla="*/ 101374 w 505"/>
                <a:gd name="T41" fmla="*/ 162590 h 339"/>
                <a:gd name="T42" fmla="*/ 93072 w 505"/>
                <a:gd name="T43" fmla="*/ 157345 h 339"/>
                <a:gd name="T44" fmla="*/ 78652 w 505"/>
                <a:gd name="T45" fmla="*/ 151576 h 339"/>
                <a:gd name="T46" fmla="*/ 63796 w 505"/>
                <a:gd name="T47" fmla="*/ 143184 h 339"/>
                <a:gd name="T48" fmla="*/ 42822 w 505"/>
                <a:gd name="T49" fmla="*/ 130596 h 339"/>
                <a:gd name="T50" fmla="*/ 27091 w 505"/>
                <a:gd name="T51" fmla="*/ 108044 h 339"/>
                <a:gd name="T52" fmla="*/ 22722 w 505"/>
                <a:gd name="T53" fmla="*/ 88638 h 339"/>
                <a:gd name="T54" fmla="*/ 15730 w 505"/>
                <a:gd name="T55" fmla="*/ 65036 h 339"/>
                <a:gd name="T56" fmla="*/ 6554 w 505"/>
                <a:gd name="T57" fmla="*/ 43532 h 339"/>
                <a:gd name="T58" fmla="*/ 874 w 505"/>
                <a:gd name="T59" fmla="*/ 33567 h 339"/>
                <a:gd name="T60" fmla="*/ 2185 w 505"/>
                <a:gd name="T61" fmla="*/ 31994 h 339"/>
                <a:gd name="T62" fmla="*/ 4807 w 505"/>
                <a:gd name="T63" fmla="*/ 29371 h 339"/>
                <a:gd name="T64" fmla="*/ 4807 w 505"/>
                <a:gd name="T65" fmla="*/ 25175 h 339"/>
                <a:gd name="T66" fmla="*/ 4807 w 505"/>
                <a:gd name="T67" fmla="*/ 22553 h 339"/>
                <a:gd name="T68" fmla="*/ 14857 w 505"/>
                <a:gd name="T69" fmla="*/ 17832 h 339"/>
                <a:gd name="T70" fmla="*/ 31898 w 505"/>
                <a:gd name="T71" fmla="*/ 11539 h 339"/>
                <a:gd name="T72" fmla="*/ 55930 w 505"/>
                <a:gd name="T73" fmla="*/ 4196 h 339"/>
                <a:gd name="T74" fmla="*/ 75593 w 505"/>
                <a:gd name="T75" fmla="*/ 5769 h 339"/>
                <a:gd name="T76" fmla="*/ 82148 w 505"/>
                <a:gd name="T77" fmla="*/ 14686 h 339"/>
                <a:gd name="T78" fmla="*/ 87828 w 505"/>
                <a:gd name="T79" fmla="*/ 18357 h 339"/>
                <a:gd name="T80" fmla="*/ 95693 w 505"/>
                <a:gd name="T81" fmla="*/ 18881 h 339"/>
                <a:gd name="T82" fmla="*/ 104433 w 505"/>
                <a:gd name="T83" fmla="*/ 18881 h 339"/>
                <a:gd name="T84" fmla="*/ 113172 w 505"/>
                <a:gd name="T85" fmla="*/ 12588 h 3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1" name="Freeform 343">
              <a:extLst>
                <a:ext uri="{FF2B5EF4-FFF2-40B4-BE49-F238E27FC236}">
                  <a16:creationId xmlns:a16="http://schemas.microsoft.com/office/drawing/2014/main" id="{B041C79E-2960-4A7E-97C2-13BE357DC8A4}"/>
                </a:ext>
              </a:extLst>
            </p:cNvPr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5895975" y="2136775"/>
              <a:ext cx="146050" cy="71438"/>
            </a:xfrm>
            <a:custGeom>
              <a:avLst/>
              <a:gdLst>
                <a:gd name="T0" fmla="*/ 134815 w 338"/>
                <a:gd name="T1" fmla="*/ 0 h 141"/>
                <a:gd name="T2" fmla="*/ 80371 w 338"/>
                <a:gd name="T3" fmla="*/ 0 h 141"/>
                <a:gd name="T4" fmla="*/ 72593 w 338"/>
                <a:gd name="T5" fmla="*/ 4053 h 141"/>
                <a:gd name="T6" fmla="*/ 62222 w 338"/>
                <a:gd name="T7" fmla="*/ 10640 h 141"/>
                <a:gd name="T8" fmla="*/ 57037 w 338"/>
                <a:gd name="T9" fmla="*/ 13680 h 141"/>
                <a:gd name="T10" fmla="*/ 51420 w 338"/>
                <a:gd name="T11" fmla="*/ 16213 h 141"/>
                <a:gd name="T12" fmla="*/ 48395 w 338"/>
                <a:gd name="T13" fmla="*/ 17226 h 141"/>
                <a:gd name="T14" fmla="*/ 45371 w 338"/>
                <a:gd name="T15" fmla="*/ 17733 h 141"/>
                <a:gd name="T16" fmla="*/ 42778 w 338"/>
                <a:gd name="T17" fmla="*/ 18239 h 141"/>
                <a:gd name="T18" fmla="*/ 40185 w 338"/>
                <a:gd name="T19" fmla="*/ 18746 h 141"/>
                <a:gd name="T20" fmla="*/ 38025 w 338"/>
                <a:gd name="T21" fmla="*/ 18239 h 141"/>
                <a:gd name="T22" fmla="*/ 36296 w 338"/>
                <a:gd name="T23" fmla="*/ 17733 h 141"/>
                <a:gd name="T24" fmla="*/ 33704 w 338"/>
                <a:gd name="T25" fmla="*/ 16213 h 141"/>
                <a:gd name="T26" fmla="*/ 31975 w 338"/>
                <a:gd name="T27" fmla="*/ 15200 h 141"/>
                <a:gd name="T28" fmla="*/ 28519 w 338"/>
                <a:gd name="T29" fmla="*/ 12160 h 141"/>
                <a:gd name="T30" fmla="*/ 25494 w 338"/>
                <a:gd name="T31" fmla="*/ 9120 h 141"/>
                <a:gd name="T32" fmla="*/ 21173 w 338"/>
                <a:gd name="T33" fmla="*/ 17226 h 141"/>
                <a:gd name="T34" fmla="*/ 15988 w 338"/>
                <a:gd name="T35" fmla="*/ 25839 h 141"/>
                <a:gd name="T36" fmla="*/ 12963 w 338"/>
                <a:gd name="T37" fmla="*/ 30399 h 141"/>
                <a:gd name="T38" fmla="*/ 9074 w 338"/>
                <a:gd name="T39" fmla="*/ 34452 h 141"/>
                <a:gd name="T40" fmla="*/ 4753 w 338"/>
                <a:gd name="T41" fmla="*/ 37999 h 141"/>
                <a:gd name="T42" fmla="*/ 0 w 338"/>
                <a:gd name="T43" fmla="*/ 40532 h 141"/>
                <a:gd name="T44" fmla="*/ 5185 w 338"/>
                <a:gd name="T45" fmla="*/ 45599 h 141"/>
                <a:gd name="T46" fmla="*/ 9938 w 338"/>
                <a:gd name="T47" fmla="*/ 50665 h 141"/>
                <a:gd name="T48" fmla="*/ 14259 w 338"/>
                <a:gd name="T49" fmla="*/ 54718 h 141"/>
                <a:gd name="T50" fmla="*/ 19012 w 338"/>
                <a:gd name="T51" fmla="*/ 58772 h 141"/>
                <a:gd name="T52" fmla="*/ 23766 w 338"/>
                <a:gd name="T53" fmla="*/ 61812 h 141"/>
                <a:gd name="T54" fmla="*/ 28519 w 338"/>
                <a:gd name="T55" fmla="*/ 65358 h 141"/>
                <a:gd name="T56" fmla="*/ 34136 w 338"/>
                <a:gd name="T57" fmla="*/ 68398 h 141"/>
                <a:gd name="T58" fmla="*/ 40185 w 338"/>
                <a:gd name="T59" fmla="*/ 71438 h 141"/>
                <a:gd name="T60" fmla="*/ 111914 w 338"/>
                <a:gd name="T61" fmla="*/ 71438 h 141"/>
                <a:gd name="T62" fmla="*/ 116235 w 338"/>
                <a:gd name="T63" fmla="*/ 62825 h 141"/>
                <a:gd name="T64" fmla="*/ 121420 w 338"/>
                <a:gd name="T65" fmla="*/ 54212 h 141"/>
                <a:gd name="T66" fmla="*/ 126173 w 338"/>
                <a:gd name="T67" fmla="*/ 46612 h 141"/>
                <a:gd name="T68" fmla="*/ 131359 w 338"/>
                <a:gd name="T69" fmla="*/ 39519 h 141"/>
                <a:gd name="T70" fmla="*/ 136112 w 338"/>
                <a:gd name="T71" fmla="*/ 32426 h 141"/>
                <a:gd name="T72" fmla="*/ 140001 w 338"/>
                <a:gd name="T73" fmla="*/ 24319 h 141"/>
                <a:gd name="T74" fmla="*/ 143889 w 338"/>
                <a:gd name="T75" fmla="*/ 17226 h 141"/>
                <a:gd name="T76" fmla="*/ 146050 w 338"/>
                <a:gd name="T77" fmla="*/ 9120 h 141"/>
                <a:gd name="T78" fmla="*/ 134815 w 338"/>
                <a:gd name="T79" fmla="*/ 0 h 14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2" name="Freeform 344">
              <a:extLst>
                <a:ext uri="{FF2B5EF4-FFF2-40B4-BE49-F238E27FC236}">
                  <a16:creationId xmlns:a16="http://schemas.microsoft.com/office/drawing/2014/main" id="{9F4699B0-2E01-4874-859C-092281EEBA73}"/>
                </a:ext>
              </a:extLst>
            </p:cNvPr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5995989" y="1792289"/>
              <a:ext cx="111125" cy="65087"/>
            </a:xfrm>
            <a:custGeom>
              <a:avLst/>
              <a:gdLst>
                <a:gd name="T0" fmla="*/ 111125 w 259"/>
                <a:gd name="T1" fmla="*/ 65087 h 129"/>
                <a:gd name="T2" fmla="*/ 109409 w 259"/>
                <a:gd name="T3" fmla="*/ 51464 h 129"/>
                <a:gd name="T4" fmla="*/ 108122 w 259"/>
                <a:gd name="T5" fmla="*/ 40364 h 129"/>
                <a:gd name="T6" fmla="*/ 108122 w 259"/>
                <a:gd name="T7" fmla="*/ 31787 h 129"/>
                <a:gd name="T8" fmla="*/ 108551 w 259"/>
                <a:gd name="T9" fmla="*/ 25228 h 129"/>
                <a:gd name="T10" fmla="*/ 110267 w 259"/>
                <a:gd name="T11" fmla="*/ 14632 h 129"/>
                <a:gd name="T12" fmla="*/ 111125 w 259"/>
                <a:gd name="T13" fmla="*/ 6055 h 129"/>
                <a:gd name="T14" fmla="*/ 110696 w 259"/>
                <a:gd name="T15" fmla="*/ 7064 h 129"/>
                <a:gd name="T16" fmla="*/ 109838 w 259"/>
                <a:gd name="T17" fmla="*/ 8073 h 129"/>
                <a:gd name="T18" fmla="*/ 108551 w 259"/>
                <a:gd name="T19" fmla="*/ 8577 h 129"/>
                <a:gd name="T20" fmla="*/ 106834 w 259"/>
                <a:gd name="T21" fmla="*/ 9082 h 129"/>
                <a:gd name="T22" fmla="*/ 102544 w 259"/>
                <a:gd name="T23" fmla="*/ 9586 h 129"/>
                <a:gd name="T24" fmla="*/ 97824 w 259"/>
                <a:gd name="T25" fmla="*/ 9586 h 129"/>
                <a:gd name="T26" fmla="*/ 87956 w 259"/>
                <a:gd name="T27" fmla="*/ 9586 h 129"/>
                <a:gd name="T28" fmla="*/ 82378 w 259"/>
                <a:gd name="T29" fmla="*/ 9082 h 129"/>
                <a:gd name="T30" fmla="*/ 77659 w 259"/>
                <a:gd name="T31" fmla="*/ 8577 h 129"/>
                <a:gd name="T32" fmla="*/ 73797 w 259"/>
                <a:gd name="T33" fmla="*/ 7568 h 129"/>
                <a:gd name="T34" fmla="*/ 69936 w 259"/>
                <a:gd name="T35" fmla="*/ 6055 h 129"/>
                <a:gd name="T36" fmla="*/ 66932 w 259"/>
                <a:gd name="T37" fmla="*/ 4541 h 129"/>
                <a:gd name="T38" fmla="*/ 62642 w 259"/>
                <a:gd name="T39" fmla="*/ 3027 h 129"/>
                <a:gd name="T40" fmla="*/ 57493 w 259"/>
                <a:gd name="T41" fmla="*/ 1514 h 129"/>
                <a:gd name="T42" fmla="*/ 50628 w 259"/>
                <a:gd name="T43" fmla="*/ 505 h 129"/>
                <a:gd name="T44" fmla="*/ 42476 w 259"/>
                <a:gd name="T45" fmla="*/ 0 h 129"/>
                <a:gd name="T46" fmla="*/ 35611 w 259"/>
                <a:gd name="T47" fmla="*/ 0 h 129"/>
                <a:gd name="T48" fmla="*/ 28747 w 259"/>
                <a:gd name="T49" fmla="*/ 0 h 129"/>
                <a:gd name="T50" fmla="*/ 21453 w 259"/>
                <a:gd name="T51" fmla="*/ 0 h 129"/>
                <a:gd name="T52" fmla="*/ 14588 w 259"/>
                <a:gd name="T53" fmla="*/ 1009 h 129"/>
                <a:gd name="T54" fmla="*/ 11584 w 259"/>
                <a:gd name="T55" fmla="*/ 2018 h 129"/>
                <a:gd name="T56" fmla="*/ 9010 w 259"/>
                <a:gd name="T57" fmla="*/ 3027 h 129"/>
                <a:gd name="T58" fmla="*/ 6007 w 259"/>
                <a:gd name="T59" fmla="*/ 4541 h 129"/>
                <a:gd name="T60" fmla="*/ 4291 w 259"/>
                <a:gd name="T61" fmla="*/ 6559 h 129"/>
                <a:gd name="T62" fmla="*/ 2145 w 259"/>
                <a:gd name="T63" fmla="*/ 8577 h 129"/>
                <a:gd name="T64" fmla="*/ 858 w 259"/>
                <a:gd name="T65" fmla="*/ 11100 h 129"/>
                <a:gd name="T66" fmla="*/ 0 w 259"/>
                <a:gd name="T67" fmla="*/ 14632 h 129"/>
                <a:gd name="T68" fmla="*/ 0 w 259"/>
                <a:gd name="T69" fmla="*/ 18164 h 129"/>
                <a:gd name="T70" fmla="*/ 0 w 259"/>
                <a:gd name="T71" fmla="*/ 24218 h 129"/>
                <a:gd name="T72" fmla="*/ 1287 w 259"/>
                <a:gd name="T73" fmla="*/ 29264 h 129"/>
                <a:gd name="T74" fmla="*/ 2574 w 259"/>
                <a:gd name="T75" fmla="*/ 32796 h 129"/>
                <a:gd name="T76" fmla="*/ 5149 w 259"/>
                <a:gd name="T77" fmla="*/ 35823 h 129"/>
                <a:gd name="T78" fmla="*/ 7294 w 259"/>
                <a:gd name="T79" fmla="*/ 38346 h 129"/>
                <a:gd name="T80" fmla="*/ 10297 w 259"/>
                <a:gd name="T81" fmla="*/ 40364 h 129"/>
                <a:gd name="T82" fmla="*/ 13301 w 259"/>
                <a:gd name="T83" fmla="*/ 41878 h 129"/>
                <a:gd name="T84" fmla="*/ 15875 w 259"/>
                <a:gd name="T85" fmla="*/ 42887 h 129"/>
                <a:gd name="T86" fmla="*/ 21453 w 259"/>
                <a:gd name="T87" fmla="*/ 44400 h 129"/>
                <a:gd name="T88" fmla="*/ 26172 w 259"/>
                <a:gd name="T89" fmla="*/ 46419 h 129"/>
                <a:gd name="T90" fmla="*/ 27889 w 259"/>
                <a:gd name="T91" fmla="*/ 47932 h 129"/>
                <a:gd name="T92" fmla="*/ 28747 w 259"/>
                <a:gd name="T93" fmla="*/ 49950 h 129"/>
                <a:gd name="T94" fmla="*/ 28747 w 259"/>
                <a:gd name="T95" fmla="*/ 52978 h 129"/>
                <a:gd name="T96" fmla="*/ 28318 w 259"/>
                <a:gd name="T97" fmla="*/ 56005 h 129"/>
                <a:gd name="T98" fmla="*/ 34753 w 259"/>
                <a:gd name="T99" fmla="*/ 55501 h 129"/>
                <a:gd name="T100" fmla="*/ 39044 w 259"/>
                <a:gd name="T101" fmla="*/ 54491 h 129"/>
                <a:gd name="T102" fmla="*/ 42047 w 259"/>
                <a:gd name="T103" fmla="*/ 53482 h 129"/>
                <a:gd name="T104" fmla="*/ 45051 w 259"/>
                <a:gd name="T105" fmla="*/ 52978 h 129"/>
                <a:gd name="T106" fmla="*/ 51486 w 259"/>
                <a:gd name="T107" fmla="*/ 53482 h 129"/>
                <a:gd name="T108" fmla="*/ 60068 w 259"/>
                <a:gd name="T109" fmla="*/ 54491 h 129"/>
                <a:gd name="T110" fmla="*/ 71223 w 259"/>
                <a:gd name="T111" fmla="*/ 56510 h 129"/>
                <a:gd name="T112" fmla="*/ 82378 w 259"/>
                <a:gd name="T113" fmla="*/ 59032 h 129"/>
                <a:gd name="T114" fmla="*/ 102115 w 259"/>
                <a:gd name="T115" fmla="*/ 63069 h 129"/>
                <a:gd name="T116" fmla="*/ 111125 w 259"/>
                <a:gd name="T117" fmla="*/ 65087 h 12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3" name="Freeform 345">
              <a:extLst>
                <a:ext uri="{FF2B5EF4-FFF2-40B4-BE49-F238E27FC236}">
                  <a16:creationId xmlns:a16="http://schemas.microsoft.com/office/drawing/2014/main" id="{D8F8F264-8820-40DD-9C14-F071BAAA8AED}"/>
                </a:ext>
              </a:extLst>
            </p:cNvPr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6008689" y="2139951"/>
              <a:ext cx="179387" cy="142875"/>
            </a:xfrm>
            <a:custGeom>
              <a:avLst/>
              <a:gdLst>
                <a:gd name="T0" fmla="*/ 176432 w 425"/>
                <a:gd name="T1" fmla="*/ 89297 h 272"/>
                <a:gd name="T2" fmla="*/ 167991 w 425"/>
                <a:gd name="T3" fmla="*/ 98752 h 272"/>
                <a:gd name="T4" fmla="*/ 161659 w 425"/>
                <a:gd name="T5" fmla="*/ 108207 h 272"/>
                <a:gd name="T6" fmla="*/ 162081 w 425"/>
                <a:gd name="T7" fmla="*/ 116086 h 272"/>
                <a:gd name="T8" fmla="*/ 164192 w 425"/>
                <a:gd name="T9" fmla="*/ 124490 h 272"/>
                <a:gd name="T10" fmla="*/ 158283 w 425"/>
                <a:gd name="T11" fmla="*/ 128167 h 272"/>
                <a:gd name="T12" fmla="*/ 146464 w 425"/>
                <a:gd name="T13" fmla="*/ 125016 h 272"/>
                <a:gd name="T14" fmla="*/ 136756 w 425"/>
                <a:gd name="T15" fmla="*/ 123440 h 272"/>
                <a:gd name="T16" fmla="*/ 124516 w 425"/>
                <a:gd name="T17" fmla="*/ 123440 h 272"/>
                <a:gd name="T18" fmla="*/ 111009 w 425"/>
                <a:gd name="T19" fmla="*/ 127642 h 272"/>
                <a:gd name="T20" fmla="*/ 97924 w 425"/>
                <a:gd name="T21" fmla="*/ 133420 h 272"/>
                <a:gd name="T22" fmla="*/ 83151 w 425"/>
                <a:gd name="T23" fmla="*/ 140249 h 272"/>
                <a:gd name="T24" fmla="*/ 42209 w 425"/>
                <a:gd name="T25" fmla="*/ 126066 h 272"/>
                <a:gd name="T26" fmla="*/ 35877 w 425"/>
                <a:gd name="T27" fmla="*/ 118712 h 272"/>
                <a:gd name="T28" fmla="*/ 29546 w 425"/>
                <a:gd name="T29" fmla="*/ 112409 h 272"/>
                <a:gd name="T30" fmla="*/ 15617 w 425"/>
                <a:gd name="T31" fmla="*/ 100853 h 272"/>
                <a:gd name="T32" fmla="*/ 9286 w 425"/>
                <a:gd name="T33" fmla="*/ 94550 h 272"/>
                <a:gd name="T34" fmla="*/ 4643 w 425"/>
                <a:gd name="T35" fmla="*/ 87721 h 272"/>
                <a:gd name="T36" fmla="*/ 844 w 425"/>
                <a:gd name="T37" fmla="*/ 78791 h 272"/>
                <a:gd name="T38" fmla="*/ 0 w 425"/>
                <a:gd name="T39" fmla="*/ 67761 h 272"/>
                <a:gd name="T40" fmla="*/ 21104 w 425"/>
                <a:gd name="T41" fmla="*/ 34668 h 272"/>
                <a:gd name="T42" fmla="*/ 29968 w 425"/>
                <a:gd name="T43" fmla="*/ 18910 h 272"/>
                <a:gd name="T44" fmla="*/ 33767 w 425"/>
                <a:gd name="T45" fmla="*/ 11556 h 272"/>
                <a:gd name="T46" fmla="*/ 35877 w 425"/>
                <a:gd name="T47" fmla="*/ 3152 h 272"/>
                <a:gd name="T48" fmla="*/ 51917 w 425"/>
                <a:gd name="T49" fmla="*/ 5253 h 272"/>
                <a:gd name="T50" fmla="*/ 64579 w 425"/>
                <a:gd name="T51" fmla="*/ 9455 h 272"/>
                <a:gd name="T52" fmla="*/ 75976 w 425"/>
                <a:gd name="T53" fmla="*/ 14182 h 272"/>
                <a:gd name="T54" fmla="*/ 86528 w 425"/>
                <a:gd name="T55" fmla="*/ 16284 h 272"/>
                <a:gd name="T56" fmla="*/ 90327 w 425"/>
                <a:gd name="T57" fmla="*/ 15233 h 272"/>
                <a:gd name="T58" fmla="*/ 93281 w 425"/>
                <a:gd name="T59" fmla="*/ 13657 h 272"/>
                <a:gd name="T60" fmla="*/ 97924 w 425"/>
                <a:gd name="T61" fmla="*/ 7879 h 272"/>
                <a:gd name="T62" fmla="*/ 102145 w 425"/>
                <a:gd name="T63" fmla="*/ 2626 h 272"/>
                <a:gd name="T64" fmla="*/ 105522 w 425"/>
                <a:gd name="T65" fmla="*/ 1051 h 272"/>
                <a:gd name="T66" fmla="*/ 109321 w 425"/>
                <a:gd name="T67" fmla="*/ 0 h 272"/>
                <a:gd name="T68" fmla="*/ 116074 w 425"/>
                <a:gd name="T69" fmla="*/ 1051 h 272"/>
                <a:gd name="T70" fmla="*/ 121983 w 425"/>
                <a:gd name="T71" fmla="*/ 3677 h 272"/>
                <a:gd name="T72" fmla="*/ 127470 w 425"/>
                <a:gd name="T73" fmla="*/ 7879 h 272"/>
                <a:gd name="T74" fmla="*/ 130847 w 425"/>
                <a:gd name="T75" fmla="*/ 13657 h 272"/>
                <a:gd name="T76" fmla="*/ 137178 w 425"/>
                <a:gd name="T77" fmla="*/ 27840 h 272"/>
                <a:gd name="T78" fmla="*/ 142243 w 425"/>
                <a:gd name="T79" fmla="*/ 43073 h 272"/>
                <a:gd name="T80" fmla="*/ 147308 w 425"/>
                <a:gd name="T81" fmla="*/ 59356 h 272"/>
                <a:gd name="T82" fmla="*/ 150263 w 425"/>
                <a:gd name="T83" fmla="*/ 66185 h 272"/>
                <a:gd name="T84" fmla="*/ 154062 w 425"/>
                <a:gd name="T85" fmla="*/ 72488 h 272"/>
                <a:gd name="T86" fmla="*/ 158705 w 425"/>
                <a:gd name="T87" fmla="*/ 77216 h 272"/>
                <a:gd name="T88" fmla="*/ 164192 w 425"/>
                <a:gd name="T89" fmla="*/ 81943 h 272"/>
                <a:gd name="T90" fmla="*/ 170945 w 425"/>
                <a:gd name="T91" fmla="*/ 84044 h 272"/>
                <a:gd name="T92" fmla="*/ 179387 w 425"/>
                <a:gd name="T93" fmla="*/ 84569 h 27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54" name="Freeform 346">
              <a:extLst>
                <a:ext uri="{FF2B5EF4-FFF2-40B4-BE49-F238E27FC236}">
                  <a16:creationId xmlns:a16="http://schemas.microsoft.com/office/drawing/2014/main" id="{D29C0E59-07F3-446F-8AA9-31F74E2BBA87}"/>
                </a:ext>
              </a:extLst>
            </p:cNvPr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4008439" y="3178176"/>
              <a:ext cx="14287" cy="55563"/>
            </a:xfrm>
            <a:custGeom>
              <a:avLst/>
              <a:gdLst>
                <a:gd name="T0" fmla="*/ 5628 w 33"/>
                <a:gd name="T1" fmla="*/ 10754 h 31"/>
                <a:gd name="T2" fmla="*/ 0 w 33"/>
                <a:gd name="T3" fmla="*/ 34055 h 31"/>
                <a:gd name="T4" fmla="*/ 2165 w 33"/>
                <a:gd name="T5" fmla="*/ 37639 h 31"/>
                <a:gd name="T6" fmla="*/ 6061 w 33"/>
                <a:gd name="T7" fmla="*/ 44809 h 31"/>
                <a:gd name="T8" fmla="*/ 8226 w 33"/>
                <a:gd name="T9" fmla="*/ 48394 h 31"/>
                <a:gd name="T10" fmla="*/ 9958 w 33"/>
                <a:gd name="T11" fmla="*/ 51978 h 31"/>
                <a:gd name="T12" fmla="*/ 11689 w 33"/>
                <a:gd name="T13" fmla="*/ 53771 h 31"/>
                <a:gd name="T14" fmla="*/ 14287 w 33"/>
                <a:gd name="T15" fmla="*/ 55563 h 31"/>
                <a:gd name="T16" fmla="*/ 14287 w 33"/>
                <a:gd name="T17" fmla="*/ 0 h 31"/>
                <a:gd name="T18" fmla="*/ 8659 w 33"/>
                <a:gd name="T19" fmla="*/ 0 h 31"/>
                <a:gd name="T20" fmla="*/ 5628 w 33"/>
                <a:gd name="T21" fmla="*/ 10754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5" name="Freeform 347">
              <a:extLst>
                <a:ext uri="{FF2B5EF4-FFF2-40B4-BE49-F238E27FC236}">
                  <a16:creationId xmlns:a16="http://schemas.microsoft.com/office/drawing/2014/main" id="{E6659F83-7A75-4349-AADE-19CAFAD967CE}"/>
                </a:ext>
              </a:extLst>
            </p:cNvPr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6113464" y="2132014"/>
              <a:ext cx="85725" cy="79375"/>
            </a:xfrm>
            <a:custGeom>
              <a:avLst/>
              <a:gdLst>
                <a:gd name="T0" fmla="*/ 2679 w 192"/>
                <a:gd name="T1" fmla="*/ 9793 h 154"/>
                <a:gd name="T2" fmla="*/ 23217 w 192"/>
                <a:gd name="T3" fmla="*/ 0 h 154"/>
                <a:gd name="T4" fmla="*/ 41077 w 192"/>
                <a:gd name="T5" fmla="*/ 9793 h 154"/>
                <a:gd name="T6" fmla="*/ 53132 w 192"/>
                <a:gd name="T7" fmla="*/ 15978 h 154"/>
                <a:gd name="T8" fmla="*/ 65187 w 192"/>
                <a:gd name="T9" fmla="*/ 32472 h 154"/>
                <a:gd name="T10" fmla="*/ 74116 w 192"/>
                <a:gd name="T11" fmla="*/ 47934 h 154"/>
                <a:gd name="T12" fmla="*/ 85725 w 192"/>
                <a:gd name="T13" fmla="*/ 60820 h 154"/>
                <a:gd name="T14" fmla="*/ 67866 w 192"/>
                <a:gd name="T15" fmla="*/ 63912 h 154"/>
                <a:gd name="T16" fmla="*/ 56257 w 192"/>
                <a:gd name="T17" fmla="*/ 67005 h 154"/>
                <a:gd name="T18" fmla="*/ 56257 w 192"/>
                <a:gd name="T19" fmla="*/ 79375 h 154"/>
                <a:gd name="T20" fmla="*/ 47327 w 192"/>
                <a:gd name="T21" fmla="*/ 79375 h 154"/>
                <a:gd name="T22" fmla="*/ 44202 w 192"/>
                <a:gd name="T23" fmla="*/ 75252 h 154"/>
                <a:gd name="T24" fmla="*/ 41523 w 192"/>
                <a:gd name="T25" fmla="*/ 70613 h 154"/>
                <a:gd name="T26" fmla="*/ 39291 w 192"/>
                <a:gd name="T27" fmla="*/ 64943 h 154"/>
                <a:gd name="T28" fmla="*/ 36612 w 192"/>
                <a:gd name="T29" fmla="*/ 59274 h 154"/>
                <a:gd name="T30" fmla="*/ 33040 w 192"/>
                <a:gd name="T31" fmla="*/ 47934 h 154"/>
                <a:gd name="T32" fmla="*/ 29021 w 192"/>
                <a:gd name="T33" fmla="*/ 36595 h 154"/>
                <a:gd name="T34" fmla="*/ 26789 w 192"/>
                <a:gd name="T35" fmla="*/ 31441 h 154"/>
                <a:gd name="T36" fmla="*/ 24557 w 192"/>
                <a:gd name="T37" fmla="*/ 25771 h 154"/>
                <a:gd name="T38" fmla="*/ 21431 w 192"/>
                <a:gd name="T39" fmla="*/ 21648 h 154"/>
                <a:gd name="T40" fmla="*/ 18306 w 192"/>
                <a:gd name="T41" fmla="*/ 17524 h 154"/>
                <a:gd name="T42" fmla="*/ 14734 w 192"/>
                <a:gd name="T43" fmla="*/ 14432 h 154"/>
                <a:gd name="T44" fmla="*/ 10716 w 192"/>
                <a:gd name="T45" fmla="*/ 11855 h 154"/>
                <a:gd name="T46" fmla="*/ 8037 w 192"/>
                <a:gd name="T47" fmla="*/ 11339 h 154"/>
                <a:gd name="T48" fmla="*/ 5358 w 192"/>
                <a:gd name="T49" fmla="*/ 10308 h 154"/>
                <a:gd name="T50" fmla="*/ 2679 w 192"/>
                <a:gd name="T51" fmla="*/ 10308 h 154"/>
                <a:gd name="T52" fmla="*/ 0 w 192"/>
                <a:gd name="T53" fmla="*/ 9793 h 154"/>
                <a:gd name="T54" fmla="*/ 2679 w 192"/>
                <a:gd name="T55" fmla="*/ 9793 h 15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6" name="Freeform 348">
              <a:extLst>
                <a:ext uri="{FF2B5EF4-FFF2-40B4-BE49-F238E27FC236}">
                  <a16:creationId xmlns:a16="http://schemas.microsoft.com/office/drawing/2014/main" id="{15CBB632-FD40-4A9F-ADDF-F0B05C4AF6CA}"/>
                </a:ext>
              </a:extLst>
            </p:cNvPr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6030913" y="2014538"/>
              <a:ext cx="381000" cy="247650"/>
            </a:xfrm>
            <a:custGeom>
              <a:avLst/>
              <a:gdLst>
                <a:gd name="T0" fmla="*/ 170299 w 877"/>
                <a:gd name="T1" fmla="*/ 179533 h 469"/>
                <a:gd name="T2" fmla="*/ 138585 w 877"/>
                <a:gd name="T3" fmla="*/ 133594 h 469"/>
                <a:gd name="T4" fmla="*/ 89494 w 877"/>
                <a:gd name="T5" fmla="*/ 127257 h 469"/>
                <a:gd name="T6" fmla="*/ 82977 w 877"/>
                <a:gd name="T7" fmla="*/ 128313 h 469"/>
                <a:gd name="T8" fmla="*/ 77330 w 877"/>
                <a:gd name="T9" fmla="*/ 132538 h 469"/>
                <a:gd name="T10" fmla="*/ 70379 w 877"/>
                <a:gd name="T11" fmla="*/ 140986 h 469"/>
                <a:gd name="T12" fmla="*/ 65600 w 877"/>
                <a:gd name="T13" fmla="*/ 143098 h 469"/>
                <a:gd name="T14" fmla="*/ 52567 w 877"/>
                <a:gd name="T15" fmla="*/ 141514 h 469"/>
                <a:gd name="T16" fmla="*/ 34320 w 877"/>
                <a:gd name="T17" fmla="*/ 134650 h 469"/>
                <a:gd name="T18" fmla="*/ 11295 w 877"/>
                <a:gd name="T19" fmla="*/ 130425 h 469"/>
                <a:gd name="T20" fmla="*/ 3475 w 877"/>
                <a:gd name="T21" fmla="*/ 111944 h 469"/>
                <a:gd name="T22" fmla="*/ 5648 w 877"/>
                <a:gd name="T23" fmla="*/ 98743 h 469"/>
                <a:gd name="T24" fmla="*/ 5648 w 877"/>
                <a:gd name="T25" fmla="*/ 95047 h 469"/>
                <a:gd name="T26" fmla="*/ 9992 w 877"/>
                <a:gd name="T27" fmla="*/ 76038 h 469"/>
                <a:gd name="T28" fmla="*/ 19115 w 877"/>
                <a:gd name="T29" fmla="*/ 59140 h 469"/>
                <a:gd name="T30" fmla="*/ 23460 w 877"/>
                <a:gd name="T31" fmla="*/ 48580 h 469"/>
                <a:gd name="T32" fmla="*/ 11295 w 877"/>
                <a:gd name="T33" fmla="*/ 26402 h 469"/>
                <a:gd name="T34" fmla="*/ 75157 w 877"/>
                <a:gd name="T35" fmla="*/ 13729 h 469"/>
                <a:gd name="T36" fmla="*/ 147274 w 877"/>
                <a:gd name="T37" fmla="*/ 26402 h 469"/>
                <a:gd name="T38" fmla="*/ 170299 w 877"/>
                <a:gd name="T39" fmla="*/ 6864 h 469"/>
                <a:gd name="T40" fmla="*/ 210701 w 877"/>
                <a:gd name="T41" fmla="*/ 0 h 469"/>
                <a:gd name="T42" fmla="*/ 251538 w 877"/>
                <a:gd name="T43" fmla="*/ 20065 h 469"/>
                <a:gd name="T44" fmla="*/ 277170 w 877"/>
                <a:gd name="T45" fmla="*/ 58612 h 469"/>
                <a:gd name="T46" fmla="*/ 314966 w 877"/>
                <a:gd name="T47" fmla="*/ 58612 h 469"/>
                <a:gd name="T48" fmla="*/ 364057 w 877"/>
                <a:gd name="T49" fmla="*/ 81846 h 469"/>
                <a:gd name="T50" fmla="*/ 375352 w 877"/>
                <a:gd name="T51" fmla="*/ 124089 h 469"/>
                <a:gd name="T52" fmla="*/ 349286 w 877"/>
                <a:gd name="T53" fmla="*/ 143626 h 469"/>
                <a:gd name="T54" fmla="*/ 327564 w 877"/>
                <a:gd name="T55" fmla="*/ 165276 h 469"/>
                <a:gd name="T56" fmla="*/ 298892 w 877"/>
                <a:gd name="T57" fmla="*/ 174253 h 469"/>
                <a:gd name="T58" fmla="*/ 288031 w 877"/>
                <a:gd name="T59" fmla="*/ 181117 h 469"/>
                <a:gd name="T60" fmla="*/ 281514 w 877"/>
                <a:gd name="T61" fmla="*/ 189038 h 469"/>
                <a:gd name="T62" fmla="*/ 280645 w 877"/>
                <a:gd name="T63" fmla="*/ 198014 h 469"/>
                <a:gd name="T64" fmla="*/ 283686 w 877"/>
                <a:gd name="T65" fmla="*/ 205935 h 469"/>
                <a:gd name="T66" fmla="*/ 289334 w 877"/>
                <a:gd name="T67" fmla="*/ 211743 h 469"/>
                <a:gd name="T68" fmla="*/ 308884 w 877"/>
                <a:gd name="T69" fmla="*/ 209103 h 469"/>
                <a:gd name="T70" fmla="*/ 321917 w 877"/>
                <a:gd name="T71" fmla="*/ 208047 h 469"/>
                <a:gd name="T72" fmla="*/ 318876 w 877"/>
                <a:gd name="T73" fmla="*/ 212799 h 469"/>
                <a:gd name="T74" fmla="*/ 311056 w 877"/>
                <a:gd name="T75" fmla="*/ 222304 h 469"/>
                <a:gd name="T76" fmla="*/ 303236 w 877"/>
                <a:gd name="T77" fmla="*/ 231281 h 469"/>
                <a:gd name="T78" fmla="*/ 299326 w 877"/>
                <a:gd name="T79" fmla="*/ 221248 h 469"/>
                <a:gd name="T80" fmla="*/ 291506 w 877"/>
                <a:gd name="T81" fmla="*/ 215440 h 469"/>
                <a:gd name="T82" fmla="*/ 289334 w 877"/>
                <a:gd name="T83" fmla="*/ 223360 h 469"/>
                <a:gd name="T84" fmla="*/ 279342 w 877"/>
                <a:gd name="T85" fmla="*/ 233393 h 469"/>
                <a:gd name="T86" fmla="*/ 268916 w 877"/>
                <a:gd name="T87" fmla="*/ 242898 h 469"/>
                <a:gd name="T88" fmla="*/ 265440 w 877"/>
                <a:gd name="T89" fmla="*/ 247650 h 469"/>
                <a:gd name="T90" fmla="*/ 258489 w 877"/>
                <a:gd name="T91" fmla="*/ 245010 h 469"/>
                <a:gd name="T92" fmla="*/ 253710 w 877"/>
                <a:gd name="T93" fmla="*/ 240257 h 469"/>
                <a:gd name="T94" fmla="*/ 249800 w 877"/>
                <a:gd name="T95" fmla="*/ 231809 h 469"/>
                <a:gd name="T96" fmla="*/ 248497 w 877"/>
                <a:gd name="T97" fmla="*/ 215440 h 469"/>
                <a:gd name="T98" fmla="*/ 238071 w 877"/>
                <a:gd name="T99" fmla="*/ 213328 h 469"/>
                <a:gd name="T100" fmla="*/ 225038 w 877"/>
                <a:gd name="T101" fmla="*/ 205407 h 469"/>
                <a:gd name="T102" fmla="*/ 242849 w 877"/>
                <a:gd name="T103" fmla="*/ 200127 h 469"/>
                <a:gd name="T104" fmla="*/ 271522 w 877"/>
                <a:gd name="T105" fmla="*/ 195374 h 469"/>
                <a:gd name="T106" fmla="*/ 214177 w 877"/>
                <a:gd name="T107" fmla="*/ 186926 h 469"/>
                <a:gd name="T108" fmla="*/ 193324 w 877"/>
                <a:gd name="T109" fmla="*/ 175837 h 469"/>
                <a:gd name="T110" fmla="*/ 172905 w 877"/>
                <a:gd name="T111" fmla="*/ 194846 h 469"/>
                <a:gd name="T112" fmla="*/ 165086 w 877"/>
                <a:gd name="T113" fmla="*/ 208575 h 469"/>
                <a:gd name="T114" fmla="*/ 153356 w 877"/>
                <a:gd name="T115" fmla="*/ 211215 h 469"/>
                <a:gd name="T116" fmla="*/ 142495 w 877"/>
                <a:gd name="T117" fmla="*/ 206991 h 469"/>
                <a:gd name="T118" fmla="*/ 132937 w 877"/>
                <a:gd name="T119" fmla="*/ 198542 h 46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7" name="Freeform 349">
              <a:extLst>
                <a:ext uri="{FF2B5EF4-FFF2-40B4-BE49-F238E27FC236}">
                  <a16:creationId xmlns:a16="http://schemas.microsoft.com/office/drawing/2014/main" id="{73C80295-1655-432B-8980-FFC83189B4D6}"/>
                </a:ext>
              </a:extLst>
            </p:cNvPr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6542089" y="2357438"/>
              <a:ext cx="47625" cy="63500"/>
            </a:xfrm>
            <a:custGeom>
              <a:avLst/>
              <a:gdLst>
                <a:gd name="T0" fmla="*/ 21364 w 107"/>
                <a:gd name="T1" fmla="*/ 0 h 123"/>
                <a:gd name="T2" fmla="*/ 36053 w 107"/>
                <a:gd name="T3" fmla="*/ 16004 h 123"/>
                <a:gd name="T4" fmla="*/ 41839 w 107"/>
                <a:gd name="T5" fmla="*/ 34589 h 123"/>
                <a:gd name="T6" fmla="*/ 47625 w 107"/>
                <a:gd name="T7" fmla="*/ 44398 h 123"/>
                <a:gd name="T8" fmla="*/ 47625 w 107"/>
                <a:gd name="T9" fmla="*/ 60402 h 123"/>
                <a:gd name="T10" fmla="*/ 47625 w 107"/>
                <a:gd name="T11" fmla="*/ 63500 h 123"/>
                <a:gd name="T12" fmla="*/ 39168 w 107"/>
                <a:gd name="T13" fmla="*/ 58854 h 123"/>
                <a:gd name="T14" fmla="*/ 32492 w 107"/>
                <a:gd name="T15" fmla="*/ 54207 h 123"/>
                <a:gd name="T16" fmla="*/ 27151 w 107"/>
                <a:gd name="T17" fmla="*/ 50593 h 123"/>
                <a:gd name="T18" fmla="*/ 24035 w 107"/>
                <a:gd name="T19" fmla="*/ 47496 h 123"/>
                <a:gd name="T20" fmla="*/ 22700 w 107"/>
                <a:gd name="T21" fmla="*/ 42850 h 123"/>
                <a:gd name="T22" fmla="*/ 21364 w 107"/>
                <a:gd name="T23" fmla="*/ 37687 h 123"/>
                <a:gd name="T24" fmla="*/ 17359 w 107"/>
                <a:gd name="T25" fmla="*/ 38203 h 123"/>
                <a:gd name="T26" fmla="*/ 14243 w 107"/>
                <a:gd name="T27" fmla="*/ 37687 h 123"/>
                <a:gd name="T28" fmla="*/ 11572 w 107"/>
                <a:gd name="T29" fmla="*/ 37171 h 123"/>
                <a:gd name="T30" fmla="*/ 9347 w 107"/>
                <a:gd name="T31" fmla="*/ 36138 h 123"/>
                <a:gd name="T32" fmla="*/ 7567 w 107"/>
                <a:gd name="T33" fmla="*/ 34589 h 123"/>
                <a:gd name="T34" fmla="*/ 6231 w 107"/>
                <a:gd name="T35" fmla="*/ 32524 h 123"/>
                <a:gd name="T36" fmla="*/ 4896 w 107"/>
                <a:gd name="T37" fmla="*/ 30459 h 123"/>
                <a:gd name="T38" fmla="*/ 4006 w 107"/>
                <a:gd name="T39" fmla="*/ 27878 h 123"/>
                <a:gd name="T40" fmla="*/ 1780 w 107"/>
                <a:gd name="T41" fmla="*/ 16004 h 123"/>
                <a:gd name="T42" fmla="*/ 0 w 107"/>
                <a:gd name="T43" fmla="*/ 3098 h 123"/>
                <a:gd name="T44" fmla="*/ 15133 w 107"/>
                <a:gd name="T45" fmla="*/ 0 h 123"/>
                <a:gd name="T46" fmla="*/ 21364 w 107"/>
                <a:gd name="T47" fmla="*/ 0 h 1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8" name="Freeform 350">
              <a:extLst>
                <a:ext uri="{FF2B5EF4-FFF2-40B4-BE49-F238E27FC236}">
                  <a16:creationId xmlns:a16="http://schemas.microsoft.com/office/drawing/2014/main" id="{54579EB6-D8E5-4950-BDDB-5815C190F065}"/>
                </a:ext>
              </a:extLst>
            </p:cNvPr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7085013" y="2371725"/>
              <a:ext cx="207962" cy="122238"/>
            </a:xfrm>
            <a:custGeom>
              <a:avLst/>
              <a:gdLst>
                <a:gd name="T0" fmla="*/ 46802 w 471"/>
                <a:gd name="T1" fmla="*/ 35000 h 234"/>
                <a:gd name="T2" fmla="*/ 73294 w 471"/>
                <a:gd name="T3" fmla="*/ 44925 h 234"/>
                <a:gd name="T4" fmla="*/ 120097 w 471"/>
                <a:gd name="T5" fmla="*/ 54850 h 234"/>
                <a:gd name="T6" fmla="*/ 164250 w 471"/>
                <a:gd name="T7" fmla="*/ 44925 h 234"/>
                <a:gd name="T8" fmla="*/ 169107 w 471"/>
                <a:gd name="T9" fmla="*/ 49627 h 234"/>
                <a:gd name="T10" fmla="*/ 172639 w 471"/>
                <a:gd name="T11" fmla="*/ 59552 h 234"/>
                <a:gd name="T12" fmla="*/ 179262 w 471"/>
                <a:gd name="T13" fmla="*/ 64776 h 234"/>
                <a:gd name="T14" fmla="*/ 187210 w 471"/>
                <a:gd name="T15" fmla="*/ 67388 h 234"/>
                <a:gd name="T16" fmla="*/ 191184 w 471"/>
                <a:gd name="T17" fmla="*/ 70000 h 234"/>
                <a:gd name="T18" fmla="*/ 194716 w 471"/>
                <a:gd name="T19" fmla="*/ 73656 h 234"/>
                <a:gd name="T20" fmla="*/ 197807 w 471"/>
                <a:gd name="T21" fmla="*/ 78880 h 234"/>
                <a:gd name="T22" fmla="*/ 200897 w 471"/>
                <a:gd name="T23" fmla="*/ 88805 h 234"/>
                <a:gd name="T24" fmla="*/ 207962 w 471"/>
                <a:gd name="T25" fmla="*/ 99253 h 234"/>
                <a:gd name="T26" fmla="*/ 154537 w 471"/>
                <a:gd name="T27" fmla="*/ 105522 h 234"/>
                <a:gd name="T28" fmla="*/ 145706 w 471"/>
                <a:gd name="T29" fmla="*/ 117014 h 234"/>
                <a:gd name="T30" fmla="*/ 139966 w 471"/>
                <a:gd name="T31" fmla="*/ 121716 h 234"/>
                <a:gd name="T32" fmla="*/ 135109 w 471"/>
                <a:gd name="T33" fmla="*/ 121716 h 234"/>
                <a:gd name="T34" fmla="*/ 131577 w 471"/>
                <a:gd name="T35" fmla="*/ 120148 h 234"/>
                <a:gd name="T36" fmla="*/ 128928 w 471"/>
                <a:gd name="T37" fmla="*/ 117014 h 234"/>
                <a:gd name="T38" fmla="*/ 127603 w 471"/>
                <a:gd name="T39" fmla="*/ 112835 h 234"/>
                <a:gd name="T40" fmla="*/ 125395 w 471"/>
                <a:gd name="T41" fmla="*/ 103955 h 234"/>
                <a:gd name="T42" fmla="*/ 122746 w 471"/>
                <a:gd name="T43" fmla="*/ 90895 h 234"/>
                <a:gd name="T44" fmla="*/ 118772 w 471"/>
                <a:gd name="T45" fmla="*/ 80970 h 234"/>
                <a:gd name="T46" fmla="*/ 113915 w 471"/>
                <a:gd name="T47" fmla="*/ 77313 h 234"/>
                <a:gd name="T48" fmla="*/ 108617 w 471"/>
                <a:gd name="T49" fmla="*/ 73656 h 234"/>
                <a:gd name="T50" fmla="*/ 104202 w 471"/>
                <a:gd name="T51" fmla="*/ 69477 h 234"/>
                <a:gd name="T52" fmla="*/ 98903 w 471"/>
                <a:gd name="T53" fmla="*/ 73134 h 234"/>
                <a:gd name="T54" fmla="*/ 91397 w 471"/>
                <a:gd name="T55" fmla="*/ 84626 h 234"/>
                <a:gd name="T56" fmla="*/ 88307 w 471"/>
                <a:gd name="T57" fmla="*/ 92462 h 234"/>
                <a:gd name="T58" fmla="*/ 83008 w 471"/>
                <a:gd name="T59" fmla="*/ 99253 h 234"/>
                <a:gd name="T60" fmla="*/ 73736 w 471"/>
                <a:gd name="T61" fmla="*/ 104999 h 234"/>
                <a:gd name="T62" fmla="*/ 64905 w 471"/>
                <a:gd name="T63" fmla="*/ 111268 h 234"/>
                <a:gd name="T64" fmla="*/ 57399 w 471"/>
                <a:gd name="T65" fmla="*/ 114402 h 234"/>
                <a:gd name="T66" fmla="*/ 50335 w 471"/>
                <a:gd name="T67" fmla="*/ 115969 h 234"/>
                <a:gd name="T68" fmla="*/ 42829 w 471"/>
                <a:gd name="T69" fmla="*/ 115447 h 234"/>
                <a:gd name="T70" fmla="*/ 36206 w 471"/>
                <a:gd name="T71" fmla="*/ 113357 h 234"/>
                <a:gd name="T72" fmla="*/ 27817 w 471"/>
                <a:gd name="T73" fmla="*/ 107089 h 234"/>
                <a:gd name="T74" fmla="*/ 26050 w 471"/>
                <a:gd name="T75" fmla="*/ 102910 h 234"/>
                <a:gd name="T76" fmla="*/ 26050 w 471"/>
                <a:gd name="T77" fmla="*/ 70522 h 234"/>
                <a:gd name="T78" fmla="*/ 0 w 471"/>
                <a:gd name="T79" fmla="*/ 51194 h 234"/>
                <a:gd name="T80" fmla="*/ 23401 w 471"/>
                <a:gd name="T81" fmla="*/ 41791 h 234"/>
                <a:gd name="T82" fmla="*/ 37972 w 471"/>
                <a:gd name="T83" fmla="*/ 15672 h 234"/>
                <a:gd name="T84" fmla="*/ 58724 w 471"/>
                <a:gd name="T85" fmla="*/ 0 h 234"/>
                <a:gd name="T86" fmla="*/ 73294 w 471"/>
                <a:gd name="T87" fmla="*/ 21940 h 2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9" name="Freeform 351">
              <a:extLst>
                <a:ext uri="{FF2B5EF4-FFF2-40B4-BE49-F238E27FC236}">
                  <a16:creationId xmlns:a16="http://schemas.microsoft.com/office/drawing/2014/main" id="{6947E05A-28CB-4299-B9AA-5977630C6A18}"/>
                </a:ext>
              </a:extLst>
            </p:cNvPr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7134226" y="2300288"/>
              <a:ext cx="225425" cy="125412"/>
            </a:xfrm>
            <a:custGeom>
              <a:avLst/>
              <a:gdLst>
                <a:gd name="T0" fmla="*/ 45514 w 525"/>
                <a:gd name="T1" fmla="*/ 96271 h 241"/>
                <a:gd name="T2" fmla="*/ 74283 w 525"/>
                <a:gd name="T3" fmla="*/ 77016 h 241"/>
                <a:gd name="T4" fmla="*/ 39932 w 525"/>
                <a:gd name="T5" fmla="*/ 54640 h 241"/>
                <a:gd name="T6" fmla="*/ 20181 w 525"/>
                <a:gd name="T7" fmla="*/ 60885 h 241"/>
                <a:gd name="T8" fmla="*/ 28339 w 525"/>
                <a:gd name="T9" fmla="*/ 31743 h 241"/>
                <a:gd name="T10" fmla="*/ 17175 w 525"/>
                <a:gd name="T11" fmla="*/ 22376 h 241"/>
                <a:gd name="T12" fmla="*/ 48091 w 525"/>
                <a:gd name="T13" fmla="*/ 13010 h 241"/>
                <a:gd name="T14" fmla="*/ 79865 w 525"/>
                <a:gd name="T15" fmla="*/ 0 h 241"/>
                <a:gd name="T16" fmla="*/ 133967 w 525"/>
                <a:gd name="T17" fmla="*/ 9887 h 241"/>
                <a:gd name="T18" fmla="*/ 188498 w 525"/>
                <a:gd name="T19" fmla="*/ 13010 h 241"/>
                <a:gd name="T20" fmla="*/ 225425 w 525"/>
                <a:gd name="T21" fmla="*/ 28621 h 241"/>
                <a:gd name="T22" fmla="*/ 222849 w 525"/>
                <a:gd name="T23" fmla="*/ 35906 h 241"/>
                <a:gd name="T24" fmla="*/ 218984 w 525"/>
                <a:gd name="T25" fmla="*/ 42671 h 241"/>
                <a:gd name="T26" fmla="*/ 214261 w 525"/>
                <a:gd name="T27" fmla="*/ 47875 h 241"/>
                <a:gd name="T28" fmla="*/ 208250 w 525"/>
                <a:gd name="T29" fmla="*/ 51518 h 241"/>
                <a:gd name="T30" fmla="*/ 189786 w 525"/>
                <a:gd name="T31" fmla="*/ 53599 h 241"/>
                <a:gd name="T32" fmla="*/ 179481 w 525"/>
                <a:gd name="T33" fmla="*/ 55681 h 241"/>
                <a:gd name="T34" fmla="*/ 174758 w 525"/>
                <a:gd name="T35" fmla="*/ 57762 h 241"/>
                <a:gd name="T36" fmla="*/ 171323 w 525"/>
                <a:gd name="T37" fmla="*/ 60885 h 241"/>
                <a:gd name="T38" fmla="*/ 166170 w 525"/>
                <a:gd name="T39" fmla="*/ 70772 h 241"/>
                <a:gd name="T40" fmla="*/ 162306 w 525"/>
                <a:gd name="T41" fmla="*/ 76496 h 241"/>
                <a:gd name="T42" fmla="*/ 156724 w 525"/>
                <a:gd name="T43" fmla="*/ 80139 h 241"/>
                <a:gd name="T44" fmla="*/ 130961 w 525"/>
                <a:gd name="T45" fmla="*/ 86383 h 241"/>
                <a:gd name="T46" fmla="*/ 117221 w 525"/>
                <a:gd name="T47" fmla="*/ 90026 h 241"/>
                <a:gd name="T48" fmla="*/ 111639 w 525"/>
                <a:gd name="T49" fmla="*/ 92628 h 241"/>
                <a:gd name="T50" fmla="*/ 112068 w 525"/>
                <a:gd name="T51" fmla="*/ 99913 h 241"/>
                <a:gd name="T52" fmla="*/ 112927 w 525"/>
                <a:gd name="T53" fmla="*/ 105637 h 241"/>
                <a:gd name="T54" fmla="*/ 117221 w 525"/>
                <a:gd name="T55" fmla="*/ 115525 h 241"/>
                <a:gd name="T56" fmla="*/ 94034 w 525"/>
                <a:gd name="T57" fmla="*/ 118647 h 241"/>
                <a:gd name="T58" fmla="*/ 48091 w 525"/>
                <a:gd name="T59" fmla="*/ 121769 h 241"/>
                <a:gd name="T60" fmla="*/ 8588 w 525"/>
                <a:gd name="T61" fmla="*/ 115525 h 241"/>
                <a:gd name="T62" fmla="*/ 22757 w 525"/>
                <a:gd name="T63" fmla="*/ 86383 h 24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0" name="Freeform 352">
              <a:extLst>
                <a:ext uri="{FF2B5EF4-FFF2-40B4-BE49-F238E27FC236}">
                  <a16:creationId xmlns:a16="http://schemas.microsoft.com/office/drawing/2014/main" id="{44C6C82D-1C2C-40CD-A30E-A17DA24AB19F}"/>
                </a:ext>
              </a:extLst>
            </p:cNvPr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6740525" y="2316163"/>
              <a:ext cx="342900" cy="227012"/>
            </a:xfrm>
            <a:custGeom>
              <a:avLst/>
              <a:gdLst>
                <a:gd name="T0" fmla="*/ 335902 w 784"/>
                <a:gd name="T1" fmla="*/ 154157 h 430"/>
                <a:gd name="T2" fmla="*/ 328467 w 784"/>
                <a:gd name="T3" fmla="*/ 154685 h 430"/>
                <a:gd name="T4" fmla="*/ 319719 w 784"/>
                <a:gd name="T5" fmla="*/ 159436 h 430"/>
                <a:gd name="T6" fmla="*/ 316220 w 784"/>
                <a:gd name="T7" fmla="*/ 162604 h 430"/>
                <a:gd name="T8" fmla="*/ 313596 w 784"/>
                <a:gd name="T9" fmla="*/ 175274 h 430"/>
                <a:gd name="T10" fmla="*/ 311847 w 784"/>
                <a:gd name="T11" fmla="*/ 190057 h 430"/>
                <a:gd name="T12" fmla="*/ 307910 w 784"/>
                <a:gd name="T13" fmla="*/ 198504 h 430"/>
                <a:gd name="T14" fmla="*/ 293477 w 784"/>
                <a:gd name="T15" fmla="*/ 212230 h 430"/>
                <a:gd name="T16" fmla="*/ 276857 w 784"/>
                <a:gd name="T17" fmla="*/ 221733 h 430"/>
                <a:gd name="T18" fmla="*/ 267672 w 784"/>
                <a:gd name="T19" fmla="*/ 223844 h 430"/>
                <a:gd name="T20" fmla="*/ 256738 w 784"/>
                <a:gd name="T21" fmla="*/ 226484 h 430"/>
                <a:gd name="T22" fmla="*/ 247990 w 784"/>
                <a:gd name="T23" fmla="*/ 225956 h 430"/>
                <a:gd name="T24" fmla="*/ 238368 w 784"/>
                <a:gd name="T25" fmla="*/ 204839 h 430"/>
                <a:gd name="T26" fmla="*/ 225247 w 784"/>
                <a:gd name="T27" fmla="*/ 181610 h 430"/>
                <a:gd name="T28" fmla="*/ 209064 w 784"/>
                <a:gd name="T29" fmla="*/ 176330 h 430"/>
                <a:gd name="T30" fmla="*/ 195943 w 784"/>
                <a:gd name="T31" fmla="*/ 166299 h 430"/>
                <a:gd name="T32" fmla="*/ 182384 w 784"/>
                <a:gd name="T33" fmla="*/ 155213 h 430"/>
                <a:gd name="T34" fmla="*/ 163140 w 784"/>
                <a:gd name="T35" fmla="*/ 144654 h 430"/>
                <a:gd name="T36" fmla="*/ 133836 w 784"/>
                <a:gd name="T37" fmla="*/ 136207 h 430"/>
                <a:gd name="T38" fmla="*/ 79602 w 784"/>
                <a:gd name="T39" fmla="*/ 149406 h 430"/>
                <a:gd name="T40" fmla="*/ 66043 w 784"/>
                <a:gd name="T41" fmla="*/ 161548 h 430"/>
                <a:gd name="T42" fmla="*/ 55546 w 784"/>
                <a:gd name="T43" fmla="*/ 162604 h 430"/>
                <a:gd name="T44" fmla="*/ 28867 w 784"/>
                <a:gd name="T45" fmla="*/ 133040 h 430"/>
                <a:gd name="T46" fmla="*/ 28867 w 784"/>
                <a:gd name="T47" fmla="*/ 107699 h 430"/>
                <a:gd name="T48" fmla="*/ 17495 w 784"/>
                <a:gd name="T49" fmla="*/ 94500 h 430"/>
                <a:gd name="T50" fmla="*/ 18370 w 784"/>
                <a:gd name="T51" fmla="*/ 105059 h 430"/>
                <a:gd name="T52" fmla="*/ 15745 w 784"/>
                <a:gd name="T53" fmla="*/ 115090 h 430"/>
                <a:gd name="T54" fmla="*/ 13121 w 784"/>
                <a:gd name="T55" fmla="*/ 116674 h 430"/>
                <a:gd name="T56" fmla="*/ 13559 w 784"/>
                <a:gd name="T57" fmla="*/ 107171 h 430"/>
                <a:gd name="T58" fmla="*/ 11809 w 784"/>
                <a:gd name="T59" fmla="*/ 91861 h 430"/>
                <a:gd name="T60" fmla="*/ 14433 w 784"/>
                <a:gd name="T61" fmla="*/ 86053 h 430"/>
                <a:gd name="T62" fmla="*/ 17495 w 784"/>
                <a:gd name="T63" fmla="*/ 80246 h 430"/>
                <a:gd name="T64" fmla="*/ 11809 w 784"/>
                <a:gd name="T65" fmla="*/ 68104 h 430"/>
                <a:gd name="T66" fmla="*/ 3062 w 784"/>
                <a:gd name="T67" fmla="*/ 66520 h 430"/>
                <a:gd name="T68" fmla="*/ 0 w 784"/>
                <a:gd name="T69" fmla="*/ 61768 h 430"/>
                <a:gd name="T70" fmla="*/ 1312 w 784"/>
                <a:gd name="T71" fmla="*/ 54905 h 430"/>
                <a:gd name="T72" fmla="*/ 4811 w 784"/>
                <a:gd name="T73" fmla="*/ 49626 h 430"/>
                <a:gd name="T74" fmla="*/ 11809 w 784"/>
                <a:gd name="T75" fmla="*/ 48570 h 430"/>
                <a:gd name="T76" fmla="*/ 17932 w 784"/>
                <a:gd name="T77" fmla="*/ 52266 h 430"/>
                <a:gd name="T78" fmla="*/ 24930 w 784"/>
                <a:gd name="T79" fmla="*/ 54905 h 430"/>
                <a:gd name="T80" fmla="*/ 31053 w 784"/>
                <a:gd name="T81" fmla="*/ 48570 h 430"/>
                <a:gd name="T82" fmla="*/ 36302 w 784"/>
                <a:gd name="T83" fmla="*/ 40651 h 430"/>
                <a:gd name="T84" fmla="*/ 38051 w 784"/>
                <a:gd name="T85" fmla="*/ 33788 h 430"/>
                <a:gd name="T86" fmla="*/ 34115 w 784"/>
                <a:gd name="T87" fmla="*/ 29036 h 430"/>
                <a:gd name="T88" fmla="*/ 24055 w 784"/>
                <a:gd name="T89" fmla="*/ 25869 h 430"/>
                <a:gd name="T90" fmla="*/ 20557 w 784"/>
                <a:gd name="T91" fmla="*/ 21117 h 430"/>
                <a:gd name="T92" fmla="*/ 17932 w 784"/>
                <a:gd name="T93" fmla="*/ 14782 h 430"/>
                <a:gd name="T94" fmla="*/ 46799 w 784"/>
                <a:gd name="T95" fmla="*/ 22701 h 430"/>
                <a:gd name="T96" fmla="*/ 95785 w 784"/>
                <a:gd name="T97" fmla="*/ 39067 h 430"/>
                <a:gd name="T98" fmla="*/ 119403 w 784"/>
                <a:gd name="T99" fmla="*/ 0 h 430"/>
                <a:gd name="T100" fmla="*/ 163140 w 784"/>
                <a:gd name="T101" fmla="*/ 22701 h 430"/>
                <a:gd name="T102" fmla="*/ 203378 w 784"/>
                <a:gd name="T103" fmla="*/ 48570 h 430"/>
                <a:gd name="T104" fmla="*/ 258487 w 784"/>
                <a:gd name="T105" fmla="*/ 110866 h 430"/>
                <a:gd name="T106" fmla="*/ 316658 w 784"/>
                <a:gd name="T107" fmla="*/ 139903 h 430"/>
                <a:gd name="T108" fmla="*/ 340276 w 784"/>
                <a:gd name="T109" fmla="*/ 155741 h 4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1" name="Freeform 353">
              <a:extLst>
                <a:ext uri="{FF2B5EF4-FFF2-40B4-BE49-F238E27FC236}">
                  <a16:creationId xmlns:a16="http://schemas.microsoft.com/office/drawing/2014/main" id="{80F388A3-3613-4F0E-9098-24D455C8339F}"/>
                </a:ext>
              </a:extLst>
            </p:cNvPr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5949950" y="2203451"/>
              <a:ext cx="107950" cy="149225"/>
            </a:xfrm>
            <a:custGeom>
              <a:avLst/>
              <a:gdLst>
                <a:gd name="T0" fmla="*/ 13165 w 246"/>
                <a:gd name="T1" fmla="*/ 14187 h 284"/>
                <a:gd name="T2" fmla="*/ 12287 w 246"/>
                <a:gd name="T3" fmla="*/ 12611 h 284"/>
                <a:gd name="T4" fmla="*/ 10532 w 246"/>
                <a:gd name="T5" fmla="*/ 8932 h 284"/>
                <a:gd name="T6" fmla="*/ 15359 w 246"/>
                <a:gd name="T7" fmla="*/ 2627 h 284"/>
                <a:gd name="T8" fmla="*/ 29401 w 246"/>
                <a:gd name="T9" fmla="*/ 525 h 284"/>
                <a:gd name="T10" fmla="*/ 55291 w 246"/>
                <a:gd name="T11" fmla="*/ 6305 h 284"/>
                <a:gd name="T12" fmla="*/ 57486 w 246"/>
                <a:gd name="T13" fmla="*/ 15763 h 284"/>
                <a:gd name="T14" fmla="*/ 60996 w 246"/>
                <a:gd name="T15" fmla="*/ 24170 h 284"/>
                <a:gd name="T16" fmla="*/ 66262 w 246"/>
                <a:gd name="T17" fmla="*/ 29950 h 284"/>
                <a:gd name="T18" fmla="*/ 72405 w 246"/>
                <a:gd name="T19" fmla="*/ 35204 h 284"/>
                <a:gd name="T20" fmla="*/ 83815 w 246"/>
                <a:gd name="T21" fmla="*/ 45713 h 284"/>
                <a:gd name="T22" fmla="*/ 89081 w 246"/>
                <a:gd name="T23" fmla="*/ 53069 h 284"/>
                <a:gd name="T24" fmla="*/ 93030 w 246"/>
                <a:gd name="T25" fmla="*/ 61476 h 284"/>
                <a:gd name="T26" fmla="*/ 99174 w 246"/>
                <a:gd name="T27" fmla="*/ 61476 h 284"/>
                <a:gd name="T28" fmla="*/ 96979 w 246"/>
                <a:gd name="T29" fmla="*/ 65155 h 284"/>
                <a:gd name="T30" fmla="*/ 96979 w 246"/>
                <a:gd name="T31" fmla="*/ 67782 h 284"/>
                <a:gd name="T32" fmla="*/ 100051 w 246"/>
                <a:gd name="T33" fmla="*/ 73562 h 284"/>
                <a:gd name="T34" fmla="*/ 104878 w 246"/>
                <a:gd name="T35" fmla="*/ 80918 h 284"/>
                <a:gd name="T36" fmla="*/ 107072 w 246"/>
                <a:gd name="T37" fmla="*/ 85121 h 284"/>
                <a:gd name="T38" fmla="*/ 107950 w 246"/>
                <a:gd name="T39" fmla="*/ 90901 h 284"/>
                <a:gd name="T40" fmla="*/ 105756 w 246"/>
                <a:gd name="T41" fmla="*/ 96681 h 284"/>
                <a:gd name="T42" fmla="*/ 102245 w 246"/>
                <a:gd name="T43" fmla="*/ 100885 h 284"/>
                <a:gd name="T44" fmla="*/ 97857 w 246"/>
                <a:gd name="T45" fmla="*/ 104037 h 284"/>
                <a:gd name="T46" fmla="*/ 96541 w 246"/>
                <a:gd name="T47" fmla="*/ 107190 h 284"/>
                <a:gd name="T48" fmla="*/ 82937 w 246"/>
                <a:gd name="T49" fmla="*/ 112970 h 284"/>
                <a:gd name="T50" fmla="*/ 71967 w 246"/>
                <a:gd name="T51" fmla="*/ 120851 h 284"/>
                <a:gd name="T52" fmla="*/ 49587 w 246"/>
                <a:gd name="T53" fmla="*/ 139242 h 284"/>
                <a:gd name="T54" fmla="*/ 38616 w 246"/>
                <a:gd name="T55" fmla="*/ 121377 h 284"/>
                <a:gd name="T56" fmla="*/ 34667 w 246"/>
                <a:gd name="T57" fmla="*/ 115597 h 284"/>
                <a:gd name="T58" fmla="*/ 31595 w 246"/>
                <a:gd name="T59" fmla="*/ 113495 h 284"/>
                <a:gd name="T60" fmla="*/ 26329 w 246"/>
                <a:gd name="T61" fmla="*/ 114021 h 284"/>
                <a:gd name="T62" fmla="*/ 23696 w 246"/>
                <a:gd name="T63" fmla="*/ 116122 h 284"/>
                <a:gd name="T64" fmla="*/ 21502 w 246"/>
                <a:gd name="T65" fmla="*/ 119800 h 284"/>
                <a:gd name="T66" fmla="*/ 21063 w 246"/>
                <a:gd name="T67" fmla="*/ 124004 h 284"/>
                <a:gd name="T68" fmla="*/ 19747 w 246"/>
                <a:gd name="T69" fmla="*/ 135038 h 284"/>
                <a:gd name="T70" fmla="*/ 17992 w 246"/>
                <a:gd name="T71" fmla="*/ 141869 h 284"/>
                <a:gd name="T72" fmla="*/ 14481 w 246"/>
                <a:gd name="T73" fmla="*/ 149225 h 284"/>
                <a:gd name="T74" fmla="*/ 11409 w 246"/>
                <a:gd name="T75" fmla="*/ 127682 h 284"/>
                <a:gd name="T76" fmla="*/ 7460 w 246"/>
                <a:gd name="T77" fmla="*/ 119275 h 284"/>
                <a:gd name="T78" fmla="*/ 4827 w 246"/>
                <a:gd name="T79" fmla="*/ 116122 h 284"/>
                <a:gd name="T80" fmla="*/ 0 w 246"/>
                <a:gd name="T81" fmla="*/ 113495 h 284"/>
                <a:gd name="T82" fmla="*/ 439 w 246"/>
                <a:gd name="T83" fmla="*/ 107190 h 284"/>
                <a:gd name="T84" fmla="*/ 1755 w 246"/>
                <a:gd name="T85" fmla="*/ 101410 h 284"/>
                <a:gd name="T86" fmla="*/ 6582 w 246"/>
                <a:gd name="T87" fmla="*/ 92477 h 284"/>
                <a:gd name="T88" fmla="*/ 13603 w 246"/>
                <a:gd name="T89" fmla="*/ 84596 h 284"/>
                <a:gd name="T90" fmla="*/ 20186 w 246"/>
                <a:gd name="T91" fmla="*/ 74087 h 284"/>
                <a:gd name="T92" fmla="*/ 14481 w 246"/>
                <a:gd name="T93" fmla="*/ 23119 h 28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2" name="Freeform 354">
              <a:extLst>
                <a:ext uri="{FF2B5EF4-FFF2-40B4-BE49-F238E27FC236}">
                  <a16:creationId xmlns:a16="http://schemas.microsoft.com/office/drawing/2014/main" id="{303A02B2-6C21-432A-8D49-48F514C35369}"/>
                </a:ext>
              </a:extLst>
            </p:cNvPr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5997576" y="2311401"/>
              <a:ext cx="68263" cy="60325"/>
            </a:xfrm>
            <a:custGeom>
              <a:avLst/>
              <a:gdLst>
                <a:gd name="T0" fmla="*/ 48637 w 160"/>
                <a:gd name="T1" fmla="*/ 0 h 117"/>
                <a:gd name="T2" fmla="*/ 48637 w 160"/>
                <a:gd name="T3" fmla="*/ 4640 h 117"/>
                <a:gd name="T4" fmla="*/ 48637 w 160"/>
                <a:gd name="T5" fmla="*/ 9281 h 117"/>
                <a:gd name="T6" fmla="*/ 49064 w 160"/>
                <a:gd name="T7" fmla="*/ 12890 h 117"/>
                <a:gd name="T8" fmla="*/ 49917 w 160"/>
                <a:gd name="T9" fmla="*/ 16499 h 117"/>
                <a:gd name="T10" fmla="*/ 50771 w 160"/>
                <a:gd name="T11" fmla="*/ 17530 h 117"/>
                <a:gd name="T12" fmla="*/ 51624 w 160"/>
                <a:gd name="T13" fmla="*/ 19077 h 117"/>
                <a:gd name="T14" fmla="*/ 52477 w 160"/>
                <a:gd name="T15" fmla="*/ 19593 h 117"/>
                <a:gd name="T16" fmla="*/ 54184 w 160"/>
                <a:gd name="T17" fmla="*/ 20108 h 117"/>
                <a:gd name="T18" fmla="*/ 55890 w 160"/>
                <a:gd name="T19" fmla="*/ 20624 h 117"/>
                <a:gd name="T20" fmla="*/ 57597 w 160"/>
                <a:gd name="T21" fmla="*/ 20108 h 117"/>
                <a:gd name="T22" fmla="*/ 59730 w 160"/>
                <a:gd name="T23" fmla="*/ 19593 h 117"/>
                <a:gd name="T24" fmla="*/ 62290 w 160"/>
                <a:gd name="T25" fmla="*/ 18562 h 117"/>
                <a:gd name="T26" fmla="*/ 63570 w 160"/>
                <a:gd name="T27" fmla="*/ 22171 h 117"/>
                <a:gd name="T28" fmla="*/ 65276 w 160"/>
                <a:gd name="T29" fmla="*/ 26811 h 117"/>
                <a:gd name="T30" fmla="*/ 66983 w 160"/>
                <a:gd name="T31" fmla="*/ 32998 h 117"/>
                <a:gd name="T32" fmla="*/ 68263 w 160"/>
                <a:gd name="T33" fmla="*/ 38154 h 117"/>
                <a:gd name="T34" fmla="*/ 56744 w 160"/>
                <a:gd name="T35" fmla="*/ 45373 h 117"/>
                <a:gd name="T36" fmla="*/ 45224 w 160"/>
                <a:gd name="T37" fmla="*/ 52591 h 117"/>
                <a:gd name="T38" fmla="*/ 39251 w 160"/>
                <a:gd name="T39" fmla="*/ 55169 h 117"/>
                <a:gd name="T40" fmla="*/ 32425 w 160"/>
                <a:gd name="T41" fmla="*/ 58263 h 117"/>
                <a:gd name="T42" fmla="*/ 26452 w 160"/>
                <a:gd name="T43" fmla="*/ 59809 h 117"/>
                <a:gd name="T44" fmla="*/ 20052 w 160"/>
                <a:gd name="T45" fmla="*/ 60325 h 117"/>
                <a:gd name="T46" fmla="*/ 13653 w 160"/>
                <a:gd name="T47" fmla="*/ 51044 h 117"/>
                <a:gd name="T48" fmla="*/ 8960 w 160"/>
                <a:gd name="T49" fmla="*/ 42795 h 117"/>
                <a:gd name="T50" fmla="*/ 4266 w 160"/>
                <a:gd name="T51" fmla="*/ 35576 h 117"/>
                <a:gd name="T52" fmla="*/ 0 w 160"/>
                <a:gd name="T53" fmla="*/ 28358 h 117"/>
                <a:gd name="T54" fmla="*/ 5546 w 160"/>
                <a:gd name="T55" fmla="*/ 24749 h 117"/>
                <a:gd name="T56" fmla="*/ 17492 w 160"/>
                <a:gd name="T57" fmla="*/ 16499 h 117"/>
                <a:gd name="T58" fmla="*/ 25599 w 160"/>
                <a:gd name="T59" fmla="*/ 11859 h 117"/>
                <a:gd name="T60" fmla="*/ 33278 w 160"/>
                <a:gd name="T61" fmla="*/ 7218 h 117"/>
                <a:gd name="T62" fmla="*/ 41384 w 160"/>
                <a:gd name="T63" fmla="*/ 3094 h 117"/>
                <a:gd name="T64" fmla="*/ 48637 w 160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3" name="Freeform 355">
              <a:extLst>
                <a:ext uri="{FF2B5EF4-FFF2-40B4-BE49-F238E27FC236}">
                  <a16:creationId xmlns:a16="http://schemas.microsoft.com/office/drawing/2014/main" id="{0D3B7B74-CBEA-41CE-AE78-D8E73631CD2F}"/>
                </a:ext>
              </a:extLst>
            </p:cNvPr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6081713" y="2935289"/>
              <a:ext cx="411162" cy="611187"/>
            </a:xfrm>
            <a:custGeom>
              <a:avLst/>
              <a:gdLst>
                <a:gd name="T0" fmla="*/ 323523 w 943"/>
                <a:gd name="T1" fmla="*/ 2607 h 1172"/>
                <a:gd name="T2" fmla="*/ 333551 w 943"/>
                <a:gd name="T3" fmla="*/ 11994 h 1172"/>
                <a:gd name="T4" fmla="*/ 350120 w 943"/>
                <a:gd name="T5" fmla="*/ 15645 h 1172"/>
                <a:gd name="T6" fmla="*/ 354916 w 943"/>
                <a:gd name="T7" fmla="*/ 28682 h 1172"/>
                <a:gd name="T8" fmla="*/ 364072 w 943"/>
                <a:gd name="T9" fmla="*/ 56842 h 1172"/>
                <a:gd name="T10" fmla="*/ 364944 w 943"/>
                <a:gd name="T11" fmla="*/ 97519 h 1172"/>
                <a:gd name="T12" fmla="*/ 373665 w 943"/>
                <a:gd name="T13" fmla="*/ 126722 h 1172"/>
                <a:gd name="T14" fmla="*/ 402006 w 943"/>
                <a:gd name="T15" fmla="*/ 152275 h 1172"/>
                <a:gd name="T16" fmla="*/ 383257 w 943"/>
                <a:gd name="T17" fmla="*/ 188258 h 1172"/>
                <a:gd name="T18" fmla="*/ 371049 w 943"/>
                <a:gd name="T19" fmla="*/ 213811 h 1172"/>
                <a:gd name="T20" fmla="*/ 352736 w 943"/>
                <a:gd name="T21" fmla="*/ 331147 h 1172"/>
                <a:gd name="T22" fmla="*/ 335731 w 943"/>
                <a:gd name="T23" fmla="*/ 353049 h 1172"/>
                <a:gd name="T24" fmla="*/ 332679 w 943"/>
                <a:gd name="T25" fmla="*/ 375995 h 1172"/>
                <a:gd name="T26" fmla="*/ 324831 w 943"/>
                <a:gd name="T27" fmla="*/ 383296 h 1172"/>
                <a:gd name="T28" fmla="*/ 315239 w 943"/>
                <a:gd name="T29" fmla="*/ 416150 h 1172"/>
                <a:gd name="T30" fmla="*/ 301722 w 943"/>
                <a:gd name="T31" fmla="*/ 457347 h 1172"/>
                <a:gd name="T32" fmla="*/ 288642 w 943"/>
                <a:gd name="T33" fmla="*/ 470906 h 1172"/>
                <a:gd name="T34" fmla="*/ 289514 w 943"/>
                <a:gd name="T35" fmla="*/ 487072 h 1172"/>
                <a:gd name="T36" fmla="*/ 299106 w 943"/>
                <a:gd name="T37" fmla="*/ 489680 h 1172"/>
                <a:gd name="T38" fmla="*/ 309135 w 943"/>
                <a:gd name="T39" fmla="*/ 495416 h 1172"/>
                <a:gd name="T40" fmla="*/ 323523 w 943"/>
                <a:gd name="T41" fmla="*/ 506367 h 1172"/>
                <a:gd name="T42" fmla="*/ 329627 w 943"/>
                <a:gd name="T43" fmla="*/ 525141 h 1172"/>
                <a:gd name="T44" fmla="*/ 337912 w 943"/>
                <a:gd name="T45" fmla="*/ 543915 h 1172"/>
                <a:gd name="T46" fmla="*/ 350120 w 943"/>
                <a:gd name="T47" fmla="*/ 549130 h 1172"/>
                <a:gd name="T48" fmla="*/ 352736 w 943"/>
                <a:gd name="T49" fmla="*/ 570511 h 1172"/>
                <a:gd name="T50" fmla="*/ 313059 w 943"/>
                <a:gd name="T51" fmla="*/ 581462 h 1172"/>
                <a:gd name="T52" fmla="*/ 299542 w 943"/>
                <a:gd name="T53" fmla="*/ 603365 h 1172"/>
                <a:gd name="T54" fmla="*/ 260737 w 943"/>
                <a:gd name="T55" fmla="*/ 610144 h 1172"/>
                <a:gd name="T56" fmla="*/ 224548 w 943"/>
                <a:gd name="T57" fmla="*/ 603886 h 1172"/>
                <a:gd name="T58" fmla="*/ 202311 w 943"/>
                <a:gd name="T59" fmla="*/ 585634 h 1172"/>
                <a:gd name="T60" fmla="*/ 170046 w 943"/>
                <a:gd name="T61" fmla="*/ 586677 h 1172"/>
                <a:gd name="T62" fmla="*/ 139089 w 943"/>
                <a:gd name="T63" fmla="*/ 584069 h 1172"/>
                <a:gd name="T64" fmla="*/ 129496 w 943"/>
                <a:gd name="T65" fmla="*/ 575726 h 1172"/>
                <a:gd name="T66" fmla="*/ 128188 w 943"/>
                <a:gd name="T67" fmla="*/ 560602 h 1172"/>
                <a:gd name="T68" fmla="*/ 119468 w 943"/>
                <a:gd name="T69" fmla="*/ 536614 h 1172"/>
                <a:gd name="T70" fmla="*/ 94179 w 943"/>
                <a:gd name="T71" fmla="*/ 507932 h 1172"/>
                <a:gd name="T72" fmla="*/ 84151 w 943"/>
                <a:gd name="T73" fmla="*/ 482379 h 1172"/>
                <a:gd name="T74" fmla="*/ 66274 w 943"/>
                <a:gd name="T75" fmla="*/ 470906 h 1172"/>
                <a:gd name="T76" fmla="*/ 52322 w 943"/>
                <a:gd name="T77" fmla="*/ 441181 h 1172"/>
                <a:gd name="T78" fmla="*/ 42293 w 943"/>
                <a:gd name="T79" fmla="*/ 410935 h 1172"/>
                <a:gd name="T80" fmla="*/ 28341 w 943"/>
                <a:gd name="T81" fmla="*/ 395290 h 1172"/>
                <a:gd name="T82" fmla="*/ 14388 w 943"/>
                <a:gd name="T83" fmla="*/ 352528 h 1172"/>
                <a:gd name="T84" fmla="*/ 1744 w 943"/>
                <a:gd name="T85" fmla="*/ 318631 h 1172"/>
                <a:gd name="T86" fmla="*/ 7848 w 943"/>
                <a:gd name="T87" fmla="*/ 300900 h 1172"/>
                <a:gd name="T88" fmla="*/ 12644 w 943"/>
                <a:gd name="T89" fmla="*/ 271697 h 1172"/>
                <a:gd name="T90" fmla="*/ 27905 w 943"/>
                <a:gd name="T91" fmla="*/ 247187 h 1172"/>
                <a:gd name="T92" fmla="*/ 49270 w 943"/>
                <a:gd name="T93" fmla="*/ 115771 h 1172"/>
                <a:gd name="T94" fmla="*/ 53630 w 943"/>
                <a:gd name="T95" fmla="*/ 93347 h 1172"/>
                <a:gd name="T96" fmla="*/ 66710 w 943"/>
                <a:gd name="T97" fmla="*/ 89175 h 1172"/>
                <a:gd name="T98" fmla="*/ 69762 w 943"/>
                <a:gd name="T99" fmla="*/ 63622 h 1172"/>
                <a:gd name="T100" fmla="*/ 69326 w 943"/>
                <a:gd name="T101" fmla="*/ 34940 h 1172"/>
                <a:gd name="T102" fmla="*/ 296054 w 943"/>
                <a:gd name="T103" fmla="*/ 35983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4" name="Freeform 356">
              <a:extLst>
                <a:ext uri="{FF2B5EF4-FFF2-40B4-BE49-F238E27FC236}">
                  <a16:creationId xmlns:a16="http://schemas.microsoft.com/office/drawing/2014/main" id="{469FCF63-0923-42C7-B6CE-A54DE71CD891}"/>
                </a:ext>
              </a:extLst>
            </p:cNvPr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6565901" y="3275013"/>
              <a:ext cx="244475" cy="431800"/>
            </a:xfrm>
            <a:custGeom>
              <a:avLst/>
              <a:gdLst>
                <a:gd name="T0" fmla="*/ 43091 w 556"/>
                <a:gd name="T1" fmla="*/ 32688 h 819"/>
                <a:gd name="T2" fmla="*/ 49247 w 556"/>
                <a:gd name="T3" fmla="*/ 29525 h 819"/>
                <a:gd name="T4" fmla="*/ 56722 w 556"/>
                <a:gd name="T5" fmla="*/ 36379 h 819"/>
                <a:gd name="T6" fmla="*/ 65516 w 556"/>
                <a:gd name="T7" fmla="*/ 44814 h 819"/>
                <a:gd name="T8" fmla="*/ 75189 w 556"/>
                <a:gd name="T9" fmla="*/ 48505 h 819"/>
                <a:gd name="T10" fmla="*/ 94536 w 556"/>
                <a:gd name="T11" fmla="*/ 46396 h 819"/>
                <a:gd name="T12" fmla="*/ 113004 w 556"/>
                <a:gd name="T13" fmla="*/ 43233 h 819"/>
                <a:gd name="T14" fmla="*/ 127954 w 556"/>
                <a:gd name="T15" fmla="*/ 41651 h 819"/>
                <a:gd name="T16" fmla="*/ 132351 w 556"/>
                <a:gd name="T17" fmla="*/ 39015 h 819"/>
                <a:gd name="T18" fmla="*/ 132351 w 556"/>
                <a:gd name="T19" fmla="*/ 35852 h 819"/>
                <a:gd name="T20" fmla="*/ 156095 w 556"/>
                <a:gd name="T21" fmla="*/ 33215 h 819"/>
                <a:gd name="T22" fmla="*/ 190831 w 556"/>
                <a:gd name="T23" fmla="*/ 23725 h 819"/>
                <a:gd name="T24" fmla="*/ 210618 w 556"/>
                <a:gd name="T25" fmla="*/ 14762 h 819"/>
                <a:gd name="T26" fmla="*/ 226007 w 556"/>
                <a:gd name="T27" fmla="*/ 4218 h 819"/>
                <a:gd name="T28" fmla="*/ 240518 w 556"/>
                <a:gd name="T29" fmla="*/ 16344 h 819"/>
                <a:gd name="T30" fmla="*/ 244035 w 556"/>
                <a:gd name="T31" fmla="*/ 30052 h 819"/>
                <a:gd name="T32" fmla="*/ 242716 w 556"/>
                <a:gd name="T33" fmla="*/ 59577 h 819"/>
                <a:gd name="T34" fmla="*/ 233922 w 556"/>
                <a:gd name="T35" fmla="*/ 91738 h 819"/>
                <a:gd name="T36" fmla="*/ 220731 w 556"/>
                <a:gd name="T37" fmla="*/ 121790 h 819"/>
                <a:gd name="T38" fmla="*/ 196547 w 556"/>
                <a:gd name="T39" fmla="*/ 169240 h 819"/>
                <a:gd name="T40" fmla="*/ 185994 w 556"/>
                <a:gd name="T41" fmla="*/ 197711 h 819"/>
                <a:gd name="T42" fmla="*/ 180278 w 556"/>
                <a:gd name="T43" fmla="*/ 218800 h 819"/>
                <a:gd name="T44" fmla="*/ 166648 w 556"/>
                <a:gd name="T45" fmla="*/ 249379 h 819"/>
                <a:gd name="T46" fmla="*/ 145102 w 556"/>
                <a:gd name="T47" fmla="*/ 279958 h 819"/>
                <a:gd name="T48" fmla="*/ 126635 w 556"/>
                <a:gd name="T49" fmla="*/ 298411 h 819"/>
                <a:gd name="T50" fmla="*/ 105089 w 556"/>
                <a:gd name="T51" fmla="*/ 316337 h 819"/>
                <a:gd name="T52" fmla="*/ 73870 w 556"/>
                <a:gd name="T53" fmla="*/ 343226 h 819"/>
                <a:gd name="T54" fmla="*/ 62878 w 556"/>
                <a:gd name="T55" fmla="*/ 358515 h 819"/>
                <a:gd name="T56" fmla="*/ 57601 w 556"/>
                <a:gd name="T57" fmla="*/ 369060 h 819"/>
                <a:gd name="T58" fmla="*/ 51006 w 556"/>
                <a:gd name="T59" fmla="*/ 378023 h 819"/>
                <a:gd name="T60" fmla="*/ 31219 w 556"/>
                <a:gd name="T61" fmla="*/ 392785 h 819"/>
                <a:gd name="T62" fmla="*/ 8354 w 556"/>
                <a:gd name="T63" fmla="*/ 422310 h 819"/>
                <a:gd name="T64" fmla="*/ 879 w 556"/>
                <a:gd name="T65" fmla="*/ 297357 h 819"/>
                <a:gd name="T66" fmla="*/ 1319 w 556"/>
                <a:gd name="T67" fmla="*/ 292084 h 819"/>
                <a:gd name="T68" fmla="*/ 11872 w 556"/>
                <a:gd name="T69" fmla="*/ 281013 h 819"/>
                <a:gd name="T70" fmla="*/ 18468 w 556"/>
                <a:gd name="T71" fmla="*/ 272050 h 819"/>
                <a:gd name="T72" fmla="*/ 26382 w 556"/>
                <a:gd name="T73" fmla="*/ 262032 h 819"/>
                <a:gd name="T74" fmla="*/ 48807 w 556"/>
                <a:gd name="T75" fmla="*/ 253070 h 819"/>
                <a:gd name="T76" fmla="*/ 52325 w 556"/>
                <a:gd name="T77" fmla="*/ 247797 h 819"/>
                <a:gd name="T78" fmla="*/ 56722 w 556"/>
                <a:gd name="T79" fmla="*/ 238307 h 819"/>
                <a:gd name="T80" fmla="*/ 66835 w 556"/>
                <a:gd name="T81" fmla="*/ 231980 h 819"/>
                <a:gd name="T82" fmla="*/ 76508 w 556"/>
                <a:gd name="T83" fmla="*/ 231453 h 819"/>
                <a:gd name="T84" fmla="*/ 86182 w 556"/>
                <a:gd name="T85" fmla="*/ 231453 h 819"/>
                <a:gd name="T86" fmla="*/ 100252 w 556"/>
                <a:gd name="T87" fmla="*/ 226181 h 819"/>
                <a:gd name="T88" fmla="*/ 110366 w 556"/>
                <a:gd name="T89" fmla="*/ 213527 h 819"/>
                <a:gd name="T90" fmla="*/ 116521 w 556"/>
                <a:gd name="T91" fmla="*/ 199820 h 819"/>
                <a:gd name="T92" fmla="*/ 130152 w 556"/>
                <a:gd name="T93" fmla="*/ 182948 h 819"/>
                <a:gd name="T94" fmla="*/ 155655 w 556"/>
                <a:gd name="T95" fmla="*/ 154478 h 819"/>
                <a:gd name="T96" fmla="*/ 165768 w 556"/>
                <a:gd name="T97" fmla="*/ 140243 h 819"/>
                <a:gd name="T98" fmla="*/ 142464 w 556"/>
                <a:gd name="T99" fmla="*/ 129698 h 819"/>
                <a:gd name="T100" fmla="*/ 113004 w 556"/>
                <a:gd name="T101" fmla="*/ 120208 h 819"/>
                <a:gd name="T102" fmla="*/ 80905 w 556"/>
                <a:gd name="T103" fmla="*/ 110191 h 819"/>
                <a:gd name="T104" fmla="*/ 65516 w 556"/>
                <a:gd name="T105" fmla="*/ 98592 h 819"/>
                <a:gd name="T106" fmla="*/ 49247 w 556"/>
                <a:gd name="T107" fmla="*/ 81193 h 819"/>
                <a:gd name="T108" fmla="*/ 39134 w 556"/>
                <a:gd name="T109" fmla="*/ 63795 h 819"/>
                <a:gd name="T110" fmla="*/ 33857 w 556"/>
                <a:gd name="T111" fmla="*/ 42178 h 819"/>
                <a:gd name="T112" fmla="*/ 28581 w 556"/>
                <a:gd name="T113" fmla="*/ 45869 h 819"/>
                <a:gd name="T114" fmla="*/ 36935 w 556"/>
                <a:gd name="T115" fmla="*/ 35852 h 81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5" name="Freeform 357">
              <a:extLst>
                <a:ext uri="{FF2B5EF4-FFF2-40B4-BE49-F238E27FC236}">
                  <a16:creationId xmlns:a16="http://schemas.microsoft.com/office/drawing/2014/main" id="{E4A7A5BC-D6DB-4F93-AEFD-68FC1DCE605F}"/>
                </a:ext>
              </a:extLst>
            </p:cNvPr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6573838" y="3262314"/>
              <a:ext cx="38100" cy="58737"/>
            </a:xfrm>
            <a:custGeom>
              <a:avLst/>
              <a:gdLst>
                <a:gd name="T0" fmla="*/ 26138 w 86"/>
                <a:gd name="T1" fmla="*/ 0 h 97"/>
                <a:gd name="T2" fmla="*/ 24809 w 86"/>
                <a:gd name="T3" fmla="*/ 1211 h 97"/>
                <a:gd name="T4" fmla="*/ 23037 w 86"/>
                <a:gd name="T5" fmla="*/ 1817 h 97"/>
                <a:gd name="T6" fmla="*/ 20379 w 86"/>
                <a:gd name="T7" fmla="*/ 1817 h 97"/>
                <a:gd name="T8" fmla="*/ 17721 w 86"/>
                <a:gd name="T9" fmla="*/ 1817 h 97"/>
                <a:gd name="T10" fmla="*/ 14620 w 86"/>
                <a:gd name="T11" fmla="*/ 1817 h 97"/>
                <a:gd name="T12" fmla="*/ 11962 w 86"/>
                <a:gd name="T13" fmla="*/ 1817 h 97"/>
                <a:gd name="T14" fmla="*/ 10190 w 86"/>
                <a:gd name="T15" fmla="*/ 2422 h 97"/>
                <a:gd name="T16" fmla="*/ 8860 w 86"/>
                <a:gd name="T17" fmla="*/ 3633 h 97"/>
                <a:gd name="T18" fmla="*/ 7088 w 86"/>
                <a:gd name="T19" fmla="*/ 5450 h 97"/>
                <a:gd name="T20" fmla="*/ 5759 w 86"/>
                <a:gd name="T21" fmla="*/ 7266 h 97"/>
                <a:gd name="T22" fmla="*/ 4873 w 86"/>
                <a:gd name="T23" fmla="*/ 9083 h 97"/>
                <a:gd name="T24" fmla="*/ 3544 w 86"/>
                <a:gd name="T25" fmla="*/ 12111 h 97"/>
                <a:gd name="T26" fmla="*/ 1772 w 86"/>
                <a:gd name="T27" fmla="*/ 17561 h 97"/>
                <a:gd name="T28" fmla="*/ 886 w 86"/>
                <a:gd name="T29" fmla="*/ 23010 h 97"/>
                <a:gd name="T30" fmla="*/ 0 w 86"/>
                <a:gd name="T31" fmla="*/ 34516 h 97"/>
                <a:gd name="T32" fmla="*/ 0 w 86"/>
                <a:gd name="T33" fmla="*/ 45415 h 97"/>
                <a:gd name="T34" fmla="*/ 0 w 86"/>
                <a:gd name="T35" fmla="*/ 49048 h 97"/>
                <a:gd name="T36" fmla="*/ 443 w 86"/>
                <a:gd name="T37" fmla="*/ 52076 h 97"/>
                <a:gd name="T38" fmla="*/ 1329 w 86"/>
                <a:gd name="T39" fmla="*/ 54498 h 97"/>
                <a:gd name="T40" fmla="*/ 3101 w 86"/>
                <a:gd name="T41" fmla="*/ 56315 h 97"/>
                <a:gd name="T42" fmla="*/ 4430 w 86"/>
                <a:gd name="T43" fmla="*/ 57526 h 97"/>
                <a:gd name="T44" fmla="*/ 5759 w 86"/>
                <a:gd name="T45" fmla="*/ 58131 h 97"/>
                <a:gd name="T46" fmla="*/ 7974 w 86"/>
                <a:gd name="T47" fmla="*/ 58737 h 97"/>
                <a:gd name="T48" fmla="*/ 9303 w 86"/>
                <a:gd name="T49" fmla="*/ 58737 h 97"/>
                <a:gd name="T50" fmla="*/ 17721 w 86"/>
                <a:gd name="T51" fmla="*/ 57526 h 97"/>
                <a:gd name="T52" fmla="*/ 23480 w 86"/>
                <a:gd name="T53" fmla="*/ 56315 h 97"/>
                <a:gd name="T54" fmla="*/ 38100 w 86"/>
                <a:gd name="T55" fmla="*/ 41176 h 97"/>
                <a:gd name="T56" fmla="*/ 26138 w 86"/>
                <a:gd name="T57" fmla="*/ 0 h 9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6" name="Freeform 358">
              <a:extLst>
                <a:ext uri="{FF2B5EF4-FFF2-40B4-BE49-F238E27FC236}">
                  <a16:creationId xmlns:a16="http://schemas.microsoft.com/office/drawing/2014/main" id="{FC83306F-AF61-45F8-A1AB-A8328651B5D3}"/>
                </a:ext>
              </a:extLst>
            </p:cNvPr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6372225" y="3173414"/>
              <a:ext cx="363538" cy="376237"/>
            </a:xfrm>
            <a:custGeom>
              <a:avLst/>
              <a:gdLst>
                <a:gd name="T0" fmla="*/ 78300 w 845"/>
                <a:gd name="T1" fmla="*/ 18812 h 720"/>
                <a:gd name="T2" fmla="*/ 88196 w 845"/>
                <a:gd name="T3" fmla="*/ 14631 h 720"/>
                <a:gd name="T4" fmla="*/ 106265 w 845"/>
                <a:gd name="T5" fmla="*/ 0 h 720"/>
                <a:gd name="T6" fmla="*/ 117451 w 845"/>
                <a:gd name="T7" fmla="*/ 6271 h 720"/>
                <a:gd name="T8" fmla="*/ 140683 w 845"/>
                <a:gd name="T9" fmla="*/ 19334 h 720"/>
                <a:gd name="T10" fmla="*/ 163485 w 845"/>
                <a:gd name="T11" fmla="*/ 35011 h 720"/>
                <a:gd name="T12" fmla="*/ 183275 w 845"/>
                <a:gd name="T13" fmla="*/ 51210 h 720"/>
                <a:gd name="T14" fmla="*/ 190158 w 845"/>
                <a:gd name="T15" fmla="*/ 65319 h 720"/>
                <a:gd name="T16" fmla="*/ 190589 w 845"/>
                <a:gd name="T17" fmla="*/ 73157 h 720"/>
                <a:gd name="T18" fmla="*/ 197042 w 845"/>
                <a:gd name="T19" fmla="*/ 76815 h 720"/>
                <a:gd name="T20" fmla="*/ 214681 w 845"/>
                <a:gd name="T21" fmla="*/ 93014 h 720"/>
                <a:gd name="T22" fmla="*/ 217693 w 845"/>
                <a:gd name="T23" fmla="*/ 89879 h 720"/>
                <a:gd name="T24" fmla="*/ 209949 w 845"/>
                <a:gd name="T25" fmla="*/ 96149 h 720"/>
                <a:gd name="T26" fmla="*/ 206937 w 845"/>
                <a:gd name="T27" fmla="*/ 105555 h 720"/>
                <a:gd name="T28" fmla="*/ 206937 w 845"/>
                <a:gd name="T29" fmla="*/ 131683 h 720"/>
                <a:gd name="T30" fmla="*/ 212100 w 845"/>
                <a:gd name="T31" fmla="*/ 137954 h 720"/>
                <a:gd name="T32" fmla="*/ 226297 w 845"/>
                <a:gd name="T33" fmla="*/ 138476 h 720"/>
                <a:gd name="T34" fmla="*/ 234471 w 845"/>
                <a:gd name="T35" fmla="*/ 166694 h 720"/>
                <a:gd name="T36" fmla="*/ 250820 w 845"/>
                <a:gd name="T37" fmla="*/ 188641 h 720"/>
                <a:gd name="T38" fmla="*/ 277494 w 845"/>
                <a:gd name="T39" fmla="*/ 209021 h 720"/>
                <a:gd name="T40" fmla="*/ 317504 w 845"/>
                <a:gd name="T41" fmla="*/ 224697 h 720"/>
                <a:gd name="T42" fmla="*/ 363538 w 845"/>
                <a:gd name="T43" fmla="*/ 234626 h 720"/>
                <a:gd name="T44" fmla="*/ 348910 w 845"/>
                <a:gd name="T45" fmla="*/ 251870 h 720"/>
                <a:gd name="T46" fmla="*/ 314493 w 845"/>
                <a:gd name="T47" fmla="*/ 285836 h 720"/>
                <a:gd name="T48" fmla="*/ 306318 w 845"/>
                <a:gd name="T49" fmla="*/ 302557 h 720"/>
                <a:gd name="T50" fmla="*/ 299865 w 845"/>
                <a:gd name="T51" fmla="*/ 322414 h 720"/>
                <a:gd name="T52" fmla="*/ 289970 w 845"/>
                <a:gd name="T53" fmla="*/ 328685 h 720"/>
                <a:gd name="T54" fmla="*/ 249529 w 845"/>
                <a:gd name="T55" fmla="*/ 342271 h 720"/>
                <a:gd name="T56" fmla="*/ 240494 w 845"/>
                <a:gd name="T57" fmla="*/ 350632 h 720"/>
                <a:gd name="T58" fmla="*/ 225867 w 845"/>
                <a:gd name="T59" fmla="*/ 355857 h 720"/>
                <a:gd name="T60" fmla="*/ 207367 w 845"/>
                <a:gd name="T61" fmla="*/ 362128 h 720"/>
                <a:gd name="T62" fmla="*/ 198333 w 845"/>
                <a:gd name="T63" fmla="*/ 355335 h 720"/>
                <a:gd name="T64" fmla="*/ 183705 w 845"/>
                <a:gd name="T65" fmla="*/ 354812 h 720"/>
                <a:gd name="T66" fmla="*/ 174240 w 845"/>
                <a:gd name="T67" fmla="*/ 365263 h 720"/>
                <a:gd name="T68" fmla="*/ 167787 w 845"/>
                <a:gd name="T69" fmla="*/ 373102 h 720"/>
                <a:gd name="T70" fmla="*/ 154880 w 845"/>
                <a:gd name="T71" fmla="*/ 376237 h 720"/>
                <a:gd name="T72" fmla="*/ 136811 w 845"/>
                <a:gd name="T73" fmla="*/ 373102 h 720"/>
                <a:gd name="T74" fmla="*/ 124334 w 845"/>
                <a:gd name="T75" fmla="*/ 364741 h 720"/>
                <a:gd name="T76" fmla="*/ 105835 w 845"/>
                <a:gd name="T77" fmla="*/ 350632 h 720"/>
                <a:gd name="T78" fmla="*/ 77870 w 845"/>
                <a:gd name="T79" fmla="*/ 345406 h 720"/>
                <a:gd name="T80" fmla="*/ 60231 w 845"/>
                <a:gd name="T81" fmla="*/ 341226 h 720"/>
                <a:gd name="T82" fmla="*/ 64964 w 845"/>
                <a:gd name="T83" fmla="*/ 320847 h 720"/>
                <a:gd name="T84" fmla="*/ 54638 w 845"/>
                <a:gd name="T85" fmla="*/ 311441 h 720"/>
                <a:gd name="T86" fmla="*/ 46464 w 845"/>
                <a:gd name="T87" fmla="*/ 304647 h 720"/>
                <a:gd name="T88" fmla="*/ 40011 w 845"/>
                <a:gd name="T89" fmla="*/ 287926 h 720"/>
                <a:gd name="T90" fmla="*/ 33127 w 845"/>
                <a:gd name="T91" fmla="*/ 267024 h 720"/>
                <a:gd name="T92" fmla="*/ 21081 w 845"/>
                <a:gd name="T93" fmla="*/ 255528 h 720"/>
                <a:gd name="T94" fmla="*/ 6884 w 845"/>
                <a:gd name="T95" fmla="*/ 249257 h 720"/>
                <a:gd name="T96" fmla="*/ 2151 w 845"/>
                <a:gd name="T97" fmla="*/ 246644 h 720"/>
                <a:gd name="T98" fmla="*/ 860 w 845"/>
                <a:gd name="T99" fmla="*/ 234103 h 720"/>
                <a:gd name="T100" fmla="*/ 9035 w 845"/>
                <a:gd name="T101" fmla="*/ 220517 h 720"/>
                <a:gd name="T102" fmla="*/ 23662 w 845"/>
                <a:gd name="T103" fmla="*/ 215814 h 720"/>
                <a:gd name="T104" fmla="*/ 28825 w 845"/>
                <a:gd name="T105" fmla="*/ 167739 h 720"/>
                <a:gd name="T106" fmla="*/ 35278 w 845"/>
                <a:gd name="T107" fmla="*/ 143702 h 720"/>
                <a:gd name="T108" fmla="*/ 40871 w 845"/>
                <a:gd name="T109" fmla="*/ 135863 h 720"/>
                <a:gd name="T110" fmla="*/ 44313 w 845"/>
                <a:gd name="T111" fmla="*/ 123322 h 720"/>
                <a:gd name="T112" fmla="*/ 49906 w 845"/>
                <a:gd name="T113" fmla="*/ 107646 h 720"/>
                <a:gd name="T114" fmla="*/ 63673 w 845"/>
                <a:gd name="T115" fmla="*/ 93014 h 720"/>
                <a:gd name="T116" fmla="*/ 71847 w 845"/>
                <a:gd name="T117" fmla="*/ 83608 h 72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7" name="Line 359">
              <a:extLst>
                <a:ext uri="{FF2B5EF4-FFF2-40B4-BE49-F238E27FC236}">
                  <a16:creationId xmlns:a16="http://schemas.microsoft.com/office/drawing/2014/main" id="{E485A697-9AE0-4F7D-9A5B-75CD0CC78398}"/>
                </a:ext>
              </a:extLst>
            </p:cNvPr>
            <p:cNvSpPr>
              <a:spLocks noChangeShapeType="1"/>
            </p:cNvSpPr>
            <p:nvPr>
              <p:custDataLst>
                <p:tags r:id="rId262"/>
              </p:custDataLst>
            </p:nvPr>
          </p:nvSpPr>
          <p:spPr bwMode="auto">
            <a:xfrm flipH="1">
              <a:off x="3232151" y="3692525"/>
              <a:ext cx="4763" cy="793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8" name="Freeform 360">
              <a:extLst>
                <a:ext uri="{FF2B5EF4-FFF2-40B4-BE49-F238E27FC236}">
                  <a16:creationId xmlns:a16="http://schemas.microsoft.com/office/drawing/2014/main" id="{1EA8680B-9B91-4793-B417-D1257CDC716C}"/>
                </a:ext>
              </a:extLst>
            </p:cNvPr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3232150" y="3700464"/>
              <a:ext cx="12700" cy="58737"/>
            </a:xfrm>
            <a:custGeom>
              <a:avLst/>
              <a:gdLst>
                <a:gd name="T0" fmla="*/ 0 w 33"/>
                <a:gd name="T1" fmla="*/ 0 h 6"/>
                <a:gd name="T2" fmla="*/ 2694 w 33"/>
                <a:gd name="T3" fmla="*/ 9790 h 6"/>
                <a:gd name="T4" fmla="*/ 5773 w 33"/>
                <a:gd name="T5" fmla="*/ 29369 h 6"/>
                <a:gd name="T6" fmla="*/ 8852 w 33"/>
                <a:gd name="T7" fmla="*/ 48948 h 6"/>
                <a:gd name="T8" fmla="*/ 12700 w 33"/>
                <a:gd name="T9" fmla="*/ 5873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9" name="Freeform 361">
              <a:extLst>
                <a:ext uri="{FF2B5EF4-FFF2-40B4-BE49-F238E27FC236}">
                  <a16:creationId xmlns:a16="http://schemas.microsoft.com/office/drawing/2014/main" id="{C2E5148C-9D74-4501-B69A-ACE479D6B629}"/>
                </a:ext>
              </a:extLst>
            </p:cNvPr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3240088" y="3687763"/>
              <a:ext cx="4762" cy="57150"/>
            </a:xfrm>
            <a:custGeom>
              <a:avLst/>
              <a:gdLst>
                <a:gd name="T0" fmla="*/ 4762 w 13"/>
                <a:gd name="T1" fmla="*/ 57150 h 30"/>
                <a:gd name="T2" fmla="*/ 4762 w 13"/>
                <a:gd name="T3" fmla="*/ 0 h 30"/>
                <a:gd name="T4" fmla="*/ 0 w 13"/>
                <a:gd name="T5" fmla="*/ 0 h 3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270" name="Group 362">
              <a:extLst>
                <a:ext uri="{FF2B5EF4-FFF2-40B4-BE49-F238E27FC236}">
                  <a16:creationId xmlns:a16="http://schemas.microsoft.com/office/drawing/2014/main" id="{C38DFBFA-C659-4F4E-AE77-985391F1065D}"/>
                </a:ext>
              </a:extLst>
            </p:cNvPr>
            <p:cNvGrpSpPr>
              <a:grpSpLocks/>
            </p:cNvGrpSpPr>
            <p:nvPr>
              <p:custDataLst>
                <p:tags r:id="rId265"/>
              </p:custDataLst>
            </p:nvPr>
          </p:nvGrpSpPr>
          <p:grpSpPr bwMode="auto">
            <a:xfrm>
              <a:off x="3232151" y="3622676"/>
              <a:ext cx="417513" cy="201613"/>
              <a:chOff x="912" y="2626"/>
              <a:chExt cx="311" cy="127"/>
            </a:xfrm>
          </p:grpSpPr>
          <p:sp>
            <p:nvSpPr>
              <p:cNvPr id="456" name="Freeform 363">
                <a:extLst>
                  <a:ext uri="{FF2B5EF4-FFF2-40B4-BE49-F238E27FC236}">
                    <a16:creationId xmlns:a16="http://schemas.microsoft.com/office/drawing/2014/main" id="{EBBA38A3-A5AF-4A2C-8612-3867F6DC85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100 w 352"/>
                  <a:gd name="T1" fmla="*/ 26 h 387"/>
                  <a:gd name="T2" fmla="*/ 92 w 352"/>
                  <a:gd name="T3" fmla="*/ 26 h 387"/>
                  <a:gd name="T4" fmla="*/ 85 w 352"/>
                  <a:gd name="T5" fmla="*/ 26 h 387"/>
                  <a:gd name="T6" fmla="*/ 80 w 352"/>
                  <a:gd name="T7" fmla="*/ 24 h 387"/>
                  <a:gd name="T8" fmla="*/ 71 w 352"/>
                  <a:gd name="T9" fmla="*/ 19 h 387"/>
                  <a:gd name="T10" fmla="*/ 54 w 352"/>
                  <a:gd name="T11" fmla="*/ 7 h 387"/>
                  <a:gd name="T12" fmla="*/ 44 w 352"/>
                  <a:gd name="T13" fmla="*/ 2 h 387"/>
                  <a:gd name="T14" fmla="*/ 41 w 352"/>
                  <a:gd name="T15" fmla="*/ 6 h 387"/>
                  <a:gd name="T16" fmla="*/ 38 w 352"/>
                  <a:gd name="T17" fmla="*/ 10 h 387"/>
                  <a:gd name="T18" fmla="*/ 34 w 352"/>
                  <a:gd name="T19" fmla="*/ 11 h 387"/>
                  <a:gd name="T20" fmla="*/ 28 w 352"/>
                  <a:gd name="T21" fmla="*/ 18 h 387"/>
                  <a:gd name="T22" fmla="*/ 17 w 352"/>
                  <a:gd name="T23" fmla="*/ 32 h 387"/>
                  <a:gd name="T24" fmla="*/ 10 w 352"/>
                  <a:gd name="T25" fmla="*/ 43 h 387"/>
                  <a:gd name="T26" fmla="*/ 5 w 352"/>
                  <a:gd name="T27" fmla="*/ 51 h 387"/>
                  <a:gd name="T28" fmla="*/ 2 w 352"/>
                  <a:gd name="T29" fmla="*/ 58 h 387"/>
                  <a:gd name="T30" fmla="*/ 0 w 352"/>
                  <a:gd name="T31" fmla="*/ 65 h 387"/>
                  <a:gd name="T32" fmla="*/ 0 w 352"/>
                  <a:gd name="T33" fmla="*/ 70 h 387"/>
                  <a:gd name="T34" fmla="*/ 1 w 352"/>
                  <a:gd name="T35" fmla="*/ 73 h 387"/>
                  <a:gd name="T36" fmla="*/ 3 w 352"/>
                  <a:gd name="T37" fmla="*/ 76 h 387"/>
                  <a:gd name="T38" fmla="*/ 8 w 352"/>
                  <a:gd name="T39" fmla="*/ 79 h 387"/>
                  <a:gd name="T40" fmla="*/ 13 w 352"/>
                  <a:gd name="T41" fmla="*/ 80 h 387"/>
                  <a:gd name="T42" fmla="*/ 17 w 352"/>
                  <a:gd name="T43" fmla="*/ 80 h 387"/>
                  <a:gd name="T44" fmla="*/ 20 w 352"/>
                  <a:gd name="T45" fmla="*/ 79 h 387"/>
                  <a:gd name="T46" fmla="*/ 23 w 352"/>
                  <a:gd name="T47" fmla="*/ 77 h 387"/>
                  <a:gd name="T48" fmla="*/ 25 w 352"/>
                  <a:gd name="T49" fmla="*/ 77 h 387"/>
                  <a:gd name="T50" fmla="*/ 26 w 352"/>
                  <a:gd name="T51" fmla="*/ 78 h 387"/>
                  <a:gd name="T52" fmla="*/ 26 w 352"/>
                  <a:gd name="T53" fmla="*/ 84 h 387"/>
                  <a:gd name="T54" fmla="*/ 24 w 352"/>
                  <a:gd name="T55" fmla="*/ 92 h 387"/>
                  <a:gd name="T56" fmla="*/ 23 w 352"/>
                  <a:gd name="T57" fmla="*/ 95 h 387"/>
                  <a:gd name="T58" fmla="*/ 23 w 352"/>
                  <a:gd name="T59" fmla="*/ 101 h 387"/>
                  <a:gd name="T60" fmla="*/ 26 w 352"/>
                  <a:gd name="T61" fmla="*/ 109 h 387"/>
                  <a:gd name="T62" fmla="*/ 29 w 352"/>
                  <a:gd name="T63" fmla="*/ 115 h 387"/>
                  <a:gd name="T64" fmla="*/ 39 w 352"/>
                  <a:gd name="T65" fmla="*/ 122 h 387"/>
                  <a:gd name="T66" fmla="*/ 46 w 352"/>
                  <a:gd name="T67" fmla="*/ 126 h 387"/>
                  <a:gd name="T68" fmla="*/ 49 w 352"/>
                  <a:gd name="T69" fmla="*/ 127 h 387"/>
                  <a:gd name="T70" fmla="*/ 52 w 352"/>
                  <a:gd name="T71" fmla="*/ 124 h 387"/>
                  <a:gd name="T72" fmla="*/ 56 w 352"/>
                  <a:gd name="T73" fmla="*/ 119 h 387"/>
                  <a:gd name="T74" fmla="*/ 57 w 352"/>
                  <a:gd name="T75" fmla="*/ 115 h 387"/>
                  <a:gd name="T76" fmla="*/ 58 w 352"/>
                  <a:gd name="T77" fmla="*/ 111 h 387"/>
                  <a:gd name="T78" fmla="*/ 59 w 352"/>
                  <a:gd name="T79" fmla="*/ 106 h 387"/>
                  <a:gd name="T80" fmla="*/ 63 w 352"/>
                  <a:gd name="T81" fmla="*/ 100 h 387"/>
                  <a:gd name="T82" fmla="*/ 69 w 352"/>
                  <a:gd name="T83" fmla="*/ 92 h 387"/>
                  <a:gd name="T84" fmla="*/ 76 w 352"/>
                  <a:gd name="T85" fmla="*/ 86 h 387"/>
                  <a:gd name="T86" fmla="*/ 85 w 352"/>
                  <a:gd name="T87" fmla="*/ 82 h 387"/>
                  <a:gd name="T88" fmla="*/ 96 w 352"/>
                  <a:gd name="T89" fmla="*/ 75 h 387"/>
                  <a:gd name="T90" fmla="*/ 104 w 352"/>
                  <a:gd name="T91" fmla="*/ 70 h 387"/>
                  <a:gd name="T92" fmla="*/ 109 w 352"/>
                  <a:gd name="T93" fmla="*/ 65 h 387"/>
                  <a:gd name="T94" fmla="*/ 111 w 352"/>
                  <a:gd name="T95" fmla="*/ 61 h 387"/>
                  <a:gd name="T96" fmla="*/ 113 w 352"/>
                  <a:gd name="T97" fmla="*/ 55 h 387"/>
                  <a:gd name="T98" fmla="*/ 113 w 352"/>
                  <a:gd name="T99" fmla="*/ 49 h 387"/>
                  <a:gd name="T100" fmla="*/ 110 w 352"/>
                  <a:gd name="T101" fmla="*/ 41 h 387"/>
                  <a:gd name="T102" fmla="*/ 106 w 352"/>
                  <a:gd name="T103" fmla="*/ 30 h 38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7" name="Freeform 364">
                <a:extLst>
                  <a:ext uri="{FF2B5EF4-FFF2-40B4-BE49-F238E27FC236}">
                    <a16:creationId xmlns:a16="http://schemas.microsoft.com/office/drawing/2014/main" id="{8476C5DE-EFAC-4957-96DF-874383D1E7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5 w 52"/>
                  <a:gd name="T1" fmla="*/ 0 h 78"/>
                  <a:gd name="T2" fmla="*/ 7 w 52"/>
                  <a:gd name="T3" fmla="*/ 0 h 78"/>
                  <a:gd name="T4" fmla="*/ 8 w 52"/>
                  <a:gd name="T5" fmla="*/ 1 h 78"/>
                  <a:gd name="T6" fmla="*/ 10 w 52"/>
                  <a:gd name="T7" fmla="*/ 2 h 78"/>
                  <a:gd name="T8" fmla="*/ 12 w 52"/>
                  <a:gd name="T9" fmla="*/ 3 h 78"/>
                  <a:gd name="T10" fmla="*/ 13 w 52"/>
                  <a:gd name="T11" fmla="*/ 4 h 78"/>
                  <a:gd name="T12" fmla="*/ 15 w 52"/>
                  <a:gd name="T13" fmla="*/ 6 h 78"/>
                  <a:gd name="T14" fmla="*/ 15 w 52"/>
                  <a:gd name="T15" fmla="*/ 7 h 78"/>
                  <a:gd name="T16" fmla="*/ 16 w 52"/>
                  <a:gd name="T17" fmla="*/ 8 h 78"/>
                  <a:gd name="T18" fmla="*/ 17 w 52"/>
                  <a:gd name="T19" fmla="*/ 11 h 78"/>
                  <a:gd name="T20" fmla="*/ 17 w 52"/>
                  <a:gd name="T21" fmla="*/ 14 h 78"/>
                  <a:gd name="T22" fmla="*/ 17 w 52"/>
                  <a:gd name="T23" fmla="*/ 15 h 78"/>
                  <a:gd name="T24" fmla="*/ 16 w 52"/>
                  <a:gd name="T25" fmla="*/ 17 h 78"/>
                  <a:gd name="T26" fmla="*/ 15 w 52"/>
                  <a:gd name="T27" fmla="*/ 18 h 78"/>
                  <a:gd name="T28" fmla="*/ 14 w 52"/>
                  <a:gd name="T29" fmla="*/ 20 h 78"/>
                  <a:gd name="T30" fmla="*/ 13 w 52"/>
                  <a:gd name="T31" fmla="*/ 22 h 78"/>
                  <a:gd name="T32" fmla="*/ 13 w 52"/>
                  <a:gd name="T33" fmla="*/ 24 h 78"/>
                  <a:gd name="T34" fmla="*/ 9 w 52"/>
                  <a:gd name="T35" fmla="*/ 25 h 78"/>
                  <a:gd name="T36" fmla="*/ 5 w 52"/>
                  <a:gd name="T37" fmla="*/ 26 h 78"/>
                  <a:gd name="T38" fmla="*/ 4 w 52"/>
                  <a:gd name="T39" fmla="*/ 26 h 78"/>
                  <a:gd name="T40" fmla="*/ 2 w 52"/>
                  <a:gd name="T41" fmla="*/ 26 h 78"/>
                  <a:gd name="T42" fmla="*/ 1 w 52"/>
                  <a:gd name="T43" fmla="*/ 26 h 78"/>
                  <a:gd name="T44" fmla="*/ 1 w 52"/>
                  <a:gd name="T45" fmla="*/ 26 h 78"/>
                  <a:gd name="T46" fmla="*/ 1 w 52"/>
                  <a:gd name="T47" fmla="*/ 25 h 78"/>
                  <a:gd name="T48" fmla="*/ 0 w 52"/>
                  <a:gd name="T49" fmla="*/ 24 h 78"/>
                  <a:gd name="T50" fmla="*/ 0 w 52"/>
                  <a:gd name="T51" fmla="*/ 23 h 78"/>
                  <a:gd name="T52" fmla="*/ 0 w 52"/>
                  <a:gd name="T53" fmla="*/ 21 h 78"/>
                  <a:gd name="T54" fmla="*/ 1 w 52"/>
                  <a:gd name="T55" fmla="*/ 20 h 78"/>
                  <a:gd name="T56" fmla="*/ 2 w 52"/>
                  <a:gd name="T57" fmla="*/ 19 h 78"/>
                  <a:gd name="T58" fmla="*/ 6 w 52"/>
                  <a:gd name="T59" fmla="*/ 16 h 78"/>
                  <a:gd name="T60" fmla="*/ 9 w 52"/>
                  <a:gd name="T61" fmla="*/ 14 h 78"/>
                  <a:gd name="T62" fmla="*/ 8 w 52"/>
                  <a:gd name="T63" fmla="*/ 11 h 78"/>
                  <a:gd name="T64" fmla="*/ 7 w 52"/>
                  <a:gd name="T65" fmla="*/ 7 h 78"/>
                  <a:gd name="T66" fmla="*/ 6 w 52"/>
                  <a:gd name="T67" fmla="*/ 3 h 78"/>
                  <a:gd name="T68" fmla="*/ 5 w 52"/>
                  <a:gd name="T69" fmla="*/ 0 h 7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8" name="Freeform 365">
                <a:extLst>
                  <a:ext uri="{FF2B5EF4-FFF2-40B4-BE49-F238E27FC236}">
                    <a16:creationId xmlns:a16="http://schemas.microsoft.com/office/drawing/2014/main" id="{177C035F-5C28-4DBD-948F-A142A03B14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4 w 33"/>
                  <a:gd name="T1" fmla="*/ 2 h 30"/>
                  <a:gd name="T2" fmla="*/ 0 w 33"/>
                  <a:gd name="T3" fmla="*/ 8 h 30"/>
                  <a:gd name="T4" fmla="*/ 2 w 33"/>
                  <a:gd name="T5" fmla="*/ 8 h 30"/>
                  <a:gd name="T6" fmla="*/ 4 w 33"/>
                  <a:gd name="T7" fmla="*/ 9 h 30"/>
                  <a:gd name="T8" fmla="*/ 6 w 33"/>
                  <a:gd name="T9" fmla="*/ 10 h 30"/>
                  <a:gd name="T10" fmla="*/ 9 w 33"/>
                  <a:gd name="T11" fmla="*/ 10 h 30"/>
                  <a:gd name="T12" fmla="*/ 9 w 33"/>
                  <a:gd name="T13" fmla="*/ 0 h 30"/>
                  <a:gd name="T14" fmla="*/ 5 w 33"/>
                  <a:gd name="T15" fmla="*/ 0 h 30"/>
                  <a:gd name="T16" fmla="*/ 4 w 33"/>
                  <a:gd name="T17" fmla="*/ 2 h 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271" name="Freeform 366">
              <a:extLst>
                <a:ext uri="{FF2B5EF4-FFF2-40B4-BE49-F238E27FC236}">
                  <a16:creationId xmlns:a16="http://schemas.microsoft.com/office/drawing/2014/main" id="{75F4735C-F601-44BC-9B56-D8B4E76C0DCA}"/>
                </a:ext>
              </a:extLst>
            </p:cNvPr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6880225" y="4340225"/>
              <a:ext cx="19050" cy="58738"/>
            </a:xfrm>
            <a:custGeom>
              <a:avLst/>
              <a:gdLst>
                <a:gd name="T0" fmla="*/ 5269 w 47"/>
                <a:gd name="T1" fmla="*/ 0 h 28"/>
                <a:gd name="T2" fmla="*/ 10133 w 47"/>
                <a:gd name="T3" fmla="*/ 0 h 28"/>
                <a:gd name="T4" fmla="*/ 12565 w 47"/>
                <a:gd name="T5" fmla="*/ 4196 h 28"/>
                <a:gd name="T6" fmla="*/ 13376 w 47"/>
                <a:gd name="T7" fmla="*/ 8391 h 28"/>
                <a:gd name="T8" fmla="*/ 13376 w 47"/>
                <a:gd name="T9" fmla="*/ 12587 h 28"/>
                <a:gd name="T10" fmla="*/ 12970 w 47"/>
                <a:gd name="T11" fmla="*/ 16782 h 28"/>
                <a:gd name="T12" fmla="*/ 13376 w 47"/>
                <a:gd name="T13" fmla="*/ 20978 h 28"/>
                <a:gd name="T14" fmla="*/ 14997 w 47"/>
                <a:gd name="T15" fmla="*/ 25173 h 28"/>
                <a:gd name="T16" fmla="*/ 19050 w 47"/>
                <a:gd name="T17" fmla="*/ 25173 h 28"/>
                <a:gd name="T18" fmla="*/ 17023 w 47"/>
                <a:gd name="T19" fmla="*/ 39858 h 28"/>
                <a:gd name="T20" fmla="*/ 14997 w 47"/>
                <a:gd name="T21" fmla="*/ 52445 h 28"/>
                <a:gd name="T22" fmla="*/ 13376 w 47"/>
                <a:gd name="T23" fmla="*/ 56640 h 28"/>
                <a:gd name="T24" fmla="*/ 11349 w 47"/>
                <a:gd name="T25" fmla="*/ 58738 h 28"/>
                <a:gd name="T26" fmla="*/ 6485 w 47"/>
                <a:gd name="T27" fmla="*/ 56640 h 28"/>
                <a:gd name="T28" fmla="*/ 0 w 47"/>
                <a:gd name="T29" fmla="*/ 52445 h 28"/>
                <a:gd name="T30" fmla="*/ 405 w 47"/>
                <a:gd name="T31" fmla="*/ 39858 h 28"/>
                <a:gd name="T32" fmla="*/ 811 w 47"/>
                <a:gd name="T33" fmla="*/ 31467 h 28"/>
                <a:gd name="T34" fmla="*/ 1621 w 47"/>
                <a:gd name="T35" fmla="*/ 27271 h 28"/>
                <a:gd name="T36" fmla="*/ 2432 w 47"/>
                <a:gd name="T37" fmla="*/ 25173 h 28"/>
                <a:gd name="T38" fmla="*/ 3648 w 47"/>
                <a:gd name="T39" fmla="*/ 23076 h 28"/>
                <a:gd name="T40" fmla="*/ 4459 w 47"/>
                <a:gd name="T41" fmla="*/ 18880 h 28"/>
                <a:gd name="T42" fmla="*/ 5269 w 47"/>
                <a:gd name="T43" fmla="*/ 10489 h 28"/>
                <a:gd name="T44" fmla="*/ 5269 w 47"/>
                <a:gd name="T45" fmla="*/ 0 h 2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2" name="Freeform 367">
              <a:extLst>
                <a:ext uri="{FF2B5EF4-FFF2-40B4-BE49-F238E27FC236}">
                  <a16:creationId xmlns:a16="http://schemas.microsoft.com/office/drawing/2014/main" id="{1DE6810E-9014-4834-B012-3BC1B4860233}"/>
                </a:ext>
              </a:extLst>
            </p:cNvPr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6851651" y="4367213"/>
              <a:ext cx="23813" cy="57150"/>
            </a:xfrm>
            <a:custGeom>
              <a:avLst/>
              <a:gdLst>
                <a:gd name="T0" fmla="*/ 5841 w 53"/>
                <a:gd name="T1" fmla="*/ 0 h 33"/>
                <a:gd name="T2" fmla="*/ 11682 w 53"/>
                <a:gd name="T3" fmla="*/ 1732 h 33"/>
                <a:gd name="T4" fmla="*/ 15276 w 53"/>
                <a:gd name="T5" fmla="*/ 1732 h 33"/>
                <a:gd name="T6" fmla="*/ 16624 w 53"/>
                <a:gd name="T7" fmla="*/ 5195 h 33"/>
                <a:gd name="T8" fmla="*/ 16624 w 53"/>
                <a:gd name="T9" fmla="*/ 6927 h 33"/>
                <a:gd name="T10" fmla="*/ 16624 w 53"/>
                <a:gd name="T11" fmla="*/ 10391 h 33"/>
                <a:gd name="T12" fmla="*/ 17523 w 53"/>
                <a:gd name="T13" fmla="*/ 13855 h 33"/>
                <a:gd name="T14" fmla="*/ 19769 w 53"/>
                <a:gd name="T15" fmla="*/ 17318 h 33"/>
                <a:gd name="T16" fmla="*/ 23813 w 53"/>
                <a:gd name="T17" fmla="*/ 20782 h 33"/>
                <a:gd name="T18" fmla="*/ 21566 w 53"/>
                <a:gd name="T19" fmla="*/ 38100 h 33"/>
                <a:gd name="T20" fmla="*/ 19769 w 53"/>
                <a:gd name="T21" fmla="*/ 48491 h 33"/>
                <a:gd name="T22" fmla="*/ 18871 w 53"/>
                <a:gd name="T23" fmla="*/ 53686 h 33"/>
                <a:gd name="T24" fmla="*/ 17073 w 53"/>
                <a:gd name="T25" fmla="*/ 55418 h 33"/>
                <a:gd name="T26" fmla="*/ 16175 w 53"/>
                <a:gd name="T27" fmla="*/ 57150 h 33"/>
                <a:gd name="T28" fmla="*/ 15276 w 53"/>
                <a:gd name="T29" fmla="*/ 57150 h 33"/>
                <a:gd name="T30" fmla="*/ 8986 w 53"/>
                <a:gd name="T31" fmla="*/ 51955 h 33"/>
                <a:gd name="T32" fmla="*/ 0 w 53"/>
                <a:gd name="T33" fmla="*/ 41564 h 33"/>
                <a:gd name="T34" fmla="*/ 0 w 53"/>
                <a:gd name="T35" fmla="*/ 32905 h 33"/>
                <a:gd name="T36" fmla="*/ 899 w 53"/>
                <a:gd name="T37" fmla="*/ 27709 h 33"/>
                <a:gd name="T38" fmla="*/ 1797 w 53"/>
                <a:gd name="T39" fmla="*/ 24245 h 33"/>
                <a:gd name="T40" fmla="*/ 3145 w 53"/>
                <a:gd name="T41" fmla="*/ 20782 h 33"/>
                <a:gd name="T42" fmla="*/ 4044 w 53"/>
                <a:gd name="T43" fmla="*/ 19050 h 33"/>
                <a:gd name="T44" fmla="*/ 4942 w 53"/>
                <a:gd name="T45" fmla="*/ 15586 h 33"/>
                <a:gd name="T46" fmla="*/ 5392 w 53"/>
                <a:gd name="T47" fmla="*/ 10391 h 33"/>
                <a:gd name="T48" fmla="*/ 5841 w 53"/>
                <a:gd name="T49" fmla="*/ 0 h 3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273" name="Group 368">
              <a:extLst>
                <a:ext uri="{FF2B5EF4-FFF2-40B4-BE49-F238E27FC236}">
                  <a16:creationId xmlns:a16="http://schemas.microsoft.com/office/drawing/2014/main" id="{BAC08DC7-6570-483F-B048-82A6DB4239D0}"/>
                </a:ext>
              </a:extLst>
            </p:cNvPr>
            <p:cNvGrpSpPr>
              <a:grpSpLocks/>
            </p:cNvGrpSpPr>
            <p:nvPr>
              <p:custDataLst>
                <p:tags r:id="rId268"/>
              </p:custDataLst>
            </p:nvPr>
          </p:nvGrpSpPr>
          <p:grpSpPr bwMode="auto">
            <a:xfrm>
              <a:off x="6692901" y="3859214"/>
              <a:ext cx="168275" cy="103187"/>
              <a:chOff x="3481" y="2773"/>
              <a:chExt cx="125" cy="65"/>
            </a:xfrm>
          </p:grpSpPr>
          <p:sp>
            <p:nvSpPr>
              <p:cNvPr id="445" name="Freeform 369">
                <a:extLst>
                  <a:ext uri="{FF2B5EF4-FFF2-40B4-BE49-F238E27FC236}">
                    <a16:creationId xmlns:a16="http://schemas.microsoft.com/office/drawing/2014/main" id="{CA573F89-6851-4747-8966-AC582A8CCC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5 w 13"/>
                  <a:gd name="T1" fmla="*/ 0 h 18"/>
                  <a:gd name="T2" fmla="*/ 4 w 13"/>
                  <a:gd name="T3" fmla="*/ 3 h 18"/>
                  <a:gd name="T4" fmla="*/ 2 w 13"/>
                  <a:gd name="T5" fmla="*/ 6 h 18"/>
                  <a:gd name="T6" fmla="*/ 2 w 13"/>
                  <a:gd name="T7" fmla="*/ 6 h 18"/>
                  <a:gd name="T8" fmla="*/ 1 w 13"/>
                  <a:gd name="T9" fmla="*/ 5 h 18"/>
                  <a:gd name="T10" fmla="*/ 0 w 13"/>
                  <a:gd name="T11" fmla="*/ 3 h 18"/>
                  <a:gd name="T12" fmla="*/ 0 w 13"/>
                  <a:gd name="T13" fmla="*/ 2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6" name="Line 370">
                <a:extLst>
                  <a:ext uri="{FF2B5EF4-FFF2-40B4-BE49-F238E27FC236}">
                    <a16:creationId xmlns:a16="http://schemas.microsoft.com/office/drawing/2014/main" id="{1FC57AC0-6710-4EC7-854A-B022C65A69E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7" name="Freeform 371">
                <a:extLst>
                  <a:ext uri="{FF2B5EF4-FFF2-40B4-BE49-F238E27FC236}">
                    <a16:creationId xmlns:a16="http://schemas.microsoft.com/office/drawing/2014/main" id="{5C090DF2-8E89-438C-B04E-BA159E1D75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5 w 14"/>
                  <a:gd name="T1" fmla="*/ 6 h 19"/>
                  <a:gd name="T2" fmla="*/ 0 w 14"/>
                  <a:gd name="T3" fmla="*/ 0 h 19"/>
                  <a:gd name="T4" fmla="*/ 5 w 14"/>
                  <a:gd name="T5" fmla="*/ 6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8" name="Freeform 372">
                <a:extLst>
                  <a:ext uri="{FF2B5EF4-FFF2-40B4-BE49-F238E27FC236}">
                    <a16:creationId xmlns:a16="http://schemas.microsoft.com/office/drawing/2014/main" id="{682529D7-5F52-47AD-BE71-A2CE2FD555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2 h 18"/>
                  <a:gd name="T2" fmla="*/ 2 w 7"/>
                  <a:gd name="T3" fmla="*/ 6 h 18"/>
                  <a:gd name="T4" fmla="*/ 0 w 7"/>
                  <a:gd name="T5" fmla="*/ 6 h 18"/>
                  <a:gd name="T6" fmla="*/ 0 w 7"/>
                  <a:gd name="T7" fmla="*/ 0 h 18"/>
                  <a:gd name="T8" fmla="*/ 2 w 7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9" name="Freeform 373">
                <a:extLst>
                  <a:ext uri="{FF2B5EF4-FFF2-40B4-BE49-F238E27FC236}">
                    <a16:creationId xmlns:a16="http://schemas.microsoft.com/office/drawing/2014/main" id="{AB323E6A-3BEE-4814-92BF-416E5FC060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7 w 20"/>
                  <a:gd name="T1" fmla="*/ 4 h 12"/>
                  <a:gd name="T2" fmla="*/ 4 w 20"/>
                  <a:gd name="T3" fmla="*/ 3 h 12"/>
                  <a:gd name="T4" fmla="*/ 0 w 20"/>
                  <a:gd name="T5" fmla="*/ 2 h 12"/>
                  <a:gd name="T6" fmla="*/ 0 w 20"/>
                  <a:gd name="T7" fmla="*/ 2 h 12"/>
                  <a:gd name="T8" fmla="*/ 1 w 20"/>
                  <a:gd name="T9" fmla="*/ 1 h 12"/>
                  <a:gd name="T10" fmla="*/ 3 w 20"/>
                  <a:gd name="T11" fmla="*/ 0 h 12"/>
                  <a:gd name="T12" fmla="*/ 5 w 20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0" name="Line 374">
                <a:extLst>
                  <a:ext uri="{FF2B5EF4-FFF2-40B4-BE49-F238E27FC236}">
                    <a16:creationId xmlns:a16="http://schemas.microsoft.com/office/drawing/2014/main" id="{771AA342-544D-4A97-82F4-92D50FF8B96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1" name="Freeform 375">
                <a:extLst>
                  <a:ext uri="{FF2B5EF4-FFF2-40B4-BE49-F238E27FC236}">
                    <a16:creationId xmlns:a16="http://schemas.microsoft.com/office/drawing/2014/main" id="{DC1EFB87-9580-4FC5-833A-FC1C1F90AE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6 h 18"/>
                  <a:gd name="T4" fmla="*/ 7 w 20"/>
                  <a:gd name="T5" fmla="*/ 6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2" name="Freeform 376">
                <a:extLst>
                  <a:ext uri="{FF2B5EF4-FFF2-40B4-BE49-F238E27FC236}">
                    <a16:creationId xmlns:a16="http://schemas.microsoft.com/office/drawing/2014/main" id="{A3F156A2-E2F3-448E-A9FC-A9942C6041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3 w 7"/>
                  <a:gd name="T1" fmla="*/ 4 h 12"/>
                  <a:gd name="T2" fmla="*/ 2 w 7"/>
                  <a:gd name="T3" fmla="*/ 2 h 12"/>
                  <a:gd name="T4" fmla="*/ 0 w 7"/>
                  <a:gd name="T5" fmla="*/ 0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3" name="Freeform 377">
                <a:extLst>
                  <a:ext uri="{FF2B5EF4-FFF2-40B4-BE49-F238E27FC236}">
                    <a16:creationId xmlns:a16="http://schemas.microsoft.com/office/drawing/2014/main" id="{50C602F0-0710-4939-9896-4F666A43D5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6 h 18"/>
                  <a:gd name="T4" fmla="*/ 7 w 20"/>
                  <a:gd name="T5" fmla="*/ 6 h 18"/>
                  <a:gd name="T6" fmla="*/ 6 w 20"/>
                  <a:gd name="T7" fmla="*/ 4 h 18"/>
                  <a:gd name="T8" fmla="*/ 5 w 20"/>
                  <a:gd name="T9" fmla="*/ 2 h 18"/>
                  <a:gd name="T10" fmla="*/ 0 w 20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4" name="Freeform 378">
                <a:extLst>
                  <a:ext uri="{FF2B5EF4-FFF2-40B4-BE49-F238E27FC236}">
                    <a16:creationId xmlns:a16="http://schemas.microsoft.com/office/drawing/2014/main" id="{EDD4FB7F-E0F9-478D-8B20-7EE6EBAED8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2 h 18"/>
                  <a:gd name="T2" fmla="*/ 2 w 7"/>
                  <a:gd name="T3" fmla="*/ 6 h 18"/>
                  <a:gd name="T4" fmla="*/ 0 w 7"/>
                  <a:gd name="T5" fmla="*/ 6 h 18"/>
                  <a:gd name="T6" fmla="*/ 0 w 7"/>
                  <a:gd name="T7" fmla="*/ 0 h 18"/>
                  <a:gd name="T8" fmla="*/ 2 w 7"/>
                  <a:gd name="T9" fmla="*/ 0 h 18"/>
                  <a:gd name="T10" fmla="*/ 0 w 7"/>
                  <a:gd name="T11" fmla="*/ 2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5" name="Freeform 379">
                <a:extLst>
                  <a:ext uri="{FF2B5EF4-FFF2-40B4-BE49-F238E27FC236}">
                    <a16:creationId xmlns:a16="http://schemas.microsoft.com/office/drawing/2014/main" id="{A39E19DC-651A-4F56-A6AD-A4DA73ECBA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5 w 13"/>
                  <a:gd name="T1" fmla="*/ 0 h 18"/>
                  <a:gd name="T2" fmla="*/ 4 w 13"/>
                  <a:gd name="T3" fmla="*/ 3 h 18"/>
                  <a:gd name="T4" fmla="*/ 2 w 13"/>
                  <a:gd name="T5" fmla="*/ 6 h 18"/>
                  <a:gd name="T6" fmla="*/ 2 w 13"/>
                  <a:gd name="T7" fmla="*/ 6 h 18"/>
                  <a:gd name="T8" fmla="*/ 1 w 13"/>
                  <a:gd name="T9" fmla="*/ 5 h 18"/>
                  <a:gd name="T10" fmla="*/ 0 w 13"/>
                  <a:gd name="T11" fmla="*/ 3 h 18"/>
                  <a:gd name="T12" fmla="*/ 0 w 13"/>
                  <a:gd name="T13" fmla="*/ 2 h 18"/>
                  <a:gd name="T14" fmla="*/ 2 w 13"/>
                  <a:gd name="T15" fmla="*/ 2 h 18"/>
                  <a:gd name="T16" fmla="*/ 5 w 13"/>
                  <a:gd name="T17" fmla="*/ 0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274" name="Freeform 380">
              <a:extLst>
                <a:ext uri="{FF2B5EF4-FFF2-40B4-BE49-F238E27FC236}">
                  <a16:creationId xmlns:a16="http://schemas.microsoft.com/office/drawing/2014/main" id="{BBF05F6F-17A9-4D7F-A79E-FD501E9B4E24}"/>
                </a:ext>
              </a:extLst>
            </p:cNvPr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5821364" y="3851276"/>
              <a:ext cx="319087" cy="379413"/>
            </a:xfrm>
            <a:custGeom>
              <a:avLst/>
              <a:gdLst>
                <a:gd name="T0" fmla="*/ 26013 w 736"/>
                <a:gd name="T1" fmla="*/ 360469 h 721"/>
                <a:gd name="T2" fmla="*/ 39452 w 736"/>
                <a:gd name="T3" fmla="*/ 351523 h 721"/>
                <a:gd name="T4" fmla="*/ 54626 w 736"/>
                <a:gd name="T5" fmla="*/ 351523 h 721"/>
                <a:gd name="T6" fmla="*/ 84974 w 736"/>
                <a:gd name="T7" fmla="*/ 364152 h 721"/>
                <a:gd name="T8" fmla="*/ 106218 w 736"/>
                <a:gd name="T9" fmla="*/ 370993 h 721"/>
                <a:gd name="T10" fmla="*/ 126594 w 736"/>
                <a:gd name="T11" fmla="*/ 369941 h 721"/>
                <a:gd name="T12" fmla="*/ 264894 w 736"/>
                <a:gd name="T13" fmla="*/ 377308 h 721"/>
                <a:gd name="T14" fmla="*/ 282236 w 736"/>
                <a:gd name="T15" fmla="*/ 372046 h 721"/>
                <a:gd name="T16" fmla="*/ 271831 w 736"/>
                <a:gd name="T17" fmla="*/ 345734 h 721"/>
                <a:gd name="T18" fmla="*/ 287872 w 736"/>
                <a:gd name="T19" fmla="*/ 227858 h 721"/>
                <a:gd name="T20" fmla="*/ 307381 w 736"/>
                <a:gd name="T21" fmla="*/ 225753 h 721"/>
                <a:gd name="T22" fmla="*/ 313451 w 736"/>
                <a:gd name="T23" fmla="*/ 218912 h 721"/>
                <a:gd name="T24" fmla="*/ 318220 w 736"/>
                <a:gd name="T25" fmla="*/ 189443 h 721"/>
                <a:gd name="T26" fmla="*/ 313017 w 736"/>
                <a:gd name="T27" fmla="*/ 158922 h 721"/>
                <a:gd name="T28" fmla="*/ 306948 w 736"/>
                <a:gd name="T29" fmla="*/ 159974 h 721"/>
                <a:gd name="T30" fmla="*/ 293074 w 736"/>
                <a:gd name="T31" fmla="*/ 157869 h 721"/>
                <a:gd name="T32" fmla="*/ 274866 w 736"/>
                <a:gd name="T33" fmla="*/ 157343 h 721"/>
                <a:gd name="T34" fmla="*/ 270097 w 736"/>
                <a:gd name="T35" fmla="*/ 152607 h 721"/>
                <a:gd name="T36" fmla="*/ 267495 w 736"/>
                <a:gd name="T37" fmla="*/ 133137 h 721"/>
                <a:gd name="T38" fmla="*/ 263160 w 736"/>
                <a:gd name="T39" fmla="*/ 115245 h 721"/>
                <a:gd name="T40" fmla="*/ 258825 w 736"/>
                <a:gd name="T41" fmla="*/ 97879 h 721"/>
                <a:gd name="T42" fmla="*/ 263160 w 736"/>
                <a:gd name="T43" fmla="*/ 87881 h 721"/>
                <a:gd name="T44" fmla="*/ 267495 w 736"/>
                <a:gd name="T45" fmla="*/ 77882 h 721"/>
                <a:gd name="T46" fmla="*/ 264894 w 736"/>
                <a:gd name="T47" fmla="*/ 52623 h 721"/>
                <a:gd name="T48" fmla="*/ 235847 w 736"/>
                <a:gd name="T49" fmla="*/ 36836 h 721"/>
                <a:gd name="T50" fmla="*/ 206800 w 736"/>
                <a:gd name="T51" fmla="*/ 34731 h 721"/>
                <a:gd name="T52" fmla="*/ 204198 w 736"/>
                <a:gd name="T53" fmla="*/ 42625 h 721"/>
                <a:gd name="T54" fmla="*/ 200730 w 736"/>
                <a:gd name="T55" fmla="*/ 53149 h 721"/>
                <a:gd name="T56" fmla="*/ 190759 w 736"/>
                <a:gd name="T57" fmla="*/ 64200 h 721"/>
                <a:gd name="T58" fmla="*/ 169949 w 736"/>
                <a:gd name="T59" fmla="*/ 68410 h 721"/>
                <a:gd name="T60" fmla="*/ 157809 w 736"/>
                <a:gd name="T61" fmla="*/ 60517 h 721"/>
                <a:gd name="T62" fmla="*/ 146971 w 736"/>
                <a:gd name="T63" fmla="*/ 43151 h 721"/>
                <a:gd name="T64" fmla="*/ 138300 w 736"/>
                <a:gd name="T65" fmla="*/ 20523 h 721"/>
                <a:gd name="T66" fmla="*/ 135265 w 736"/>
                <a:gd name="T67" fmla="*/ 0 h 721"/>
                <a:gd name="T68" fmla="*/ 13006 w 736"/>
                <a:gd name="T69" fmla="*/ 7893 h 721"/>
                <a:gd name="T70" fmla="*/ 20376 w 736"/>
                <a:gd name="T71" fmla="*/ 15261 h 721"/>
                <a:gd name="T72" fmla="*/ 32516 w 736"/>
                <a:gd name="T73" fmla="*/ 39467 h 721"/>
                <a:gd name="T74" fmla="*/ 44221 w 736"/>
                <a:gd name="T75" fmla="*/ 68410 h 721"/>
                <a:gd name="T76" fmla="*/ 44655 w 736"/>
                <a:gd name="T77" fmla="*/ 89986 h 721"/>
                <a:gd name="T78" fmla="*/ 40319 w 736"/>
                <a:gd name="T79" fmla="*/ 106825 h 721"/>
                <a:gd name="T80" fmla="*/ 41620 w 736"/>
                <a:gd name="T81" fmla="*/ 120507 h 721"/>
                <a:gd name="T82" fmla="*/ 51592 w 736"/>
                <a:gd name="T83" fmla="*/ 143135 h 721"/>
                <a:gd name="T84" fmla="*/ 56794 w 736"/>
                <a:gd name="T85" fmla="*/ 161553 h 721"/>
                <a:gd name="T86" fmla="*/ 55060 w 736"/>
                <a:gd name="T87" fmla="*/ 185234 h 721"/>
                <a:gd name="T88" fmla="*/ 45955 w 736"/>
                <a:gd name="T89" fmla="*/ 212071 h 721"/>
                <a:gd name="T90" fmla="*/ 33383 w 736"/>
                <a:gd name="T91" fmla="*/ 234699 h 721"/>
                <a:gd name="T92" fmla="*/ 17775 w 736"/>
                <a:gd name="T93" fmla="*/ 251012 h 721"/>
                <a:gd name="T94" fmla="*/ 10839 w 736"/>
                <a:gd name="T95" fmla="*/ 311003 h 721"/>
                <a:gd name="T96" fmla="*/ 4769 w 736"/>
                <a:gd name="T97" fmla="*/ 329947 h 72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5" name="Freeform 381">
              <a:extLst>
                <a:ext uri="{FF2B5EF4-FFF2-40B4-BE49-F238E27FC236}">
                  <a16:creationId xmlns:a16="http://schemas.microsoft.com/office/drawing/2014/main" id="{CC265180-D4B2-4545-A247-7570C076B2E7}"/>
                </a:ext>
              </a:extLst>
            </p:cNvPr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5832476" y="3824289"/>
              <a:ext cx="15875" cy="60325"/>
            </a:xfrm>
            <a:custGeom>
              <a:avLst/>
              <a:gdLst>
                <a:gd name="T0" fmla="*/ 0 w 39"/>
                <a:gd name="T1" fmla="*/ 60325 h 31"/>
                <a:gd name="T2" fmla="*/ 4885 w 39"/>
                <a:gd name="T3" fmla="*/ 54487 h 31"/>
                <a:gd name="T4" fmla="*/ 8955 w 39"/>
                <a:gd name="T5" fmla="*/ 54487 h 31"/>
                <a:gd name="T6" fmla="*/ 10583 w 39"/>
                <a:gd name="T7" fmla="*/ 54487 h 31"/>
                <a:gd name="T8" fmla="*/ 12212 w 39"/>
                <a:gd name="T9" fmla="*/ 54487 h 31"/>
                <a:gd name="T10" fmla="*/ 14247 w 39"/>
                <a:gd name="T11" fmla="*/ 52541 h 31"/>
                <a:gd name="T12" fmla="*/ 15875 w 39"/>
                <a:gd name="T13" fmla="*/ 48649 h 31"/>
                <a:gd name="T14" fmla="*/ 15875 w 39"/>
                <a:gd name="T15" fmla="*/ 0 h 31"/>
                <a:gd name="T16" fmla="*/ 10583 w 39"/>
                <a:gd name="T17" fmla="*/ 0 h 31"/>
                <a:gd name="T18" fmla="*/ 6920 w 39"/>
                <a:gd name="T19" fmla="*/ 0 h 31"/>
                <a:gd name="T20" fmla="*/ 3256 w 39"/>
                <a:gd name="T21" fmla="*/ 0 h 31"/>
                <a:gd name="T22" fmla="*/ 0 w 39"/>
                <a:gd name="T23" fmla="*/ 0 h 31"/>
                <a:gd name="T24" fmla="*/ 0 w 39"/>
                <a:gd name="T25" fmla="*/ 60325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6" name="Freeform 382">
              <a:extLst>
                <a:ext uri="{FF2B5EF4-FFF2-40B4-BE49-F238E27FC236}">
                  <a16:creationId xmlns:a16="http://schemas.microsoft.com/office/drawing/2014/main" id="{24703ABF-76EB-404D-9546-C643A7C73C32}"/>
                </a:ext>
              </a:extLst>
            </p:cNvPr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5934076" y="4367213"/>
              <a:ext cx="396875" cy="398462"/>
            </a:xfrm>
            <a:custGeom>
              <a:avLst/>
              <a:gdLst>
                <a:gd name="T0" fmla="*/ 395117 w 903"/>
                <a:gd name="T1" fmla="*/ 152770 h 759"/>
                <a:gd name="T2" fmla="*/ 379295 w 903"/>
                <a:gd name="T3" fmla="*/ 203693 h 759"/>
                <a:gd name="T4" fmla="*/ 365670 w 903"/>
                <a:gd name="T5" fmla="*/ 217343 h 759"/>
                <a:gd name="T6" fmla="*/ 334465 w 903"/>
                <a:gd name="T7" fmla="*/ 266166 h 759"/>
                <a:gd name="T8" fmla="*/ 316445 w 903"/>
                <a:gd name="T9" fmla="*/ 294515 h 759"/>
                <a:gd name="T10" fmla="*/ 284361 w 903"/>
                <a:gd name="T11" fmla="*/ 321815 h 759"/>
                <a:gd name="T12" fmla="*/ 256233 w 903"/>
                <a:gd name="T13" fmla="*/ 349639 h 759"/>
                <a:gd name="T14" fmla="*/ 244806 w 903"/>
                <a:gd name="T15" fmla="*/ 366438 h 759"/>
                <a:gd name="T16" fmla="*/ 228544 w 903"/>
                <a:gd name="T17" fmla="*/ 370113 h 759"/>
                <a:gd name="T18" fmla="*/ 217996 w 903"/>
                <a:gd name="T19" fmla="*/ 372738 h 759"/>
                <a:gd name="T20" fmla="*/ 213161 w 903"/>
                <a:gd name="T21" fmla="*/ 381663 h 759"/>
                <a:gd name="T22" fmla="*/ 163497 w 903"/>
                <a:gd name="T23" fmla="*/ 381663 h 759"/>
                <a:gd name="T24" fmla="*/ 148993 w 903"/>
                <a:gd name="T25" fmla="*/ 384287 h 759"/>
                <a:gd name="T26" fmla="*/ 138884 w 903"/>
                <a:gd name="T27" fmla="*/ 384287 h 759"/>
                <a:gd name="T28" fmla="*/ 125699 w 903"/>
                <a:gd name="T29" fmla="*/ 381663 h 759"/>
                <a:gd name="T30" fmla="*/ 115590 w 903"/>
                <a:gd name="T31" fmla="*/ 386912 h 759"/>
                <a:gd name="T32" fmla="*/ 64168 w 903"/>
                <a:gd name="T33" fmla="*/ 398462 h 759"/>
                <a:gd name="T34" fmla="*/ 50983 w 903"/>
                <a:gd name="T35" fmla="*/ 395312 h 759"/>
                <a:gd name="T36" fmla="*/ 39556 w 903"/>
                <a:gd name="T37" fmla="*/ 387962 h 759"/>
                <a:gd name="T38" fmla="*/ 33403 w 903"/>
                <a:gd name="T39" fmla="*/ 377463 h 759"/>
                <a:gd name="T40" fmla="*/ 34721 w 903"/>
                <a:gd name="T41" fmla="*/ 365913 h 759"/>
                <a:gd name="T42" fmla="*/ 32963 w 903"/>
                <a:gd name="T43" fmla="*/ 329689 h 759"/>
                <a:gd name="T44" fmla="*/ 34721 w 903"/>
                <a:gd name="T45" fmla="*/ 319190 h 759"/>
                <a:gd name="T46" fmla="*/ 29886 w 903"/>
                <a:gd name="T47" fmla="*/ 300290 h 759"/>
                <a:gd name="T48" fmla="*/ 9669 w 903"/>
                <a:gd name="T49" fmla="*/ 270891 h 759"/>
                <a:gd name="T50" fmla="*/ 5274 w 903"/>
                <a:gd name="T51" fmla="*/ 254092 h 759"/>
                <a:gd name="T52" fmla="*/ 4395 w 903"/>
                <a:gd name="T53" fmla="*/ 230467 h 759"/>
                <a:gd name="T54" fmla="*/ 0 w 903"/>
                <a:gd name="T55" fmla="*/ 197919 h 759"/>
                <a:gd name="T56" fmla="*/ 17141 w 903"/>
                <a:gd name="T57" fmla="*/ 197919 h 759"/>
                <a:gd name="T58" fmla="*/ 25052 w 903"/>
                <a:gd name="T59" fmla="*/ 207893 h 759"/>
                <a:gd name="T60" fmla="*/ 41314 w 903"/>
                <a:gd name="T61" fmla="*/ 215243 h 759"/>
                <a:gd name="T62" fmla="*/ 59333 w 903"/>
                <a:gd name="T63" fmla="*/ 215768 h 759"/>
                <a:gd name="T64" fmla="*/ 70321 w 903"/>
                <a:gd name="T65" fmla="*/ 209993 h 759"/>
                <a:gd name="T66" fmla="*/ 79990 w 903"/>
                <a:gd name="T67" fmla="*/ 195294 h 759"/>
                <a:gd name="T68" fmla="*/ 86583 w 903"/>
                <a:gd name="T69" fmla="*/ 120221 h 759"/>
                <a:gd name="T70" fmla="*/ 89659 w 903"/>
                <a:gd name="T71" fmla="*/ 96597 h 759"/>
                <a:gd name="T72" fmla="*/ 92297 w 903"/>
                <a:gd name="T73" fmla="*/ 88197 h 759"/>
                <a:gd name="T74" fmla="*/ 105042 w 903"/>
                <a:gd name="T75" fmla="*/ 93447 h 759"/>
                <a:gd name="T76" fmla="*/ 107679 w 903"/>
                <a:gd name="T77" fmla="*/ 124946 h 759"/>
                <a:gd name="T78" fmla="*/ 108558 w 903"/>
                <a:gd name="T79" fmla="*/ 143845 h 759"/>
                <a:gd name="T80" fmla="*/ 112514 w 903"/>
                <a:gd name="T81" fmla="*/ 150670 h 759"/>
                <a:gd name="T82" fmla="*/ 126139 w 903"/>
                <a:gd name="T83" fmla="*/ 154870 h 759"/>
                <a:gd name="T84" fmla="*/ 137126 w 903"/>
                <a:gd name="T85" fmla="*/ 153820 h 759"/>
                <a:gd name="T86" fmla="*/ 146356 w 903"/>
                <a:gd name="T87" fmla="*/ 142795 h 759"/>
                <a:gd name="T88" fmla="*/ 153828 w 903"/>
                <a:gd name="T89" fmla="*/ 122846 h 759"/>
                <a:gd name="T90" fmla="*/ 161739 w 903"/>
                <a:gd name="T91" fmla="*/ 105522 h 759"/>
                <a:gd name="T92" fmla="*/ 170089 w 903"/>
                <a:gd name="T93" fmla="*/ 100272 h 759"/>
                <a:gd name="T94" fmla="*/ 181956 w 903"/>
                <a:gd name="T95" fmla="*/ 101322 h 759"/>
                <a:gd name="T96" fmla="*/ 198218 w 903"/>
                <a:gd name="T97" fmla="*/ 109196 h 759"/>
                <a:gd name="T98" fmla="*/ 210084 w 903"/>
                <a:gd name="T99" fmla="*/ 113396 h 759"/>
                <a:gd name="T100" fmla="*/ 225028 w 903"/>
                <a:gd name="T101" fmla="*/ 111821 h 759"/>
                <a:gd name="T102" fmla="*/ 233378 w 903"/>
                <a:gd name="T103" fmla="*/ 104997 h 759"/>
                <a:gd name="T104" fmla="*/ 247882 w 903"/>
                <a:gd name="T105" fmla="*/ 66673 h 759"/>
                <a:gd name="T106" fmla="*/ 272494 w 903"/>
                <a:gd name="T107" fmla="*/ 41999 h 759"/>
                <a:gd name="T108" fmla="*/ 321719 w 903"/>
                <a:gd name="T109" fmla="*/ 5775 h 759"/>
                <a:gd name="T110" fmla="*/ 354243 w 903"/>
                <a:gd name="T111" fmla="*/ 1575 h 759"/>
                <a:gd name="T112" fmla="*/ 364791 w 903"/>
                <a:gd name="T113" fmla="*/ 3150 h 759"/>
                <a:gd name="T114" fmla="*/ 375339 w 903"/>
                <a:gd name="T115" fmla="*/ 18374 h 759"/>
                <a:gd name="T116" fmla="*/ 383690 w 903"/>
                <a:gd name="T117" fmla="*/ 37274 h 759"/>
                <a:gd name="T118" fmla="*/ 388085 w 903"/>
                <a:gd name="T119" fmla="*/ 56173 h 759"/>
                <a:gd name="T120" fmla="*/ 381492 w 903"/>
                <a:gd name="T121" fmla="*/ 108671 h 759"/>
                <a:gd name="T122" fmla="*/ 364791 w 903"/>
                <a:gd name="T123" fmla="*/ 107097 h 759"/>
                <a:gd name="T124" fmla="*/ 363033 w 903"/>
                <a:gd name="T125" fmla="*/ 147520 h 75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77" name="Freeform 383">
              <a:extLst>
                <a:ext uri="{FF2B5EF4-FFF2-40B4-BE49-F238E27FC236}">
                  <a16:creationId xmlns:a16="http://schemas.microsoft.com/office/drawing/2014/main" id="{B8A7F395-164E-4591-B5EA-F252C7A4BF53}"/>
                </a:ext>
              </a:extLst>
            </p:cNvPr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6081713" y="2935289"/>
              <a:ext cx="411162" cy="611187"/>
            </a:xfrm>
            <a:custGeom>
              <a:avLst/>
              <a:gdLst>
                <a:gd name="T0" fmla="*/ 323523 w 943"/>
                <a:gd name="T1" fmla="*/ 2607 h 1172"/>
                <a:gd name="T2" fmla="*/ 333551 w 943"/>
                <a:gd name="T3" fmla="*/ 11994 h 1172"/>
                <a:gd name="T4" fmla="*/ 350120 w 943"/>
                <a:gd name="T5" fmla="*/ 15645 h 1172"/>
                <a:gd name="T6" fmla="*/ 354916 w 943"/>
                <a:gd name="T7" fmla="*/ 28682 h 1172"/>
                <a:gd name="T8" fmla="*/ 364072 w 943"/>
                <a:gd name="T9" fmla="*/ 56842 h 1172"/>
                <a:gd name="T10" fmla="*/ 364944 w 943"/>
                <a:gd name="T11" fmla="*/ 97519 h 1172"/>
                <a:gd name="T12" fmla="*/ 373665 w 943"/>
                <a:gd name="T13" fmla="*/ 126722 h 1172"/>
                <a:gd name="T14" fmla="*/ 402006 w 943"/>
                <a:gd name="T15" fmla="*/ 152275 h 1172"/>
                <a:gd name="T16" fmla="*/ 383257 w 943"/>
                <a:gd name="T17" fmla="*/ 188258 h 1172"/>
                <a:gd name="T18" fmla="*/ 371049 w 943"/>
                <a:gd name="T19" fmla="*/ 213811 h 1172"/>
                <a:gd name="T20" fmla="*/ 352736 w 943"/>
                <a:gd name="T21" fmla="*/ 331147 h 1172"/>
                <a:gd name="T22" fmla="*/ 335731 w 943"/>
                <a:gd name="T23" fmla="*/ 353049 h 1172"/>
                <a:gd name="T24" fmla="*/ 332679 w 943"/>
                <a:gd name="T25" fmla="*/ 375995 h 1172"/>
                <a:gd name="T26" fmla="*/ 324831 w 943"/>
                <a:gd name="T27" fmla="*/ 383296 h 1172"/>
                <a:gd name="T28" fmla="*/ 315239 w 943"/>
                <a:gd name="T29" fmla="*/ 416150 h 1172"/>
                <a:gd name="T30" fmla="*/ 301722 w 943"/>
                <a:gd name="T31" fmla="*/ 457347 h 1172"/>
                <a:gd name="T32" fmla="*/ 288642 w 943"/>
                <a:gd name="T33" fmla="*/ 470906 h 1172"/>
                <a:gd name="T34" fmla="*/ 289514 w 943"/>
                <a:gd name="T35" fmla="*/ 487072 h 1172"/>
                <a:gd name="T36" fmla="*/ 299106 w 943"/>
                <a:gd name="T37" fmla="*/ 489680 h 1172"/>
                <a:gd name="T38" fmla="*/ 309135 w 943"/>
                <a:gd name="T39" fmla="*/ 495416 h 1172"/>
                <a:gd name="T40" fmla="*/ 323523 w 943"/>
                <a:gd name="T41" fmla="*/ 506367 h 1172"/>
                <a:gd name="T42" fmla="*/ 329627 w 943"/>
                <a:gd name="T43" fmla="*/ 525141 h 1172"/>
                <a:gd name="T44" fmla="*/ 337912 w 943"/>
                <a:gd name="T45" fmla="*/ 543915 h 1172"/>
                <a:gd name="T46" fmla="*/ 350120 w 943"/>
                <a:gd name="T47" fmla="*/ 549130 h 1172"/>
                <a:gd name="T48" fmla="*/ 352736 w 943"/>
                <a:gd name="T49" fmla="*/ 570511 h 1172"/>
                <a:gd name="T50" fmla="*/ 313059 w 943"/>
                <a:gd name="T51" fmla="*/ 581462 h 1172"/>
                <a:gd name="T52" fmla="*/ 299542 w 943"/>
                <a:gd name="T53" fmla="*/ 603365 h 1172"/>
                <a:gd name="T54" fmla="*/ 260737 w 943"/>
                <a:gd name="T55" fmla="*/ 610144 h 1172"/>
                <a:gd name="T56" fmla="*/ 224548 w 943"/>
                <a:gd name="T57" fmla="*/ 603886 h 1172"/>
                <a:gd name="T58" fmla="*/ 202311 w 943"/>
                <a:gd name="T59" fmla="*/ 585634 h 1172"/>
                <a:gd name="T60" fmla="*/ 170046 w 943"/>
                <a:gd name="T61" fmla="*/ 586677 h 1172"/>
                <a:gd name="T62" fmla="*/ 139089 w 943"/>
                <a:gd name="T63" fmla="*/ 584069 h 1172"/>
                <a:gd name="T64" fmla="*/ 129496 w 943"/>
                <a:gd name="T65" fmla="*/ 575726 h 1172"/>
                <a:gd name="T66" fmla="*/ 128188 w 943"/>
                <a:gd name="T67" fmla="*/ 560602 h 1172"/>
                <a:gd name="T68" fmla="*/ 119468 w 943"/>
                <a:gd name="T69" fmla="*/ 536614 h 1172"/>
                <a:gd name="T70" fmla="*/ 94179 w 943"/>
                <a:gd name="T71" fmla="*/ 507932 h 1172"/>
                <a:gd name="T72" fmla="*/ 84151 w 943"/>
                <a:gd name="T73" fmla="*/ 482379 h 1172"/>
                <a:gd name="T74" fmla="*/ 66274 w 943"/>
                <a:gd name="T75" fmla="*/ 470906 h 1172"/>
                <a:gd name="T76" fmla="*/ 52322 w 943"/>
                <a:gd name="T77" fmla="*/ 441181 h 1172"/>
                <a:gd name="T78" fmla="*/ 42293 w 943"/>
                <a:gd name="T79" fmla="*/ 410935 h 1172"/>
                <a:gd name="T80" fmla="*/ 28341 w 943"/>
                <a:gd name="T81" fmla="*/ 395290 h 1172"/>
                <a:gd name="T82" fmla="*/ 14388 w 943"/>
                <a:gd name="T83" fmla="*/ 352528 h 1172"/>
                <a:gd name="T84" fmla="*/ 1744 w 943"/>
                <a:gd name="T85" fmla="*/ 318631 h 1172"/>
                <a:gd name="T86" fmla="*/ 7848 w 943"/>
                <a:gd name="T87" fmla="*/ 300900 h 1172"/>
                <a:gd name="T88" fmla="*/ 12644 w 943"/>
                <a:gd name="T89" fmla="*/ 271697 h 1172"/>
                <a:gd name="T90" fmla="*/ 27905 w 943"/>
                <a:gd name="T91" fmla="*/ 247187 h 1172"/>
                <a:gd name="T92" fmla="*/ 49270 w 943"/>
                <a:gd name="T93" fmla="*/ 115771 h 1172"/>
                <a:gd name="T94" fmla="*/ 53630 w 943"/>
                <a:gd name="T95" fmla="*/ 93347 h 1172"/>
                <a:gd name="T96" fmla="*/ 66710 w 943"/>
                <a:gd name="T97" fmla="*/ 89175 h 1172"/>
                <a:gd name="T98" fmla="*/ 69762 w 943"/>
                <a:gd name="T99" fmla="*/ 63622 h 1172"/>
                <a:gd name="T100" fmla="*/ 69326 w 943"/>
                <a:gd name="T101" fmla="*/ 34940 h 1172"/>
                <a:gd name="T102" fmla="*/ 296054 w 943"/>
                <a:gd name="T103" fmla="*/ 35983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278" name="Group 384">
              <a:extLst>
                <a:ext uri="{FF2B5EF4-FFF2-40B4-BE49-F238E27FC236}">
                  <a16:creationId xmlns:a16="http://schemas.microsoft.com/office/drawing/2014/main" id="{577FCAAB-FCFD-4DAF-9062-528059E6082D}"/>
                </a:ext>
              </a:extLst>
            </p:cNvPr>
            <p:cNvGrpSpPr>
              <a:grpSpLocks/>
            </p:cNvGrpSpPr>
            <p:nvPr>
              <p:custDataLst>
                <p:tags r:id="rId273"/>
              </p:custDataLst>
            </p:nvPr>
          </p:nvGrpSpPr>
          <p:grpSpPr bwMode="auto">
            <a:xfrm>
              <a:off x="4865688" y="3136900"/>
              <a:ext cx="80962" cy="82550"/>
              <a:chOff x="2352" y="2343"/>
              <a:chExt cx="65" cy="53"/>
            </a:xfrm>
          </p:grpSpPr>
          <p:sp>
            <p:nvSpPr>
              <p:cNvPr id="439" name="Freeform 385">
                <a:extLst>
                  <a:ext uri="{FF2B5EF4-FFF2-40B4-BE49-F238E27FC236}">
                    <a16:creationId xmlns:a16="http://schemas.microsoft.com/office/drawing/2014/main" id="{934420F6-3308-4888-BEA5-DC717D6928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14 w 51"/>
                  <a:gd name="T1" fmla="*/ 0 h 33"/>
                  <a:gd name="T2" fmla="*/ 0 w 51"/>
                  <a:gd name="T3" fmla="*/ 2 h 33"/>
                  <a:gd name="T4" fmla="*/ 1 w 51"/>
                  <a:gd name="T5" fmla="*/ 9 h 33"/>
                  <a:gd name="T6" fmla="*/ 3 w 51"/>
                  <a:gd name="T7" fmla="*/ 11 h 33"/>
                  <a:gd name="T8" fmla="*/ 11 w 51"/>
                  <a:gd name="T9" fmla="*/ 8 h 33"/>
                  <a:gd name="T10" fmla="*/ 15 w 51"/>
                  <a:gd name="T11" fmla="*/ 5 h 33"/>
                  <a:gd name="T12" fmla="*/ 16 w 51"/>
                  <a:gd name="T13" fmla="*/ 3 h 33"/>
                  <a:gd name="T14" fmla="*/ 14 w 51"/>
                  <a:gd name="T15" fmla="*/ 0 h 3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0" name="Freeform 386">
                <a:extLst>
                  <a:ext uri="{FF2B5EF4-FFF2-40B4-BE49-F238E27FC236}">
                    <a16:creationId xmlns:a16="http://schemas.microsoft.com/office/drawing/2014/main" id="{E57D6935-3EC0-4D44-A229-4F2B62E6F8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20 w 61"/>
                  <a:gd name="T1" fmla="*/ 2 h 20"/>
                  <a:gd name="T2" fmla="*/ 17 w 61"/>
                  <a:gd name="T3" fmla="*/ 1 h 20"/>
                  <a:gd name="T4" fmla="*/ 0 w 61"/>
                  <a:gd name="T5" fmla="*/ 0 h 20"/>
                  <a:gd name="T6" fmla="*/ 1 w 61"/>
                  <a:gd name="T7" fmla="*/ 5 h 20"/>
                  <a:gd name="T8" fmla="*/ 2 w 61"/>
                  <a:gd name="T9" fmla="*/ 7 h 20"/>
                  <a:gd name="T10" fmla="*/ 6 w 61"/>
                  <a:gd name="T11" fmla="*/ 5 h 20"/>
                  <a:gd name="T12" fmla="*/ 20 w 61"/>
                  <a:gd name="T13" fmla="*/ 2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1" name="Freeform 387">
                <a:extLst>
                  <a:ext uri="{FF2B5EF4-FFF2-40B4-BE49-F238E27FC236}">
                    <a16:creationId xmlns:a16="http://schemas.microsoft.com/office/drawing/2014/main" id="{FCDADB93-75A5-4124-A725-9E36AFA3DD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1 w 15"/>
                  <a:gd name="T1" fmla="*/ 0 h 36"/>
                  <a:gd name="T2" fmla="*/ 0 w 15"/>
                  <a:gd name="T3" fmla="*/ 7 h 36"/>
                  <a:gd name="T4" fmla="*/ 0 w 15"/>
                  <a:gd name="T5" fmla="*/ 12 h 36"/>
                  <a:gd name="T6" fmla="*/ 4 w 15"/>
                  <a:gd name="T7" fmla="*/ 12 h 36"/>
                  <a:gd name="T8" fmla="*/ 5 w 15"/>
                  <a:gd name="T9" fmla="*/ 5 h 36"/>
                  <a:gd name="T10" fmla="*/ 1 w 15"/>
                  <a:gd name="T11" fmla="*/ 0 h 3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2" name="Freeform 388">
                <a:extLst>
                  <a:ext uri="{FF2B5EF4-FFF2-40B4-BE49-F238E27FC236}">
                    <a16:creationId xmlns:a16="http://schemas.microsoft.com/office/drawing/2014/main" id="{72E981C7-F251-4C96-9FD3-5EEBC83F73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1 w 37"/>
                  <a:gd name="T1" fmla="*/ 1 h 33"/>
                  <a:gd name="T2" fmla="*/ 7 w 37"/>
                  <a:gd name="T3" fmla="*/ 0 h 33"/>
                  <a:gd name="T4" fmla="*/ 10 w 37"/>
                  <a:gd name="T5" fmla="*/ 2 h 33"/>
                  <a:gd name="T6" fmla="*/ 11 w 37"/>
                  <a:gd name="T7" fmla="*/ 7 h 33"/>
                  <a:gd name="T8" fmla="*/ 7 w 37"/>
                  <a:gd name="T9" fmla="*/ 11 h 33"/>
                  <a:gd name="T10" fmla="*/ 3 w 37"/>
                  <a:gd name="T11" fmla="*/ 11 h 33"/>
                  <a:gd name="T12" fmla="*/ 1 w 37"/>
                  <a:gd name="T13" fmla="*/ 8 h 33"/>
                  <a:gd name="T14" fmla="*/ 0 w 37"/>
                  <a:gd name="T15" fmla="*/ 5 h 33"/>
                  <a:gd name="T16" fmla="*/ 1 w 37"/>
                  <a:gd name="T17" fmla="*/ 1 h 3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3" name="Freeform 389">
                <a:extLst>
                  <a:ext uri="{FF2B5EF4-FFF2-40B4-BE49-F238E27FC236}">
                    <a16:creationId xmlns:a16="http://schemas.microsoft.com/office/drawing/2014/main" id="{807AF6E3-7159-497B-8772-F14C81C19A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1 w 49"/>
                  <a:gd name="T1" fmla="*/ 0 h 54"/>
                  <a:gd name="T2" fmla="*/ 0 w 49"/>
                  <a:gd name="T3" fmla="*/ 0 h 54"/>
                  <a:gd name="T4" fmla="*/ 1 w 49"/>
                  <a:gd name="T5" fmla="*/ 17 h 54"/>
                  <a:gd name="T6" fmla="*/ 6 w 49"/>
                  <a:gd name="T7" fmla="*/ 18 h 54"/>
                  <a:gd name="T8" fmla="*/ 14 w 49"/>
                  <a:gd name="T9" fmla="*/ 15 h 54"/>
                  <a:gd name="T10" fmla="*/ 16 w 49"/>
                  <a:gd name="T11" fmla="*/ 10 h 54"/>
                  <a:gd name="T12" fmla="*/ 13 w 49"/>
                  <a:gd name="T13" fmla="*/ 7 h 54"/>
                  <a:gd name="T14" fmla="*/ 6 w 49"/>
                  <a:gd name="T15" fmla="*/ 3 h 54"/>
                  <a:gd name="T16" fmla="*/ 1 w 49"/>
                  <a:gd name="T17" fmla="*/ 0 h 5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4" name="Freeform 390">
                <a:extLst>
                  <a:ext uri="{FF2B5EF4-FFF2-40B4-BE49-F238E27FC236}">
                    <a16:creationId xmlns:a16="http://schemas.microsoft.com/office/drawing/2014/main" id="{D38F1EC6-84EB-44B5-B9DD-06D29258E6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6 w 26"/>
                  <a:gd name="T1" fmla="*/ 0 h 22"/>
                  <a:gd name="T2" fmla="*/ 1 w 26"/>
                  <a:gd name="T3" fmla="*/ 1 h 22"/>
                  <a:gd name="T4" fmla="*/ 0 w 26"/>
                  <a:gd name="T5" fmla="*/ 5 h 22"/>
                  <a:gd name="T6" fmla="*/ 2 w 26"/>
                  <a:gd name="T7" fmla="*/ 7 h 22"/>
                  <a:gd name="T8" fmla="*/ 7 w 26"/>
                  <a:gd name="T9" fmla="*/ 7 h 22"/>
                  <a:gd name="T10" fmla="*/ 9 w 26"/>
                  <a:gd name="T11" fmla="*/ 4 h 22"/>
                  <a:gd name="T12" fmla="*/ 6 w 26"/>
                  <a:gd name="T13" fmla="*/ 0 h 2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79" name="Group 391">
              <a:extLst>
                <a:ext uri="{FF2B5EF4-FFF2-40B4-BE49-F238E27FC236}">
                  <a16:creationId xmlns:a16="http://schemas.microsoft.com/office/drawing/2014/main" id="{DE71E495-23A5-4DBB-90CB-E933D398CDB6}"/>
                </a:ext>
              </a:extLst>
            </p:cNvPr>
            <p:cNvGrpSpPr>
              <a:grpSpLocks/>
            </p:cNvGrpSpPr>
            <p:nvPr>
              <p:custDataLst>
                <p:tags r:id="rId274"/>
              </p:custDataLst>
            </p:nvPr>
          </p:nvGrpSpPr>
          <p:grpSpPr bwMode="auto">
            <a:xfrm>
              <a:off x="2711451" y="1196976"/>
              <a:ext cx="1897063" cy="1133475"/>
              <a:chOff x="527" y="1110"/>
              <a:chExt cx="1410" cy="709"/>
            </a:xfrm>
            <a:solidFill>
              <a:srgbClr val="0070C0"/>
            </a:solidFill>
          </p:grpSpPr>
          <p:sp>
            <p:nvSpPr>
              <p:cNvPr id="397" name="Freeform 392">
                <a:extLst>
                  <a:ext uri="{FF2B5EF4-FFF2-40B4-BE49-F238E27FC236}">
                    <a16:creationId xmlns:a16="http://schemas.microsoft.com/office/drawing/2014/main" id="{407B8D72-0833-46B5-8CB9-5DACA3DA69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13 h 54"/>
                  <a:gd name="T2" fmla="*/ 2 w 98"/>
                  <a:gd name="T3" fmla="*/ 14 h 54"/>
                  <a:gd name="T4" fmla="*/ 4 w 98"/>
                  <a:gd name="T5" fmla="*/ 16 h 54"/>
                  <a:gd name="T6" fmla="*/ 7 w 98"/>
                  <a:gd name="T7" fmla="*/ 17 h 54"/>
                  <a:gd name="T8" fmla="*/ 10 w 98"/>
                  <a:gd name="T9" fmla="*/ 17 h 54"/>
                  <a:gd name="T10" fmla="*/ 12 w 98"/>
                  <a:gd name="T11" fmla="*/ 17 h 54"/>
                  <a:gd name="T12" fmla="*/ 14 w 98"/>
                  <a:gd name="T13" fmla="*/ 17 h 54"/>
                  <a:gd name="T14" fmla="*/ 16 w 98"/>
                  <a:gd name="T15" fmla="*/ 16 h 54"/>
                  <a:gd name="T16" fmla="*/ 18 w 98"/>
                  <a:gd name="T17" fmla="*/ 15 h 54"/>
                  <a:gd name="T18" fmla="*/ 21 w 98"/>
                  <a:gd name="T19" fmla="*/ 13 h 54"/>
                  <a:gd name="T20" fmla="*/ 24 w 98"/>
                  <a:gd name="T21" fmla="*/ 11 h 54"/>
                  <a:gd name="T22" fmla="*/ 27 w 98"/>
                  <a:gd name="T23" fmla="*/ 9 h 54"/>
                  <a:gd name="T24" fmla="*/ 29 w 98"/>
                  <a:gd name="T25" fmla="*/ 6 h 54"/>
                  <a:gd name="T26" fmla="*/ 30 w 98"/>
                  <a:gd name="T27" fmla="*/ 4 h 54"/>
                  <a:gd name="T28" fmla="*/ 31 w 98"/>
                  <a:gd name="T29" fmla="*/ 1 h 54"/>
                  <a:gd name="T30" fmla="*/ 29 w 98"/>
                  <a:gd name="T31" fmla="*/ 1 h 54"/>
                  <a:gd name="T32" fmla="*/ 26 w 98"/>
                  <a:gd name="T33" fmla="*/ 0 h 54"/>
                  <a:gd name="T34" fmla="*/ 24 w 98"/>
                  <a:gd name="T35" fmla="*/ 0 h 54"/>
                  <a:gd name="T36" fmla="*/ 22 w 98"/>
                  <a:gd name="T37" fmla="*/ 0 h 54"/>
                  <a:gd name="T38" fmla="*/ 19 w 98"/>
                  <a:gd name="T39" fmla="*/ 0 h 54"/>
                  <a:gd name="T40" fmla="*/ 16 w 98"/>
                  <a:gd name="T41" fmla="*/ 1 h 54"/>
                  <a:gd name="T42" fmla="*/ 14 w 98"/>
                  <a:gd name="T43" fmla="*/ 2 h 54"/>
                  <a:gd name="T44" fmla="*/ 12 w 98"/>
                  <a:gd name="T45" fmla="*/ 3 h 54"/>
                  <a:gd name="T46" fmla="*/ 7 w 98"/>
                  <a:gd name="T47" fmla="*/ 5 h 54"/>
                  <a:gd name="T48" fmla="*/ 4 w 98"/>
                  <a:gd name="T49" fmla="*/ 8 h 54"/>
                  <a:gd name="T50" fmla="*/ 2 w 98"/>
                  <a:gd name="T51" fmla="*/ 9 h 54"/>
                  <a:gd name="T52" fmla="*/ 1 w 98"/>
                  <a:gd name="T53" fmla="*/ 10 h 54"/>
                  <a:gd name="T54" fmla="*/ 0 w 98"/>
                  <a:gd name="T55" fmla="*/ 12 h 54"/>
                  <a:gd name="T56" fmla="*/ 0 w 98"/>
                  <a:gd name="T57" fmla="*/ 13 h 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8" name="Freeform 393">
                <a:extLst>
                  <a:ext uri="{FF2B5EF4-FFF2-40B4-BE49-F238E27FC236}">
                    <a16:creationId xmlns:a16="http://schemas.microsoft.com/office/drawing/2014/main" id="{3E7B92BE-ECC8-4D3E-9D80-5A5E490B60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8 h 28"/>
                  <a:gd name="T2" fmla="*/ 3 w 67"/>
                  <a:gd name="T3" fmla="*/ 8 h 28"/>
                  <a:gd name="T4" fmla="*/ 7 w 67"/>
                  <a:gd name="T5" fmla="*/ 8 h 28"/>
                  <a:gd name="T6" fmla="*/ 10 w 67"/>
                  <a:gd name="T7" fmla="*/ 7 h 28"/>
                  <a:gd name="T8" fmla="*/ 13 w 67"/>
                  <a:gd name="T9" fmla="*/ 6 h 28"/>
                  <a:gd name="T10" fmla="*/ 15 w 67"/>
                  <a:gd name="T11" fmla="*/ 5 h 28"/>
                  <a:gd name="T12" fmla="*/ 18 w 67"/>
                  <a:gd name="T13" fmla="*/ 3 h 28"/>
                  <a:gd name="T14" fmla="*/ 20 w 67"/>
                  <a:gd name="T15" fmla="*/ 2 h 28"/>
                  <a:gd name="T16" fmla="*/ 21 w 67"/>
                  <a:gd name="T17" fmla="*/ 1 h 28"/>
                  <a:gd name="T18" fmla="*/ 18 w 67"/>
                  <a:gd name="T19" fmla="*/ 0 h 28"/>
                  <a:gd name="T20" fmla="*/ 14 w 67"/>
                  <a:gd name="T21" fmla="*/ 0 h 28"/>
                  <a:gd name="T22" fmla="*/ 11 w 67"/>
                  <a:gd name="T23" fmla="*/ 0 h 28"/>
                  <a:gd name="T24" fmla="*/ 8 w 67"/>
                  <a:gd name="T25" fmla="*/ 1 h 28"/>
                  <a:gd name="T26" fmla="*/ 5 w 67"/>
                  <a:gd name="T27" fmla="*/ 2 h 28"/>
                  <a:gd name="T28" fmla="*/ 3 w 67"/>
                  <a:gd name="T29" fmla="*/ 3 h 28"/>
                  <a:gd name="T30" fmla="*/ 2 w 67"/>
                  <a:gd name="T31" fmla="*/ 4 h 28"/>
                  <a:gd name="T32" fmla="*/ 1 w 67"/>
                  <a:gd name="T33" fmla="*/ 5 h 28"/>
                  <a:gd name="T34" fmla="*/ 1 w 67"/>
                  <a:gd name="T35" fmla="*/ 6 h 28"/>
                  <a:gd name="T36" fmla="*/ 0 w 67"/>
                  <a:gd name="T37" fmla="*/ 8 h 2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9" name="Freeform 394">
                <a:extLst>
                  <a:ext uri="{FF2B5EF4-FFF2-40B4-BE49-F238E27FC236}">
                    <a16:creationId xmlns:a16="http://schemas.microsoft.com/office/drawing/2014/main" id="{1F81A053-AB29-49DE-AB5F-5886C1E6DF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6 h 36"/>
                  <a:gd name="T2" fmla="*/ 0 w 32"/>
                  <a:gd name="T3" fmla="*/ 7 h 36"/>
                  <a:gd name="T4" fmla="*/ 1 w 32"/>
                  <a:gd name="T5" fmla="*/ 9 h 36"/>
                  <a:gd name="T6" fmla="*/ 2 w 32"/>
                  <a:gd name="T7" fmla="*/ 10 h 36"/>
                  <a:gd name="T8" fmla="*/ 3 w 32"/>
                  <a:gd name="T9" fmla="*/ 10 h 36"/>
                  <a:gd name="T10" fmla="*/ 4 w 32"/>
                  <a:gd name="T11" fmla="*/ 11 h 36"/>
                  <a:gd name="T12" fmla="*/ 4 w 32"/>
                  <a:gd name="T13" fmla="*/ 11 h 36"/>
                  <a:gd name="T14" fmla="*/ 11 w 32"/>
                  <a:gd name="T15" fmla="*/ 11 h 36"/>
                  <a:gd name="T16" fmla="*/ 11 w 32"/>
                  <a:gd name="T17" fmla="*/ 7 h 36"/>
                  <a:gd name="T18" fmla="*/ 11 w 32"/>
                  <a:gd name="T19" fmla="*/ 4 h 36"/>
                  <a:gd name="T20" fmla="*/ 10 w 32"/>
                  <a:gd name="T21" fmla="*/ 2 h 36"/>
                  <a:gd name="T22" fmla="*/ 9 w 32"/>
                  <a:gd name="T23" fmla="*/ 0 h 36"/>
                  <a:gd name="T24" fmla="*/ 7 w 32"/>
                  <a:gd name="T25" fmla="*/ 1 h 36"/>
                  <a:gd name="T26" fmla="*/ 4 w 32"/>
                  <a:gd name="T27" fmla="*/ 2 h 36"/>
                  <a:gd name="T28" fmla="*/ 2 w 32"/>
                  <a:gd name="T29" fmla="*/ 3 h 36"/>
                  <a:gd name="T30" fmla="*/ 1 w 32"/>
                  <a:gd name="T31" fmla="*/ 4 h 36"/>
                  <a:gd name="T32" fmla="*/ 0 w 32"/>
                  <a:gd name="T33" fmla="*/ 5 h 36"/>
                  <a:gd name="T34" fmla="*/ 0 w 32"/>
                  <a:gd name="T35" fmla="*/ 6 h 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00" name="Freeform 395">
                <a:extLst>
                  <a:ext uri="{FF2B5EF4-FFF2-40B4-BE49-F238E27FC236}">
                    <a16:creationId xmlns:a16="http://schemas.microsoft.com/office/drawing/2014/main" id="{039FD31C-BD29-49B7-9AA6-7439FD8C0D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14 h 52"/>
                  <a:gd name="T2" fmla="*/ 3 w 146"/>
                  <a:gd name="T3" fmla="*/ 15 h 52"/>
                  <a:gd name="T4" fmla="*/ 7 w 146"/>
                  <a:gd name="T5" fmla="*/ 16 h 52"/>
                  <a:gd name="T6" fmla="*/ 10 w 146"/>
                  <a:gd name="T7" fmla="*/ 17 h 52"/>
                  <a:gd name="T8" fmla="*/ 14 w 146"/>
                  <a:gd name="T9" fmla="*/ 17 h 52"/>
                  <a:gd name="T10" fmla="*/ 20 w 146"/>
                  <a:gd name="T11" fmla="*/ 17 h 52"/>
                  <a:gd name="T12" fmla="*/ 26 w 146"/>
                  <a:gd name="T13" fmla="*/ 17 h 52"/>
                  <a:gd name="T14" fmla="*/ 37 w 146"/>
                  <a:gd name="T15" fmla="*/ 15 h 52"/>
                  <a:gd name="T16" fmla="*/ 46 w 146"/>
                  <a:gd name="T17" fmla="*/ 14 h 52"/>
                  <a:gd name="T18" fmla="*/ 45 w 146"/>
                  <a:gd name="T19" fmla="*/ 12 h 52"/>
                  <a:gd name="T20" fmla="*/ 45 w 146"/>
                  <a:gd name="T21" fmla="*/ 10 h 52"/>
                  <a:gd name="T22" fmla="*/ 44 w 146"/>
                  <a:gd name="T23" fmla="*/ 8 h 52"/>
                  <a:gd name="T24" fmla="*/ 43 w 146"/>
                  <a:gd name="T25" fmla="*/ 6 h 52"/>
                  <a:gd name="T26" fmla="*/ 42 w 146"/>
                  <a:gd name="T27" fmla="*/ 5 h 52"/>
                  <a:gd name="T28" fmla="*/ 41 w 146"/>
                  <a:gd name="T29" fmla="*/ 4 h 52"/>
                  <a:gd name="T30" fmla="*/ 39 w 146"/>
                  <a:gd name="T31" fmla="*/ 3 h 52"/>
                  <a:gd name="T32" fmla="*/ 38 w 146"/>
                  <a:gd name="T33" fmla="*/ 2 h 52"/>
                  <a:gd name="T34" fmla="*/ 35 w 146"/>
                  <a:gd name="T35" fmla="*/ 1 h 52"/>
                  <a:gd name="T36" fmla="*/ 32 w 146"/>
                  <a:gd name="T37" fmla="*/ 0 h 52"/>
                  <a:gd name="T38" fmla="*/ 28 w 146"/>
                  <a:gd name="T39" fmla="*/ 0 h 52"/>
                  <a:gd name="T40" fmla="*/ 25 w 146"/>
                  <a:gd name="T41" fmla="*/ 1 h 52"/>
                  <a:gd name="T42" fmla="*/ 21 w 146"/>
                  <a:gd name="T43" fmla="*/ 2 h 52"/>
                  <a:gd name="T44" fmla="*/ 17 w 146"/>
                  <a:gd name="T45" fmla="*/ 3 h 52"/>
                  <a:gd name="T46" fmla="*/ 14 w 146"/>
                  <a:gd name="T47" fmla="*/ 5 h 52"/>
                  <a:gd name="T48" fmla="*/ 10 w 146"/>
                  <a:gd name="T49" fmla="*/ 6 h 52"/>
                  <a:gd name="T50" fmla="*/ 7 w 146"/>
                  <a:gd name="T51" fmla="*/ 8 h 52"/>
                  <a:gd name="T52" fmla="*/ 4 w 146"/>
                  <a:gd name="T53" fmla="*/ 10 h 52"/>
                  <a:gd name="T54" fmla="*/ 2 w 146"/>
                  <a:gd name="T55" fmla="*/ 12 h 52"/>
                  <a:gd name="T56" fmla="*/ 0 w 146"/>
                  <a:gd name="T57" fmla="*/ 14 h 5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01" name="Freeform 396">
                <a:extLst>
                  <a:ext uri="{FF2B5EF4-FFF2-40B4-BE49-F238E27FC236}">
                    <a16:creationId xmlns:a16="http://schemas.microsoft.com/office/drawing/2014/main" id="{70160547-3F80-48B8-9516-E590816DF0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20 w 60"/>
                  <a:gd name="T1" fmla="*/ 0 h 31"/>
                  <a:gd name="T2" fmla="*/ 16 w 60"/>
                  <a:gd name="T3" fmla="*/ 0 h 31"/>
                  <a:gd name="T4" fmla="*/ 13 w 60"/>
                  <a:gd name="T5" fmla="*/ 0 h 31"/>
                  <a:gd name="T6" fmla="*/ 10 w 60"/>
                  <a:gd name="T7" fmla="*/ 0 h 31"/>
                  <a:gd name="T8" fmla="*/ 9 w 60"/>
                  <a:gd name="T9" fmla="*/ 0 h 31"/>
                  <a:gd name="T10" fmla="*/ 6 w 60"/>
                  <a:gd name="T11" fmla="*/ 0 h 31"/>
                  <a:gd name="T12" fmla="*/ 3 w 60"/>
                  <a:gd name="T13" fmla="*/ 1 h 31"/>
                  <a:gd name="T14" fmla="*/ 2 w 60"/>
                  <a:gd name="T15" fmla="*/ 1 h 31"/>
                  <a:gd name="T16" fmla="*/ 1 w 60"/>
                  <a:gd name="T17" fmla="*/ 2 h 31"/>
                  <a:gd name="T18" fmla="*/ 0 w 60"/>
                  <a:gd name="T19" fmla="*/ 3 h 31"/>
                  <a:gd name="T20" fmla="*/ 0 w 60"/>
                  <a:gd name="T21" fmla="*/ 4 h 31"/>
                  <a:gd name="T22" fmla="*/ 0 w 60"/>
                  <a:gd name="T23" fmla="*/ 5 h 31"/>
                  <a:gd name="T24" fmla="*/ 1 w 60"/>
                  <a:gd name="T25" fmla="*/ 6 h 31"/>
                  <a:gd name="T26" fmla="*/ 2 w 60"/>
                  <a:gd name="T27" fmla="*/ 7 h 31"/>
                  <a:gd name="T28" fmla="*/ 3 w 60"/>
                  <a:gd name="T29" fmla="*/ 8 h 31"/>
                  <a:gd name="T30" fmla="*/ 4 w 60"/>
                  <a:gd name="T31" fmla="*/ 9 h 31"/>
                  <a:gd name="T32" fmla="*/ 6 w 60"/>
                  <a:gd name="T33" fmla="*/ 9 h 31"/>
                  <a:gd name="T34" fmla="*/ 7 w 60"/>
                  <a:gd name="T35" fmla="*/ 10 h 31"/>
                  <a:gd name="T36" fmla="*/ 9 w 60"/>
                  <a:gd name="T37" fmla="*/ 10 h 31"/>
                  <a:gd name="T38" fmla="*/ 11 w 60"/>
                  <a:gd name="T39" fmla="*/ 10 h 31"/>
                  <a:gd name="T40" fmla="*/ 12 w 60"/>
                  <a:gd name="T41" fmla="*/ 9 h 31"/>
                  <a:gd name="T42" fmla="*/ 14 w 60"/>
                  <a:gd name="T43" fmla="*/ 8 h 31"/>
                  <a:gd name="T44" fmla="*/ 16 w 60"/>
                  <a:gd name="T45" fmla="*/ 6 h 31"/>
                  <a:gd name="T46" fmla="*/ 19 w 60"/>
                  <a:gd name="T47" fmla="*/ 3 h 31"/>
                  <a:gd name="T48" fmla="*/ 20 w 60"/>
                  <a:gd name="T49" fmla="*/ 2 h 31"/>
                  <a:gd name="T50" fmla="*/ 20 w 60"/>
                  <a:gd name="T51" fmla="*/ 0 h 3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02" name="Freeform 397">
                <a:extLst>
                  <a:ext uri="{FF2B5EF4-FFF2-40B4-BE49-F238E27FC236}">
                    <a16:creationId xmlns:a16="http://schemas.microsoft.com/office/drawing/2014/main" id="{721FDE5E-A600-4DE5-BA01-2EE0BD93FB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14 h 62"/>
                  <a:gd name="T2" fmla="*/ 0 w 80"/>
                  <a:gd name="T3" fmla="*/ 15 h 62"/>
                  <a:gd name="T4" fmla="*/ 0 w 80"/>
                  <a:gd name="T5" fmla="*/ 16 h 62"/>
                  <a:gd name="T6" fmla="*/ 1 w 80"/>
                  <a:gd name="T7" fmla="*/ 16 h 62"/>
                  <a:gd name="T8" fmla="*/ 1 w 80"/>
                  <a:gd name="T9" fmla="*/ 17 h 62"/>
                  <a:gd name="T10" fmla="*/ 3 w 80"/>
                  <a:gd name="T11" fmla="*/ 18 h 62"/>
                  <a:gd name="T12" fmla="*/ 5 w 80"/>
                  <a:gd name="T13" fmla="*/ 19 h 62"/>
                  <a:gd name="T14" fmla="*/ 9 w 80"/>
                  <a:gd name="T15" fmla="*/ 20 h 62"/>
                  <a:gd name="T16" fmla="*/ 13 w 80"/>
                  <a:gd name="T17" fmla="*/ 20 h 62"/>
                  <a:gd name="T18" fmla="*/ 15 w 80"/>
                  <a:gd name="T19" fmla="*/ 20 h 62"/>
                  <a:gd name="T20" fmla="*/ 16 w 80"/>
                  <a:gd name="T21" fmla="*/ 19 h 62"/>
                  <a:gd name="T22" fmla="*/ 18 w 80"/>
                  <a:gd name="T23" fmla="*/ 18 h 62"/>
                  <a:gd name="T24" fmla="*/ 19 w 80"/>
                  <a:gd name="T25" fmla="*/ 17 h 62"/>
                  <a:gd name="T26" fmla="*/ 21 w 80"/>
                  <a:gd name="T27" fmla="*/ 15 h 62"/>
                  <a:gd name="T28" fmla="*/ 23 w 80"/>
                  <a:gd name="T29" fmla="*/ 12 h 62"/>
                  <a:gd name="T30" fmla="*/ 24 w 80"/>
                  <a:gd name="T31" fmla="*/ 9 h 62"/>
                  <a:gd name="T32" fmla="*/ 25 w 80"/>
                  <a:gd name="T33" fmla="*/ 6 h 62"/>
                  <a:gd name="T34" fmla="*/ 26 w 80"/>
                  <a:gd name="T35" fmla="*/ 3 h 62"/>
                  <a:gd name="T36" fmla="*/ 26 w 80"/>
                  <a:gd name="T37" fmla="*/ 0 h 62"/>
                  <a:gd name="T38" fmla="*/ 23 w 80"/>
                  <a:gd name="T39" fmla="*/ 0 h 62"/>
                  <a:gd name="T40" fmla="*/ 19 w 80"/>
                  <a:gd name="T41" fmla="*/ 1 h 62"/>
                  <a:gd name="T42" fmla="*/ 15 w 80"/>
                  <a:gd name="T43" fmla="*/ 3 h 62"/>
                  <a:gd name="T44" fmla="*/ 11 w 80"/>
                  <a:gd name="T45" fmla="*/ 4 h 62"/>
                  <a:gd name="T46" fmla="*/ 7 w 80"/>
                  <a:gd name="T47" fmla="*/ 6 h 62"/>
                  <a:gd name="T48" fmla="*/ 3 w 80"/>
                  <a:gd name="T49" fmla="*/ 8 h 62"/>
                  <a:gd name="T50" fmla="*/ 2 w 80"/>
                  <a:gd name="T51" fmla="*/ 10 h 62"/>
                  <a:gd name="T52" fmla="*/ 1 w 80"/>
                  <a:gd name="T53" fmla="*/ 11 h 62"/>
                  <a:gd name="T54" fmla="*/ 0 w 80"/>
                  <a:gd name="T55" fmla="*/ 13 h 62"/>
                  <a:gd name="T56" fmla="*/ 0 w 80"/>
                  <a:gd name="T57" fmla="*/ 14 h 6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03" name="Freeform 398">
                <a:extLst>
                  <a:ext uri="{FF2B5EF4-FFF2-40B4-BE49-F238E27FC236}">
                    <a16:creationId xmlns:a16="http://schemas.microsoft.com/office/drawing/2014/main" id="{EC38D609-76C3-458D-BEBF-51064BECD9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25 w 106"/>
                  <a:gd name="T1" fmla="*/ 4 h 49"/>
                  <a:gd name="T2" fmla="*/ 22 w 106"/>
                  <a:gd name="T3" fmla="*/ 4 h 49"/>
                  <a:gd name="T4" fmla="*/ 21 w 106"/>
                  <a:gd name="T5" fmla="*/ 4 h 49"/>
                  <a:gd name="T6" fmla="*/ 18 w 106"/>
                  <a:gd name="T7" fmla="*/ 3 h 49"/>
                  <a:gd name="T8" fmla="*/ 17 w 106"/>
                  <a:gd name="T9" fmla="*/ 2 h 49"/>
                  <a:gd name="T10" fmla="*/ 15 w 106"/>
                  <a:gd name="T11" fmla="*/ 1 h 49"/>
                  <a:gd name="T12" fmla="*/ 13 w 106"/>
                  <a:gd name="T13" fmla="*/ 1 h 49"/>
                  <a:gd name="T14" fmla="*/ 11 w 106"/>
                  <a:gd name="T15" fmla="*/ 0 h 49"/>
                  <a:gd name="T16" fmla="*/ 8 w 106"/>
                  <a:gd name="T17" fmla="*/ 0 h 49"/>
                  <a:gd name="T18" fmla="*/ 5 w 106"/>
                  <a:gd name="T19" fmla="*/ 0 h 49"/>
                  <a:gd name="T20" fmla="*/ 0 w 106"/>
                  <a:gd name="T21" fmla="*/ 0 h 49"/>
                  <a:gd name="T22" fmla="*/ 3 w 106"/>
                  <a:gd name="T23" fmla="*/ 4 h 49"/>
                  <a:gd name="T24" fmla="*/ 5 w 106"/>
                  <a:gd name="T25" fmla="*/ 7 h 49"/>
                  <a:gd name="T26" fmla="*/ 8 w 106"/>
                  <a:gd name="T27" fmla="*/ 9 h 49"/>
                  <a:gd name="T28" fmla="*/ 11 w 106"/>
                  <a:gd name="T29" fmla="*/ 12 h 49"/>
                  <a:gd name="T30" fmla="*/ 13 w 106"/>
                  <a:gd name="T31" fmla="*/ 14 h 49"/>
                  <a:gd name="T32" fmla="*/ 16 w 106"/>
                  <a:gd name="T33" fmla="*/ 15 h 49"/>
                  <a:gd name="T34" fmla="*/ 19 w 106"/>
                  <a:gd name="T35" fmla="*/ 16 h 49"/>
                  <a:gd name="T36" fmla="*/ 22 w 106"/>
                  <a:gd name="T37" fmla="*/ 16 h 49"/>
                  <a:gd name="T38" fmla="*/ 25 w 106"/>
                  <a:gd name="T39" fmla="*/ 16 h 49"/>
                  <a:gd name="T40" fmla="*/ 27 w 106"/>
                  <a:gd name="T41" fmla="*/ 15 h 49"/>
                  <a:gd name="T42" fmla="*/ 30 w 106"/>
                  <a:gd name="T43" fmla="*/ 13 h 49"/>
                  <a:gd name="T44" fmla="*/ 33 w 106"/>
                  <a:gd name="T45" fmla="*/ 10 h 49"/>
                  <a:gd name="T46" fmla="*/ 31 w 106"/>
                  <a:gd name="T47" fmla="*/ 10 h 49"/>
                  <a:gd name="T48" fmla="*/ 31 w 106"/>
                  <a:gd name="T49" fmla="*/ 9 h 49"/>
                  <a:gd name="T50" fmla="*/ 29 w 106"/>
                  <a:gd name="T51" fmla="*/ 8 h 49"/>
                  <a:gd name="T52" fmla="*/ 28 w 106"/>
                  <a:gd name="T53" fmla="*/ 7 h 49"/>
                  <a:gd name="T54" fmla="*/ 27 w 106"/>
                  <a:gd name="T55" fmla="*/ 6 h 49"/>
                  <a:gd name="T56" fmla="*/ 26 w 106"/>
                  <a:gd name="T57" fmla="*/ 5 h 49"/>
                  <a:gd name="T58" fmla="*/ 26 w 106"/>
                  <a:gd name="T59" fmla="*/ 5 h 49"/>
                  <a:gd name="T60" fmla="*/ 25 w 106"/>
                  <a:gd name="T61" fmla="*/ 4 h 49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04" name="Freeform 399">
                <a:extLst>
                  <a:ext uri="{FF2B5EF4-FFF2-40B4-BE49-F238E27FC236}">
                    <a16:creationId xmlns:a16="http://schemas.microsoft.com/office/drawing/2014/main" id="{2CAF8ACC-23EA-4F0E-B90F-A286B095C5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6 h 22"/>
                  <a:gd name="T2" fmla="*/ 2 w 47"/>
                  <a:gd name="T3" fmla="*/ 7 h 22"/>
                  <a:gd name="T4" fmla="*/ 4 w 47"/>
                  <a:gd name="T5" fmla="*/ 7 h 22"/>
                  <a:gd name="T6" fmla="*/ 6 w 47"/>
                  <a:gd name="T7" fmla="*/ 7 h 22"/>
                  <a:gd name="T8" fmla="*/ 8 w 47"/>
                  <a:gd name="T9" fmla="*/ 7 h 22"/>
                  <a:gd name="T10" fmla="*/ 11 w 47"/>
                  <a:gd name="T11" fmla="*/ 6 h 22"/>
                  <a:gd name="T12" fmla="*/ 12 w 47"/>
                  <a:gd name="T13" fmla="*/ 5 h 22"/>
                  <a:gd name="T14" fmla="*/ 13 w 47"/>
                  <a:gd name="T15" fmla="*/ 4 h 22"/>
                  <a:gd name="T16" fmla="*/ 14 w 47"/>
                  <a:gd name="T17" fmla="*/ 3 h 22"/>
                  <a:gd name="T18" fmla="*/ 14 w 47"/>
                  <a:gd name="T19" fmla="*/ 2 h 22"/>
                  <a:gd name="T20" fmla="*/ 15 w 47"/>
                  <a:gd name="T21" fmla="*/ 0 h 22"/>
                  <a:gd name="T22" fmla="*/ 0 w 47"/>
                  <a:gd name="T23" fmla="*/ 6 h 2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05" name="Freeform 400">
                <a:extLst>
                  <a:ext uri="{FF2B5EF4-FFF2-40B4-BE49-F238E27FC236}">
                    <a16:creationId xmlns:a16="http://schemas.microsoft.com/office/drawing/2014/main" id="{D0F4AE39-EA85-4E3B-B056-E4C536ABA0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17 w 53"/>
                  <a:gd name="T1" fmla="*/ 0 h 32"/>
                  <a:gd name="T2" fmla="*/ 12 w 53"/>
                  <a:gd name="T3" fmla="*/ 3 h 32"/>
                  <a:gd name="T4" fmla="*/ 7 w 53"/>
                  <a:gd name="T5" fmla="*/ 6 h 32"/>
                  <a:gd name="T6" fmla="*/ 4 w 53"/>
                  <a:gd name="T7" fmla="*/ 9 h 32"/>
                  <a:gd name="T8" fmla="*/ 0 w 53"/>
                  <a:gd name="T9" fmla="*/ 11 h 32"/>
                  <a:gd name="T10" fmla="*/ 4 w 53"/>
                  <a:gd name="T11" fmla="*/ 11 h 32"/>
                  <a:gd name="T12" fmla="*/ 8 w 53"/>
                  <a:gd name="T13" fmla="*/ 11 h 32"/>
                  <a:gd name="T14" fmla="*/ 13 w 53"/>
                  <a:gd name="T15" fmla="*/ 11 h 32"/>
                  <a:gd name="T16" fmla="*/ 17 w 53"/>
                  <a:gd name="T17" fmla="*/ 11 h 32"/>
                  <a:gd name="T18" fmla="*/ 17 w 53"/>
                  <a:gd name="T19" fmla="*/ 8 h 32"/>
                  <a:gd name="T20" fmla="*/ 17 w 53"/>
                  <a:gd name="T21" fmla="*/ 6 h 32"/>
                  <a:gd name="T22" fmla="*/ 17 w 53"/>
                  <a:gd name="T23" fmla="*/ 3 h 32"/>
                  <a:gd name="T24" fmla="*/ 17 w 53"/>
                  <a:gd name="T25" fmla="*/ 0 h 3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06" name="Freeform 401">
                <a:extLst>
                  <a:ext uri="{FF2B5EF4-FFF2-40B4-BE49-F238E27FC236}">
                    <a16:creationId xmlns:a16="http://schemas.microsoft.com/office/drawing/2014/main" id="{6224AEB9-915C-49E7-BA9B-A2290489B0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8 w 46"/>
                  <a:gd name="T1" fmla="*/ 1 h 34"/>
                  <a:gd name="T2" fmla="*/ 0 w 46"/>
                  <a:gd name="T3" fmla="*/ 6 h 34"/>
                  <a:gd name="T4" fmla="*/ 0 w 46"/>
                  <a:gd name="T5" fmla="*/ 12 h 34"/>
                  <a:gd name="T6" fmla="*/ 8 w 46"/>
                  <a:gd name="T7" fmla="*/ 12 h 34"/>
                  <a:gd name="T8" fmla="*/ 9 w 46"/>
                  <a:gd name="T9" fmla="*/ 11 h 34"/>
                  <a:gd name="T10" fmla="*/ 11 w 46"/>
                  <a:gd name="T11" fmla="*/ 10 h 34"/>
                  <a:gd name="T12" fmla="*/ 12 w 46"/>
                  <a:gd name="T13" fmla="*/ 9 h 34"/>
                  <a:gd name="T14" fmla="*/ 13 w 46"/>
                  <a:gd name="T15" fmla="*/ 7 h 34"/>
                  <a:gd name="T16" fmla="*/ 13 w 46"/>
                  <a:gd name="T17" fmla="*/ 6 h 34"/>
                  <a:gd name="T18" fmla="*/ 14 w 46"/>
                  <a:gd name="T19" fmla="*/ 5 h 34"/>
                  <a:gd name="T20" fmla="*/ 14 w 46"/>
                  <a:gd name="T21" fmla="*/ 3 h 34"/>
                  <a:gd name="T22" fmla="*/ 14 w 46"/>
                  <a:gd name="T23" fmla="*/ 1 h 34"/>
                  <a:gd name="T24" fmla="*/ 14 w 46"/>
                  <a:gd name="T25" fmla="*/ 0 h 34"/>
                  <a:gd name="T26" fmla="*/ 13 w 46"/>
                  <a:gd name="T27" fmla="*/ 0 h 34"/>
                  <a:gd name="T28" fmla="*/ 13 w 46"/>
                  <a:gd name="T29" fmla="*/ 0 h 34"/>
                  <a:gd name="T30" fmla="*/ 12 w 46"/>
                  <a:gd name="T31" fmla="*/ 0 h 34"/>
                  <a:gd name="T32" fmla="*/ 10 w 46"/>
                  <a:gd name="T33" fmla="*/ 1 h 34"/>
                  <a:gd name="T34" fmla="*/ 8 w 46"/>
                  <a:gd name="T35" fmla="*/ 1 h 3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07" name="Freeform 402">
                <a:extLst>
                  <a:ext uri="{FF2B5EF4-FFF2-40B4-BE49-F238E27FC236}">
                    <a16:creationId xmlns:a16="http://schemas.microsoft.com/office/drawing/2014/main" id="{2B999A7B-2712-4B91-AE71-458B8E1688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8 h 25"/>
                  <a:gd name="T2" fmla="*/ 5 w 48"/>
                  <a:gd name="T3" fmla="*/ 8 h 25"/>
                  <a:gd name="T4" fmla="*/ 9 w 48"/>
                  <a:gd name="T5" fmla="*/ 8 h 25"/>
                  <a:gd name="T6" fmla="*/ 10 w 48"/>
                  <a:gd name="T7" fmla="*/ 8 h 25"/>
                  <a:gd name="T8" fmla="*/ 11 w 48"/>
                  <a:gd name="T9" fmla="*/ 7 h 25"/>
                  <a:gd name="T10" fmla="*/ 12 w 48"/>
                  <a:gd name="T11" fmla="*/ 6 h 25"/>
                  <a:gd name="T12" fmla="*/ 13 w 48"/>
                  <a:gd name="T13" fmla="*/ 5 h 25"/>
                  <a:gd name="T14" fmla="*/ 15 w 48"/>
                  <a:gd name="T15" fmla="*/ 2 h 25"/>
                  <a:gd name="T16" fmla="*/ 16 w 48"/>
                  <a:gd name="T17" fmla="*/ 0 h 25"/>
                  <a:gd name="T18" fmla="*/ 13 w 48"/>
                  <a:gd name="T19" fmla="*/ 0 h 25"/>
                  <a:gd name="T20" fmla="*/ 11 w 48"/>
                  <a:gd name="T21" fmla="*/ 1 h 25"/>
                  <a:gd name="T22" fmla="*/ 9 w 48"/>
                  <a:gd name="T23" fmla="*/ 2 h 25"/>
                  <a:gd name="T24" fmla="*/ 7 w 48"/>
                  <a:gd name="T25" fmla="*/ 3 h 25"/>
                  <a:gd name="T26" fmla="*/ 4 w 48"/>
                  <a:gd name="T27" fmla="*/ 5 h 25"/>
                  <a:gd name="T28" fmla="*/ 0 w 48"/>
                  <a:gd name="T29" fmla="*/ 8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08" name="Freeform 403">
                <a:extLst>
                  <a:ext uri="{FF2B5EF4-FFF2-40B4-BE49-F238E27FC236}">
                    <a16:creationId xmlns:a16="http://schemas.microsoft.com/office/drawing/2014/main" id="{5860959F-9208-490E-BF31-60EE16E480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11 h 37"/>
                  <a:gd name="T4" fmla="*/ 3 w 30"/>
                  <a:gd name="T5" fmla="*/ 11 h 37"/>
                  <a:gd name="T6" fmla="*/ 5 w 30"/>
                  <a:gd name="T7" fmla="*/ 10 h 37"/>
                  <a:gd name="T8" fmla="*/ 6 w 30"/>
                  <a:gd name="T9" fmla="*/ 10 h 37"/>
                  <a:gd name="T10" fmla="*/ 7 w 30"/>
                  <a:gd name="T11" fmla="*/ 10 h 37"/>
                  <a:gd name="T12" fmla="*/ 7 w 30"/>
                  <a:gd name="T13" fmla="*/ 9 h 37"/>
                  <a:gd name="T14" fmla="*/ 8 w 30"/>
                  <a:gd name="T15" fmla="*/ 8 h 37"/>
                  <a:gd name="T16" fmla="*/ 8 w 30"/>
                  <a:gd name="T17" fmla="*/ 7 h 37"/>
                  <a:gd name="T18" fmla="*/ 8 w 30"/>
                  <a:gd name="T19" fmla="*/ 5 h 37"/>
                  <a:gd name="T20" fmla="*/ 8 w 30"/>
                  <a:gd name="T21" fmla="*/ 3 h 37"/>
                  <a:gd name="T22" fmla="*/ 7 w 30"/>
                  <a:gd name="T23" fmla="*/ 0 h 37"/>
                  <a:gd name="T24" fmla="*/ 0 w 30"/>
                  <a:gd name="T25" fmla="*/ 0 h 3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09" name="Freeform 404">
                <a:extLst>
                  <a:ext uri="{FF2B5EF4-FFF2-40B4-BE49-F238E27FC236}">
                    <a16:creationId xmlns:a16="http://schemas.microsoft.com/office/drawing/2014/main" id="{492BFC99-FA67-49A6-A0E8-7973F817A6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11 w 113"/>
                  <a:gd name="T1" fmla="*/ 1 h 46"/>
                  <a:gd name="T2" fmla="*/ 7 w 113"/>
                  <a:gd name="T3" fmla="*/ 1 h 46"/>
                  <a:gd name="T4" fmla="*/ 4 w 113"/>
                  <a:gd name="T5" fmla="*/ 2 h 46"/>
                  <a:gd name="T6" fmla="*/ 2 w 113"/>
                  <a:gd name="T7" fmla="*/ 2 h 46"/>
                  <a:gd name="T8" fmla="*/ 1 w 113"/>
                  <a:gd name="T9" fmla="*/ 4 h 46"/>
                  <a:gd name="T10" fmla="*/ 0 w 113"/>
                  <a:gd name="T11" fmla="*/ 5 h 46"/>
                  <a:gd name="T12" fmla="*/ 0 w 113"/>
                  <a:gd name="T13" fmla="*/ 7 h 46"/>
                  <a:gd name="T14" fmla="*/ 2 w 113"/>
                  <a:gd name="T15" fmla="*/ 9 h 46"/>
                  <a:gd name="T16" fmla="*/ 3 w 113"/>
                  <a:gd name="T17" fmla="*/ 11 h 46"/>
                  <a:gd name="T18" fmla="*/ 5 w 113"/>
                  <a:gd name="T19" fmla="*/ 13 h 46"/>
                  <a:gd name="T20" fmla="*/ 6 w 113"/>
                  <a:gd name="T21" fmla="*/ 14 h 46"/>
                  <a:gd name="T22" fmla="*/ 8 w 113"/>
                  <a:gd name="T23" fmla="*/ 15 h 46"/>
                  <a:gd name="T24" fmla="*/ 10 w 113"/>
                  <a:gd name="T25" fmla="*/ 16 h 46"/>
                  <a:gd name="T26" fmla="*/ 11 w 113"/>
                  <a:gd name="T27" fmla="*/ 16 h 46"/>
                  <a:gd name="T28" fmla="*/ 13 w 113"/>
                  <a:gd name="T29" fmla="*/ 16 h 46"/>
                  <a:gd name="T30" fmla="*/ 18 w 113"/>
                  <a:gd name="T31" fmla="*/ 16 h 46"/>
                  <a:gd name="T32" fmla="*/ 22 w 113"/>
                  <a:gd name="T33" fmla="*/ 15 h 46"/>
                  <a:gd name="T34" fmla="*/ 24 w 113"/>
                  <a:gd name="T35" fmla="*/ 14 h 46"/>
                  <a:gd name="T36" fmla="*/ 26 w 113"/>
                  <a:gd name="T37" fmla="*/ 13 h 46"/>
                  <a:gd name="T38" fmla="*/ 28 w 113"/>
                  <a:gd name="T39" fmla="*/ 13 h 46"/>
                  <a:gd name="T40" fmla="*/ 29 w 113"/>
                  <a:gd name="T41" fmla="*/ 11 h 46"/>
                  <a:gd name="T42" fmla="*/ 32 w 113"/>
                  <a:gd name="T43" fmla="*/ 9 h 46"/>
                  <a:gd name="T44" fmla="*/ 34 w 113"/>
                  <a:gd name="T45" fmla="*/ 7 h 46"/>
                  <a:gd name="T46" fmla="*/ 35 w 113"/>
                  <a:gd name="T47" fmla="*/ 4 h 46"/>
                  <a:gd name="T48" fmla="*/ 36 w 113"/>
                  <a:gd name="T49" fmla="*/ 1 h 46"/>
                  <a:gd name="T50" fmla="*/ 32 w 113"/>
                  <a:gd name="T51" fmla="*/ 0 h 46"/>
                  <a:gd name="T52" fmla="*/ 28 w 113"/>
                  <a:gd name="T53" fmla="*/ 0 h 46"/>
                  <a:gd name="T54" fmla="*/ 24 w 113"/>
                  <a:gd name="T55" fmla="*/ 0 h 46"/>
                  <a:gd name="T56" fmla="*/ 21 w 113"/>
                  <a:gd name="T57" fmla="*/ 0 h 46"/>
                  <a:gd name="T58" fmla="*/ 15 w 113"/>
                  <a:gd name="T59" fmla="*/ 1 h 46"/>
                  <a:gd name="T60" fmla="*/ 11 w 113"/>
                  <a:gd name="T61" fmla="*/ 1 h 4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0" name="Freeform 405">
                <a:extLst>
                  <a:ext uri="{FF2B5EF4-FFF2-40B4-BE49-F238E27FC236}">
                    <a16:creationId xmlns:a16="http://schemas.microsoft.com/office/drawing/2014/main" id="{1E3B537A-45D9-447D-9B5A-1D79D1049D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27 h 82"/>
                  <a:gd name="T2" fmla="*/ 1 w 153"/>
                  <a:gd name="T3" fmla="*/ 28 h 82"/>
                  <a:gd name="T4" fmla="*/ 2 w 153"/>
                  <a:gd name="T5" fmla="*/ 28 h 82"/>
                  <a:gd name="T6" fmla="*/ 3 w 153"/>
                  <a:gd name="T7" fmla="*/ 28 h 82"/>
                  <a:gd name="T8" fmla="*/ 4 w 153"/>
                  <a:gd name="T9" fmla="*/ 28 h 82"/>
                  <a:gd name="T10" fmla="*/ 7 w 153"/>
                  <a:gd name="T11" fmla="*/ 27 h 82"/>
                  <a:gd name="T12" fmla="*/ 11 w 153"/>
                  <a:gd name="T13" fmla="*/ 27 h 82"/>
                  <a:gd name="T14" fmla="*/ 13 w 153"/>
                  <a:gd name="T15" fmla="*/ 27 h 82"/>
                  <a:gd name="T16" fmla="*/ 15 w 153"/>
                  <a:gd name="T17" fmla="*/ 27 h 82"/>
                  <a:gd name="T18" fmla="*/ 18 w 153"/>
                  <a:gd name="T19" fmla="*/ 26 h 82"/>
                  <a:gd name="T20" fmla="*/ 21 w 153"/>
                  <a:gd name="T21" fmla="*/ 25 h 82"/>
                  <a:gd name="T22" fmla="*/ 27 w 153"/>
                  <a:gd name="T23" fmla="*/ 23 h 82"/>
                  <a:gd name="T24" fmla="*/ 33 w 153"/>
                  <a:gd name="T25" fmla="*/ 20 h 82"/>
                  <a:gd name="T26" fmla="*/ 36 w 153"/>
                  <a:gd name="T27" fmla="*/ 18 h 82"/>
                  <a:gd name="T28" fmla="*/ 39 w 153"/>
                  <a:gd name="T29" fmla="*/ 17 h 82"/>
                  <a:gd name="T30" fmla="*/ 41 w 153"/>
                  <a:gd name="T31" fmla="*/ 15 h 82"/>
                  <a:gd name="T32" fmla="*/ 44 w 153"/>
                  <a:gd name="T33" fmla="*/ 13 h 82"/>
                  <a:gd name="T34" fmla="*/ 45 w 153"/>
                  <a:gd name="T35" fmla="*/ 11 h 82"/>
                  <a:gd name="T36" fmla="*/ 47 w 153"/>
                  <a:gd name="T37" fmla="*/ 9 h 82"/>
                  <a:gd name="T38" fmla="*/ 48 w 153"/>
                  <a:gd name="T39" fmla="*/ 6 h 82"/>
                  <a:gd name="T40" fmla="*/ 49 w 153"/>
                  <a:gd name="T41" fmla="*/ 4 h 82"/>
                  <a:gd name="T42" fmla="*/ 43 w 153"/>
                  <a:gd name="T43" fmla="*/ 3 h 82"/>
                  <a:gd name="T44" fmla="*/ 37 w 153"/>
                  <a:gd name="T45" fmla="*/ 1 h 82"/>
                  <a:gd name="T46" fmla="*/ 31 w 153"/>
                  <a:gd name="T47" fmla="*/ 0 h 82"/>
                  <a:gd name="T48" fmla="*/ 25 w 153"/>
                  <a:gd name="T49" fmla="*/ 0 h 82"/>
                  <a:gd name="T50" fmla="*/ 22 w 153"/>
                  <a:gd name="T51" fmla="*/ 0 h 82"/>
                  <a:gd name="T52" fmla="*/ 19 w 153"/>
                  <a:gd name="T53" fmla="*/ 0 h 82"/>
                  <a:gd name="T54" fmla="*/ 17 w 153"/>
                  <a:gd name="T55" fmla="*/ 1 h 82"/>
                  <a:gd name="T56" fmla="*/ 14 w 153"/>
                  <a:gd name="T57" fmla="*/ 1 h 82"/>
                  <a:gd name="T58" fmla="*/ 12 w 153"/>
                  <a:gd name="T59" fmla="*/ 2 h 82"/>
                  <a:gd name="T60" fmla="*/ 11 w 153"/>
                  <a:gd name="T61" fmla="*/ 3 h 82"/>
                  <a:gd name="T62" fmla="*/ 10 w 153"/>
                  <a:gd name="T63" fmla="*/ 5 h 82"/>
                  <a:gd name="T64" fmla="*/ 8 w 153"/>
                  <a:gd name="T65" fmla="*/ 6 h 82"/>
                  <a:gd name="T66" fmla="*/ 10 w 153"/>
                  <a:gd name="T67" fmla="*/ 8 h 82"/>
                  <a:gd name="T68" fmla="*/ 12 w 153"/>
                  <a:gd name="T69" fmla="*/ 10 h 82"/>
                  <a:gd name="T70" fmla="*/ 12 w 153"/>
                  <a:gd name="T71" fmla="*/ 11 h 82"/>
                  <a:gd name="T72" fmla="*/ 13 w 153"/>
                  <a:gd name="T73" fmla="*/ 12 h 82"/>
                  <a:gd name="T74" fmla="*/ 14 w 153"/>
                  <a:gd name="T75" fmla="*/ 12 h 82"/>
                  <a:gd name="T76" fmla="*/ 15 w 153"/>
                  <a:gd name="T77" fmla="*/ 12 h 82"/>
                  <a:gd name="T78" fmla="*/ 13 w 153"/>
                  <a:gd name="T79" fmla="*/ 14 h 82"/>
                  <a:gd name="T80" fmla="*/ 11 w 153"/>
                  <a:gd name="T81" fmla="*/ 16 h 82"/>
                  <a:gd name="T82" fmla="*/ 9 w 153"/>
                  <a:gd name="T83" fmla="*/ 18 h 82"/>
                  <a:gd name="T84" fmla="*/ 7 w 153"/>
                  <a:gd name="T85" fmla="*/ 19 h 82"/>
                  <a:gd name="T86" fmla="*/ 6 w 153"/>
                  <a:gd name="T87" fmla="*/ 22 h 82"/>
                  <a:gd name="T88" fmla="*/ 4 w 153"/>
                  <a:gd name="T89" fmla="*/ 24 h 82"/>
                  <a:gd name="T90" fmla="*/ 2 w 153"/>
                  <a:gd name="T91" fmla="*/ 26 h 82"/>
                  <a:gd name="T92" fmla="*/ 0 w 153"/>
                  <a:gd name="T93" fmla="*/ 27 h 8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1" name="Freeform 406">
                <a:extLst>
                  <a:ext uri="{FF2B5EF4-FFF2-40B4-BE49-F238E27FC236}">
                    <a16:creationId xmlns:a16="http://schemas.microsoft.com/office/drawing/2014/main" id="{E6634A63-AD11-4B28-AA50-7A95EC334A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13 h 50"/>
                  <a:gd name="T2" fmla="*/ 2 w 86"/>
                  <a:gd name="T3" fmla="*/ 14 h 50"/>
                  <a:gd name="T4" fmla="*/ 4 w 86"/>
                  <a:gd name="T5" fmla="*/ 15 h 50"/>
                  <a:gd name="T6" fmla="*/ 5 w 86"/>
                  <a:gd name="T7" fmla="*/ 16 h 50"/>
                  <a:gd name="T8" fmla="*/ 8 w 86"/>
                  <a:gd name="T9" fmla="*/ 16 h 50"/>
                  <a:gd name="T10" fmla="*/ 12 w 86"/>
                  <a:gd name="T11" fmla="*/ 17 h 50"/>
                  <a:gd name="T12" fmla="*/ 16 w 86"/>
                  <a:gd name="T13" fmla="*/ 17 h 50"/>
                  <a:gd name="T14" fmla="*/ 20 w 86"/>
                  <a:gd name="T15" fmla="*/ 17 h 50"/>
                  <a:gd name="T16" fmla="*/ 23 w 86"/>
                  <a:gd name="T17" fmla="*/ 16 h 50"/>
                  <a:gd name="T18" fmla="*/ 25 w 86"/>
                  <a:gd name="T19" fmla="*/ 16 h 50"/>
                  <a:gd name="T20" fmla="*/ 27 w 86"/>
                  <a:gd name="T21" fmla="*/ 15 h 50"/>
                  <a:gd name="T22" fmla="*/ 28 w 86"/>
                  <a:gd name="T23" fmla="*/ 14 h 50"/>
                  <a:gd name="T24" fmla="*/ 28 w 86"/>
                  <a:gd name="T25" fmla="*/ 13 h 50"/>
                  <a:gd name="T26" fmla="*/ 29 w 86"/>
                  <a:gd name="T27" fmla="*/ 11 h 50"/>
                  <a:gd name="T28" fmla="*/ 29 w 86"/>
                  <a:gd name="T29" fmla="*/ 9 h 50"/>
                  <a:gd name="T30" fmla="*/ 29 w 86"/>
                  <a:gd name="T31" fmla="*/ 6 h 50"/>
                  <a:gd name="T32" fmla="*/ 28 w 86"/>
                  <a:gd name="T33" fmla="*/ 3 h 50"/>
                  <a:gd name="T34" fmla="*/ 28 w 86"/>
                  <a:gd name="T35" fmla="*/ 2 h 50"/>
                  <a:gd name="T36" fmla="*/ 27 w 86"/>
                  <a:gd name="T37" fmla="*/ 2 h 50"/>
                  <a:gd name="T38" fmla="*/ 26 w 86"/>
                  <a:gd name="T39" fmla="*/ 1 h 50"/>
                  <a:gd name="T40" fmla="*/ 25 w 86"/>
                  <a:gd name="T41" fmla="*/ 0 h 50"/>
                  <a:gd name="T42" fmla="*/ 0 w 86"/>
                  <a:gd name="T43" fmla="*/ 13 h 5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2" name="Freeform 407">
                <a:extLst>
                  <a:ext uri="{FF2B5EF4-FFF2-40B4-BE49-F238E27FC236}">
                    <a16:creationId xmlns:a16="http://schemas.microsoft.com/office/drawing/2014/main" id="{27EECE05-A94F-45A2-AC26-67BB5858C0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38 w 172"/>
                  <a:gd name="T1" fmla="*/ 21 h 74"/>
                  <a:gd name="T2" fmla="*/ 35 w 172"/>
                  <a:gd name="T3" fmla="*/ 21 h 74"/>
                  <a:gd name="T4" fmla="*/ 32 w 172"/>
                  <a:gd name="T5" fmla="*/ 21 h 74"/>
                  <a:gd name="T6" fmla="*/ 29 w 172"/>
                  <a:gd name="T7" fmla="*/ 21 h 74"/>
                  <a:gd name="T8" fmla="*/ 26 w 172"/>
                  <a:gd name="T9" fmla="*/ 21 h 74"/>
                  <a:gd name="T10" fmla="*/ 19 w 172"/>
                  <a:gd name="T11" fmla="*/ 25 h 74"/>
                  <a:gd name="T12" fmla="*/ 11 w 172"/>
                  <a:gd name="T13" fmla="*/ 25 h 74"/>
                  <a:gd name="T14" fmla="*/ 12 w 172"/>
                  <a:gd name="T15" fmla="*/ 21 h 74"/>
                  <a:gd name="T16" fmla="*/ 12 w 172"/>
                  <a:gd name="T17" fmla="*/ 17 h 74"/>
                  <a:gd name="T18" fmla="*/ 10 w 172"/>
                  <a:gd name="T19" fmla="*/ 17 h 74"/>
                  <a:gd name="T20" fmla="*/ 7 w 172"/>
                  <a:gd name="T21" fmla="*/ 16 h 74"/>
                  <a:gd name="T22" fmla="*/ 5 w 172"/>
                  <a:gd name="T23" fmla="*/ 16 h 74"/>
                  <a:gd name="T24" fmla="*/ 3 w 172"/>
                  <a:gd name="T25" fmla="*/ 15 h 74"/>
                  <a:gd name="T26" fmla="*/ 2 w 172"/>
                  <a:gd name="T27" fmla="*/ 14 h 74"/>
                  <a:gd name="T28" fmla="*/ 1 w 172"/>
                  <a:gd name="T29" fmla="*/ 13 h 74"/>
                  <a:gd name="T30" fmla="*/ 0 w 172"/>
                  <a:gd name="T31" fmla="*/ 12 h 74"/>
                  <a:gd name="T32" fmla="*/ 0 w 172"/>
                  <a:gd name="T33" fmla="*/ 10 h 74"/>
                  <a:gd name="T34" fmla="*/ 0 w 172"/>
                  <a:gd name="T35" fmla="*/ 9 h 74"/>
                  <a:gd name="T36" fmla="*/ 1 w 172"/>
                  <a:gd name="T37" fmla="*/ 7 h 74"/>
                  <a:gd name="T38" fmla="*/ 2 w 172"/>
                  <a:gd name="T39" fmla="*/ 6 h 74"/>
                  <a:gd name="T40" fmla="*/ 3 w 172"/>
                  <a:gd name="T41" fmla="*/ 5 h 74"/>
                  <a:gd name="T42" fmla="*/ 4 w 172"/>
                  <a:gd name="T43" fmla="*/ 3 h 74"/>
                  <a:gd name="T44" fmla="*/ 6 w 172"/>
                  <a:gd name="T45" fmla="*/ 2 h 74"/>
                  <a:gd name="T46" fmla="*/ 8 w 172"/>
                  <a:gd name="T47" fmla="*/ 2 h 74"/>
                  <a:gd name="T48" fmla="*/ 9 w 172"/>
                  <a:gd name="T49" fmla="*/ 1 h 74"/>
                  <a:gd name="T50" fmla="*/ 13 w 172"/>
                  <a:gd name="T51" fmla="*/ 0 h 74"/>
                  <a:gd name="T52" fmla="*/ 18 w 172"/>
                  <a:gd name="T53" fmla="*/ 0 h 74"/>
                  <a:gd name="T54" fmla="*/ 22 w 172"/>
                  <a:gd name="T55" fmla="*/ 0 h 74"/>
                  <a:gd name="T56" fmla="*/ 26 w 172"/>
                  <a:gd name="T57" fmla="*/ 0 h 74"/>
                  <a:gd name="T58" fmla="*/ 30 w 172"/>
                  <a:gd name="T59" fmla="*/ 0 h 74"/>
                  <a:gd name="T60" fmla="*/ 34 w 172"/>
                  <a:gd name="T61" fmla="*/ 1 h 74"/>
                  <a:gd name="T62" fmla="*/ 37 w 172"/>
                  <a:gd name="T63" fmla="*/ 2 h 74"/>
                  <a:gd name="T64" fmla="*/ 41 w 172"/>
                  <a:gd name="T65" fmla="*/ 4 h 74"/>
                  <a:gd name="T66" fmla="*/ 44 w 172"/>
                  <a:gd name="T67" fmla="*/ 6 h 74"/>
                  <a:gd name="T68" fmla="*/ 48 w 172"/>
                  <a:gd name="T69" fmla="*/ 7 h 74"/>
                  <a:gd name="T70" fmla="*/ 51 w 172"/>
                  <a:gd name="T71" fmla="*/ 8 h 74"/>
                  <a:gd name="T72" fmla="*/ 55 w 172"/>
                  <a:gd name="T73" fmla="*/ 8 h 74"/>
                  <a:gd name="T74" fmla="*/ 55 w 172"/>
                  <a:gd name="T75" fmla="*/ 15 h 74"/>
                  <a:gd name="T76" fmla="*/ 54 w 172"/>
                  <a:gd name="T77" fmla="*/ 16 h 74"/>
                  <a:gd name="T78" fmla="*/ 53 w 172"/>
                  <a:gd name="T79" fmla="*/ 18 h 74"/>
                  <a:gd name="T80" fmla="*/ 51 w 172"/>
                  <a:gd name="T81" fmla="*/ 19 h 74"/>
                  <a:gd name="T82" fmla="*/ 51 w 172"/>
                  <a:gd name="T83" fmla="*/ 20 h 74"/>
                  <a:gd name="T84" fmla="*/ 49 w 172"/>
                  <a:gd name="T85" fmla="*/ 21 h 74"/>
                  <a:gd name="T86" fmla="*/ 48 w 172"/>
                  <a:gd name="T87" fmla="*/ 21 h 74"/>
                  <a:gd name="T88" fmla="*/ 47 w 172"/>
                  <a:gd name="T89" fmla="*/ 22 h 74"/>
                  <a:gd name="T90" fmla="*/ 45 w 172"/>
                  <a:gd name="T91" fmla="*/ 22 h 74"/>
                  <a:gd name="T92" fmla="*/ 42 w 172"/>
                  <a:gd name="T93" fmla="*/ 22 h 74"/>
                  <a:gd name="T94" fmla="*/ 39 w 172"/>
                  <a:gd name="T95" fmla="*/ 21 h 74"/>
                  <a:gd name="T96" fmla="*/ 36 w 172"/>
                  <a:gd name="T97" fmla="*/ 20 h 74"/>
                  <a:gd name="T98" fmla="*/ 32 w 172"/>
                  <a:gd name="T99" fmla="*/ 19 h 74"/>
                  <a:gd name="T100" fmla="*/ 34 w 172"/>
                  <a:gd name="T101" fmla="*/ 19 h 74"/>
                  <a:gd name="T102" fmla="*/ 38 w 172"/>
                  <a:gd name="T103" fmla="*/ 21 h 74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3" name="Freeform 408">
                <a:extLst>
                  <a:ext uri="{FF2B5EF4-FFF2-40B4-BE49-F238E27FC236}">
                    <a16:creationId xmlns:a16="http://schemas.microsoft.com/office/drawing/2014/main" id="{A7A29F57-641C-4A38-9B5B-8BCC8838BD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9 w 120"/>
                  <a:gd name="T1" fmla="*/ 17 h 49"/>
                  <a:gd name="T2" fmla="*/ 15 w 120"/>
                  <a:gd name="T3" fmla="*/ 17 h 49"/>
                  <a:gd name="T4" fmla="*/ 20 w 120"/>
                  <a:gd name="T5" fmla="*/ 17 h 49"/>
                  <a:gd name="T6" fmla="*/ 25 w 120"/>
                  <a:gd name="T7" fmla="*/ 16 h 49"/>
                  <a:gd name="T8" fmla="*/ 29 w 120"/>
                  <a:gd name="T9" fmla="*/ 15 h 49"/>
                  <a:gd name="T10" fmla="*/ 30 w 120"/>
                  <a:gd name="T11" fmla="*/ 14 h 49"/>
                  <a:gd name="T12" fmla="*/ 32 w 120"/>
                  <a:gd name="T13" fmla="*/ 13 h 49"/>
                  <a:gd name="T14" fmla="*/ 33 w 120"/>
                  <a:gd name="T15" fmla="*/ 12 h 49"/>
                  <a:gd name="T16" fmla="*/ 34 w 120"/>
                  <a:gd name="T17" fmla="*/ 11 h 49"/>
                  <a:gd name="T18" fmla="*/ 36 w 120"/>
                  <a:gd name="T19" fmla="*/ 8 h 49"/>
                  <a:gd name="T20" fmla="*/ 38 w 120"/>
                  <a:gd name="T21" fmla="*/ 4 h 49"/>
                  <a:gd name="T22" fmla="*/ 32 w 120"/>
                  <a:gd name="T23" fmla="*/ 2 h 49"/>
                  <a:gd name="T24" fmla="*/ 27 w 120"/>
                  <a:gd name="T25" fmla="*/ 1 h 49"/>
                  <a:gd name="T26" fmla="*/ 21 w 120"/>
                  <a:gd name="T27" fmla="*/ 0 h 49"/>
                  <a:gd name="T28" fmla="*/ 16 w 120"/>
                  <a:gd name="T29" fmla="*/ 0 h 49"/>
                  <a:gd name="T30" fmla="*/ 11 w 120"/>
                  <a:gd name="T31" fmla="*/ 0 h 49"/>
                  <a:gd name="T32" fmla="*/ 6 w 120"/>
                  <a:gd name="T33" fmla="*/ 1 h 49"/>
                  <a:gd name="T34" fmla="*/ 3 w 120"/>
                  <a:gd name="T35" fmla="*/ 1 h 49"/>
                  <a:gd name="T36" fmla="*/ 0 w 120"/>
                  <a:gd name="T37" fmla="*/ 2 h 49"/>
                  <a:gd name="T38" fmla="*/ 0 w 120"/>
                  <a:gd name="T39" fmla="*/ 10 h 49"/>
                  <a:gd name="T40" fmla="*/ 1 w 120"/>
                  <a:gd name="T41" fmla="*/ 12 h 49"/>
                  <a:gd name="T42" fmla="*/ 2 w 120"/>
                  <a:gd name="T43" fmla="*/ 13 h 49"/>
                  <a:gd name="T44" fmla="*/ 3 w 120"/>
                  <a:gd name="T45" fmla="*/ 14 h 49"/>
                  <a:gd name="T46" fmla="*/ 4 w 120"/>
                  <a:gd name="T47" fmla="*/ 16 h 49"/>
                  <a:gd name="T48" fmla="*/ 6 w 120"/>
                  <a:gd name="T49" fmla="*/ 17 h 49"/>
                  <a:gd name="T50" fmla="*/ 9 w 120"/>
                  <a:gd name="T51" fmla="*/ 17 h 4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4" name="Freeform 409">
                <a:extLst>
                  <a:ext uri="{FF2B5EF4-FFF2-40B4-BE49-F238E27FC236}">
                    <a16:creationId xmlns:a16="http://schemas.microsoft.com/office/drawing/2014/main" id="{3B49F55B-6BF2-40D0-ABBD-9369C4667F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10 w 85"/>
                  <a:gd name="T1" fmla="*/ 0 h 61"/>
                  <a:gd name="T2" fmla="*/ 7 w 85"/>
                  <a:gd name="T3" fmla="*/ 2 h 61"/>
                  <a:gd name="T4" fmla="*/ 3 w 85"/>
                  <a:gd name="T5" fmla="*/ 4 h 61"/>
                  <a:gd name="T6" fmla="*/ 2 w 85"/>
                  <a:gd name="T7" fmla="*/ 5 h 61"/>
                  <a:gd name="T8" fmla="*/ 1 w 85"/>
                  <a:gd name="T9" fmla="*/ 7 h 61"/>
                  <a:gd name="T10" fmla="*/ 0 w 85"/>
                  <a:gd name="T11" fmla="*/ 8 h 61"/>
                  <a:gd name="T12" fmla="*/ 0 w 85"/>
                  <a:gd name="T13" fmla="*/ 10 h 61"/>
                  <a:gd name="T14" fmla="*/ 0 w 85"/>
                  <a:gd name="T15" fmla="*/ 11 h 61"/>
                  <a:gd name="T16" fmla="*/ 0 w 85"/>
                  <a:gd name="T17" fmla="*/ 12 h 61"/>
                  <a:gd name="T18" fmla="*/ 1 w 85"/>
                  <a:gd name="T19" fmla="*/ 12 h 61"/>
                  <a:gd name="T20" fmla="*/ 2 w 85"/>
                  <a:gd name="T21" fmla="*/ 13 h 61"/>
                  <a:gd name="T22" fmla="*/ 3 w 85"/>
                  <a:gd name="T23" fmla="*/ 15 h 61"/>
                  <a:gd name="T24" fmla="*/ 6 w 85"/>
                  <a:gd name="T25" fmla="*/ 17 h 61"/>
                  <a:gd name="T26" fmla="*/ 8 w 85"/>
                  <a:gd name="T27" fmla="*/ 17 h 61"/>
                  <a:gd name="T28" fmla="*/ 11 w 85"/>
                  <a:gd name="T29" fmla="*/ 18 h 61"/>
                  <a:gd name="T30" fmla="*/ 14 w 85"/>
                  <a:gd name="T31" fmla="*/ 19 h 61"/>
                  <a:gd name="T32" fmla="*/ 16 w 85"/>
                  <a:gd name="T33" fmla="*/ 19 h 61"/>
                  <a:gd name="T34" fmla="*/ 17 w 85"/>
                  <a:gd name="T35" fmla="*/ 19 h 61"/>
                  <a:gd name="T36" fmla="*/ 18 w 85"/>
                  <a:gd name="T37" fmla="*/ 19 h 61"/>
                  <a:gd name="T38" fmla="*/ 19 w 85"/>
                  <a:gd name="T39" fmla="*/ 18 h 61"/>
                  <a:gd name="T40" fmla="*/ 20 w 85"/>
                  <a:gd name="T41" fmla="*/ 18 h 61"/>
                  <a:gd name="T42" fmla="*/ 22 w 85"/>
                  <a:gd name="T43" fmla="*/ 16 h 61"/>
                  <a:gd name="T44" fmla="*/ 24 w 85"/>
                  <a:gd name="T45" fmla="*/ 15 h 61"/>
                  <a:gd name="T46" fmla="*/ 24 w 85"/>
                  <a:gd name="T47" fmla="*/ 12 h 61"/>
                  <a:gd name="T48" fmla="*/ 25 w 85"/>
                  <a:gd name="T49" fmla="*/ 10 h 61"/>
                  <a:gd name="T50" fmla="*/ 26 w 85"/>
                  <a:gd name="T51" fmla="*/ 8 h 61"/>
                  <a:gd name="T52" fmla="*/ 26 w 85"/>
                  <a:gd name="T53" fmla="*/ 6 h 61"/>
                  <a:gd name="T54" fmla="*/ 10 w 85"/>
                  <a:gd name="T55" fmla="*/ 0 h 6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5" name="Freeform 410">
                <a:extLst>
                  <a:ext uri="{FF2B5EF4-FFF2-40B4-BE49-F238E27FC236}">
                    <a16:creationId xmlns:a16="http://schemas.microsoft.com/office/drawing/2014/main" id="{40500C6F-9A94-41DC-AE60-6A4B3A5FFD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2 h 19"/>
                  <a:gd name="T2" fmla="*/ 2 w 100"/>
                  <a:gd name="T3" fmla="*/ 3 h 19"/>
                  <a:gd name="T4" fmla="*/ 4 w 100"/>
                  <a:gd name="T5" fmla="*/ 5 h 19"/>
                  <a:gd name="T6" fmla="*/ 7 w 100"/>
                  <a:gd name="T7" fmla="*/ 6 h 19"/>
                  <a:gd name="T8" fmla="*/ 8 w 100"/>
                  <a:gd name="T9" fmla="*/ 6 h 19"/>
                  <a:gd name="T10" fmla="*/ 31 w 100"/>
                  <a:gd name="T11" fmla="*/ 2 h 19"/>
                  <a:gd name="T12" fmla="*/ 23 w 100"/>
                  <a:gd name="T13" fmla="*/ 1 h 19"/>
                  <a:gd name="T14" fmla="*/ 15 w 100"/>
                  <a:gd name="T15" fmla="*/ 0 h 19"/>
                  <a:gd name="T16" fmla="*/ 11 w 100"/>
                  <a:gd name="T17" fmla="*/ 0 h 19"/>
                  <a:gd name="T18" fmla="*/ 7 w 100"/>
                  <a:gd name="T19" fmla="*/ 0 h 19"/>
                  <a:gd name="T20" fmla="*/ 4 w 100"/>
                  <a:gd name="T21" fmla="*/ 1 h 19"/>
                  <a:gd name="T22" fmla="*/ 0 w 100"/>
                  <a:gd name="T23" fmla="*/ 2 h 1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6" name="Freeform 411">
                <a:extLst>
                  <a:ext uri="{FF2B5EF4-FFF2-40B4-BE49-F238E27FC236}">
                    <a16:creationId xmlns:a16="http://schemas.microsoft.com/office/drawing/2014/main" id="{AEA7422C-AA76-4CC4-88D8-DD85842ECB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9 h 45"/>
                  <a:gd name="T2" fmla="*/ 0 w 166"/>
                  <a:gd name="T3" fmla="*/ 10 h 45"/>
                  <a:gd name="T4" fmla="*/ 1 w 166"/>
                  <a:gd name="T5" fmla="*/ 10 h 45"/>
                  <a:gd name="T6" fmla="*/ 3 w 166"/>
                  <a:gd name="T7" fmla="*/ 11 h 45"/>
                  <a:gd name="T8" fmla="*/ 4 w 166"/>
                  <a:gd name="T9" fmla="*/ 12 h 45"/>
                  <a:gd name="T10" fmla="*/ 9 w 166"/>
                  <a:gd name="T11" fmla="*/ 13 h 45"/>
                  <a:gd name="T12" fmla="*/ 14 w 166"/>
                  <a:gd name="T13" fmla="*/ 14 h 45"/>
                  <a:gd name="T14" fmla="*/ 24 w 166"/>
                  <a:gd name="T15" fmla="*/ 15 h 45"/>
                  <a:gd name="T16" fmla="*/ 29 w 166"/>
                  <a:gd name="T17" fmla="*/ 15 h 45"/>
                  <a:gd name="T18" fmla="*/ 53 w 166"/>
                  <a:gd name="T19" fmla="*/ 9 h 45"/>
                  <a:gd name="T20" fmla="*/ 50 w 166"/>
                  <a:gd name="T21" fmla="*/ 8 h 45"/>
                  <a:gd name="T22" fmla="*/ 44 w 166"/>
                  <a:gd name="T23" fmla="*/ 6 h 45"/>
                  <a:gd name="T24" fmla="*/ 35 w 166"/>
                  <a:gd name="T25" fmla="*/ 4 h 45"/>
                  <a:gd name="T26" fmla="*/ 26 w 166"/>
                  <a:gd name="T27" fmla="*/ 1 h 45"/>
                  <a:gd name="T28" fmla="*/ 21 w 166"/>
                  <a:gd name="T29" fmla="*/ 1 h 45"/>
                  <a:gd name="T30" fmla="*/ 16 w 166"/>
                  <a:gd name="T31" fmla="*/ 0 h 45"/>
                  <a:gd name="T32" fmla="*/ 11 w 166"/>
                  <a:gd name="T33" fmla="*/ 0 h 45"/>
                  <a:gd name="T34" fmla="*/ 8 w 166"/>
                  <a:gd name="T35" fmla="*/ 1 h 45"/>
                  <a:gd name="T36" fmla="*/ 6 w 166"/>
                  <a:gd name="T37" fmla="*/ 1 h 45"/>
                  <a:gd name="T38" fmla="*/ 4 w 166"/>
                  <a:gd name="T39" fmla="*/ 2 h 45"/>
                  <a:gd name="T40" fmla="*/ 3 w 166"/>
                  <a:gd name="T41" fmla="*/ 2 h 45"/>
                  <a:gd name="T42" fmla="*/ 2 w 166"/>
                  <a:gd name="T43" fmla="*/ 3 h 45"/>
                  <a:gd name="T44" fmla="*/ 1 w 166"/>
                  <a:gd name="T45" fmla="*/ 4 h 45"/>
                  <a:gd name="T46" fmla="*/ 0 w 166"/>
                  <a:gd name="T47" fmla="*/ 6 h 45"/>
                  <a:gd name="T48" fmla="*/ 0 w 166"/>
                  <a:gd name="T49" fmla="*/ 7 h 45"/>
                  <a:gd name="T50" fmla="*/ 0 w 166"/>
                  <a:gd name="T51" fmla="*/ 9 h 4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7" name="Freeform 412">
                <a:extLst>
                  <a:ext uri="{FF2B5EF4-FFF2-40B4-BE49-F238E27FC236}">
                    <a16:creationId xmlns:a16="http://schemas.microsoft.com/office/drawing/2014/main" id="{30A8A3FB-4CE8-4EB0-8378-76991BE5BF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3 h 25"/>
                  <a:gd name="T4" fmla="*/ 1 w 33"/>
                  <a:gd name="T5" fmla="*/ 5 h 25"/>
                  <a:gd name="T6" fmla="*/ 2 w 33"/>
                  <a:gd name="T7" fmla="*/ 6 h 25"/>
                  <a:gd name="T8" fmla="*/ 4 w 33"/>
                  <a:gd name="T9" fmla="*/ 7 h 25"/>
                  <a:gd name="T10" fmla="*/ 5 w 33"/>
                  <a:gd name="T11" fmla="*/ 8 h 25"/>
                  <a:gd name="T12" fmla="*/ 7 w 33"/>
                  <a:gd name="T13" fmla="*/ 8 h 25"/>
                  <a:gd name="T14" fmla="*/ 9 w 33"/>
                  <a:gd name="T15" fmla="*/ 8 h 25"/>
                  <a:gd name="T16" fmla="*/ 11 w 33"/>
                  <a:gd name="T17" fmla="*/ 8 h 25"/>
                  <a:gd name="T18" fmla="*/ 11 w 33"/>
                  <a:gd name="T19" fmla="*/ 0 h 25"/>
                  <a:gd name="T20" fmla="*/ 8 w 33"/>
                  <a:gd name="T21" fmla="*/ 0 h 25"/>
                  <a:gd name="T22" fmla="*/ 5 w 33"/>
                  <a:gd name="T23" fmla="*/ 0 h 25"/>
                  <a:gd name="T24" fmla="*/ 3 w 33"/>
                  <a:gd name="T25" fmla="*/ 0 h 25"/>
                  <a:gd name="T26" fmla="*/ 0 w 33"/>
                  <a:gd name="T27" fmla="*/ 0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8" name="Freeform 413">
                <a:extLst>
                  <a:ext uri="{FF2B5EF4-FFF2-40B4-BE49-F238E27FC236}">
                    <a16:creationId xmlns:a16="http://schemas.microsoft.com/office/drawing/2014/main" id="{80FD2B58-EDC0-4903-8D60-6F13D4C1FC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20 h 62"/>
                  <a:gd name="T2" fmla="*/ 4 w 48"/>
                  <a:gd name="T3" fmla="*/ 18 h 62"/>
                  <a:gd name="T4" fmla="*/ 7 w 48"/>
                  <a:gd name="T5" fmla="*/ 16 h 62"/>
                  <a:gd name="T6" fmla="*/ 10 w 48"/>
                  <a:gd name="T7" fmla="*/ 14 h 62"/>
                  <a:gd name="T8" fmla="*/ 12 w 48"/>
                  <a:gd name="T9" fmla="*/ 12 h 62"/>
                  <a:gd name="T10" fmla="*/ 14 w 48"/>
                  <a:gd name="T11" fmla="*/ 9 h 62"/>
                  <a:gd name="T12" fmla="*/ 15 w 48"/>
                  <a:gd name="T13" fmla="*/ 6 h 62"/>
                  <a:gd name="T14" fmla="*/ 16 w 48"/>
                  <a:gd name="T15" fmla="*/ 3 h 62"/>
                  <a:gd name="T16" fmla="*/ 16 w 48"/>
                  <a:gd name="T17" fmla="*/ 0 h 62"/>
                  <a:gd name="T18" fmla="*/ 13 w 48"/>
                  <a:gd name="T19" fmla="*/ 1 h 62"/>
                  <a:gd name="T20" fmla="*/ 11 w 48"/>
                  <a:gd name="T21" fmla="*/ 2 h 62"/>
                  <a:gd name="T22" fmla="*/ 8 w 48"/>
                  <a:gd name="T23" fmla="*/ 3 h 62"/>
                  <a:gd name="T24" fmla="*/ 6 w 48"/>
                  <a:gd name="T25" fmla="*/ 5 h 62"/>
                  <a:gd name="T26" fmla="*/ 3 w 48"/>
                  <a:gd name="T27" fmla="*/ 7 h 62"/>
                  <a:gd name="T28" fmla="*/ 2 w 48"/>
                  <a:gd name="T29" fmla="*/ 9 h 62"/>
                  <a:gd name="T30" fmla="*/ 1 w 48"/>
                  <a:gd name="T31" fmla="*/ 10 h 62"/>
                  <a:gd name="T32" fmla="*/ 1 w 48"/>
                  <a:gd name="T33" fmla="*/ 11 h 62"/>
                  <a:gd name="T34" fmla="*/ 0 w 48"/>
                  <a:gd name="T35" fmla="*/ 13 h 62"/>
                  <a:gd name="T36" fmla="*/ 0 w 48"/>
                  <a:gd name="T37" fmla="*/ 14 h 62"/>
                  <a:gd name="T38" fmla="*/ 0 w 48"/>
                  <a:gd name="T39" fmla="*/ 17 h 62"/>
                  <a:gd name="T40" fmla="*/ 0 w 48"/>
                  <a:gd name="T41" fmla="*/ 20 h 6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9" name="Freeform 414">
                <a:extLst>
                  <a:ext uri="{FF2B5EF4-FFF2-40B4-BE49-F238E27FC236}">
                    <a16:creationId xmlns:a16="http://schemas.microsoft.com/office/drawing/2014/main" id="{5F6CF8C1-953E-4749-BA14-9A62126094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15 w 113"/>
                  <a:gd name="T1" fmla="*/ 0 h 62"/>
                  <a:gd name="T2" fmla="*/ 11 w 113"/>
                  <a:gd name="T3" fmla="*/ 2 h 62"/>
                  <a:gd name="T4" fmla="*/ 7 w 113"/>
                  <a:gd name="T5" fmla="*/ 5 h 62"/>
                  <a:gd name="T6" fmla="*/ 4 w 113"/>
                  <a:gd name="T7" fmla="*/ 9 h 62"/>
                  <a:gd name="T8" fmla="*/ 0 w 113"/>
                  <a:gd name="T9" fmla="*/ 12 h 62"/>
                  <a:gd name="T10" fmla="*/ 7 w 113"/>
                  <a:gd name="T11" fmla="*/ 15 h 62"/>
                  <a:gd name="T12" fmla="*/ 13 w 113"/>
                  <a:gd name="T13" fmla="*/ 17 h 62"/>
                  <a:gd name="T14" fmla="*/ 16 w 113"/>
                  <a:gd name="T15" fmla="*/ 18 h 62"/>
                  <a:gd name="T16" fmla="*/ 20 w 113"/>
                  <a:gd name="T17" fmla="*/ 19 h 62"/>
                  <a:gd name="T18" fmla="*/ 23 w 113"/>
                  <a:gd name="T19" fmla="*/ 20 h 62"/>
                  <a:gd name="T20" fmla="*/ 28 w 113"/>
                  <a:gd name="T21" fmla="*/ 20 h 62"/>
                  <a:gd name="T22" fmla="*/ 31 w 113"/>
                  <a:gd name="T23" fmla="*/ 20 h 62"/>
                  <a:gd name="T24" fmla="*/ 34 w 113"/>
                  <a:gd name="T25" fmla="*/ 19 h 62"/>
                  <a:gd name="T26" fmla="*/ 35 w 113"/>
                  <a:gd name="T27" fmla="*/ 18 h 62"/>
                  <a:gd name="T28" fmla="*/ 35 w 113"/>
                  <a:gd name="T29" fmla="*/ 17 h 62"/>
                  <a:gd name="T30" fmla="*/ 36 w 113"/>
                  <a:gd name="T31" fmla="*/ 17 h 62"/>
                  <a:gd name="T32" fmla="*/ 36 w 113"/>
                  <a:gd name="T33" fmla="*/ 16 h 62"/>
                  <a:gd name="T34" fmla="*/ 29 w 113"/>
                  <a:gd name="T35" fmla="*/ 13 h 62"/>
                  <a:gd name="T36" fmla="*/ 22 w 113"/>
                  <a:gd name="T37" fmla="*/ 10 h 62"/>
                  <a:gd name="T38" fmla="*/ 21 w 113"/>
                  <a:gd name="T39" fmla="*/ 9 h 62"/>
                  <a:gd name="T40" fmla="*/ 19 w 113"/>
                  <a:gd name="T41" fmla="*/ 8 h 62"/>
                  <a:gd name="T42" fmla="*/ 18 w 113"/>
                  <a:gd name="T43" fmla="*/ 7 h 62"/>
                  <a:gd name="T44" fmla="*/ 17 w 113"/>
                  <a:gd name="T45" fmla="*/ 6 h 62"/>
                  <a:gd name="T46" fmla="*/ 16 w 113"/>
                  <a:gd name="T47" fmla="*/ 5 h 62"/>
                  <a:gd name="T48" fmla="*/ 15 w 113"/>
                  <a:gd name="T49" fmla="*/ 3 h 62"/>
                  <a:gd name="T50" fmla="*/ 15 w 113"/>
                  <a:gd name="T51" fmla="*/ 2 h 62"/>
                  <a:gd name="T52" fmla="*/ 15 w 113"/>
                  <a:gd name="T53" fmla="*/ 0 h 6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0" name="Freeform 415">
                <a:extLst>
                  <a:ext uri="{FF2B5EF4-FFF2-40B4-BE49-F238E27FC236}">
                    <a16:creationId xmlns:a16="http://schemas.microsoft.com/office/drawing/2014/main" id="{1DC3AA36-BD70-4BC9-BBB3-5B09F8662E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5 w 93"/>
                  <a:gd name="T3" fmla="*/ 0 h 50"/>
                  <a:gd name="T4" fmla="*/ 9 w 93"/>
                  <a:gd name="T5" fmla="*/ 0 h 50"/>
                  <a:gd name="T6" fmla="*/ 14 w 93"/>
                  <a:gd name="T7" fmla="*/ 1 h 50"/>
                  <a:gd name="T8" fmla="*/ 18 w 93"/>
                  <a:gd name="T9" fmla="*/ 2 h 50"/>
                  <a:gd name="T10" fmla="*/ 20 w 93"/>
                  <a:gd name="T11" fmla="*/ 2 h 50"/>
                  <a:gd name="T12" fmla="*/ 22 w 93"/>
                  <a:gd name="T13" fmla="*/ 3 h 50"/>
                  <a:gd name="T14" fmla="*/ 23 w 93"/>
                  <a:gd name="T15" fmla="*/ 4 h 50"/>
                  <a:gd name="T16" fmla="*/ 25 w 93"/>
                  <a:gd name="T17" fmla="*/ 5 h 50"/>
                  <a:gd name="T18" fmla="*/ 27 w 93"/>
                  <a:gd name="T19" fmla="*/ 6 h 50"/>
                  <a:gd name="T20" fmla="*/ 28 w 93"/>
                  <a:gd name="T21" fmla="*/ 8 h 50"/>
                  <a:gd name="T22" fmla="*/ 28 w 93"/>
                  <a:gd name="T23" fmla="*/ 9 h 50"/>
                  <a:gd name="T24" fmla="*/ 29 w 93"/>
                  <a:gd name="T25" fmla="*/ 11 h 50"/>
                  <a:gd name="T26" fmla="*/ 25 w 93"/>
                  <a:gd name="T27" fmla="*/ 11 h 50"/>
                  <a:gd name="T28" fmla="*/ 21 w 93"/>
                  <a:gd name="T29" fmla="*/ 12 h 50"/>
                  <a:gd name="T30" fmla="*/ 19 w 93"/>
                  <a:gd name="T31" fmla="*/ 12 h 50"/>
                  <a:gd name="T32" fmla="*/ 16 w 93"/>
                  <a:gd name="T33" fmla="*/ 13 h 50"/>
                  <a:gd name="T34" fmla="*/ 13 w 93"/>
                  <a:gd name="T35" fmla="*/ 14 h 50"/>
                  <a:gd name="T36" fmla="*/ 10 w 93"/>
                  <a:gd name="T37" fmla="*/ 15 h 50"/>
                  <a:gd name="T38" fmla="*/ 9 w 93"/>
                  <a:gd name="T39" fmla="*/ 15 h 50"/>
                  <a:gd name="T40" fmla="*/ 9 w 93"/>
                  <a:gd name="T41" fmla="*/ 14 h 50"/>
                  <a:gd name="T42" fmla="*/ 8 w 93"/>
                  <a:gd name="T43" fmla="*/ 14 h 50"/>
                  <a:gd name="T44" fmla="*/ 8 w 93"/>
                  <a:gd name="T45" fmla="*/ 14 h 50"/>
                  <a:gd name="T46" fmla="*/ 7 w 93"/>
                  <a:gd name="T47" fmla="*/ 12 h 50"/>
                  <a:gd name="T48" fmla="*/ 7 w 93"/>
                  <a:gd name="T49" fmla="*/ 11 h 50"/>
                  <a:gd name="T50" fmla="*/ 7 w 93"/>
                  <a:gd name="T51" fmla="*/ 9 h 50"/>
                  <a:gd name="T52" fmla="*/ 7 w 93"/>
                  <a:gd name="T53" fmla="*/ 8 h 50"/>
                  <a:gd name="T54" fmla="*/ 7 w 93"/>
                  <a:gd name="T55" fmla="*/ 7 h 50"/>
                  <a:gd name="T56" fmla="*/ 8 w 93"/>
                  <a:gd name="T57" fmla="*/ 6 h 50"/>
                  <a:gd name="T58" fmla="*/ 0 w 93"/>
                  <a:gd name="T59" fmla="*/ 6 h 50"/>
                  <a:gd name="T60" fmla="*/ 0 w 93"/>
                  <a:gd name="T61" fmla="*/ 0 h 5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1" name="Freeform 416">
                <a:extLst>
                  <a:ext uri="{FF2B5EF4-FFF2-40B4-BE49-F238E27FC236}">
                    <a16:creationId xmlns:a16="http://schemas.microsoft.com/office/drawing/2014/main" id="{65D651B9-A217-4819-9F8D-9D2D1CFE11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6 w 1029"/>
                  <a:gd name="T1" fmla="*/ 37 h 604"/>
                  <a:gd name="T2" fmla="*/ 22 w 1029"/>
                  <a:gd name="T3" fmla="*/ 20 h 604"/>
                  <a:gd name="T4" fmla="*/ 86 w 1029"/>
                  <a:gd name="T5" fmla="*/ 0 h 604"/>
                  <a:gd name="T6" fmla="*/ 66 w 1029"/>
                  <a:gd name="T7" fmla="*/ 15 h 604"/>
                  <a:gd name="T8" fmla="*/ 58 w 1029"/>
                  <a:gd name="T9" fmla="*/ 34 h 604"/>
                  <a:gd name="T10" fmla="*/ 88 w 1029"/>
                  <a:gd name="T11" fmla="*/ 20 h 604"/>
                  <a:gd name="T12" fmla="*/ 128 w 1029"/>
                  <a:gd name="T13" fmla="*/ 5 h 604"/>
                  <a:gd name="T14" fmla="*/ 141 w 1029"/>
                  <a:gd name="T15" fmla="*/ 8 h 604"/>
                  <a:gd name="T16" fmla="*/ 139 w 1029"/>
                  <a:gd name="T17" fmla="*/ 23 h 604"/>
                  <a:gd name="T18" fmla="*/ 187 w 1029"/>
                  <a:gd name="T19" fmla="*/ 26 h 604"/>
                  <a:gd name="T20" fmla="*/ 217 w 1029"/>
                  <a:gd name="T21" fmla="*/ 29 h 604"/>
                  <a:gd name="T22" fmla="*/ 241 w 1029"/>
                  <a:gd name="T23" fmla="*/ 36 h 604"/>
                  <a:gd name="T24" fmla="*/ 241 w 1029"/>
                  <a:gd name="T25" fmla="*/ 44 h 604"/>
                  <a:gd name="T26" fmla="*/ 229 w 1029"/>
                  <a:gd name="T27" fmla="*/ 60 h 604"/>
                  <a:gd name="T28" fmla="*/ 257 w 1029"/>
                  <a:gd name="T29" fmla="*/ 55 h 604"/>
                  <a:gd name="T30" fmla="*/ 279 w 1029"/>
                  <a:gd name="T31" fmla="*/ 63 h 604"/>
                  <a:gd name="T32" fmla="*/ 275 w 1029"/>
                  <a:gd name="T33" fmla="*/ 78 h 604"/>
                  <a:gd name="T34" fmla="*/ 253 w 1029"/>
                  <a:gd name="T35" fmla="*/ 81 h 604"/>
                  <a:gd name="T36" fmla="*/ 276 w 1029"/>
                  <a:gd name="T37" fmla="*/ 93 h 604"/>
                  <a:gd name="T38" fmla="*/ 290 w 1029"/>
                  <a:gd name="T39" fmla="*/ 107 h 604"/>
                  <a:gd name="T40" fmla="*/ 314 w 1029"/>
                  <a:gd name="T41" fmla="*/ 108 h 604"/>
                  <a:gd name="T42" fmla="*/ 331 w 1029"/>
                  <a:gd name="T43" fmla="*/ 115 h 604"/>
                  <a:gd name="T44" fmla="*/ 302 w 1029"/>
                  <a:gd name="T45" fmla="*/ 134 h 604"/>
                  <a:gd name="T46" fmla="*/ 289 w 1029"/>
                  <a:gd name="T47" fmla="*/ 137 h 604"/>
                  <a:gd name="T48" fmla="*/ 281 w 1029"/>
                  <a:gd name="T49" fmla="*/ 145 h 604"/>
                  <a:gd name="T50" fmla="*/ 267 w 1029"/>
                  <a:gd name="T51" fmla="*/ 136 h 604"/>
                  <a:gd name="T52" fmla="*/ 274 w 1029"/>
                  <a:gd name="T53" fmla="*/ 129 h 604"/>
                  <a:gd name="T54" fmla="*/ 255 w 1029"/>
                  <a:gd name="T55" fmla="*/ 124 h 604"/>
                  <a:gd name="T56" fmla="*/ 244 w 1029"/>
                  <a:gd name="T57" fmla="*/ 119 h 604"/>
                  <a:gd name="T58" fmla="*/ 239 w 1029"/>
                  <a:gd name="T59" fmla="*/ 129 h 604"/>
                  <a:gd name="T60" fmla="*/ 240 w 1029"/>
                  <a:gd name="T61" fmla="*/ 146 h 604"/>
                  <a:gd name="T62" fmla="*/ 256 w 1029"/>
                  <a:gd name="T63" fmla="*/ 171 h 604"/>
                  <a:gd name="T64" fmla="*/ 248 w 1029"/>
                  <a:gd name="T65" fmla="*/ 179 h 604"/>
                  <a:gd name="T66" fmla="*/ 228 w 1029"/>
                  <a:gd name="T67" fmla="*/ 182 h 604"/>
                  <a:gd name="T68" fmla="*/ 199 w 1029"/>
                  <a:gd name="T69" fmla="*/ 169 h 604"/>
                  <a:gd name="T70" fmla="*/ 215 w 1029"/>
                  <a:gd name="T71" fmla="*/ 186 h 604"/>
                  <a:gd name="T72" fmla="*/ 214 w 1029"/>
                  <a:gd name="T73" fmla="*/ 198 h 604"/>
                  <a:gd name="T74" fmla="*/ 167 w 1029"/>
                  <a:gd name="T75" fmla="*/ 187 h 604"/>
                  <a:gd name="T76" fmla="*/ 152 w 1029"/>
                  <a:gd name="T77" fmla="*/ 171 h 604"/>
                  <a:gd name="T78" fmla="*/ 132 w 1029"/>
                  <a:gd name="T79" fmla="*/ 155 h 604"/>
                  <a:gd name="T80" fmla="*/ 118 w 1029"/>
                  <a:gd name="T81" fmla="*/ 149 h 604"/>
                  <a:gd name="T82" fmla="*/ 126 w 1029"/>
                  <a:gd name="T83" fmla="*/ 142 h 604"/>
                  <a:gd name="T84" fmla="*/ 148 w 1029"/>
                  <a:gd name="T85" fmla="*/ 131 h 604"/>
                  <a:gd name="T86" fmla="*/ 161 w 1029"/>
                  <a:gd name="T87" fmla="*/ 124 h 604"/>
                  <a:gd name="T88" fmla="*/ 186 w 1029"/>
                  <a:gd name="T89" fmla="*/ 125 h 604"/>
                  <a:gd name="T90" fmla="*/ 198 w 1029"/>
                  <a:gd name="T91" fmla="*/ 129 h 604"/>
                  <a:gd name="T92" fmla="*/ 221 w 1029"/>
                  <a:gd name="T93" fmla="*/ 127 h 604"/>
                  <a:gd name="T94" fmla="*/ 187 w 1029"/>
                  <a:gd name="T95" fmla="*/ 116 h 604"/>
                  <a:gd name="T96" fmla="*/ 174 w 1029"/>
                  <a:gd name="T97" fmla="*/ 118 h 604"/>
                  <a:gd name="T98" fmla="*/ 173 w 1029"/>
                  <a:gd name="T99" fmla="*/ 115 h 604"/>
                  <a:gd name="T100" fmla="*/ 185 w 1029"/>
                  <a:gd name="T101" fmla="*/ 100 h 604"/>
                  <a:gd name="T102" fmla="*/ 185 w 1029"/>
                  <a:gd name="T103" fmla="*/ 90 h 604"/>
                  <a:gd name="T104" fmla="*/ 169 w 1029"/>
                  <a:gd name="T105" fmla="*/ 83 h 604"/>
                  <a:gd name="T106" fmla="*/ 152 w 1029"/>
                  <a:gd name="T107" fmla="*/ 65 h 604"/>
                  <a:gd name="T108" fmla="*/ 140 w 1029"/>
                  <a:gd name="T109" fmla="*/ 55 h 604"/>
                  <a:gd name="T110" fmla="*/ 131 w 1029"/>
                  <a:gd name="T111" fmla="*/ 53 h 604"/>
                  <a:gd name="T112" fmla="*/ 122 w 1029"/>
                  <a:gd name="T113" fmla="*/ 67 h 604"/>
                  <a:gd name="T114" fmla="*/ 67 w 1029"/>
                  <a:gd name="T115" fmla="*/ 57 h 604"/>
                  <a:gd name="T116" fmla="*/ 37 w 1029"/>
                  <a:gd name="T117" fmla="*/ 62 h 604"/>
                  <a:gd name="T118" fmla="*/ 25 w 1029"/>
                  <a:gd name="T119" fmla="*/ 61 h 604"/>
                  <a:gd name="T120" fmla="*/ 5 w 1029"/>
                  <a:gd name="T121" fmla="*/ 59 h 604"/>
                  <a:gd name="T122" fmla="*/ 3 w 1029"/>
                  <a:gd name="T123" fmla="*/ 52 h 604"/>
                  <a:gd name="T124" fmla="*/ 24 w 1029"/>
                  <a:gd name="T125" fmla="*/ 49 h 60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2" name="Freeform 417">
                <a:extLst>
                  <a:ext uri="{FF2B5EF4-FFF2-40B4-BE49-F238E27FC236}">
                    <a16:creationId xmlns:a16="http://schemas.microsoft.com/office/drawing/2014/main" id="{5866F1A9-3D0D-47B9-AEF9-2437CE7AA1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257 w 1268"/>
                  <a:gd name="T1" fmla="*/ 12 h 321"/>
                  <a:gd name="T2" fmla="*/ 262 w 1268"/>
                  <a:gd name="T3" fmla="*/ 5 h 321"/>
                  <a:gd name="T4" fmla="*/ 273 w 1268"/>
                  <a:gd name="T5" fmla="*/ 3 h 321"/>
                  <a:gd name="T6" fmla="*/ 279 w 1268"/>
                  <a:gd name="T7" fmla="*/ 8 h 321"/>
                  <a:gd name="T8" fmla="*/ 303 w 1268"/>
                  <a:gd name="T9" fmla="*/ 5 h 321"/>
                  <a:gd name="T10" fmla="*/ 329 w 1268"/>
                  <a:gd name="T11" fmla="*/ 0 h 321"/>
                  <a:gd name="T12" fmla="*/ 350 w 1268"/>
                  <a:gd name="T13" fmla="*/ 6 h 321"/>
                  <a:gd name="T14" fmla="*/ 365 w 1268"/>
                  <a:gd name="T15" fmla="*/ 7 h 321"/>
                  <a:gd name="T16" fmla="*/ 409 w 1268"/>
                  <a:gd name="T17" fmla="*/ 10 h 321"/>
                  <a:gd name="T18" fmla="*/ 401 w 1268"/>
                  <a:gd name="T19" fmla="*/ 16 h 321"/>
                  <a:gd name="T20" fmla="*/ 375 w 1268"/>
                  <a:gd name="T21" fmla="*/ 21 h 321"/>
                  <a:gd name="T22" fmla="*/ 340 w 1268"/>
                  <a:gd name="T23" fmla="*/ 25 h 321"/>
                  <a:gd name="T24" fmla="*/ 332 w 1268"/>
                  <a:gd name="T25" fmla="*/ 31 h 321"/>
                  <a:gd name="T26" fmla="*/ 322 w 1268"/>
                  <a:gd name="T27" fmla="*/ 34 h 321"/>
                  <a:gd name="T28" fmla="*/ 304 w 1268"/>
                  <a:gd name="T29" fmla="*/ 33 h 321"/>
                  <a:gd name="T30" fmla="*/ 300 w 1268"/>
                  <a:gd name="T31" fmla="*/ 39 h 321"/>
                  <a:gd name="T32" fmla="*/ 241 w 1268"/>
                  <a:gd name="T33" fmla="*/ 44 h 321"/>
                  <a:gd name="T34" fmla="*/ 215 w 1268"/>
                  <a:gd name="T35" fmla="*/ 51 h 321"/>
                  <a:gd name="T36" fmla="*/ 205 w 1268"/>
                  <a:gd name="T37" fmla="*/ 59 h 321"/>
                  <a:gd name="T38" fmla="*/ 191 w 1268"/>
                  <a:gd name="T39" fmla="*/ 55 h 321"/>
                  <a:gd name="T40" fmla="*/ 184 w 1268"/>
                  <a:gd name="T41" fmla="*/ 59 h 321"/>
                  <a:gd name="T42" fmla="*/ 190 w 1268"/>
                  <a:gd name="T43" fmla="*/ 68 h 321"/>
                  <a:gd name="T44" fmla="*/ 176 w 1268"/>
                  <a:gd name="T45" fmla="*/ 78 h 321"/>
                  <a:gd name="T46" fmla="*/ 156 w 1268"/>
                  <a:gd name="T47" fmla="*/ 77 h 321"/>
                  <a:gd name="T48" fmla="*/ 130 w 1268"/>
                  <a:gd name="T49" fmla="*/ 79 h 321"/>
                  <a:gd name="T50" fmla="*/ 131 w 1268"/>
                  <a:gd name="T51" fmla="*/ 84 h 321"/>
                  <a:gd name="T52" fmla="*/ 126 w 1268"/>
                  <a:gd name="T53" fmla="*/ 96 h 321"/>
                  <a:gd name="T54" fmla="*/ 107 w 1268"/>
                  <a:gd name="T55" fmla="*/ 105 h 321"/>
                  <a:gd name="T56" fmla="*/ 94 w 1268"/>
                  <a:gd name="T57" fmla="*/ 97 h 321"/>
                  <a:gd name="T58" fmla="*/ 82 w 1268"/>
                  <a:gd name="T59" fmla="*/ 93 h 321"/>
                  <a:gd name="T60" fmla="*/ 31 w 1268"/>
                  <a:gd name="T61" fmla="*/ 90 h 321"/>
                  <a:gd name="T62" fmla="*/ 0 w 1268"/>
                  <a:gd name="T63" fmla="*/ 93 h 321"/>
                  <a:gd name="T64" fmla="*/ 3 w 1268"/>
                  <a:gd name="T65" fmla="*/ 87 h 321"/>
                  <a:gd name="T66" fmla="*/ 18 w 1268"/>
                  <a:gd name="T67" fmla="*/ 80 h 321"/>
                  <a:gd name="T68" fmla="*/ 46 w 1268"/>
                  <a:gd name="T69" fmla="*/ 77 h 321"/>
                  <a:gd name="T70" fmla="*/ 55 w 1268"/>
                  <a:gd name="T71" fmla="*/ 74 h 321"/>
                  <a:gd name="T72" fmla="*/ 61 w 1268"/>
                  <a:gd name="T73" fmla="*/ 71 h 321"/>
                  <a:gd name="T74" fmla="*/ 71 w 1268"/>
                  <a:gd name="T75" fmla="*/ 76 h 321"/>
                  <a:gd name="T76" fmla="*/ 80 w 1268"/>
                  <a:gd name="T77" fmla="*/ 81 h 321"/>
                  <a:gd name="T78" fmla="*/ 67 w 1268"/>
                  <a:gd name="T79" fmla="*/ 68 h 321"/>
                  <a:gd name="T80" fmla="*/ 62 w 1268"/>
                  <a:gd name="T81" fmla="*/ 65 h 321"/>
                  <a:gd name="T82" fmla="*/ 64 w 1268"/>
                  <a:gd name="T83" fmla="*/ 59 h 321"/>
                  <a:gd name="T84" fmla="*/ 79 w 1268"/>
                  <a:gd name="T85" fmla="*/ 57 h 321"/>
                  <a:gd name="T86" fmla="*/ 118 w 1268"/>
                  <a:gd name="T87" fmla="*/ 61 h 321"/>
                  <a:gd name="T88" fmla="*/ 135 w 1268"/>
                  <a:gd name="T89" fmla="*/ 57 h 321"/>
                  <a:gd name="T90" fmla="*/ 104 w 1268"/>
                  <a:gd name="T91" fmla="*/ 55 h 321"/>
                  <a:gd name="T92" fmla="*/ 96 w 1268"/>
                  <a:gd name="T93" fmla="*/ 49 h 321"/>
                  <a:gd name="T94" fmla="*/ 122 w 1268"/>
                  <a:gd name="T95" fmla="*/ 45 h 321"/>
                  <a:gd name="T96" fmla="*/ 141 w 1268"/>
                  <a:gd name="T97" fmla="*/ 51 h 321"/>
                  <a:gd name="T98" fmla="*/ 154 w 1268"/>
                  <a:gd name="T99" fmla="*/ 41 h 321"/>
                  <a:gd name="T100" fmla="*/ 214 w 1268"/>
                  <a:gd name="T101" fmla="*/ 28 h 321"/>
                  <a:gd name="T102" fmla="*/ 190 w 1268"/>
                  <a:gd name="T103" fmla="*/ 36 h 321"/>
                  <a:gd name="T104" fmla="*/ 145 w 1268"/>
                  <a:gd name="T105" fmla="*/ 36 h 321"/>
                  <a:gd name="T106" fmla="*/ 101 w 1268"/>
                  <a:gd name="T107" fmla="*/ 38 h 321"/>
                  <a:gd name="T108" fmla="*/ 82 w 1268"/>
                  <a:gd name="T109" fmla="*/ 33 h 321"/>
                  <a:gd name="T110" fmla="*/ 71 w 1268"/>
                  <a:gd name="T111" fmla="*/ 26 h 321"/>
                  <a:gd name="T112" fmla="*/ 82 w 1268"/>
                  <a:gd name="T113" fmla="*/ 23 h 321"/>
                  <a:gd name="T114" fmla="*/ 144 w 1268"/>
                  <a:gd name="T115" fmla="*/ 15 h 321"/>
                  <a:gd name="T116" fmla="*/ 199 w 1268"/>
                  <a:gd name="T117" fmla="*/ 10 h 321"/>
                  <a:gd name="T118" fmla="*/ 217 w 1268"/>
                  <a:gd name="T119" fmla="*/ 7 h 321"/>
                  <a:gd name="T120" fmla="*/ 244 w 1268"/>
                  <a:gd name="T121" fmla="*/ 9 h 32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3" name="Freeform 418">
                <a:extLst>
                  <a:ext uri="{FF2B5EF4-FFF2-40B4-BE49-F238E27FC236}">
                    <a16:creationId xmlns:a16="http://schemas.microsoft.com/office/drawing/2014/main" id="{048D5563-3D6B-4C81-A856-E14F6213AD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0 w 160"/>
                  <a:gd name="T3" fmla="*/ 3 h 117"/>
                  <a:gd name="T4" fmla="*/ 1 w 160"/>
                  <a:gd name="T5" fmla="*/ 6 h 117"/>
                  <a:gd name="T6" fmla="*/ 3 w 160"/>
                  <a:gd name="T7" fmla="*/ 9 h 117"/>
                  <a:gd name="T8" fmla="*/ 5 w 160"/>
                  <a:gd name="T9" fmla="*/ 13 h 117"/>
                  <a:gd name="T10" fmla="*/ 7 w 160"/>
                  <a:gd name="T11" fmla="*/ 16 h 117"/>
                  <a:gd name="T12" fmla="*/ 10 w 160"/>
                  <a:gd name="T13" fmla="*/ 19 h 117"/>
                  <a:gd name="T14" fmla="*/ 13 w 160"/>
                  <a:gd name="T15" fmla="*/ 22 h 117"/>
                  <a:gd name="T16" fmla="*/ 16 w 160"/>
                  <a:gd name="T17" fmla="*/ 25 h 117"/>
                  <a:gd name="T18" fmla="*/ 20 w 160"/>
                  <a:gd name="T19" fmla="*/ 28 h 117"/>
                  <a:gd name="T20" fmla="*/ 23 w 160"/>
                  <a:gd name="T21" fmla="*/ 30 h 117"/>
                  <a:gd name="T22" fmla="*/ 27 w 160"/>
                  <a:gd name="T23" fmla="*/ 32 h 117"/>
                  <a:gd name="T24" fmla="*/ 30 w 160"/>
                  <a:gd name="T25" fmla="*/ 34 h 117"/>
                  <a:gd name="T26" fmla="*/ 34 w 160"/>
                  <a:gd name="T27" fmla="*/ 36 h 117"/>
                  <a:gd name="T28" fmla="*/ 37 w 160"/>
                  <a:gd name="T29" fmla="*/ 37 h 117"/>
                  <a:gd name="T30" fmla="*/ 40 w 160"/>
                  <a:gd name="T31" fmla="*/ 38 h 117"/>
                  <a:gd name="T32" fmla="*/ 42 w 160"/>
                  <a:gd name="T33" fmla="*/ 38 h 117"/>
                  <a:gd name="T34" fmla="*/ 44 w 160"/>
                  <a:gd name="T35" fmla="*/ 38 h 117"/>
                  <a:gd name="T36" fmla="*/ 47 w 160"/>
                  <a:gd name="T37" fmla="*/ 37 h 117"/>
                  <a:gd name="T38" fmla="*/ 49 w 160"/>
                  <a:gd name="T39" fmla="*/ 36 h 117"/>
                  <a:gd name="T40" fmla="*/ 51 w 160"/>
                  <a:gd name="T41" fmla="*/ 34 h 117"/>
                  <a:gd name="T42" fmla="*/ 48 w 160"/>
                  <a:gd name="T43" fmla="*/ 30 h 117"/>
                  <a:gd name="T44" fmla="*/ 45 w 160"/>
                  <a:gd name="T45" fmla="*/ 26 h 117"/>
                  <a:gd name="T46" fmla="*/ 44 w 160"/>
                  <a:gd name="T47" fmla="*/ 24 h 117"/>
                  <a:gd name="T48" fmla="*/ 43 w 160"/>
                  <a:gd name="T49" fmla="*/ 21 h 117"/>
                  <a:gd name="T50" fmla="*/ 42 w 160"/>
                  <a:gd name="T51" fmla="*/ 19 h 117"/>
                  <a:gd name="T52" fmla="*/ 42 w 160"/>
                  <a:gd name="T53" fmla="*/ 16 h 117"/>
                  <a:gd name="T54" fmla="*/ 40 w 160"/>
                  <a:gd name="T55" fmla="*/ 16 h 117"/>
                  <a:gd name="T56" fmla="*/ 38 w 160"/>
                  <a:gd name="T57" fmla="*/ 15 h 117"/>
                  <a:gd name="T58" fmla="*/ 34 w 160"/>
                  <a:gd name="T59" fmla="*/ 13 h 117"/>
                  <a:gd name="T60" fmla="*/ 31 w 160"/>
                  <a:gd name="T61" fmla="*/ 11 h 117"/>
                  <a:gd name="T62" fmla="*/ 28 w 160"/>
                  <a:gd name="T63" fmla="*/ 9 h 117"/>
                  <a:gd name="T64" fmla="*/ 25 w 160"/>
                  <a:gd name="T65" fmla="*/ 7 h 117"/>
                  <a:gd name="T66" fmla="*/ 24 w 160"/>
                  <a:gd name="T67" fmla="*/ 6 h 117"/>
                  <a:gd name="T68" fmla="*/ 23 w 160"/>
                  <a:gd name="T69" fmla="*/ 4 h 117"/>
                  <a:gd name="T70" fmla="*/ 22 w 160"/>
                  <a:gd name="T71" fmla="*/ 3 h 117"/>
                  <a:gd name="T72" fmla="*/ 21 w 160"/>
                  <a:gd name="T73" fmla="*/ 2 h 117"/>
                  <a:gd name="T74" fmla="*/ 19 w 160"/>
                  <a:gd name="T75" fmla="*/ 2 h 117"/>
                  <a:gd name="T76" fmla="*/ 17 w 160"/>
                  <a:gd name="T77" fmla="*/ 2 h 117"/>
                  <a:gd name="T78" fmla="*/ 14 w 160"/>
                  <a:gd name="T79" fmla="*/ 1 h 117"/>
                  <a:gd name="T80" fmla="*/ 11 w 160"/>
                  <a:gd name="T81" fmla="*/ 0 h 117"/>
                  <a:gd name="T82" fmla="*/ 0 w 160"/>
                  <a:gd name="T83" fmla="*/ 0 h 117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4" name="Freeform 419">
                <a:extLst>
                  <a:ext uri="{FF2B5EF4-FFF2-40B4-BE49-F238E27FC236}">
                    <a16:creationId xmlns:a16="http://schemas.microsoft.com/office/drawing/2014/main" id="{796D2A86-9242-41D3-85A8-F04D40D771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13 w 80"/>
                  <a:gd name="T1" fmla="*/ 40 h 141"/>
                  <a:gd name="T2" fmla="*/ 26 w 80"/>
                  <a:gd name="T3" fmla="*/ 12 h 141"/>
                  <a:gd name="T4" fmla="*/ 26 w 80"/>
                  <a:gd name="T5" fmla="*/ 6 h 141"/>
                  <a:gd name="T6" fmla="*/ 22 w 80"/>
                  <a:gd name="T7" fmla="*/ 6 h 141"/>
                  <a:gd name="T8" fmla="*/ 19 w 80"/>
                  <a:gd name="T9" fmla="*/ 5 h 141"/>
                  <a:gd name="T10" fmla="*/ 17 w 80"/>
                  <a:gd name="T11" fmla="*/ 5 h 141"/>
                  <a:gd name="T12" fmla="*/ 15 w 80"/>
                  <a:gd name="T13" fmla="*/ 4 h 141"/>
                  <a:gd name="T14" fmla="*/ 14 w 80"/>
                  <a:gd name="T15" fmla="*/ 3 h 141"/>
                  <a:gd name="T16" fmla="*/ 14 w 80"/>
                  <a:gd name="T17" fmla="*/ 2 h 141"/>
                  <a:gd name="T18" fmla="*/ 13 w 80"/>
                  <a:gd name="T19" fmla="*/ 1 h 141"/>
                  <a:gd name="T20" fmla="*/ 13 w 80"/>
                  <a:gd name="T21" fmla="*/ 0 h 141"/>
                  <a:gd name="T22" fmla="*/ 0 w 80"/>
                  <a:gd name="T23" fmla="*/ 0 h 141"/>
                  <a:gd name="T24" fmla="*/ 0 w 80"/>
                  <a:gd name="T25" fmla="*/ 8 h 141"/>
                  <a:gd name="T26" fmla="*/ 0 w 80"/>
                  <a:gd name="T27" fmla="*/ 13 h 141"/>
                  <a:gd name="T28" fmla="*/ 0 w 80"/>
                  <a:gd name="T29" fmla="*/ 17 h 141"/>
                  <a:gd name="T30" fmla="*/ 0 w 80"/>
                  <a:gd name="T31" fmla="*/ 20 h 141"/>
                  <a:gd name="T32" fmla="*/ 0 w 80"/>
                  <a:gd name="T33" fmla="*/ 23 h 141"/>
                  <a:gd name="T34" fmla="*/ 1 w 80"/>
                  <a:gd name="T35" fmla="*/ 25 h 141"/>
                  <a:gd name="T36" fmla="*/ 2 w 80"/>
                  <a:gd name="T37" fmla="*/ 29 h 141"/>
                  <a:gd name="T38" fmla="*/ 4 w 80"/>
                  <a:gd name="T39" fmla="*/ 32 h 141"/>
                  <a:gd name="T40" fmla="*/ 7 w 80"/>
                  <a:gd name="T41" fmla="*/ 39 h 141"/>
                  <a:gd name="T42" fmla="*/ 9 w 80"/>
                  <a:gd name="T43" fmla="*/ 46 h 141"/>
                  <a:gd name="T44" fmla="*/ 10 w 80"/>
                  <a:gd name="T45" fmla="*/ 44 h 141"/>
                  <a:gd name="T46" fmla="*/ 11 w 80"/>
                  <a:gd name="T47" fmla="*/ 42 h 141"/>
                  <a:gd name="T48" fmla="*/ 11 w 80"/>
                  <a:gd name="T49" fmla="*/ 41 h 141"/>
                  <a:gd name="T50" fmla="*/ 12 w 80"/>
                  <a:gd name="T51" fmla="*/ 41 h 141"/>
                  <a:gd name="T52" fmla="*/ 12 w 80"/>
                  <a:gd name="T53" fmla="*/ 40 h 141"/>
                  <a:gd name="T54" fmla="*/ 13 w 80"/>
                  <a:gd name="T55" fmla="*/ 40 h 14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5" name="Freeform 420">
                <a:extLst>
                  <a:ext uri="{FF2B5EF4-FFF2-40B4-BE49-F238E27FC236}">
                    <a16:creationId xmlns:a16="http://schemas.microsoft.com/office/drawing/2014/main" id="{EA0FC0FB-72E3-4678-9914-45D31ABE03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31 h 124"/>
                  <a:gd name="T2" fmla="*/ 0 w 259"/>
                  <a:gd name="T3" fmla="*/ 32 h 124"/>
                  <a:gd name="T4" fmla="*/ 1 w 259"/>
                  <a:gd name="T5" fmla="*/ 33 h 124"/>
                  <a:gd name="T6" fmla="*/ 1 w 259"/>
                  <a:gd name="T7" fmla="*/ 34 h 124"/>
                  <a:gd name="T8" fmla="*/ 2 w 259"/>
                  <a:gd name="T9" fmla="*/ 35 h 124"/>
                  <a:gd name="T10" fmla="*/ 4 w 259"/>
                  <a:gd name="T11" fmla="*/ 37 h 124"/>
                  <a:gd name="T12" fmla="*/ 7 w 259"/>
                  <a:gd name="T13" fmla="*/ 38 h 124"/>
                  <a:gd name="T14" fmla="*/ 10 w 259"/>
                  <a:gd name="T15" fmla="*/ 40 h 124"/>
                  <a:gd name="T16" fmla="*/ 13 w 259"/>
                  <a:gd name="T17" fmla="*/ 40 h 124"/>
                  <a:gd name="T18" fmla="*/ 16 w 259"/>
                  <a:gd name="T19" fmla="*/ 41 h 124"/>
                  <a:gd name="T20" fmla="*/ 19 w 259"/>
                  <a:gd name="T21" fmla="*/ 41 h 124"/>
                  <a:gd name="T22" fmla="*/ 22 w 259"/>
                  <a:gd name="T23" fmla="*/ 41 h 124"/>
                  <a:gd name="T24" fmla="*/ 24 w 259"/>
                  <a:gd name="T25" fmla="*/ 41 h 124"/>
                  <a:gd name="T26" fmla="*/ 26 w 259"/>
                  <a:gd name="T27" fmla="*/ 40 h 124"/>
                  <a:gd name="T28" fmla="*/ 28 w 259"/>
                  <a:gd name="T29" fmla="*/ 40 h 124"/>
                  <a:gd name="T30" fmla="*/ 31 w 259"/>
                  <a:gd name="T31" fmla="*/ 38 h 124"/>
                  <a:gd name="T32" fmla="*/ 34 w 259"/>
                  <a:gd name="T33" fmla="*/ 36 h 124"/>
                  <a:gd name="T34" fmla="*/ 37 w 259"/>
                  <a:gd name="T35" fmla="*/ 34 h 124"/>
                  <a:gd name="T36" fmla="*/ 40 w 259"/>
                  <a:gd name="T37" fmla="*/ 32 h 124"/>
                  <a:gd name="T38" fmla="*/ 42 w 259"/>
                  <a:gd name="T39" fmla="*/ 32 h 124"/>
                  <a:gd name="T40" fmla="*/ 44 w 259"/>
                  <a:gd name="T41" fmla="*/ 31 h 124"/>
                  <a:gd name="T42" fmla="*/ 46 w 259"/>
                  <a:gd name="T43" fmla="*/ 31 h 124"/>
                  <a:gd name="T44" fmla="*/ 49 w 259"/>
                  <a:gd name="T45" fmla="*/ 31 h 124"/>
                  <a:gd name="T46" fmla="*/ 52 w 259"/>
                  <a:gd name="T47" fmla="*/ 31 h 124"/>
                  <a:gd name="T48" fmla="*/ 55 w 259"/>
                  <a:gd name="T49" fmla="*/ 32 h 124"/>
                  <a:gd name="T50" fmla="*/ 58 w 259"/>
                  <a:gd name="T51" fmla="*/ 33 h 124"/>
                  <a:gd name="T52" fmla="*/ 60 w 259"/>
                  <a:gd name="T53" fmla="*/ 34 h 124"/>
                  <a:gd name="T54" fmla="*/ 65 w 259"/>
                  <a:gd name="T55" fmla="*/ 37 h 124"/>
                  <a:gd name="T56" fmla="*/ 70 w 259"/>
                  <a:gd name="T57" fmla="*/ 39 h 124"/>
                  <a:gd name="T58" fmla="*/ 83 w 259"/>
                  <a:gd name="T59" fmla="*/ 39 h 124"/>
                  <a:gd name="T60" fmla="*/ 83 w 259"/>
                  <a:gd name="T61" fmla="*/ 33 h 124"/>
                  <a:gd name="T62" fmla="*/ 81 w 259"/>
                  <a:gd name="T63" fmla="*/ 32 h 124"/>
                  <a:gd name="T64" fmla="*/ 78 w 259"/>
                  <a:gd name="T65" fmla="*/ 32 h 124"/>
                  <a:gd name="T66" fmla="*/ 76 w 259"/>
                  <a:gd name="T67" fmla="*/ 31 h 124"/>
                  <a:gd name="T68" fmla="*/ 72 w 259"/>
                  <a:gd name="T69" fmla="*/ 31 h 124"/>
                  <a:gd name="T70" fmla="*/ 74 w 259"/>
                  <a:gd name="T71" fmla="*/ 28 h 124"/>
                  <a:gd name="T72" fmla="*/ 76 w 259"/>
                  <a:gd name="T73" fmla="*/ 26 h 124"/>
                  <a:gd name="T74" fmla="*/ 77 w 259"/>
                  <a:gd name="T75" fmla="*/ 24 h 124"/>
                  <a:gd name="T76" fmla="*/ 79 w 259"/>
                  <a:gd name="T77" fmla="*/ 23 h 124"/>
                  <a:gd name="T78" fmla="*/ 76 w 259"/>
                  <a:gd name="T79" fmla="*/ 20 h 124"/>
                  <a:gd name="T80" fmla="*/ 74 w 259"/>
                  <a:gd name="T81" fmla="*/ 19 h 124"/>
                  <a:gd name="T82" fmla="*/ 71 w 259"/>
                  <a:gd name="T83" fmla="*/ 17 h 124"/>
                  <a:gd name="T84" fmla="*/ 69 w 259"/>
                  <a:gd name="T85" fmla="*/ 15 h 124"/>
                  <a:gd name="T86" fmla="*/ 63 w 259"/>
                  <a:gd name="T87" fmla="*/ 12 h 124"/>
                  <a:gd name="T88" fmla="*/ 58 w 259"/>
                  <a:gd name="T89" fmla="*/ 10 h 124"/>
                  <a:gd name="T90" fmla="*/ 53 w 259"/>
                  <a:gd name="T91" fmla="*/ 8 h 124"/>
                  <a:gd name="T92" fmla="*/ 49 w 259"/>
                  <a:gd name="T93" fmla="*/ 6 h 124"/>
                  <a:gd name="T94" fmla="*/ 47 w 259"/>
                  <a:gd name="T95" fmla="*/ 4 h 124"/>
                  <a:gd name="T96" fmla="*/ 45 w 259"/>
                  <a:gd name="T97" fmla="*/ 3 h 124"/>
                  <a:gd name="T98" fmla="*/ 44 w 259"/>
                  <a:gd name="T99" fmla="*/ 2 h 124"/>
                  <a:gd name="T100" fmla="*/ 42 w 259"/>
                  <a:gd name="T101" fmla="*/ 0 h 124"/>
                  <a:gd name="T102" fmla="*/ 40 w 259"/>
                  <a:gd name="T103" fmla="*/ 1 h 124"/>
                  <a:gd name="T104" fmla="*/ 37 w 259"/>
                  <a:gd name="T105" fmla="*/ 2 h 124"/>
                  <a:gd name="T106" fmla="*/ 34 w 259"/>
                  <a:gd name="T107" fmla="*/ 4 h 124"/>
                  <a:gd name="T108" fmla="*/ 30 w 259"/>
                  <a:gd name="T109" fmla="*/ 6 h 124"/>
                  <a:gd name="T110" fmla="*/ 24 w 259"/>
                  <a:gd name="T111" fmla="*/ 10 h 124"/>
                  <a:gd name="T112" fmla="*/ 18 w 259"/>
                  <a:gd name="T113" fmla="*/ 14 h 124"/>
                  <a:gd name="T114" fmla="*/ 12 w 259"/>
                  <a:gd name="T115" fmla="*/ 19 h 124"/>
                  <a:gd name="T116" fmla="*/ 7 w 259"/>
                  <a:gd name="T117" fmla="*/ 23 h 124"/>
                  <a:gd name="T118" fmla="*/ 3 w 259"/>
                  <a:gd name="T119" fmla="*/ 27 h 124"/>
                  <a:gd name="T120" fmla="*/ 0 w 259"/>
                  <a:gd name="T121" fmla="*/ 31 h 12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6" name="Freeform 421">
                <a:extLst>
                  <a:ext uri="{FF2B5EF4-FFF2-40B4-BE49-F238E27FC236}">
                    <a16:creationId xmlns:a16="http://schemas.microsoft.com/office/drawing/2014/main" id="{146D8360-EABA-4AD2-A3BD-8CEFE581A4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11 h 57"/>
                  <a:gd name="T2" fmla="*/ 2 w 119"/>
                  <a:gd name="T3" fmla="*/ 12 h 57"/>
                  <a:gd name="T4" fmla="*/ 4 w 119"/>
                  <a:gd name="T5" fmla="*/ 13 h 57"/>
                  <a:gd name="T6" fmla="*/ 6 w 119"/>
                  <a:gd name="T7" fmla="*/ 14 h 57"/>
                  <a:gd name="T8" fmla="*/ 8 w 119"/>
                  <a:gd name="T9" fmla="*/ 16 h 57"/>
                  <a:gd name="T10" fmla="*/ 10 w 119"/>
                  <a:gd name="T11" fmla="*/ 17 h 57"/>
                  <a:gd name="T12" fmla="*/ 11 w 119"/>
                  <a:gd name="T13" fmla="*/ 18 h 57"/>
                  <a:gd name="T14" fmla="*/ 13 w 119"/>
                  <a:gd name="T15" fmla="*/ 19 h 57"/>
                  <a:gd name="T16" fmla="*/ 15 w 119"/>
                  <a:gd name="T17" fmla="*/ 19 h 57"/>
                  <a:gd name="T18" fmla="*/ 18 w 119"/>
                  <a:gd name="T19" fmla="*/ 19 h 57"/>
                  <a:gd name="T20" fmla="*/ 20 w 119"/>
                  <a:gd name="T21" fmla="*/ 19 h 57"/>
                  <a:gd name="T22" fmla="*/ 22 w 119"/>
                  <a:gd name="T23" fmla="*/ 18 h 57"/>
                  <a:gd name="T24" fmla="*/ 25 w 119"/>
                  <a:gd name="T25" fmla="*/ 18 h 57"/>
                  <a:gd name="T26" fmla="*/ 27 w 119"/>
                  <a:gd name="T27" fmla="*/ 17 h 57"/>
                  <a:gd name="T28" fmla="*/ 28 w 119"/>
                  <a:gd name="T29" fmla="*/ 16 h 57"/>
                  <a:gd name="T30" fmla="*/ 30 w 119"/>
                  <a:gd name="T31" fmla="*/ 15 h 57"/>
                  <a:gd name="T32" fmla="*/ 31 w 119"/>
                  <a:gd name="T33" fmla="*/ 13 h 57"/>
                  <a:gd name="T34" fmla="*/ 34 w 119"/>
                  <a:gd name="T35" fmla="*/ 11 h 57"/>
                  <a:gd name="T36" fmla="*/ 36 w 119"/>
                  <a:gd name="T37" fmla="*/ 8 h 57"/>
                  <a:gd name="T38" fmla="*/ 37 w 119"/>
                  <a:gd name="T39" fmla="*/ 4 h 57"/>
                  <a:gd name="T40" fmla="*/ 38 w 119"/>
                  <a:gd name="T41" fmla="*/ 0 h 57"/>
                  <a:gd name="T42" fmla="*/ 32 w 119"/>
                  <a:gd name="T43" fmla="*/ 0 h 57"/>
                  <a:gd name="T44" fmla="*/ 26 w 119"/>
                  <a:gd name="T45" fmla="*/ 0 h 57"/>
                  <a:gd name="T46" fmla="*/ 20 w 119"/>
                  <a:gd name="T47" fmla="*/ 1 h 57"/>
                  <a:gd name="T48" fmla="*/ 14 w 119"/>
                  <a:gd name="T49" fmla="*/ 2 h 57"/>
                  <a:gd name="T50" fmla="*/ 11 w 119"/>
                  <a:gd name="T51" fmla="*/ 2 h 57"/>
                  <a:gd name="T52" fmla="*/ 9 w 119"/>
                  <a:gd name="T53" fmla="*/ 3 h 57"/>
                  <a:gd name="T54" fmla="*/ 7 w 119"/>
                  <a:gd name="T55" fmla="*/ 4 h 57"/>
                  <a:gd name="T56" fmla="*/ 5 w 119"/>
                  <a:gd name="T57" fmla="*/ 5 h 57"/>
                  <a:gd name="T58" fmla="*/ 3 w 119"/>
                  <a:gd name="T59" fmla="*/ 6 h 57"/>
                  <a:gd name="T60" fmla="*/ 2 w 119"/>
                  <a:gd name="T61" fmla="*/ 8 h 57"/>
                  <a:gd name="T62" fmla="*/ 1 w 119"/>
                  <a:gd name="T63" fmla="*/ 9 h 57"/>
                  <a:gd name="T64" fmla="*/ 0 w 119"/>
                  <a:gd name="T65" fmla="*/ 11 h 5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7" name="Freeform 422">
                <a:extLst>
                  <a:ext uri="{FF2B5EF4-FFF2-40B4-BE49-F238E27FC236}">
                    <a16:creationId xmlns:a16="http://schemas.microsoft.com/office/drawing/2014/main" id="{E0A9C927-3B51-4907-8F5C-F5C1060C5A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16 h 52"/>
                  <a:gd name="T2" fmla="*/ 2 w 107"/>
                  <a:gd name="T3" fmla="*/ 17 h 52"/>
                  <a:gd name="T4" fmla="*/ 3 w 107"/>
                  <a:gd name="T5" fmla="*/ 17 h 52"/>
                  <a:gd name="T6" fmla="*/ 4 w 107"/>
                  <a:gd name="T7" fmla="*/ 17 h 52"/>
                  <a:gd name="T8" fmla="*/ 5 w 107"/>
                  <a:gd name="T9" fmla="*/ 17 h 52"/>
                  <a:gd name="T10" fmla="*/ 8 w 107"/>
                  <a:gd name="T11" fmla="*/ 16 h 52"/>
                  <a:gd name="T12" fmla="*/ 11 w 107"/>
                  <a:gd name="T13" fmla="*/ 16 h 52"/>
                  <a:gd name="T14" fmla="*/ 14 w 107"/>
                  <a:gd name="T15" fmla="*/ 16 h 52"/>
                  <a:gd name="T16" fmla="*/ 17 w 107"/>
                  <a:gd name="T17" fmla="*/ 16 h 52"/>
                  <a:gd name="T18" fmla="*/ 20 w 107"/>
                  <a:gd name="T19" fmla="*/ 15 h 52"/>
                  <a:gd name="T20" fmla="*/ 22 w 107"/>
                  <a:gd name="T21" fmla="*/ 14 h 52"/>
                  <a:gd name="T22" fmla="*/ 25 w 107"/>
                  <a:gd name="T23" fmla="*/ 13 h 52"/>
                  <a:gd name="T24" fmla="*/ 28 w 107"/>
                  <a:gd name="T25" fmla="*/ 12 h 52"/>
                  <a:gd name="T26" fmla="*/ 31 w 107"/>
                  <a:gd name="T27" fmla="*/ 10 h 52"/>
                  <a:gd name="T28" fmla="*/ 34 w 107"/>
                  <a:gd name="T29" fmla="*/ 8 h 52"/>
                  <a:gd name="T30" fmla="*/ 34 w 107"/>
                  <a:gd name="T31" fmla="*/ 0 h 52"/>
                  <a:gd name="T32" fmla="*/ 31 w 107"/>
                  <a:gd name="T33" fmla="*/ 0 h 52"/>
                  <a:gd name="T34" fmla="*/ 27 w 107"/>
                  <a:gd name="T35" fmla="*/ 1 h 52"/>
                  <a:gd name="T36" fmla="*/ 23 w 107"/>
                  <a:gd name="T37" fmla="*/ 2 h 52"/>
                  <a:gd name="T38" fmla="*/ 18 w 107"/>
                  <a:gd name="T39" fmla="*/ 4 h 52"/>
                  <a:gd name="T40" fmla="*/ 13 w 107"/>
                  <a:gd name="T41" fmla="*/ 7 h 52"/>
                  <a:gd name="T42" fmla="*/ 8 w 107"/>
                  <a:gd name="T43" fmla="*/ 9 h 52"/>
                  <a:gd name="T44" fmla="*/ 6 w 107"/>
                  <a:gd name="T45" fmla="*/ 11 h 52"/>
                  <a:gd name="T46" fmla="*/ 4 w 107"/>
                  <a:gd name="T47" fmla="*/ 12 h 52"/>
                  <a:gd name="T48" fmla="*/ 2 w 107"/>
                  <a:gd name="T49" fmla="*/ 14 h 52"/>
                  <a:gd name="T50" fmla="*/ 0 w 107"/>
                  <a:gd name="T51" fmla="*/ 16 h 5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8" name="Freeform 423">
                <a:extLst>
                  <a:ext uri="{FF2B5EF4-FFF2-40B4-BE49-F238E27FC236}">
                    <a16:creationId xmlns:a16="http://schemas.microsoft.com/office/drawing/2014/main" id="{37AE52C3-E40B-41A9-ADF1-45E7245210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9 w 246"/>
                  <a:gd name="T1" fmla="*/ 32 h 99"/>
                  <a:gd name="T2" fmla="*/ 7 w 246"/>
                  <a:gd name="T3" fmla="*/ 31 h 99"/>
                  <a:gd name="T4" fmla="*/ 5 w 246"/>
                  <a:gd name="T5" fmla="*/ 31 h 99"/>
                  <a:gd name="T6" fmla="*/ 4 w 246"/>
                  <a:gd name="T7" fmla="*/ 30 h 99"/>
                  <a:gd name="T8" fmla="*/ 3 w 246"/>
                  <a:gd name="T9" fmla="*/ 29 h 99"/>
                  <a:gd name="T10" fmla="*/ 2 w 246"/>
                  <a:gd name="T11" fmla="*/ 28 h 99"/>
                  <a:gd name="T12" fmla="*/ 1 w 246"/>
                  <a:gd name="T13" fmla="*/ 27 h 99"/>
                  <a:gd name="T14" fmla="*/ 0 w 246"/>
                  <a:gd name="T15" fmla="*/ 25 h 99"/>
                  <a:gd name="T16" fmla="*/ 0 w 246"/>
                  <a:gd name="T17" fmla="*/ 24 h 99"/>
                  <a:gd name="T18" fmla="*/ 0 w 246"/>
                  <a:gd name="T19" fmla="*/ 22 h 99"/>
                  <a:gd name="T20" fmla="*/ 0 w 246"/>
                  <a:gd name="T21" fmla="*/ 21 h 99"/>
                  <a:gd name="T22" fmla="*/ 1 w 246"/>
                  <a:gd name="T23" fmla="*/ 19 h 99"/>
                  <a:gd name="T24" fmla="*/ 2 w 246"/>
                  <a:gd name="T25" fmla="*/ 18 h 99"/>
                  <a:gd name="T26" fmla="*/ 3 w 246"/>
                  <a:gd name="T27" fmla="*/ 16 h 99"/>
                  <a:gd name="T28" fmla="*/ 6 w 246"/>
                  <a:gd name="T29" fmla="*/ 13 h 99"/>
                  <a:gd name="T30" fmla="*/ 8 w 246"/>
                  <a:gd name="T31" fmla="*/ 11 h 99"/>
                  <a:gd name="T32" fmla="*/ 11 w 246"/>
                  <a:gd name="T33" fmla="*/ 9 h 99"/>
                  <a:gd name="T34" fmla="*/ 15 w 246"/>
                  <a:gd name="T35" fmla="*/ 7 h 99"/>
                  <a:gd name="T36" fmla="*/ 18 w 246"/>
                  <a:gd name="T37" fmla="*/ 6 h 99"/>
                  <a:gd name="T38" fmla="*/ 22 w 246"/>
                  <a:gd name="T39" fmla="*/ 5 h 99"/>
                  <a:gd name="T40" fmla="*/ 26 w 246"/>
                  <a:gd name="T41" fmla="*/ 3 h 99"/>
                  <a:gd name="T42" fmla="*/ 30 w 246"/>
                  <a:gd name="T43" fmla="*/ 2 h 99"/>
                  <a:gd name="T44" fmla="*/ 33 w 246"/>
                  <a:gd name="T45" fmla="*/ 1 h 99"/>
                  <a:gd name="T46" fmla="*/ 40 w 246"/>
                  <a:gd name="T47" fmla="*/ 0 h 99"/>
                  <a:gd name="T48" fmla="*/ 45 w 246"/>
                  <a:gd name="T49" fmla="*/ 0 h 99"/>
                  <a:gd name="T50" fmla="*/ 54 w 246"/>
                  <a:gd name="T51" fmla="*/ 0 h 99"/>
                  <a:gd name="T52" fmla="*/ 62 w 246"/>
                  <a:gd name="T53" fmla="*/ 0 h 99"/>
                  <a:gd name="T54" fmla="*/ 70 w 246"/>
                  <a:gd name="T55" fmla="*/ 1 h 99"/>
                  <a:gd name="T56" fmla="*/ 79 w 246"/>
                  <a:gd name="T57" fmla="*/ 2 h 99"/>
                  <a:gd name="T58" fmla="*/ 78 w 246"/>
                  <a:gd name="T59" fmla="*/ 4 h 99"/>
                  <a:gd name="T60" fmla="*/ 77 w 246"/>
                  <a:gd name="T61" fmla="*/ 5 h 99"/>
                  <a:gd name="T62" fmla="*/ 76 w 246"/>
                  <a:gd name="T63" fmla="*/ 6 h 99"/>
                  <a:gd name="T64" fmla="*/ 74 w 246"/>
                  <a:gd name="T65" fmla="*/ 8 h 99"/>
                  <a:gd name="T66" fmla="*/ 69 w 246"/>
                  <a:gd name="T67" fmla="*/ 12 h 99"/>
                  <a:gd name="T68" fmla="*/ 64 w 246"/>
                  <a:gd name="T69" fmla="*/ 15 h 99"/>
                  <a:gd name="T70" fmla="*/ 58 w 246"/>
                  <a:gd name="T71" fmla="*/ 18 h 99"/>
                  <a:gd name="T72" fmla="*/ 52 w 246"/>
                  <a:gd name="T73" fmla="*/ 20 h 99"/>
                  <a:gd name="T74" fmla="*/ 49 w 246"/>
                  <a:gd name="T75" fmla="*/ 21 h 99"/>
                  <a:gd name="T76" fmla="*/ 46 w 246"/>
                  <a:gd name="T77" fmla="*/ 21 h 99"/>
                  <a:gd name="T78" fmla="*/ 43 w 246"/>
                  <a:gd name="T79" fmla="*/ 22 h 99"/>
                  <a:gd name="T80" fmla="*/ 40 w 246"/>
                  <a:gd name="T81" fmla="*/ 22 h 99"/>
                  <a:gd name="T82" fmla="*/ 39 w 246"/>
                  <a:gd name="T83" fmla="*/ 22 h 99"/>
                  <a:gd name="T84" fmla="*/ 35 w 246"/>
                  <a:gd name="T85" fmla="*/ 22 h 99"/>
                  <a:gd name="T86" fmla="*/ 32 w 246"/>
                  <a:gd name="T87" fmla="*/ 22 h 99"/>
                  <a:gd name="T88" fmla="*/ 30 w 246"/>
                  <a:gd name="T89" fmla="*/ 22 h 99"/>
                  <a:gd name="T90" fmla="*/ 28 w 246"/>
                  <a:gd name="T91" fmla="*/ 22 h 99"/>
                  <a:gd name="T92" fmla="*/ 26 w 246"/>
                  <a:gd name="T93" fmla="*/ 23 h 99"/>
                  <a:gd name="T94" fmla="*/ 23 w 246"/>
                  <a:gd name="T95" fmla="*/ 25 h 99"/>
                  <a:gd name="T96" fmla="*/ 20 w 246"/>
                  <a:gd name="T97" fmla="*/ 27 h 99"/>
                  <a:gd name="T98" fmla="*/ 17 w 246"/>
                  <a:gd name="T99" fmla="*/ 28 h 99"/>
                  <a:gd name="T100" fmla="*/ 14 w 246"/>
                  <a:gd name="T101" fmla="*/ 30 h 99"/>
                  <a:gd name="T102" fmla="*/ 11 w 246"/>
                  <a:gd name="T103" fmla="*/ 31 h 99"/>
                  <a:gd name="T104" fmla="*/ 9 w 246"/>
                  <a:gd name="T105" fmla="*/ 32 h 9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9" name="Freeform 424">
                <a:extLst>
                  <a:ext uri="{FF2B5EF4-FFF2-40B4-BE49-F238E27FC236}">
                    <a16:creationId xmlns:a16="http://schemas.microsoft.com/office/drawing/2014/main" id="{D0297A8C-D97B-49B4-B0D6-DD16F17C3C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11 w 233"/>
                  <a:gd name="T1" fmla="*/ 29 h 123"/>
                  <a:gd name="T2" fmla="*/ 3 w 233"/>
                  <a:gd name="T3" fmla="*/ 25 h 123"/>
                  <a:gd name="T4" fmla="*/ 0 w 233"/>
                  <a:gd name="T5" fmla="*/ 18 h 123"/>
                  <a:gd name="T6" fmla="*/ 7 w 233"/>
                  <a:gd name="T7" fmla="*/ 12 h 123"/>
                  <a:gd name="T8" fmla="*/ 13 w 233"/>
                  <a:gd name="T9" fmla="*/ 12 h 123"/>
                  <a:gd name="T10" fmla="*/ 20 w 233"/>
                  <a:gd name="T11" fmla="*/ 12 h 123"/>
                  <a:gd name="T12" fmla="*/ 23 w 233"/>
                  <a:gd name="T13" fmla="*/ 12 h 123"/>
                  <a:gd name="T14" fmla="*/ 27 w 233"/>
                  <a:gd name="T15" fmla="*/ 11 h 123"/>
                  <a:gd name="T16" fmla="*/ 34 w 233"/>
                  <a:gd name="T17" fmla="*/ 7 h 123"/>
                  <a:gd name="T18" fmla="*/ 40 w 233"/>
                  <a:gd name="T19" fmla="*/ 4 h 123"/>
                  <a:gd name="T20" fmla="*/ 48 w 233"/>
                  <a:gd name="T21" fmla="*/ 0 h 123"/>
                  <a:gd name="T22" fmla="*/ 53 w 233"/>
                  <a:gd name="T23" fmla="*/ 3 h 123"/>
                  <a:gd name="T24" fmla="*/ 59 w 233"/>
                  <a:gd name="T25" fmla="*/ 4 h 123"/>
                  <a:gd name="T26" fmla="*/ 62 w 233"/>
                  <a:gd name="T27" fmla="*/ 3 h 123"/>
                  <a:gd name="T28" fmla="*/ 66 w 233"/>
                  <a:gd name="T29" fmla="*/ 2 h 123"/>
                  <a:gd name="T30" fmla="*/ 69 w 233"/>
                  <a:gd name="T31" fmla="*/ 0 h 123"/>
                  <a:gd name="T32" fmla="*/ 76 w 233"/>
                  <a:gd name="T33" fmla="*/ 2 h 123"/>
                  <a:gd name="T34" fmla="*/ 74 w 233"/>
                  <a:gd name="T35" fmla="*/ 6 h 123"/>
                  <a:gd name="T36" fmla="*/ 71 w 233"/>
                  <a:gd name="T37" fmla="*/ 8 h 123"/>
                  <a:gd name="T38" fmla="*/ 68 w 233"/>
                  <a:gd name="T39" fmla="*/ 10 h 123"/>
                  <a:gd name="T40" fmla="*/ 66 w 233"/>
                  <a:gd name="T41" fmla="*/ 14 h 123"/>
                  <a:gd name="T42" fmla="*/ 67 w 233"/>
                  <a:gd name="T43" fmla="*/ 20 h 123"/>
                  <a:gd name="T44" fmla="*/ 60 w 233"/>
                  <a:gd name="T45" fmla="*/ 28 h 123"/>
                  <a:gd name="T46" fmla="*/ 51 w 233"/>
                  <a:gd name="T47" fmla="*/ 31 h 123"/>
                  <a:gd name="T48" fmla="*/ 45 w 233"/>
                  <a:gd name="T49" fmla="*/ 32 h 123"/>
                  <a:gd name="T50" fmla="*/ 38 w 233"/>
                  <a:gd name="T51" fmla="*/ 33 h 123"/>
                  <a:gd name="T52" fmla="*/ 31 w 233"/>
                  <a:gd name="T53" fmla="*/ 34 h 123"/>
                  <a:gd name="T54" fmla="*/ 27 w 233"/>
                  <a:gd name="T55" fmla="*/ 37 h 123"/>
                  <a:gd name="T56" fmla="*/ 22 w 233"/>
                  <a:gd name="T57" fmla="*/ 40 h 123"/>
                  <a:gd name="T58" fmla="*/ 19 w 233"/>
                  <a:gd name="T59" fmla="*/ 40 h 123"/>
                  <a:gd name="T60" fmla="*/ 17 w 233"/>
                  <a:gd name="T61" fmla="*/ 37 h 123"/>
                  <a:gd name="T62" fmla="*/ 16 w 233"/>
                  <a:gd name="T63" fmla="*/ 33 h 123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0" name="Freeform 425">
                <a:extLst>
                  <a:ext uri="{FF2B5EF4-FFF2-40B4-BE49-F238E27FC236}">
                    <a16:creationId xmlns:a16="http://schemas.microsoft.com/office/drawing/2014/main" id="{E5015299-ADCD-4117-82BC-C572B71667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48 h 172"/>
                  <a:gd name="T2" fmla="*/ 1 w 484"/>
                  <a:gd name="T3" fmla="*/ 51 h 172"/>
                  <a:gd name="T4" fmla="*/ 3 w 484"/>
                  <a:gd name="T5" fmla="*/ 53 h 172"/>
                  <a:gd name="T6" fmla="*/ 6 w 484"/>
                  <a:gd name="T7" fmla="*/ 54 h 172"/>
                  <a:gd name="T8" fmla="*/ 10 w 484"/>
                  <a:gd name="T9" fmla="*/ 55 h 172"/>
                  <a:gd name="T10" fmla="*/ 17 w 484"/>
                  <a:gd name="T11" fmla="*/ 56 h 172"/>
                  <a:gd name="T12" fmla="*/ 24 w 484"/>
                  <a:gd name="T13" fmla="*/ 56 h 172"/>
                  <a:gd name="T14" fmla="*/ 32 w 484"/>
                  <a:gd name="T15" fmla="*/ 54 h 172"/>
                  <a:gd name="T16" fmla="*/ 45 w 484"/>
                  <a:gd name="T17" fmla="*/ 51 h 172"/>
                  <a:gd name="T18" fmla="*/ 61 w 484"/>
                  <a:gd name="T19" fmla="*/ 44 h 172"/>
                  <a:gd name="T20" fmla="*/ 78 w 484"/>
                  <a:gd name="T21" fmla="*/ 37 h 172"/>
                  <a:gd name="T22" fmla="*/ 93 w 484"/>
                  <a:gd name="T23" fmla="*/ 33 h 172"/>
                  <a:gd name="T24" fmla="*/ 114 w 484"/>
                  <a:gd name="T25" fmla="*/ 28 h 172"/>
                  <a:gd name="T26" fmla="*/ 130 w 484"/>
                  <a:gd name="T27" fmla="*/ 24 h 172"/>
                  <a:gd name="T28" fmla="*/ 141 w 484"/>
                  <a:gd name="T29" fmla="*/ 21 h 172"/>
                  <a:gd name="T30" fmla="*/ 150 w 484"/>
                  <a:gd name="T31" fmla="*/ 17 h 172"/>
                  <a:gd name="T32" fmla="*/ 154 w 484"/>
                  <a:gd name="T33" fmla="*/ 14 h 172"/>
                  <a:gd name="T34" fmla="*/ 156 w 484"/>
                  <a:gd name="T35" fmla="*/ 11 h 172"/>
                  <a:gd name="T36" fmla="*/ 146 w 484"/>
                  <a:gd name="T37" fmla="*/ 8 h 172"/>
                  <a:gd name="T38" fmla="*/ 126 w 484"/>
                  <a:gd name="T39" fmla="*/ 5 h 172"/>
                  <a:gd name="T40" fmla="*/ 107 w 484"/>
                  <a:gd name="T41" fmla="*/ 2 h 172"/>
                  <a:gd name="T42" fmla="*/ 88 w 484"/>
                  <a:gd name="T43" fmla="*/ 0 h 172"/>
                  <a:gd name="T44" fmla="*/ 73 w 484"/>
                  <a:gd name="T45" fmla="*/ 0 h 172"/>
                  <a:gd name="T46" fmla="*/ 66 w 484"/>
                  <a:gd name="T47" fmla="*/ 1 h 172"/>
                  <a:gd name="T48" fmla="*/ 60 w 484"/>
                  <a:gd name="T49" fmla="*/ 3 h 172"/>
                  <a:gd name="T50" fmla="*/ 57 w 484"/>
                  <a:gd name="T51" fmla="*/ 2 h 172"/>
                  <a:gd name="T52" fmla="*/ 55 w 484"/>
                  <a:gd name="T53" fmla="*/ 1 h 172"/>
                  <a:gd name="T54" fmla="*/ 54 w 484"/>
                  <a:gd name="T55" fmla="*/ 3 h 172"/>
                  <a:gd name="T56" fmla="*/ 52 w 484"/>
                  <a:gd name="T57" fmla="*/ 8 h 172"/>
                  <a:gd name="T58" fmla="*/ 50 w 484"/>
                  <a:gd name="T59" fmla="*/ 12 h 172"/>
                  <a:gd name="T60" fmla="*/ 47 w 484"/>
                  <a:gd name="T61" fmla="*/ 15 h 172"/>
                  <a:gd name="T62" fmla="*/ 41 w 484"/>
                  <a:gd name="T63" fmla="*/ 19 h 172"/>
                  <a:gd name="T64" fmla="*/ 31 w 484"/>
                  <a:gd name="T65" fmla="*/ 22 h 172"/>
                  <a:gd name="T66" fmla="*/ 21 w 484"/>
                  <a:gd name="T67" fmla="*/ 25 h 172"/>
                  <a:gd name="T68" fmla="*/ 12 w 484"/>
                  <a:gd name="T69" fmla="*/ 29 h 172"/>
                  <a:gd name="T70" fmla="*/ 6 w 484"/>
                  <a:gd name="T71" fmla="*/ 32 h 172"/>
                  <a:gd name="T72" fmla="*/ 3 w 484"/>
                  <a:gd name="T73" fmla="*/ 35 h 172"/>
                  <a:gd name="T74" fmla="*/ 1 w 484"/>
                  <a:gd name="T75" fmla="*/ 39 h 172"/>
                  <a:gd name="T76" fmla="*/ 0 w 484"/>
                  <a:gd name="T77" fmla="*/ 44 h 17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1" name="Freeform 426">
                <a:extLst>
                  <a:ext uri="{FF2B5EF4-FFF2-40B4-BE49-F238E27FC236}">
                    <a16:creationId xmlns:a16="http://schemas.microsoft.com/office/drawing/2014/main" id="{52A8FAF5-63CD-402A-9BEF-8519329D27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102 w 684"/>
                  <a:gd name="T1" fmla="*/ 2 h 240"/>
                  <a:gd name="T2" fmla="*/ 98 w 684"/>
                  <a:gd name="T3" fmla="*/ 9 h 240"/>
                  <a:gd name="T4" fmla="*/ 96 w 684"/>
                  <a:gd name="T5" fmla="*/ 13 h 240"/>
                  <a:gd name="T6" fmla="*/ 97 w 684"/>
                  <a:gd name="T7" fmla="*/ 14 h 240"/>
                  <a:gd name="T8" fmla="*/ 109 w 684"/>
                  <a:gd name="T9" fmla="*/ 13 h 240"/>
                  <a:gd name="T10" fmla="*/ 120 w 684"/>
                  <a:gd name="T11" fmla="*/ 6 h 240"/>
                  <a:gd name="T12" fmla="*/ 122 w 684"/>
                  <a:gd name="T13" fmla="*/ 13 h 240"/>
                  <a:gd name="T14" fmla="*/ 122 w 684"/>
                  <a:gd name="T15" fmla="*/ 18 h 240"/>
                  <a:gd name="T16" fmla="*/ 131 w 684"/>
                  <a:gd name="T17" fmla="*/ 23 h 240"/>
                  <a:gd name="T18" fmla="*/ 165 w 684"/>
                  <a:gd name="T19" fmla="*/ 17 h 240"/>
                  <a:gd name="T20" fmla="*/ 166 w 684"/>
                  <a:gd name="T21" fmla="*/ 23 h 240"/>
                  <a:gd name="T22" fmla="*/ 175 w 684"/>
                  <a:gd name="T23" fmla="*/ 21 h 240"/>
                  <a:gd name="T24" fmla="*/ 180 w 684"/>
                  <a:gd name="T25" fmla="*/ 15 h 240"/>
                  <a:gd name="T26" fmla="*/ 180 w 684"/>
                  <a:gd name="T27" fmla="*/ 6 h 240"/>
                  <a:gd name="T28" fmla="*/ 182 w 684"/>
                  <a:gd name="T29" fmla="*/ 3 h 240"/>
                  <a:gd name="T30" fmla="*/ 187 w 684"/>
                  <a:gd name="T31" fmla="*/ 0 h 240"/>
                  <a:gd name="T32" fmla="*/ 202 w 684"/>
                  <a:gd name="T33" fmla="*/ 1 h 240"/>
                  <a:gd name="T34" fmla="*/ 208 w 684"/>
                  <a:gd name="T35" fmla="*/ 0 h 240"/>
                  <a:gd name="T36" fmla="*/ 212 w 684"/>
                  <a:gd name="T37" fmla="*/ 13 h 240"/>
                  <a:gd name="T38" fmla="*/ 211 w 684"/>
                  <a:gd name="T39" fmla="*/ 23 h 240"/>
                  <a:gd name="T40" fmla="*/ 206 w 684"/>
                  <a:gd name="T41" fmla="*/ 33 h 240"/>
                  <a:gd name="T42" fmla="*/ 200 w 684"/>
                  <a:gd name="T43" fmla="*/ 41 h 240"/>
                  <a:gd name="T44" fmla="*/ 209 w 684"/>
                  <a:gd name="T45" fmla="*/ 45 h 240"/>
                  <a:gd name="T46" fmla="*/ 217 w 684"/>
                  <a:gd name="T47" fmla="*/ 48 h 240"/>
                  <a:gd name="T48" fmla="*/ 221 w 684"/>
                  <a:gd name="T49" fmla="*/ 59 h 240"/>
                  <a:gd name="T50" fmla="*/ 206 w 684"/>
                  <a:gd name="T51" fmla="*/ 61 h 240"/>
                  <a:gd name="T52" fmla="*/ 196 w 684"/>
                  <a:gd name="T53" fmla="*/ 60 h 240"/>
                  <a:gd name="T54" fmla="*/ 185 w 684"/>
                  <a:gd name="T55" fmla="*/ 59 h 240"/>
                  <a:gd name="T56" fmla="*/ 182 w 684"/>
                  <a:gd name="T57" fmla="*/ 61 h 240"/>
                  <a:gd name="T58" fmla="*/ 175 w 684"/>
                  <a:gd name="T59" fmla="*/ 66 h 240"/>
                  <a:gd name="T60" fmla="*/ 169 w 684"/>
                  <a:gd name="T61" fmla="*/ 69 h 240"/>
                  <a:gd name="T62" fmla="*/ 159 w 684"/>
                  <a:gd name="T63" fmla="*/ 69 h 240"/>
                  <a:gd name="T64" fmla="*/ 146 w 684"/>
                  <a:gd name="T65" fmla="*/ 67 h 240"/>
                  <a:gd name="T66" fmla="*/ 136 w 684"/>
                  <a:gd name="T67" fmla="*/ 65 h 240"/>
                  <a:gd name="T68" fmla="*/ 109 w 684"/>
                  <a:gd name="T69" fmla="*/ 69 h 240"/>
                  <a:gd name="T70" fmla="*/ 75 w 684"/>
                  <a:gd name="T71" fmla="*/ 76 h 240"/>
                  <a:gd name="T72" fmla="*/ 55 w 684"/>
                  <a:gd name="T73" fmla="*/ 78 h 240"/>
                  <a:gd name="T74" fmla="*/ 40 w 684"/>
                  <a:gd name="T75" fmla="*/ 78 h 240"/>
                  <a:gd name="T76" fmla="*/ 32 w 684"/>
                  <a:gd name="T77" fmla="*/ 75 h 240"/>
                  <a:gd name="T78" fmla="*/ 22 w 684"/>
                  <a:gd name="T79" fmla="*/ 68 h 240"/>
                  <a:gd name="T80" fmla="*/ 9 w 684"/>
                  <a:gd name="T81" fmla="*/ 65 h 240"/>
                  <a:gd name="T82" fmla="*/ 0 w 684"/>
                  <a:gd name="T83" fmla="*/ 57 h 240"/>
                  <a:gd name="T84" fmla="*/ 21 w 684"/>
                  <a:gd name="T85" fmla="*/ 52 h 240"/>
                  <a:gd name="T86" fmla="*/ 32 w 684"/>
                  <a:gd name="T87" fmla="*/ 51 h 240"/>
                  <a:gd name="T88" fmla="*/ 50 w 684"/>
                  <a:gd name="T89" fmla="*/ 53 h 240"/>
                  <a:gd name="T90" fmla="*/ 65 w 684"/>
                  <a:gd name="T91" fmla="*/ 54 h 240"/>
                  <a:gd name="T92" fmla="*/ 72 w 684"/>
                  <a:gd name="T93" fmla="*/ 53 h 240"/>
                  <a:gd name="T94" fmla="*/ 8 w 684"/>
                  <a:gd name="T95" fmla="*/ 45 h 240"/>
                  <a:gd name="T96" fmla="*/ 17 w 684"/>
                  <a:gd name="T97" fmla="*/ 42 h 240"/>
                  <a:gd name="T98" fmla="*/ 35 w 684"/>
                  <a:gd name="T99" fmla="*/ 39 h 240"/>
                  <a:gd name="T100" fmla="*/ 53 w 684"/>
                  <a:gd name="T101" fmla="*/ 36 h 240"/>
                  <a:gd name="T102" fmla="*/ 60 w 684"/>
                  <a:gd name="T103" fmla="*/ 33 h 240"/>
                  <a:gd name="T104" fmla="*/ 54 w 684"/>
                  <a:gd name="T105" fmla="*/ 31 h 240"/>
                  <a:gd name="T106" fmla="*/ 40 w 684"/>
                  <a:gd name="T107" fmla="*/ 32 h 240"/>
                  <a:gd name="T108" fmla="*/ 23 w 684"/>
                  <a:gd name="T109" fmla="*/ 36 h 240"/>
                  <a:gd name="T110" fmla="*/ 17 w 684"/>
                  <a:gd name="T111" fmla="*/ 35 h 240"/>
                  <a:gd name="T112" fmla="*/ 18 w 684"/>
                  <a:gd name="T113" fmla="*/ 30 h 240"/>
                  <a:gd name="T114" fmla="*/ 17 w 684"/>
                  <a:gd name="T115" fmla="*/ 27 h 240"/>
                  <a:gd name="T116" fmla="*/ 19 w 684"/>
                  <a:gd name="T117" fmla="*/ 26 h 24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2" name="Freeform 427">
                <a:extLst>
                  <a:ext uri="{FF2B5EF4-FFF2-40B4-BE49-F238E27FC236}">
                    <a16:creationId xmlns:a16="http://schemas.microsoft.com/office/drawing/2014/main" id="{014AECD0-970B-4EAA-93F3-28435E4903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59 w 332"/>
                  <a:gd name="T1" fmla="*/ 12 h 287"/>
                  <a:gd name="T2" fmla="*/ 66 w 332"/>
                  <a:gd name="T3" fmla="*/ 8 h 287"/>
                  <a:gd name="T4" fmla="*/ 74 w 332"/>
                  <a:gd name="T5" fmla="*/ 2 h 287"/>
                  <a:gd name="T6" fmla="*/ 78 w 332"/>
                  <a:gd name="T7" fmla="*/ 0 h 287"/>
                  <a:gd name="T8" fmla="*/ 80 w 332"/>
                  <a:gd name="T9" fmla="*/ 0 h 287"/>
                  <a:gd name="T10" fmla="*/ 80 w 332"/>
                  <a:gd name="T11" fmla="*/ 4 h 287"/>
                  <a:gd name="T12" fmla="*/ 76 w 332"/>
                  <a:gd name="T13" fmla="*/ 11 h 287"/>
                  <a:gd name="T14" fmla="*/ 71 w 332"/>
                  <a:gd name="T15" fmla="*/ 18 h 287"/>
                  <a:gd name="T16" fmla="*/ 66 w 332"/>
                  <a:gd name="T17" fmla="*/ 22 h 287"/>
                  <a:gd name="T18" fmla="*/ 62 w 332"/>
                  <a:gd name="T19" fmla="*/ 23 h 287"/>
                  <a:gd name="T20" fmla="*/ 62 w 332"/>
                  <a:gd name="T21" fmla="*/ 24 h 287"/>
                  <a:gd name="T22" fmla="*/ 65 w 332"/>
                  <a:gd name="T23" fmla="*/ 24 h 287"/>
                  <a:gd name="T24" fmla="*/ 70 w 332"/>
                  <a:gd name="T25" fmla="*/ 23 h 287"/>
                  <a:gd name="T26" fmla="*/ 73 w 332"/>
                  <a:gd name="T27" fmla="*/ 25 h 287"/>
                  <a:gd name="T28" fmla="*/ 71 w 332"/>
                  <a:gd name="T29" fmla="*/ 29 h 287"/>
                  <a:gd name="T30" fmla="*/ 70 w 332"/>
                  <a:gd name="T31" fmla="*/ 31 h 287"/>
                  <a:gd name="T32" fmla="*/ 71 w 332"/>
                  <a:gd name="T33" fmla="*/ 34 h 287"/>
                  <a:gd name="T34" fmla="*/ 81 w 332"/>
                  <a:gd name="T35" fmla="*/ 37 h 287"/>
                  <a:gd name="T36" fmla="*/ 100 w 332"/>
                  <a:gd name="T37" fmla="*/ 40 h 287"/>
                  <a:gd name="T38" fmla="*/ 105 w 332"/>
                  <a:gd name="T39" fmla="*/ 42 h 287"/>
                  <a:gd name="T40" fmla="*/ 102 w 332"/>
                  <a:gd name="T41" fmla="*/ 45 h 287"/>
                  <a:gd name="T42" fmla="*/ 99 w 332"/>
                  <a:gd name="T43" fmla="*/ 48 h 287"/>
                  <a:gd name="T44" fmla="*/ 97 w 332"/>
                  <a:gd name="T45" fmla="*/ 50 h 287"/>
                  <a:gd name="T46" fmla="*/ 98 w 332"/>
                  <a:gd name="T47" fmla="*/ 52 h 287"/>
                  <a:gd name="T48" fmla="*/ 100 w 332"/>
                  <a:gd name="T49" fmla="*/ 54 h 287"/>
                  <a:gd name="T50" fmla="*/ 104 w 332"/>
                  <a:gd name="T51" fmla="*/ 57 h 287"/>
                  <a:gd name="T52" fmla="*/ 107 w 332"/>
                  <a:gd name="T53" fmla="*/ 60 h 287"/>
                  <a:gd name="T54" fmla="*/ 94 w 332"/>
                  <a:gd name="T55" fmla="*/ 68 h 287"/>
                  <a:gd name="T56" fmla="*/ 78 w 332"/>
                  <a:gd name="T57" fmla="*/ 78 h 287"/>
                  <a:gd name="T58" fmla="*/ 67 w 332"/>
                  <a:gd name="T59" fmla="*/ 87 h 287"/>
                  <a:gd name="T60" fmla="*/ 56 w 332"/>
                  <a:gd name="T61" fmla="*/ 79 h 287"/>
                  <a:gd name="T62" fmla="*/ 59 w 332"/>
                  <a:gd name="T63" fmla="*/ 79 h 287"/>
                  <a:gd name="T64" fmla="*/ 61 w 332"/>
                  <a:gd name="T65" fmla="*/ 78 h 287"/>
                  <a:gd name="T66" fmla="*/ 65 w 332"/>
                  <a:gd name="T67" fmla="*/ 75 h 287"/>
                  <a:gd name="T68" fmla="*/ 48 w 332"/>
                  <a:gd name="T69" fmla="*/ 75 h 287"/>
                  <a:gd name="T70" fmla="*/ 33 w 332"/>
                  <a:gd name="T71" fmla="*/ 75 h 287"/>
                  <a:gd name="T72" fmla="*/ 19 w 332"/>
                  <a:gd name="T73" fmla="*/ 75 h 287"/>
                  <a:gd name="T74" fmla="*/ 9 w 332"/>
                  <a:gd name="T75" fmla="*/ 75 h 287"/>
                  <a:gd name="T76" fmla="*/ 4 w 332"/>
                  <a:gd name="T77" fmla="*/ 74 h 287"/>
                  <a:gd name="T78" fmla="*/ 1 w 332"/>
                  <a:gd name="T79" fmla="*/ 72 h 287"/>
                  <a:gd name="T80" fmla="*/ 0 w 332"/>
                  <a:gd name="T81" fmla="*/ 69 h 287"/>
                  <a:gd name="T82" fmla="*/ 1 w 332"/>
                  <a:gd name="T83" fmla="*/ 66 h 287"/>
                  <a:gd name="T84" fmla="*/ 4 w 332"/>
                  <a:gd name="T85" fmla="*/ 64 h 287"/>
                  <a:gd name="T86" fmla="*/ 13 w 332"/>
                  <a:gd name="T87" fmla="*/ 58 h 287"/>
                  <a:gd name="T88" fmla="*/ 24 w 332"/>
                  <a:gd name="T89" fmla="*/ 52 h 287"/>
                  <a:gd name="T90" fmla="*/ 28 w 332"/>
                  <a:gd name="T91" fmla="*/ 49 h 287"/>
                  <a:gd name="T92" fmla="*/ 30 w 332"/>
                  <a:gd name="T93" fmla="*/ 47 h 287"/>
                  <a:gd name="T94" fmla="*/ 34 w 332"/>
                  <a:gd name="T95" fmla="*/ 42 h 287"/>
                  <a:gd name="T96" fmla="*/ 38 w 332"/>
                  <a:gd name="T97" fmla="*/ 37 h 287"/>
                  <a:gd name="T98" fmla="*/ 42 w 332"/>
                  <a:gd name="T99" fmla="*/ 26 h 287"/>
                  <a:gd name="T100" fmla="*/ 45 w 332"/>
                  <a:gd name="T101" fmla="*/ 21 h 287"/>
                  <a:gd name="T102" fmla="*/ 48 w 332"/>
                  <a:gd name="T103" fmla="*/ 17 h 287"/>
                  <a:gd name="T104" fmla="*/ 51 w 332"/>
                  <a:gd name="T105" fmla="*/ 14 h 287"/>
                  <a:gd name="T106" fmla="*/ 56 w 332"/>
                  <a:gd name="T107" fmla="*/ 13 h 28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3" name="Freeform 428">
                <a:extLst>
                  <a:ext uri="{FF2B5EF4-FFF2-40B4-BE49-F238E27FC236}">
                    <a16:creationId xmlns:a16="http://schemas.microsoft.com/office/drawing/2014/main" id="{3D1684D8-55C2-4351-999C-550E788AD2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34 w 345"/>
                  <a:gd name="T1" fmla="*/ 27 h 86"/>
                  <a:gd name="T2" fmla="*/ 38 w 345"/>
                  <a:gd name="T3" fmla="*/ 25 h 86"/>
                  <a:gd name="T4" fmla="*/ 43 w 345"/>
                  <a:gd name="T5" fmla="*/ 24 h 86"/>
                  <a:gd name="T6" fmla="*/ 48 w 345"/>
                  <a:gd name="T7" fmla="*/ 23 h 86"/>
                  <a:gd name="T8" fmla="*/ 53 w 345"/>
                  <a:gd name="T9" fmla="*/ 22 h 86"/>
                  <a:gd name="T10" fmla="*/ 63 w 345"/>
                  <a:gd name="T11" fmla="*/ 20 h 86"/>
                  <a:gd name="T12" fmla="*/ 74 w 345"/>
                  <a:gd name="T13" fmla="*/ 18 h 86"/>
                  <a:gd name="T14" fmla="*/ 79 w 345"/>
                  <a:gd name="T15" fmla="*/ 17 h 86"/>
                  <a:gd name="T16" fmla="*/ 85 w 345"/>
                  <a:gd name="T17" fmla="*/ 16 h 86"/>
                  <a:gd name="T18" fmla="*/ 90 w 345"/>
                  <a:gd name="T19" fmla="*/ 14 h 86"/>
                  <a:gd name="T20" fmla="*/ 95 w 345"/>
                  <a:gd name="T21" fmla="*/ 13 h 86"/>
                  <a:gd name="T22" fmla="*/ 99 w 345"/>
                  <a:gd name="T23" fmla="*/ 11 h 86"/>
                  <a:gd name="T24" fmla="*/ 104 w 345"/>
                  <a:gd name="T25" fmla="*/ 9 h 86"/>
                  <a:gd name="T26" fmla="*/ 107 w 345"/>
                  <a:gd name="T27" fmla="*/ 7 h 86"/>
                  <a:gd name="T28" fmla="*/ 111 w 345"/>
                  <a:gd name="T29" fmla="*/ 4 h 86"/>
                  <a:gd name="T30" fmla="*/ 108 w 345"/>
                  <a:gd name="T31" fmla="*/ 4 h 86"/>
                  <a:gd name="T32" fmla="*/ 105 w 345"/>
                  <a:gd name="T33" fmla="*/ 3 h 86"/>
                  <a:gd name="T34" fmla="*/ 102 w 345"/>
                  <a:gd name="T35" fmla="*/ 3 h 86"/>
                  <a:gd name="T36" fmla="*/ 99 w 345"/>
                  <a:gd name="T37" fmla="*/ 2 h 86"/>
                  <a:gd name="T38" fmla="*/ 97 w 345"/>
                  <a:gd name="T39" fmla="*/ 1 h 86"/>
                  <a:gd name="T40" fmla="*/ 94 w 345"/>
                  <a:gd name="T41" fmla="*/ 1 h 86"/>
                  <a:gd name="T42" fmla="*/ 90 w 345"/>
                  <a:gd name="T43" fmla="*/ 0 h 86"/>
                  <a:gd name="T44" fmla="*/ 88 w 345"/>
                  <a:gd name="T45" fmla="*/ 0 h 86"/>
                  <a:gd name="T46" fmla="*/ 83 w 345"/>
                  <a:gd name="T47" fmla="*/ 0 h 86"/>
                  <a:gd name="T48" fmla="*/ 79 w 345"/>
                  <a:gd name="T49" fmla="*/ 1 h 86"/>
                  <a:gd name="T50" fmla="*/ 73 w 345"/>
                  <a:gd name="T51" fmla="*/ 2 h 86"/>
                  <a:gd name="T52" fmla="*/ 67 w 345"/>
                  <a:gd name="T53" fmla="*/ 3 h 86"/>
                  <a:gd name="T54" fmla="*/ 54 w 345"/>
                  <a:gd name="T55" fmla="*/ 6 h 86"/>
                  <a:gd name="T56" fmla="*/ 41 w 345"/>
                  <a:gd name="T57" fmla="*/ 9 h 86"/>
                  <a:gd name="T58" fmla="*/ 33 w 345"/>
                  <a:gd name="T59" fmla="*/ 11 h 86"/>
                  <a:gd name="T60" fmla="*/ 27 w 345"/>
                  <a:gd name="T61" fmla="*/ 13 h 86"/>
                  <a:gd name="T62" fmla="*/ 21 w 345"/>
                  <a:gd name="T63" fmla="*/ 16 h 86"/>
                  <a:gd name="T64" fmla="*/ 15 w 345"/>
                  <a:gd name="T65" fmla="*/ 18 h 86"/>
                  <a:gd name="T66" fmla="*/ 10 w 345"/>
                  <a:gd name="T67" fmla="*/ 20 h 86"/>
                  <a:gd name="T68" fmla="*/ 6 w 345"/>
                  <a:gd name="T69" fmla="*/ 23 h 86"/>
                  <a:gd name="T70" fmla="*/ 3 w 345"/>
                  <a:gd name="T71" fmla="*/ 25 h 86"/>
                  <a:gd name="T72" fmla="*/ 0 w 345"/>
                  <a:gd name="T73" fmla="*/ 27 h 86"/>
                  <a:gd name="T74" fmla="*/ 34 w 345"/>
                  <a:gd name="T75" fmla="*/ 27 h 8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4" name="Freeform 429">
                <a:extLst>
                  <a:ext uri="{FF2B5EF4-FFF2-40B4-BE49-F238E27FC236}">
                    <a16:creationId xmlns:a16="http://schemas.microsoft.com/office/drawing/2014/main" id="{F8EA66EA-BE19-43A1-BEC1-D2F2EC622D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6 w 464"/>
                  <a:gd name="T1" fmla="*/ 28 h 130"/>
                  <a:gd name="T2" fmla="*/ 25 w 464"/>
                  <a:gd name="T3" fmla="*/ 27 h 130"/>
                  <a:gd name="T4" fmla="*/ 33 w 464"/>
                  <a:gd name="T5" fmla="*/ 27 h 130"/>
                  <a:gd name="T6" fmla="*/ 30 w 464"/>
                  <a:gd name="T7" fmla="*/ 29 h 130"/>
                  <a:gd name="T8" fmla="*/ 26 w 464"/>
                  <a:gd name="T9" fmla="*/ 33 h 130"/>
                  <a:gd name="T10" fmla="*/ 23 w 464"/>
                  <a:gd name="T11" fmla="*/ 37 h 130"/>
                  <a:gd name="T12" fmla="*/ 23 w 464"/>
                  <a:gd name="T13" fmla="*/ 39 h 130"/>
                  <a:gd name="T14" fmla="*/ 25 w 464"/>
                  <a:gd name="T15" fmla="*/ 41 h 130"/>
                  <a:gd name="T16" fmla="*/ 30 w 464"/>
                  <a:gd name="T17" fmla="*/ 43 h 130"/>
                  <a:gd name="T18" fmla="*/ 35 w 464"/>
                  <a:gd name="T19" fmla="*/ 43 h 130"/>
                  <a:gd name="T20" fmla="*/ 41 w 464"/>
                  <a:gd name="T21" fmla="*/ 42 h 130"/>
                  <a:gd name="T22" fmla="*/ 50 w 464"/>
                  <a:gd name="T23" fmla="*/ 39 h 130"/>
                  <a:gd name="T24" fmla="*/ 63 w 464"/>
                  <a:gd name="T25" fmla="*/ 36 h 130"/>
                  <a:gd name="T26" fmla="*/ 73 w 464"/>
                  <a:gd name="T27" fmla="*/ 33 h 130"/>
                  <a:gd name="T28" fmla="*/ 80 w 464"/>
                  <a:gd name="T29" fmla="*/ 33 h 130"/>
                  <a:gd name="T30" fmla="*/ 85 w 464"/>
                  <a:gd name="T31" fmla="*/ 33 h 130"/>
                  <a:gd name="T32" fmla="*/ 98 w 464"/>
                  <a:gd name="T33" fmla="*/ 33 h 130"/>
                  <a:gd name="T34" fmla="*/ 107 w 464"/>
                  <a:gd name="T35" fmla="*/ 32 h 130"/>
                  <a:gd name="T36" fmla="*/ 121 w 464"/>
                  <a:gd name="T37" fmla="*/ 31 h 130"/>
                  <a:gd name="T38" fmla="*/ 133 w 464"/>
                  <a:gd name="T39" fmla="*/ 27 h 130"/>
                  <a:gd name="T40" fmla="*/ 144 w 464"/>
                  <a:gd name="T41" fmla="*/ 22 h 130"/>
                  <a:gd name="T42" fmla="*/ 146 w 464"/>
                  <a:gd name="T43" fmla="*/ 17 h 130"/>
                  <a:gd name="T44" fmla="*/ 141 w 464"/>
                  <a:gd name="T45" fmla="*/ 16 h 130"/>
                  <a:gd name="T46" fmla="*/ 133 w 464"/>
                  <a:gd name="T47" fmla="*/ 16 h 130"/>
                  <a:gd name="T48" fmla="*/ 127 w 464"/>
                  <a:gd name="T49" fmla="*/ 15 h 130"/>
                  <a:gd name="T50" fmla="*/ 130 w 464"/>
                  <a:gd name="T51" fmla="*/ 12 h 130"/>
                  <a:gd name="T52" fmla="*/ 133 w 464"/>
                  <a:gd name="T53" fmla="*/ 7 h 130"/>
                  <a:gd name="T54" fmla="*/ 134 w 464"/>
                  <a:gd name="T55" fmla="*/ 2 h 130"/>
                  <a:gd name="T56" fmla="*/ 121 w 464"/>
                  <a:gd name="T57" fmla="*/ 0 h 130"/>
                  <a:gd name="T58" fmla="*/ 116 w 464"/>
                  <a:gd name="T59" fmla="*/ 6 h 130"/>
                  <a:gd name="T60" fmla="*/ 110 w 464"/>
                  <a:gd name="T61" fmla="*/ 14 h 130"/>
                  <a:gd name="T62" fmla="*/ 104 w 464"/>
                  <a:gd name="T63" fmla="*/ 20 h 130"/>
                  <a:gd name="T64" fmla="*/ 100 w 464"/>
                  <a:gd name="T65" fmla="*/ 22 h 130"/>
                  <a:gd name="T66" fmla="*/ 96 w 464"/>
                  <a:gd name="T67" fmla="*/ 22 h 130"/>
                  <a:gd name="T68" fmla="*/ 89 w 464"/>
                  <a:gd name="T69" fmla="*/ 22 h 130"/>
                  <a:gd name="T70" fmla="*/ 84 w 464"/>
                  <a:gd name="T71" fmla="*/ 21 h 130"/>
                  <a:gd name="T72" fmla="*/ 77 w 464"/>
                  <a:gd name="T73" fmla="*/ 18 h 130"/>
                  <a:gd name="T74" fmla="*/ 66 w 464"/>
                  <a:gd name="T75" fmla="*/ 10 h 130"/>
                  <a:gd name="T76" fmla="*/ 58 w 464"/>
                  <a:gd name="T77" fmla="*/ 10 h 130"/>
                  <a:gd name="T78" fmla="*/ 48 w 464"/>
                  <a:gd name="T79" fmla="*/ 10 h 130"/>
                  <a:gd name="T80" fmla="*/ 38 w 464"/>
                  <a:gd name="T81" fmla="*/ 12 h 130"/>
                  <a:gd name="T82" fmla="*/ 27 w 464"/>
                  <a:gd name="T83" fmla="*/ 15 h 130"/>
                  <a:gd name="T84" fmla="*/ 17 w 464"/>
                  <a:gd name="T85" fmla="*/ 18 h 130"/>
                  <a:gd name="T86" fmla="*/ 9 w 464"/>
                  <a:gd name="T87" fmla="*/ 22 h 130"/>
                  <a:gd name="T88" fmla="*/ 3 w 464"/>
                  <a:gd name="T89" fmla="*/ 25 h 130"/>
                  <a:gd name="T90" fmla="*/ 0 w 464"/>
                  <a:gd name="T91" fmla="*/ 28 h 13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5" name="Freeform 430">
                <a:extLst>
                  <a:ext uri="{FF2B5EF4-FFF2-40B4-BE49-F238E27FC236}">
                    <a16:creationId xmlns:a16="http://schemas.microsoft.com/office/drawing/2014/main" id="{546A1A61-D62B-4E6A-B41A-554B10CE28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20 w 472"/>
                  <a:gd name="T1" fmla="*/ 0 h 92"/>
                  <a:gd name="T2" fmla="*/ 14 w 472"/>
                  <a:gd name="T3" fmla="*/ 0 h 92"/>
                  <a:gd name="T4" fmla="*/ 8 w 472"/>
                  <a:gd name="T5" fmla="*/ 0 h 92"/>
                  <a:gd name="T6" fmla="*/ 4 w 472"/>
                  <a:gd name="T7" fmla="*/ 1 h 92"/>
                  <a:gd name="T8" fmla="*/ 2 w 472"/>
                  <a:gd name="T9" fmla="*/ 3 h 92"/>
                  <a:gd name="T10" fmla="*/ 2 w 472"/>
                  <a:gd name="T11" fmla="*/ 5 h 92"/>
                  <a:gd name="T12" fmla="*/ 3 w 472"/>
                  <a:gd name="T13" fmla="*/ 8 h 92"/>
                  <a:gd name="T14" fmla="*/ 5 w 472"/>
                  <a:gd name="T15" fmla="*/ 11 h 92"/>
                  <a:gd name="T16" fmla="*/ 5 w 472"/>
                  <a:gd name="T17" fmla="*/ 14 h 92"/>
                  <a:gd name="T18" fmla="*/ 1 w 472"/>
                  <a:gd name="T19" fmla="*/ 17 h 92"/>
                  <a:gd name="T20" fmla="*/ 0 w 472"/>
                  <a:gd name="T21" fmla="*/ 19 h 92"/>
                  <a:gd name="T22" fmla="*/ 1 w 472"/>
                  <a:gd name="T23" fmla="*/ 22 h 92"/>
                  <a:gd name="T24" fmla="*/ 5 w 472"/>
                  <a:gd name="T25" fmla="*/ 23 h 92"/>
                  <a:gd name="T26" fmla="*/ 16 w 472"/>
                  <a:gd name="T27" fmla="*/ 26 h 92"/>
                  <a:gd name="T28" fmla="*/ 35 w 472"/>
                  <a:gd name="T29" fmla="*/ 29 h 92"/>
                  <a:gd name="T30" fmla="*/ 54 w 472"/>
                  <a:gd name="T31" fmla="*/ 31 h 92"/>
                  <a:gd name="T32" fmla="*/ 118 w 472"/>
                  <a:gd name="T33" fmla="*/ 31 h 92"/>
                  <a:gd name="T34" fmla="*/ 121 w 472"/>
                  <a:gd name="T35" fmla="*/ 27 h 92"/>
                  <a:gd name="T36" fmla="*/ 125 w 472"/>
                  <a:gd name="T37" fmla="*/ 25 h 92"/>
                  <a:gd name="T38" fmla="*/ 129 w 472"/>
                  <a:gd name="T39" fmla="*/ 25 h 92"/>
                  <a:gd name="T40" fmla="*/ 133 w 472"/>
                  <a:gd name="T41" fmla="*/ 25 h 92"/>
                  <a:gd name="T42" fmla="*/ 143 w 472"/>
                  <a:gd name="T43" fmla="*/ 26 h 92"/>
                  <a:gd name="T44" fmla="*/ 148 w 472"/>
                  <a:gd name="T45" fmla="*/ 26 h 92"/>
                  <a:gd name="T46" fmla="*/ 153 w 472"/>
                  <a:gd name="T47" fmla="*/ 25 h 92"/>
                  <a:gd name="T48" fmla="*/ 151 w 472"/>
                  <a:gd name="T49" fmla="*/ 11 h 92"/>
                  <a:gd name="T50" fmla="*/ 147 w 472"/>
                  <a:gd name="T51" fmla="*/ 9 h 92"/>
                  <a:gd name="T52" fmla="*/ 144 w 472"/>
                  <a:gd name="T53" fmla="*/ 6 h 92"/>
                  <a:gd name="T54" fmla="*/ 140 w 472"/>
                  <a:gd name="T55" fmla="*/ 4 h 92"/>
                  <a:gd name="T56" fmla="*/ 135 w 472"/>
                  <a:gd name="T57" fmla="*/ 4 h 92"/>
                  <a:gd name="T58" fmla="*/ 128 w 472"/>
                  <a:gd name="T59" fmla="*/ 5 h 92"/>
                  <a:gd name="T60" fmla="*/ 119 w 472"/>
                  <a:gd name="T61" fmla="*/ 7 h 92"/>
                  <a:gd name="T62" fmla="*/ 106 w 472"/>
                  <a:gd name="T63" fmla="*/ 11 h 92"/>
                  <a:gd name="T64" fmla="*/ 97 w 472"/>
                  <a:gd name="T65" fmla="*/ 13 h 92"/>
                  <a:gd name="T66" fmla="*/ 89 w 472"/>
                  <a:gd name="T67" fmla="*/ 14 h 92"/>
                  <a:gd name="T68" fmla="*/ 77 w 472"/>
                  <a:gd name="T69" fmla="*/ 14 h 92"/>
                  <a:gd name="T70" fmla="*/ 62 w 472"/>
                  <a:gd name="T71" fmla="*/ 14 h 92"/>
                  <a:gd name="T72" fmla="*/ 51 w 472"/>
                  <a:gd name="T73" fmla="*/ 14 h 92"/>
                  <a:gd name="T74" fmla="*/ 39 w 472"/>
                  <a:gd name="T75" fmla="*/ 14 h 92"/>
                  <a:gd name="T76" fmla="*/ 29 w 472"/>
                  <a:gd name="T77" fmla="*/ 14 h 92"/>
                  <a:gd name="T78" fmla="*/ 25 w 472"/>
                  <a:gd name="T79" fmla="*/ 12 h 92"/>
                  <a:gd name="T80" fmla="*/ 23 w 472"/>
                  <a:gd name="T81" fmla="*/ 9 h 92"/>
                  <a:gd name="T82" fmla="*/ 22 w 472"/>
                  <a:gd name="T83" fmla="*/ 6 h 92"/>
                  <a:gd name="T84" fmla="*/ 22 w 472"/>
                  <a:gd name="T85" fmla="*/ 3 h 92"/>
                  <a:gd name="T86" fmla="*/ 24 w 472"/>
                  <a:gd name="T87" fmla="*/ 1 h 92"/>
                  <a:gd name="T88" fmla="*/ 24 w 472"/>
                  <a:gd name="T89" fmla="*/ 0 h 92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6" name="Freeform 431">
                <a:extLst>
                  <a:ext uri="{FF2B5EF4-FFF2-40B4-BE49-F238E27FC236}">
                    <a16:creationId xmlns:a16="http://schemas.microsoft.com/office/drawing/2014/main" id="{A2295581-7FA5-43C0-B888-E0CB0FEB90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47 w 326"/>
                  <a:gd name="T1" fmla="*/ 36 h 135"/>
                  <a:gd name="T2" fmla="*/ 66 w 326"/>
                  <a:gd name="T3" fmla="*/ 32 h 135"/>
                  <a:gd name="T4" fmla="*/ 85 w 326"/>
                  <a:gd name="T5" fmla="*/ 28 h 135"/>
                  <a:gd name="T6" fmla="*/ 98 w 326"/>
                  <a:gd name="T7" fmla="*/ 25 h 135"/>
                  <a:gd name="T8" fmla="*/ 103 w 326"/>
                  <a:gd name="T9" fmla="*/ 22 h 135"/>
                  <a:gd name="T10" fmla="*/ 105 w 326"/>
                  <a:gd name="T11" fmla="*/ 19 h 135"/>
                  <a:gd name="T12" fmla="*/ 101 w 326"/>
                  <a:gd name="T13" fmla="*/ 16 h 135"/>
                  <a:gd name="T14" fmla="*/ 98 w 326"/>
                  <a:gd name="T15" fmla="*/ 14 h 135"/>
                  <a:gd name="T16" fmla="*/ 93 w 326"/>
                  <a:gd name="T17" fmla="*/ 12 h 135"/>
                  <a:gd name="T18" fmla="*/ 86 w 326"/>
                  <a:gd name="T19" fmla="*/ 11 h 135"/>
                  <a:gd name="T20" fmla="*/ 75 w 326"/>
                  <a:gd name="T21" fmla="*/ 10 h 135"/>
                  <a:gd name="T22" fmla="*/ 68 w 326"/>
                  <a:gd name="T23" fmla="*/ 10 h 135"/>
                  <a:gd name="T24" fmla="*/ 66 w 326"/>
                  <a:gd name="T25" fmla="*/ 8 h 135"/>
                  <a:gd name="T26" fmla="*/ 64 w 326"/>
                  <a:gd name="T27" fmla="*/ 6 h 135"/>
                  <a:gd name="T28" fmla="*/ 62 w 326"/>
                  <a:gd name="T29" fmla="*/ 3 h 135"/>
                  <a:gd name="T30" fmla="*/ 59 w 326"/>
                  <a:gd name="T31" fmla="*/ 2 h 135"/>
                  <a:gd name="T32" fmla="*/ 53 w 326"/>
                  <a:gd name="T33" fmla="*/ 0 h 135"/>
                  <a:gd name="T34" fmla="*/ 44 w 326"/>
                  <a:gd name="T35" fmla="*/ 0 h 135"/>
                  <a:gd name="T36" fmla="*/ 28 w 326"/>
                  <a:gd name="T37" fmla="*/ 3 h 135"/>
                  <a:gd name="T38" fmla="*/ 16 w 326"/>
                  <a:gd name="T39" fmla="*/ 6 h 135"/>
                  <a:gd name="T40" fmla="*/ 9 w 326"/>
                  <a:gd name="T41" fmla="*/ 9 h 135"/>
                  <a:gd name="T42" fmla="*/ 4 w 326"/>
                  <a:gd name="T43" fmla="*/ 12 h 135"/>
                  <a:gd name="T44" fmla="*/ 1 w 326"/>
                  <a:gd name="T45" fmla="*/ 15 h 135"/>
                  <a:gd name="T46" fmla="*/ 0 w 326"/>
                  <a:gd name="T47" fmla="*/ 17 h 135"/>
                  <a:gd name="T48" fmla="*/ 11 w 326"/>
                  <a:gd name="T49" fmla="*/ 25 h 135"/>
                  <a:gd name="T50" fmla="*/ 18 w 326"/>
                  <a:gd name="T51" fmla="*/ 27 h 135"/>
                  <a:gd name="T52" fmla="*/ 13 w 326"/>
                  <a:gd name="T53" fmla="*/ 30 h 135"/>
                  <a:gd name="T54" fmla="*/ 12 w 326"/>
                  <a:gd name="T55" fmla="*/ 33 h 135"/>
                  <a:gd name="T56" fmla="*/ 14 w 326"/>
                  <a:gd name="T57" fmla="*/ 38 h 135"/>
                  <a:gd name="T58" fmla="*/ 16 w 326"/>
                  <a:gd name="T59" fmla="*/ 43 h 135"/>
                  <a:gd name="T60" fmla="*/ 18 w 326"/>
                  <a:gd name="T61" fmla="*/ 45 h 135"/>
                  <a:gd name="T62" fmla="*/ 22 w 326"/>
                  <a:gd name="T63" fmla="*/ 45 h 135"/>
                  <a:gd name="T64" fmla="*/ 28 w 326"/>
                  <a:gd name="T65" fmla="*/ 44 h 135"/>
                  <a:gd name="T66" fmla="*/ 33 w 326"/>
                  <a:gd name="T67" fmla="*/ 42 h 135"/>
                  <a:gd name="T68" fmla="*/ 38 w 326"/>
                  <a:gd name="T69" fmla="*/ 41 h 135"/>
                  <a:gd name="T70" fmla="*/ 39 w 326"/>
                  <a:gd name="T71" fmla="*/ 37 h 135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7" name="Freeform 432">
                <a:extLst>
                  <a:ext uri="{FF2B5EF4-FFF2-40B4-BE49-F238E27FC236}">
                    <a16:creationId xmlns:a16="http://schemas.microsoft.com/office/drawing/2014/main" id="{17180B45-5239-4013-9DFA-81E21997F7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15 w 159"/>
                  <a:gd name="T1" fmla="*/ 17 h 56"/>
                  <a:gd name="T2" fmla="*/ 13 w 159"/>
                  <a:gd name="T3" fmla="*/ 17 h 56"/>
                  <a:gd name="T4" fmla="*/ 11 w 159"/>
                  <a:gd name="T5" fmla="*/ 16 h 56"/>
                  <a:gd name="T6" fmla="*/ 8 w 159"/>
                  <a:gd name="T7" fmla="*/ 14 h 56"/>
                  <a:gd name="T8" fmla="*/ 6 w 159"/>
                  <a:gd name="T9" fmla="*/ 12 h 56"/>
                  <a:gd name="T10" fmla="*/ 3 w 159"/>
                  <a:gd name="T11" fmla="*/ 10 h 56"/>
                  <a:gd name="T12" fmla="*/ 2 w 159"/>
                  <a:gd name="T13" fmla="*/ 8 h 56"/>
                  <a:gd name="T14" fmla="*/ 1 w 159"/>
                  <a:gd name="T15" fmla="*/ 7 h 56"/>
                  <a:gd name="T16" fmla="*/ 0 w 159"/>
                  <a:gd name="T17" fmla="*/ 5 h 56"/>
                  <a:gd name="T18" fmla="*/ 0 w 159"/>
                  <a:gd name="T19" fmla="*/ 4 h 56"/>
                  <a:gd name="T20" fmla="*/ 0 w 159"/>
                  <a:gd name="T21" fmla="*/ 3 h 56"/>
                  <a:gd name="T22" fmla="*/ 7 w 159"/>
                  <a:gd name="T23" fmla="*/ 3 h 56"/>
                  <a:gd name="T24" fmla="*/ 13 w 159"/>
                  <a:gd name="T25" fmla="*/ 3 h 56"/>
                  <a:gd name="T26" fmla="*/ 17 w 159"/>
                  <a:gd name="T27" fmla="*/ 3 h 56"/>
                  <a:gd name="T28" fmla="*/ 19 w 159"/>
                  <a:gd name="T29" fmla="*/ 3 h 56"/>
                  <a:gd name="T30" fmla="*/ 27 w 159"/>
                  <a:gd name="T31" fmla="*/ 2 h 56"/>
                  <a:gd name="T32" fmla="*/ 38 w 159"/>
                  <a:gd name="T33" fmla="*/ 0 h 56"/>
                  <a:gd name="T34" fmla="*/ 40 w 159"/>
                  <a:gd name="T35" fmla="*/ 0 h 56"/>
                  <a:gd name="T36" fmla="*/ 42 w 159"/>
                  <a:gd name="T37" fmla="*/ 0 h 56"/>
                  <a:gd name="T38" fmla="*/ 45 w 159"/>
                  <a:gd name="T39" fmla="*/ 0 h 56"/>
                  <a:gd name="T40" fmla="*/ 47 w 159"/>
                  <a:gd name="T41" fmla="*/ 1 h 56"/>
                  <a:gd name="T42" fmla="*/ 48 w 159"/>
                  <a:gd name="T43" fmla="*/ 2 h 56"/>
                  <a:gd name="T44" fmla="*/ 50 w 159"/>
                  <a:gd name="T45" fmla="*/ 3 h 56"/>
                  <a:gd name="T46" fmla="*/ 51 w 159"/>
                  <a:gd name="T47" fmla="*/ 5 h 56"/>
                  <a:gd name="T48" fmla="*/ 51 w 159"/>
                  <a:gd name="T49" fmla="*/ 7 h 56"/>
                  <a:gd name="T50" fmla="*/ 51 w 159"/>
                  <a:gd name="T51" fmla="*/ 10 h 56"/>
                  <a:gd name="T52" fmla="*/ 50 w 159"/>
                  <a:gd name="T53" fmla="*/ 12 h 56"/>
                  <a:gd name="T54" fmla="*/ 48 w 159"/>
                  <a:gd name="T55" fmla="*/ 14 h 56"/>
                  <a:gd name="T56" fmla="*/ 47 w 159"/>
                  <a:gd name="T57" fmla="*/ 15 h 56"/>
                  <a:gd name="T58" fmla="*/ 45 w 159"/>
                  <a:gd name="T59" fmla="*/ 17 h 56"/>
                  <a:gd name="T60" fmla="*/ 42 w 159"/>
                  <a:gd name="T61" fmla="*/ 17 h 56"/>
                  <a:gd name="T62" fmla="*/ 40 w 159"/>
                  <a:gd name="T63" fmla="*/ 18 h 56"/>
                  <a:gd name="T64" fmla="*/ 37 w 159"/>
                  <a:gd name="T65" fmla="*/ 18 h 56"/>
                  <a:gd name="T66" fmla="*/ 25 w 159"/>
                  <a:gd name="T67" fmla="*/ 18 h 56"/>
                  <a:gd name="T68" fmla="*/ 15 w 159"/>
                  <a:gd name="T69" fmla="*/ 17 h 5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8" name="Freeform 433">
                <a:extLst>
                  <a:ext uri="{FF2B5EF4-FFF2-40B4-BE49-F238E27FC236}">
                    <a16:creationId xmlns:a16="http://schemas.microsoft.com/office/drawing/2014/main" id="{113E9CEE-3D1C-4EDC-A9EC-93C59E55DC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946 w 3734"/>
                  <a:gd name="T1" fmla="*/ 447 h 1644"/>
                  <a:gd name="T2" fmla="*/ 825 w 3734"/>
                  <a:gd name="T3" fmla="*/ 499 h 1644"/>
                  <a:gd name="T4" fmla="*/ 746 w 3734"/>
                  <a:gd name="T5" fmla="*/ 522 h 1644"/>
                  <a:gd name="T6" fmla="*/ 740 w 3734"/>
                  <a:gd name="T7" fmla="*/ 536 h 1644"/>
                  <a:gd name="T8" fmla="*/ 703 w 3734"/>
                  <a:gd name="T9" fmla="*/ 527 h 1644"/>
                  <a:gd name="T10" fmla="*/ 735 w 3734"/>
                  <a:gd name="T11" fmla="*/ 496 h 1644"/>
                  <a:gd name="T12" fmla="*/ 699 w 3734"/>
                  <a:gd name="T13" fmla="*/ 464 h 1644"/>
                  <a:gd name="T14" fmla="*/ 676 w 3734"/>
                  <a:gd name="T15" fmla="*/ 425 h 1644"/>
                  <a:gd name="T16" fmla="*/ 628 w 3734"/>
                  <a:gd name="T17" fmla="*/ 432 h 1644"/>
                  <a:gd name="T18" fmla="*/ 572 w 3734"/>
                  <a:gd name="T19" fmla="*/ 420 h 1644"/>
                  <a:gd name="T20" fmla="*/ 84 w 3734"/>
                  <a:gd name="T21" fmla="*/ 405 h 1644"/>
                  <a:gd name="T22" fmla="*/ 41 w 3734"/>
                  <a:gd name="T23" fmla="*/ 369 h 1644"/>
                  <a:gd name="T24" fmla="*/ 49 w 3734"/>
                  <a:gd name="T25" fmla="*/ 341 h 1644"/>
                  <a:gd name="T26" fmla="*/ 47 w 3734"/>
                  <a:gd name="T27" fmla="*/ 304 h 1644"/>
                  <a:gd name="T28" fmla="*/ 84 w 3734"/>
                  <a:gd name="T29" fmla="*/ 282 h 1644"/>
                  <a:gd name="T30" fmla="*/ 81 w 3734"/>
                  <a:gd name="T31" fmla="*/ 245 h 1644"/>
                  <a:gd name="T32" fmla="*/ 41 w 3734"/>
                  <a:gd name="T33" fmla="*/ 218 h 1644"/>
                  <a:gd name="T34" fmla="*/ 194 w 3734"/>
                  <a:gd name="T35" fmla="*/ 37 h 1644"/>
                  <a:gd name="T36" fmla="*/ 370 w 3734"/>
                  <a:gd name="T37" fmla="*/ 34 h 1644"/>
                  <a:gd name="T38" fmla="*/ 418 w 3734"/>
                  <a:gd name="T39" fmla="*/ 38 h 1644"/>
                  <a:gd name="T40" fmla="*/ 530 w 3734"/>
                  <a:gd name="T41" fmla="*/ 54 h 1644"/>
                  <a:gd name="T42" fmla="*/ 572 w 3734"/>
                  <a:gd name="T43" fmla="*/ 68 h 1644"/>
                  <a:gd name="T44" fmla="*/ 670 w 3734"/>
                  <a:gd name="T45" fmla="*/ 63 h 1644"/>
                  <a:gd name="T46" fmla="*/ 738 w 3734"/>
                  <a:gd name="T47" fmla="*/ 71 h 1644"/>
                  <a:gd name="T48" fmla="*/ 763 w 3734"/>
                  <a:gd name="T49" fmla="*/ 71 h 1644"/>
                  <a:gd name="T50" fmla="*/ 813 w 3734"/>
                  <a:gd name="T51" fmla="*/ 40 h 1644"/>
                  <a:gd name="T52" fmla="*/ 835 w 3734"/>
                  <a:gd name="T53" fmla="*/ 1 h 1644"/>
                  <a:gd name="T54" fmla="*/ 853 w 3734"/>
                  <a:gd name="T55" fmla="*/ 34 h 1644"/>
                  <a:gd name="T56" fmla="*/ 860 w 3734"/>
                  <a:gd name="T57" fmla="*/ 54 h 1644"/>
                  <a:gd name="T58" fmla="*/ 876 w 3734"/>
                  <a:gd name="T59" fmla="*/ 64 h 1644"/>
                  <a:gd name="T60" fmla="*/ 933 w 3734"/>
                  <a:gd name="T61" fmla="*/ 40 h 1644"/>
                  <a:gd name="T62" fmla="*/ 980 w 3734"/>
                  <a:gd name="T63" fmla="*/ 44 h 1644"/>
                  <a:gd name="T64" fmla="*/ 930 w 3734"/>
                  <a:gd name="T65" fmla="*/ 89 h 1644"/>
                  <a:gd name="T66" fmla="*/ 900 w 3734"/>
                  <a:gd name="T67" fmla="*/ 95 h 1644"/>
                  <a:gd name="T68" fmla="*/ 829 w 3734"/>
                  <a:gd name="T69" fmla="*/ 100 h 1644"/>
                  <a:gd name="T70" fmla="*/ 807 w 3734"/>
                  <a:gd name="T71" fmla="*/ 132 h 1644"/>
                  <a:gd name="T72" fmla="*/ 753 w 3734"/>
                  <a:gd name="T73" fmla="*/ 154 h 1644"/>
                  <a:gd name="T74" fmla="*/ 673 w 3734"/>
                  <a:gd name="T75" fmla="*/ 205 h 1644"/>
                  <a:gd name="T76" fmla="*/ 680 w 3734"/>
                  <a:gd name="T77" fmla="*/ 260 h 1644"/>
                  <a:gd name="T78" fmla="*/ 762 w 3734"/>
                  <a:gd name="T79" fmla="*/ 297 h 1644"/>
                  <a:gd name="T80" fmla="*/ 788 w 3734"/>
                  <a:gd name="T81" fmla="*/ 347 h 1644"/>
                  <a:gd name="T82" fmla="*/ 844 w 3734"/>
                  <a:gd name="T83" fmla="*/ 324 h 1644"/>
                  <a:gd name="T84" fmla="*/ 919 w 3734"/>
                  <a:gd name="T85" fmla="*/ 257 h 1644"/>
                  <a:gd name="T86" fmla="*/ 935 w 3734"/>
                  <a:gd name="T87" fmla="*/ 196 h 1644"/>
                  <a:gd name="T88" fmla="*/ 1018 w 3734"/>
                  <a:gd name="T89" fmla="*/ 164 h 1644"/>
                  <a:gd name="T90" fmla="*/ 1057 w 3734"/>
                  <a:gd name="T91" fmla="*/ 194 h 1644"/>
                  <a:gd name="T92" fmla="*/ 1041 w 3734"/>
                  <a:gd name="T93" fmla="*/ 241 h 1644"/>
                  <a:gd name="T94" fmla="*/ 1127 w 3734"/>
                  <a:gd name="T95" fmla="*/ 201 h 1644"/>
                  <a:gd name="T96" fmla="*/ 1144 w 3734"/>
                  <a:gd name="T97" fmla="*/ 254 h 1644"/>
                  <a:gd name="T98" fmla="*/ 1182 w 3734"/>
                  <a:gd name="T99" fmla="*/ 303 h 1644"/>
                  <a:gd name="T100" fmla="*/ 1167 w 3734"/>
                  <a:gd name="T101" fmla="*/ 315 h 1644"/>
                  <a:gd name="T102" fmla="*/ 1192 w 3734"/>
                  <a:gd name="T103" fmla="*/ 337 h 1644"/>
                  <a:gd name="T104" fmla="*/ 1148 w 3734"/>
                  <a:gd name="T105" fmla="*/ 363 h 1644"/>
                  <a:gd name="T106" fmla="*/ 1017 w 3734"/>
                  <a:gd name="T107" fmla="*/ 383 h 1644"/>
                  <a:gd name="T108" fmla="*/ 921 w 3734"/>
                  <a:gd name="T109" fmla="*/ 438 h 1644"/>
                  <a:gd name="T110" fmla="*/ 937 w 3734"/>
                  <a:gd name="T111" fmla="*/ 438 h 1644"/>
                  <a:gd name="T112" fmla="*/ 1038 w 3734"/>
                  <a:gd name="T113" fmla="*/ 412 h 1644"/>
                  <a:gd name="T114" fmla="*/ 989 w 3734"/>
                  <a:gd name="T115" fmla="*/ 426 h 1644"/>
                  <a:gd name="T116" fmla="*/ 1013 w 3734"/>
                  <a:gd name="T117" fmla="*/ 456 h 1644"/>
                  <a:gd name="T118" fmla="*/ 1048 w 3734"/>
                  <a:gd name="T119" fmla="*/ 483 h 1644"/>
                  <a:gd name="T120" fmla="*/ 974 w 3734"/>
                  <a:gd name="T121" fmla="*/ 513 h 1644"/>
                  <a:gd name="T122" fmla="*/ 1029 w 3734"/>
                  <a:gd name="T123" fmla="*/ 481 h 1644"/>
                  <a:gd name="T124" fmla="*/ 973 w 3734"/>
                  <a:gd name="T125" fmla="*/ 487 h 164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280" name="Freeform 434">
              <a:extLst>
                <a:ext uri="{FF2B5EF4-FFF2-40B4-BE49-F238E27FC236}">
                  <a16:creationId xmlns:a16="http://schemas.microsoft.com/office/drawing/2014/main" id="{B8EBBB91-DFFE-489F-A989-5EA00BC73679}"/>
                </a:ext>
              </a:extLst>
            </p:cNvPr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6281738" y="3541713"/>
              <a:ext cx="127000" cy="158750"/>
            </a:xfrm>
            <a:custGeom>
              <a:avLst/>
              <a:gdLst>
                <a:gd name="T0" fmla="*/ 115257 w 292"/>
                <a:gd name="T1" fmla="*/ 5154 h 308"/>
                <a:gd name="T2" fmla="*/ 120041 w 292"/>
                <a:gd name="T3" fmla="*/ 19071 h 308"/>
                <a:gd name="T4" fmla="*/ 124390 w 292"/>
                <a:gd name="T5" fmla="*/ 46903 h 308"/>
                <a:gd name="T6" fmla="*/ 127000 w 292"/>
                <a:gd name="T7" fmla="*/ 74221 h 308"/>
                <a:gd name="T8" fmla="*/ 126565 w 292"/>
                <a:gd name="T9" fmla="*/ 82983 h 308"/>
                <a:gd name="T10" fmla="*/ 124390 w 292"/>
                <a:gd name="T11" fmla="*/ 92261 h 308"/>
                <a:gd name="T12" fmla="*/ 116997 w 292"/>
                <a:gd name="T13" fmla="*/ 106177 h 308"/>
                <a:gd name="T14" fmla="*/ 100469 w 292"/>
                <a:gd name="T15" fmla="*/ 95353 h 308"/>
                <a:gd name="T16" fmla="*/ 71764 w 292"/>
                <a:gd name="T17" fmla="*/ 132979 h 308"/>
                <a:gd name="T18" fmla="*/ 57411 w 292"/>
                <a:gd name="T19" fmla="*/ 143287 h 308"/>
                <a:gd name="T20" fmla="*/ 25661 w 292"/>
                <a:gd name="T21" fmla="*/ 152565 h 308"/>
                <a:gd name="T22" fmla="*/ 13918 w 292"/>
                <a:gd name="T23" fmla="*/ 158750 h 308"/>
                <a:gd name="T24" fmla="*/ 2610 w 292"/>
                <a:gd name="T25" fmla="*/ 158750 h 308"/>
                <a:gd name="T26" fmla="*/ 3914 w 292"/>
                <a:gd name="T27" fmla="*/ 153080 h 308"/>
                <a:gd name="T28" fmla="*/ 4784 w 292"/>
                <a:gd name="T29" fmla="*/ 147411 h 308"/>
                <a:gd name="T30" fmla="*/ 3045 w 292"/>
                <a:gd name="T31" fmla="*/ 136587 h 308"/>
                <a:gd name="T32" fmla="*/ 870 w 292"/>
                <a:gd name="T33" fmla="*/ 126794 h 308"/>
                <a:gd name="T34" fmla="*/ 0 w 292"/>
                <a:gd name="T35" fmla="*/ 117516 h 308"/>
                <a:gd name="T36" fmla="*/ 1305 w 292"/>
                <a:gd name="T37" fmla="*/ 105662 h 308"/>
                <a:gd name="T38" fmla="*/ 5219 w 292"/>
                <a:gd name="T39" fmla="*/ 96899 h 308"/>
                <a:gd name="T40" fmla="*/ 11308 w 292"/>
                <a:gd name="T41" fmla="*/ 89683 h 308"/>
                <a:gd name="T42" fmla="*/ 18267 w 292"/>
                <a:gd name="T43" fmla="*/ 82983 h 308"/>
                <a:gd name="T44" fmla="*/ 33490 w 292"/>
                <a:gd name="T45" fmla="*/ 69582 h 308"/>
                <a:gd name="T46" fmla="*/ 40449 w 292"/>
                <a:gd name="T47" fmla="*/ 61335 h 308"/>
                <a:gd name="T48" fmla="*/ 45668 w 292"/>
                <a:gd name="T49" fmla="*/ 50511 h 308"/>
                <a:gd name="T50" fmla="*/ 42623 w 292"/>
                <a:gd name="T51" fmla="*/ 49481 h 308"/>
                <a:gd name="T52" fmla="*/ 40014 w 292"/>
                <a:gd name="T53" fmla="*/ 46903 h 308"/>
                <a:gd name="T54" fmla="*/ 35664 w 292"/>
                <a:gd name="T55" fmla="*/ 37626 h 308"/>
                <a:gd name="T56" fmla="*/ 32185 w 292"/>
                <a:gd name="T57" fmla="*/ 25771 h 308"/>
                <a:gd name="T58" fmla="*/ 31315 w 292"/>
                <a:gd name="T59" fmla="*/ 12370 h 308"/>
                <a:gd name="T60" fmla="*/ 39144 w 292"/>
                <a:gd name="T61" fmla="*/ 9793 h 308"/>
                <a:gd name="T62" fmla="*/ 45668 w 292"/>
                <a:gd name="T63" fmla="*/ 10308 h 308"/>
                <a:gd name="T64" fmla="*/ 57411 w 292"/>
                <a:gd name="T65" fmla="*/ 12370 h 308"/>
                <a:gd name="T66" fmla="*/ 73503 w 292"/>
                <a:gd name="T67" fmla="*/ 10824 h 308"/>
                <a:gd name="T68" fmla="*/ 91336 w 292"/>
                <a:gd name="T69" fmla="*/ 6185 h 308"/>
                <a:gd name="T70" fmla="*/ 112647 w 292"/>
                <a:gd name="T71" fmla="*/ 0 h 30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1" name="Freeform 435">
              <a:extLst>
                <a:ext uri="{FF2B5EF4-FFF2-40B4-BE49-F238E27FC236}">
                  <a16:creationId xmlns:a16="http://schemas.microsoft.com/office/drawing/2014/main" id="{071D2639-B995-4B1A-B6C7-8DE9066FFC19}"/>
                </a:ext>
              </a:extLst>
            </p:cNvPr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6388100" y="3692525"/>
              <a:ext cx="6350" cy="57150"/>
            </a:xfrm>
            <a:custGeom>
              <a:avLst/>
              <a:gdLst>
                <a:gd name="T0" fmla="*/ 4989 w 14"/>
                <a:gd name="T1" fmla="*/ 0 h 7"/>
                <a:gd name="T2" fmla="*/ 5896 w 14"/>
                <a:gd name="T3" fmla="*/ 24493 h 7"/>
                <a:gd name="T4" fmla="*/ 6350 w 14"/>
                <a:gd name="T5" fmla="*/ 57150 h 7"/>
                <a:gd name="T6" fmla="*/ 0 w 14"/>
                <a:gd name="T7" fmla="*/ 57150 h 7"/>
                <a:gd name="T8" fmla="*/ 4989 w 1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2" name="Freeform 436">
              <a:extLst>
                <a:ext uri="{FF2B5EF4-FFF2-40B4-BE49-F238E27FC236}">
                  <a16:creationId xmlns:a16="http://schemas.microsoft.com/office/drawing/2014/main" id="{B890EADD-BDE1-47BF-B98E-77D119B82A5B}"/>
                </a:ext>
              </a:extLst>
            </p:cNvPr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5878514" y="2928938"/>
              <a:ext cx="249237" cy="500062"/>
            </a:xfrm>
            <a:custGeom>
              <a:avLst/>
              <a:gdLst>
                <a:gd name="T0" fmla="*/ 34747 w 581"/>
                <a:gd name="T1" fmla="*/ 60217 h 955"/>
                <a:gd name="T2" fmla="*/ 44614 w 581"/>
                <a:gd name="T3" fmla="*/ 79591 h 955"/>
                <a:gd name="T4" fmla="*/ 47617 w 581"/>
                <a:gd name="T5" fmla="*/ 94253 h 955"/>
                <a:gd name="T6" fmla="*/ 40753 w 581"/>
                <a:gd name="T7" fmla="*/ 122528 h 955"/>
                <a:gd name="T8" fmla="*/ 41182 w 581"/>
                <a:gd name="T9" fmla="*/ 170178 h 955"/>
                <a:gd name="T10" fmla="*/ 39895 w 581"/>
                <a:gd name="T11" fmla="*/ 190076 h 955"/>
                <a:gd name="T12" fmla="*/ 35176 w 581"/>
                <a:gd name="T13" fmla="*/ 207356 h 955"/>
                <a:gd name="T14" fmla="*/ 25310 w 581"/>
                <a:gd name="T15" fmla="*/ 224635 h 955"/>
                <a:gd name="T16" fmla="*/ 13298 w 581"/>
                <a:gd name="T17" fmla="*/ 241391 h 955"/>
                <a:gd name="T18" fmla="*/ 7293 w 581"/>
                <a:gd name="T19" fmla="*/ 251864 h 955"/>
                <a:gd name="T20" fmla="*/ 858 w 581"/>
                <a:gd name="T21" fmla="*/ 283805 h 955"/>
                <a:gd name="T22" fmla="*/ 29600 w 581"/>
                <a:gd name="T23" fmla="*/ 322553 h 955"/>
                <a:gd name="T24" fmla="*/ 29600 w 581"/>
                <a:gd name="T25" fmla="*/ 331978 h 955"/>
                <a:gd name="T26" fmla="*/ 31744 w 581"/>
                <a:gd name="T27" fmla="*/ 348211 h 955"/>
                <a:gd name="T28" fmla="*/ 31744 w 581"/>
                <a:gd name="T29" fmla="*/ 364443 h 955"/>
                <a:gd name="T30" fmla="*/ 33460 w 581"/>
                <a:gd name="T31" fmla="*/ 383817 h 955"/>
                <a:gd name="T32" fmla="*/ 40324 w 581"/>
                <a:gd name="T33" fmla="*/ 407380 h 955"/>
                <a:gd name="T34" fmla="*/ 45043 w 581"/>
                <a:gd name="T35" fmla="*/ 414711 h 955"/>
                <a:gd name="T36" fmla="*/ 29171 w 581"/>
                <a:gd name="T37" fmla="*/ 415758 h 955"/>
                <a:gd name="T38" fmla="*/ 18017 w 581"/>
                <a:gd name="T39" fmla="*/ 419947 h 955"/>
                <a:gd name="T40" fmla="*/ 15443 w 581"/>
                <a:gd name="T41" fmla="*/ 425184 h 955"/>
                <a:gd name="T42" fmla="*/ 18017 w 581"/>
                <a:gd name="T43" fmla="*/ 440892 h 955"/>
                <a:gd name="T44" fmla="*/ 29600 w 581"/>
                <a:gd name="T45" fmla="*/ 458696 h 955"/>
                <a:gd name="T46" fmla="*/ 37321 w 581"/>
                <a:gd name="T47" fmla="*/ 470739 h 955"/>
                <a:gd name="T48" fmla="*/ 42898 w 581"/>
                <a:gd name="T49" fmla="*/ 485400 h 955"/>
                <a:gd name="T50" fmla="*/ 66921 w 581"/>
                <a:gd name="T51" fmla="*/ 500062 h 955"/>
                <a:gd name="T52" fmla="*/ 81077 w 581"/>
                <a:gd name="T53" fmla="*/ 493255 h 955"/>
                <a:gd name="T54" fmla="*/ 106387 w 581"/>
                <a:gd name="T55" fmla="*/ 486448 h 955"/>
                <a:gd name="T56" fmla="*/ 119685 w 581"/>
                <a:gd name="T57" fmla="*/ 482259 h 955"/>
                <a:gd name="T58" fmla="*/ 127407 w 581"/>
                <a:gd name="T59" fmla="*/ 473357 h 955"/>
                <a:gd name="T60" fmla="*/ 129552 w 581"/>
                <a:gd name="T61" fmla="*/ 467074 h 955"/>
                <a:gd name="T62" fmla="*/ 129552 w 581"/>
                <a:gd name="T63" fmla="*/ 454507 h 955"/>
                <a:gd name="T64" fmla="*/ 144995 w 581"/>
                <a:gd name="T65" fmla="*/ 456077 h 955"/>
                <a:gd name="T66" fmla="*/ 157435 w 581"/>
                <a:gd name="T67" fmla="*/ 453459 h 955"/>
                <a:gd name="T68" fmla="*/ 166873 w 581"/>
                <a:gd name="T69" fmla="*/ 448223 h 955"/>
                <a:gd name="T70" fmla="*/ 173737 w 581"/>
                <a:gd name="T71" fmla="*/ 440892 h 955"/>
                <a:gd name="T72" fmla="*/ 185319 w 581"/>
                <a:gd name="T73" fmla="*/ 422565 h 955"/>
                <a:gd name="T74" fmla="*/ 197330 w 581"/>
                <a:gd name="T75" fmla="*/ 404762 h 955"/>
                <a:gd name="T76" fmla="*/ 204623 w 581"/>
                <a:gd name="T77" fmla="*/ 397955 h 955"/>
                <a:gd name="T78" fmla="*/ 215348 w 581"/>
                <a:gd name="T79" fmla="*/ 393766 h 955"/>
                <a:gd name="T80" fmla="*/ 223498 w 581"/>
                <a:gd name="T81" fmla="*/ 390101 h 955"/>
                <a:gd name="T82" fmla="*/ 214061 w 581"/>
                <a:gd name="T83" fmla="*/ 364967 h 955"/>
                <a:gd name="T84" fmla="*/ 207626 w 581"/>
                <a:gd name="T85" fmla="*/ 341927 h 955"/>
                <a:gd name="T86" fmla="*/ 202478 w 581"/>
                <a:gd name="T87" fmla="*/ 326218 h 955"/>
                <a:gd name="T88" fmla="*/ 206339 w 581"/>
                <a:gd name="T89" fmla="*/ 319411 h 955"/>
                <a:gd name="T90" fmla="*/ 208913 w 581"/>
                <a:gd name="T91" fmla="*/ 303179 h 955"/>
                <a:gd name="T92" fmla="*/ 211916 w 581"/>
                <a:gd name="T93" fmla="*/ 283281 h 955"/>
                <a:gd name="T94" fmla="*/ 216635 w 581"/>
                <a:gd name="T95" fmla="*/ 271761 h 955"/>
                <a:gd name="T96" fmla="*/ 228217 w 581"/>
                <a:gd name="T97" fmla="*/ 254482 h 955"/>
                <a:gd name="T98" fmla="*/ 244518 w 581"/>
                <a:gd name="T99" fmla="*/ 241391 h 955"/>
                <a:gd name="T100" fmla="*/ 55338 w 581"/>
                <a:gd name="T101" fmla="*/ 0 h 955"/>
                <a:gd name="T102" fmla="*/ 42040 w 581"/>
                <a:gd name="T103" fmla="*/ 2618 h 955"/>
                <a:gd name="T104" fmla="*/ 29600 w 581"/>
                <a:gd name="T105" fmla="*/ 12567 h 95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3" name="Freeform 437">
              <a:extLst>
                <a:ext uri="{FF2B5EF4-FFF2-40B4-BE49-F238E27FC236}">
                  <a16:creationId xmlns:a16="http://schemas.microsoft.com/office/drawing/2014/main" id="{3C41A951-6066-48E2-8A09-C7942A75AB97}"/>
                </a:ext>
              </a:extLst>
            </p:cNvPr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5554664" y="2311400"/>
              <a:ext cx="15875" cy="57150"/>
            </a:xfrm>
            <a:custGeom>
              <a:avLst/>
              <a:gdLst>
                <a:gd name="T0" fmla="*/ 9172 w 45"/>
                <a:gd name="T1" fmla="*/ 0 h 36"/>
                <a:gd name="T2" fmla="*/ 0 w 45"/>
                <a:gd name="T3" fmla="*/ 28575 h 36"/>
                <a:gd name="T4" fmla="*/ 8114 w 45"/>
                <a:gd name="T5" fmla="*/ 57150 h 36"/>
                <a:gd name="T6" fmla="*/ 15875 w 45"/>
                <a:gd name="T7" fmla="*/ 23813 h 36"/>
                <a:gd name="T8" fmla="*/ 9172 w 45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284" name="Group 438">
              <a:extLst>
                <a:ext uri="{FF2B5EF4-FFF2-40B4-BE49-F238E27FC236}">
                  <a16:creationId xmlns:a16="http://schemas.microsoft.com/office/drawing/2014/main" id="{A3E20769-0352-4823-9101-181BA84A4D96}"/>
                </a:ext>
              </a:extLst>
            </p:cNvPr>
            <p:cNvGrpSpPr>
              <a:grpSpLocks/>
            </p:cNvGrpSpPr>
            <p:nvPr>
              <p:custDataLst>
                <p:tags r:id="rId279"/>
              </p:custDataLst>
            </p:nvPr>
          </p:nvGrpSpPr>
          <p:grpSpPr bwMode="auto">
            <a:xfrm>
              <a:off x="3854451" y="4371976"/>
              <a:ext cx="384175" cy="1031875"/>
              <a:chOff x="1589" y="3126"/>
              <a:chExt cx="290" cy="657"/>
            </a:xfrm>
          </p:grpSpPr>
          <p:sp>
            <p:nvSpPr>
              <p:cNvPr id="394" name="Freeform 439">
                <a:extLst>
                  <a:ext uri="{FF2B5EF4-FFF2-40B4-BE49-F238E27FC236}">
                    <a16:creationId xmlns:a16="http://schemas.microsoft.com/office/drawing/2014/main" id="{FED92C2D-8D3F-47F3-83A6-F5C83067A2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15 w 46"/>
                  <a:gd name="T1" fmla="*/ 4 h 51"/>
                  <a:gd name="T2" fmla="*/ 6 w 46"/>
                  <a:gd name="T3" fmla="*/ 0 h 51"/>
                  <a:gd name="T4" fmla="*/ 4 w 46"/>
                  <a:gd name="T5" fmla="*/ 2 h 51"/>
                  <a:gd name="T6" fmla="*/ 2 w 46"/>
                  <a:gd name="T7" fmla="*/ 3 h 51"/>
                  <a:gd name="T8" fmla="*/ 1 w 46"/>
                  <a:gd name="T9" fmla="*/ 4 h 51"/>
                  <a:gd name="T10" fmla="*/ 1 w 46"/>
                  <a:gd name="T11" fmla="*/ 5 h 51"/>
                  <a:gd name="T12" fmla="*/ 0 w 46"/>
                  <a:gd name="T13" fmla="*/ 5 h 51"/>
                  <a:gd name="T14" fmla="*/ 0 w 46"/>
                  <a:gd name="T15" fmla="*/ 6 h 51"/>
                  <a:gd name="T16" fmla="*/ 0 w 46"/>
                  <a:gd name="T17" fmla="*/ 8 h 51"/>
                  <a:gd name="T18" fmla="*/ 1 w 46"/>
                  <a:gd name="T19" fmla="*/ 10 h 51"/>
                  <a:gd name="T20" fmla="*/ 1 w 46"/>
                  <a:gd name="T21" fmla="*/ 12 h 51"/>
                  <a:gd name="T22" fmla="*/ 2 w 46"/>
                  <a:gd name="T23" fmla="*/ 14 h 51"/>
                  <a:gd name="T24" fmla="*/ 3 w 46"/>
                  <a:gd name="T25" fmla="*/ 15 h 51"/>
                  <a:gd name="T26" fmla="*/ 4 w 46"/>
                  <a:gd name="T27" fmla="*/ 16 h 51"/>
                  <a:gd name="T28" fmla="*/ 5 w 46"/>
                  <a:gd name="T29" fmla="*/ 17 h 51"/>
                  <a:gd name="T30" fmla="*/ 5 w 46"/>
                  <a:gd name="T31" fmla="*/ 17 h 51"/>
                  <a:gd name="T32" fmla="*/ 6 w 46"/>
                  <a:gd name="T33" fmla="*/ 17 h 51"/>
                  <a:gd name="T34" fmla="*/ 6 w 46"/>
                  <a:gd name="T35" fmla="*/ 17 h 51"/>
                  <a:gd name="T36" fmla="*/ 11 w 46"/>
                  <a:gd name="T37" fmla="*/ 17 h 51"/>
                  <a:gd name="T38" fmla="*/ 15 w 46"/>
                  <a:gd name="T39" fmla="*/ 17 h 51"/>
                  <a:gd name="T40" fmla="*/ 15 w 46"/>
                  <a:gd name="T41" fmla="*/ 12 h 51"/>
                  <a:gd name="T42" fmla="*/ 15 w 46"/>
                  <a:gd name="T43" fmla="*/ 9 h 51"/>
                  <a:gd name="T44" fmla="*/ 15 w 46"/>
                  <a:gd name="T45" fmla="*/ 6 h 51"/>
                  <a:gd name="T46" fmla="*/ 15 w 46"/>
                  <a:gd name="T47" fmla="*/ 4 h 5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5" name="Freeform 440">
                <a:extLst>
                  <a:ext uri="{FF2B5EF4-FFF2-40B4-BE49-F238E27FC236}">
                    <a16:creationId xmlns:a16="http://schemas.microsoft.com/office/drawing/2014/main" id="{298BC532-05A7-46F6-87E3-DEB8E65B70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5 h 158"/>
                  <a:gd name="T4" fmla="*/ 1 w 192"/>
                  <a:gd name="T5" fmla="*/ 9 h 158"/>
                  <a:gd name="T6" fmla="*/ 1 w 192"/>
                  <a:gd name="T7" fmla="*/ 13 h 158"/>
                  <a:gd name="T8" fmla="*/ 2 w 192"/>
                  <a:gd name="T9" fmla="*/ 17 h 158"/>
                  <a:gd name="T10" fmla="*/ 4 w 192"/>
                  <a:gd name="T11" fmla="*/ 20 h 158"/>
                  <a:gd name="T12" fmla="*/ 5 w 192"/>
                  <a:gd name="T13" fmla="*/ 24 h 158"/>
                  <a:gd name="T14" fmla="*/ 7 w 192"/>
                  <a:gd name="T15" fmla="*/ 27 h 158"/>
                  <a:gd name="T16" fmla="*/ 8 w 192"/>
                  <a:gd name="T17" fmla="*/ 30 h 158"/>
                  <a:gd name="T18" fmla="*/ 15 w 192"/>
                  <a:gd name="T19" fmla="*/ 41 h 158"/>
                  <a:gd name="T20" fmla="*/ 22 w 192"/>
                  <a:gd name="T21" fmla="*/ 50 h 158"/>
                  <a:gd name="T22" fmla="*/ 24 w 192"/>
                  <a:gd name="T23" fmla="*/ 51 h 158"/>
                  <a:gd name="T24" fmla="*/ 26 w 192"/>
                  <a:gd name="T25" fmla="*/ 51 h 158"/>
                  <a:gd name="T26" fmla="*/ 28 w 192"/>
                  <a:gd name="T27" fmla="*/ 52 h 158"/>
                  <a:gd name="T28" fmla="*/ 30 w 192"/>
                  <a:gd name="T29" fmla="*/ 52 h 158"/>
                  <a:gd name="T30" fmla="*/ 34 w 192"/>
                  <a:gd name="T31" fmla="*/ 53 h 158"/>
                  <a:gd name="T32" fmla="*/ 39 w 192"/>
                  <a:gd name="T33" fmla="*/ 53 h 158"/>
                  <a:gd name="T34" fmla="*/ 50 w 192"/>
                  <a:gd name="T35" fmla="*/ 52 h 158"/>
                  <a:gd name="T36" fmla="*/ 63 w 192"/>
                  <a:gd name="T37" fmla="*/ 52 h 158"/>
                  <a:gd name="T38" fmla="*/ 60 w 192"/>
                  <a:gd name="T39" fmla="*/ 51 h 158"/>
                  <a:gd name="T40" fmla="*/ 58 w 192"/>
                  <a:gd name="T41" fmla="*/ 51 h 158"/>
                  <a:gd name="T42" fmla="*/ 55 w 192"/>
                  <a:gd name="T43" fmla="*/ 51 h 158"/>
                  <a:gd name="T44" fmla="*/ 53 w 192"/>
                  <a:gd name="T45" fmla="*/ 50 h 158"/>
                  <a:gd name="T46" fmla="*/ 48 w 192"/>
                  <a:gd name="T47" fmla="*/ 48 h 158"/>
                  <a:gd name="T48" fmla="*/ 42 w 192"/>
                  <a:gd name="T49" fmla="*/ 46 h 158"/>
                  <a:gd name="T50" fmla="*/ 38 w 192"/>
                  <a:gd name="T51" fmla="*/ 44 h 158"/>
                  <a:gd name="T52" fmla="*/ 33 w 192"/>
                  <a:gd name="T53" fmla="*/ 40 h 158"/>
                  <a:gd name="T54" fmla="*/ 29 w 192"/>
                  <a:gd name="T55" fmla="*/ 37 h 158"/>
                  <a:gd name="T56" fmla="*/ 25 w 192"/>
                  <a:gd name="T57" fmla="*/ 33 h 158"/>
                  <a:gd name="T58" fmla="*/ 21 w 192"/>
                  <a:gd name="T59" fmla="*/ 29 h 158"/>
                  <a:gd name="T60" fmla="*/ 17 w 192"/>
                  <a:gd name="T61" fmla="*/ 25 h 158"/>
                  <a:gd name="T62" fmla="*/ 14 w 192"/>
                  <a:gd name="T63" fmla="*/ 21 h 158"/>
                  <a:gd name="T64" fmla="*/ 11 w 192"/>
                  <a:gd name="T65" fmla="*/ 17 h 158"/>
                  <a:gd name="T66" fmla="*/ 9 w 192"/>
                  <a:gd name="T67" fmla="*/ 13 h 158"/>
                  <a:gd name="T68" fmla="*/ 7 w 192"/>
                  <a:gd name="T69" fmla="*/ 9 h 158"/>
                  <a:gd name="T70" fmla="*/ 5 w 192"/>
                  <a:gd name="T71" fmla="*/ 5 h 158"/>
                  <a:gd name="T72" fmla="*/ 4 w 192"/>
                  <a:gd name="T73" fmla="*/ 2 h 158"/>
                  <a:gd name="T74" fmla="*/ 0 w 192"/>
                  <a:gd name="T75" fmla="*/ 0 h 15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6" name="Freeform 441">
                <a:extLst>
                  <a:ext uri="{FF2B5EF4-FFF2-40B4-BE49-F238E27FC236}">
                    <a16:creationId xmlns:a16="http://schemas.microsoft.com/office/drawing/2014/main" id="{2078012A-9AC4-4ED2-B3B2-1B963FC6EB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253 w 884"/>
                  <a:gd name="T1" fmla="*/ 138 h 1818"/>
                  <a:gd name="T2" fmla="*/ 286 w 884"/>
                  <a:gd name="T3" fmla="*/ 114 h 1818"/>
                  <a:gd name="T4" fmla="*/ 290 w 884"/>
                  <a:gd name="T5" fmla="*/ 77 h 1818"/>
                  <a:gd name="T6" fmla="*/ 276 w 884"/>
                  <a:gd name="T7" fmla="*/ 64 h 1818"/>
                  <a:gd name="T8" fmla="*/ 276 w 884"/>
                  <a:gd name="T9" fmla="*/ 87 h 1818"/>
                  <a:gd name="T10" fmla="*/ 254 w 884"/>
                  <a:gd name="T11" fmla="*/ 109 h 1818"/>
                  <a:gd name="T12" fmla="*/ 219 w 884"/>
                  <a:gd name="T13" fmla="*/ 110 h 1818"/>
                  <a:gd name="T14" fmla="*/ 205 w 884"/>
                  <a:gd name="T15" fmla="*/ 97 h 1818"/>
                  <a:gd name="T16" fmla="*/ 216 w 884"/>
                  <a:gd name="T17" fmla="*/ 72 h 1818"/>
                  <a:gd name="T18" fmla="*/ 178 w 884"/>
                  <a:gd name="T19" fmla="*/ 49 h 1818"/>
                  <a:gd name="T20" fmla="*/ 139 w 884"/>
                  <a:gd name="T21" fmla="*/ 29 h 1818"/>
                  <a:gd name="T22" fmla="*/ 122 w 884"/>
                  <a:gd name="T23" fmla="*/ 3 h 1818"/>
                  <a:gd name="T24" fmla="*/ 94 w 884"/>
                  <a:gd name="T25" fmla="*/ 7 h 1818"/>
                  <a:gd name="T26" fmla="*/ 77 w 884"/>
                  <a:gd name="T27" fmla="*/ 8 h 1818"/>
                  <a:gd name="T28" fmla="*/ 56 w 884"/>
                  <a:gd name="T29" fmla="*/ 3 h 1818"/>
                  <a:gd name="T30" fmla="*/ 32 w 884"/>
                  <a:gd name="T31" fmla="*/ 18 h 1818"/>
                  <a:gd name="T32" fmla="*/ 22 w 884"/>
                  <a:gd name="T33" fmla="*/ 39 h 1818"/>
                  <a:gd name="T34" fmla="*/ 9 w 884"/>
                  <a:gd name="T35" fmla="*/ 60 h 1818"/>
                  <a:gd name="T36" fmla="*/ 18 w 884"/>
                  <a:gd name="T37" fmla="*/ 84 h 1818"/>
                  <a:gd name="T38" fmla="*/ 17 w 884"/>
                  <a:gd name="T39" fmla="*/ 106 h 1818"/>
                  <a:gd name="T40" fmla="*/ 0 w 884"/>
                  <a:gd name="T41" fmla="*/ 144 h 1818"/>
                  <a:gd name="T42" fmla="*/ 4 w 884"/>
                  <a:gd name="T43" fmla="*/ 203 h 1818"/>
                  <a:gd name="T44" fmla="*/ 25 w 884"/>
                  <a:gd name="T45" fmla="*/ 232 h 1818"/>
                  <a:gd name="T46" fmla="*/ 20 w 884"/>
                  <a:gd name="T47" fmla="*/ 251 h 1818"/>
                  <a:gd name="T48" fmla="*/ 20 w 884"/>
                  <a:gd name="T49" fmla="*/ 269 h 1818"/>
                  <a:gd name="T50" fmla="*/ 27 w 884"/>
                  <a:gd name="T51" fmla="*/ 283 h 1818"/>
                  <a:gd name="T52" fmla="*/ 17 w 884"/>
                  <a:gd name="T53" fmla="*/ 300 h 1818"/>
                  <a:gd name="T54" fmla="*/ 27 w 884"/>
                  <a:gd name="T55" fmla="*/ 328 h 1818"/>
                  <a:gd name="T56" fmla="*/ 27 w 884"/>
                  <a:gd name="T57" fmla="*/ 352 h 1818"/>
                  <a:gd name="T58" fmla="*/ 26 w 884"/>
                  <a:gd name="T59" fmla="*/ 384 h 1818"/>
                  <a:gd name="T60" fmla="*/ 45 w 884"/>
                  <a:gd name="T61" fmla="*/ 422 h 1818"/>
                  <a:gd name="T62" fmla="*/ 65 w 884"/>
                  <a:gd name="T63" fmla="*/ 465 h 1818"/>
                  <a:gd name="T64" fmla="*/ 71 w 884"/>
                  <a:gd name="T65" fmla="*/ 488 h 1818"/>
                  <a:gd name="T66" fmla="*/ 75 w 884"/>
                  <a:gd name="T67" fmla="*/ 509 h 1818"/>
                  <a:gd name="T68" fmla="*/ 70 w 884"/>
                  <a:gd name="T69" fmla="*/ 530 h 1818"/>
                  <a:gd name="T70" fmla="*/ 66 w 884"/>
                  <a:gd name="T71" fmla="*/ 548 h 1818"/>
                  <a:gd name="T72" fmla="*/ 75 w 884"/>
                  <a:gd name="T73" fmla="*/ 573 h 1818"/>
                  <a:gd name="T74" fmla="*/ 102 w 884"/>
                  <a:gd name="T75" fmla="*/ 591 h 1818"/>
                  <a:gd name="T76" fmla="*/ 129 w 884"/>
                  <a:gd name="T77" fmla="*/ 599 h 1818"/>
                  <a:gd name="T78" fmla="*/ 148 w 884"/>
                  <a:gd name="T79" fmla="*/ 595 h 1818"/>
                  <a:gd name="T80" fmla="*/ 149 w 884"/>
                  <a:gd name="T81" fmla="*/ 568 h 1818"/>
                  <a:gd name="T82" fmla="*/ 154 w 884"/>
                  <a:gd name="T83" fmla="*/ 537 h 1818"/>
                  <a:gd name="T84" fmla="*/ 162 w 884"/>
                  <a:gd name="T85" fmla="*/ 503 h 1818"/>
                  <a:gd name="T86" fmla="*/ 138 w 884"/>
                  <a:gd name="T87" fmla="*/ 495 h 1818"/>
                  <a:gd name="T88" fmla="*/ 132 w 884"/>
                  <a:gd name="T89" fmla="*/ 477 h 1818"/>
                  <a:gd name="T90" fmla="*/ 149 w 884"/>
                  <a:gd name="T91" fmla="*/ 465 h 1818"/>
                  <a:gd name="T92" fmla="*/ 159 w 884"/>
                  <a:gd name="T93" fmla="*/ 444 h 1818"/>
                  <a:gd name="T94" fmla="*/ 149 w 884"/>
                  <a:gd name="T95" fmla="*/ 408 h 1818"/>
                  <a:gd name="T96" fmla="*/ 139 w 884"/>
                  <a:gd name="T97" fmla="*/ 380 h 1818"/>
                  <a:gd name="T98" fmla="*/ 170 w 884"/>
                  <a:gd name="T99" fmla="*/ 389 h 1818"/>
                  <a:gd name="T100" fmla="*/ 186 w 884"/>
                  <a:gd name="T101" fmla="*/ 384 h 1818"/>
                  <a:gd name="T102" fmla="*/ 183 w 884"/>
                  <a:gd name="T103" fmla="*/ 359 h 1818"/>
                  <a:gd name="T104" fmla="*/ 185 w 884"/>
                  <a:gd name="T105" fmla="*/ 343 h 1818"/>
                  <a:gd name="T106" fmla="*/ 222 w 884"/>
                  <a:gd name="T107" fmla="*/ 341 h 1818"/>
                  <a:gd name="T108" fmla="*/ 261 w 884"/>
                  <a:gd name="T109" fmla="*/ 324 h 1818"/>
                  <a:gd name="T110" fmla="*/ 268 w 884"/>
                  <a:gd name="T111" fmla="*/ 294 h 1818"/>
                  <a:gd name="T112" fmla="*/ 256 w 884"/>
                  <a:gd name="T113" fmla="*/ 284 h 1818"/>
                  <a:gd name="T114" fmla="*/ 249 w 884"/>
                  <a:gd name="T115" fmla="*/ 270 h 1818"/>
                  <a:gd name="T116" fmla="*/ 227 w 884"/>
                  <a:gd name="T117" fmla="*/ 251 h 1818"/>
                  <a:gd name="T118" fmla="*/ 230 w 884"/>
                  <a:gd name="T119" fmla="*/ 177 h 181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285" name="Freeform 442">
              <a:extLst>
                <a:ext uri="{FF2B5EF4-FFF2-40B4-BE49-F238E27FC236}">
                  <a16:creationId xmlns:a16="http://schemas.microsoft.com/office/drawing/2014/main" id="{7ECF02A1-66F1-42B2-938F-CC98A196C100}"/>
                </a:ext>
              </a:extLst>
            </p:cNvPr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6564314" y="2324100"/>
              <a:ext cx="123825" cy="109538"/>
            </a:xfrm>
            <a:custGeom>
              <a:avLst/>
              <a:gdLst>
                <a:gd name="T0" fmla="*/ 14646 w 279"/>
                <a:gd name="T1" fmla="*/ 46715 h 204"/>
                <a:gd name="T2" fmla="*/ 26185 w 279"/>
                <a:gd name="T3" fmla="*/ 76247 h 204"/>
                <a:gd name="T4" fmla="*/ 26185 w 279"/>
                <a:gd name="T5" fmla="*/ 96114 h 204"/>
                <a:gd name="T6" fmla="*/ 45269 w 279"/>
                <a:gd name="T7" fmla="*/ 105242 h 204"/>
                <a:gd name="T8" fmla="*/ 54146 w 279"/>
                <a:gd name="T9" fmla="*/ 108464 h 204"/>
                <a:gd name="T10" fmla="*/ 61691 w 279"/>
                <a:gd name="T11" fmla="*/ 109538 h 204"/>
                <a:gd name="T12" fmla="*/ 64797 w 279"/>
                <a:gd name="T13" fmla="*/ 107927 h 204"/>
                <a:gd name="T14" fmla="*/ 67016 w 279"/>
                <a:gd name="T15" fmla="*/ 104168 h 204"/>
                <a:gd name="T16" fmla="*/ 71011 w 279"/>
                <a:gd name="T17" fmla="*/ 92356 h 204"/>
                <a:gd name="T18" fmla="*/ 76337 w 279"/>
                <a:gd name="T19" fmla="*/ 80006 h 204"/>
                <a:gd name="T20" fmla="*/ 80331 w 279"/>
                <a:gd name="T21" fmla="*/ 75710 h 204"/>
                <a:gd name="T22" fmla="*/ 85213 w 279"/>
                <a:gd name="T23" fmla="*/ 73025 h 204"/>
                <a:gd name="T24" fmla="*/ 92758 w 279"/>
                <a:gd name="T25" fmla="*/ 74099 h 204"/>
                <a:gd name="T26" fmla="*/ 97640 w 279"/>
                <a:gd name="T27" fmla="*/ 76247 h 204"/>
                <a:gd name="T28" fmla="*/ 101190 w 279"/>
                <a:gd name="T29" fmla="*/ 79469 h 204"/>
                <a:gd name="T30" fmla="*/ 102522 w 279"/>
                <a:gd name="T31" fmla="*/ 82690 h 204"/>
                <a:gd name="T32" fmla="*/ 103853 w 279"/>
                <a:gd name="T33" fmla="*/ 88060 h 204"/>
                <a:gd name="T34" fmla="*/ 102522 w 279"/>
                <a:gd name="T35" fmla="*/ 89671 h 204"/>
                <a:gd name="T36" fmla="*/ 103853 w 279"/>
                <a:gd name="T37" fmla="*/ 82154 h 204"/>
                <a:gd name="T38" fmla="*/ 105628 w 279"/>
                <a:gd name="T39" fmla="*/ 75173 h 204"/>
                <a:gd name="T40" fmla="*/ 108735 w 279"/>
                <a:gd name="T41" fmla="*/ 62823 h 204"/>
                <a:gd name="T42" fmla="*/ 112730 w 279"/>
                <a:gd name="T43" fmla="*/ 61749 h 204"/>
                <a:gd name="T44" fmla="*/ 117168 w 279"/>
                <a:gd name="T45" fmla="*/ 59065 h 204"/>
                <a:gd name="T46" fmla="*/ 123825 w 279"/>
                <a:gd name="T47" fmla="*/ 53158 h 204"/>
                <a:gd name="T48" fmla="*/ 111842 w 279"/>
                <a:gd name="T49" fmla="*/ 40271 h 204"/>
                <a:gd name="T50" fmla="*/ 100747 w 279"/>
                <a:gd name="T51" fmla="*/ 31143 h 204"/>
                <a:gd name="T52" fmla="*/ 90539 w 279"/>
                <a:gd name="T53" fmla="*/ 23626 h 204"/>
                <a:gd name="T54" fmla="*/ 82106 w 279"/>
                <a:gd name="T55" fmla="*/ 16645 h 204"/>
                <a:gd name="T56" fmla="*/ 64797 w 279"/>
                <a:gd name="T57" fmla="*/ 36513 h 204"/>
                <a:gd name="T58" fmla="*/ 35062 w 279"/>
                <a:gd name="T59" fmla="*/ 13424 h 204"/>
                <a:gd name="T60" fmla="*/ 23078 w 279"/>
                <a:gd name="T61" fmla="*/ 6443 h 204"/>
                <a:gd name="T62" fmla="*/ 20416 w 279"/>
                <a:gd name="T63" fmla="*/ 33291 h 204"/>
                <a:gd name="T64" fmla="*/ 0 w 279"/>
                <a:gd name="T65" fmla="*/ 30069 h 2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6" name="Freeform 443">
              <a:extLst>
                <a:ext uri="{FF2B5EF4-FFF2-40B4-BE49-F238E27FC236}">
                  <a16:creationId xmlns:a16="http://schemas.microsoft.com/office/drawing/2014/main" id="{888F7602-91ED-495C-A9F4-3772F6B0869A}"/>
                </a:ext>
              </a:extLst>
            </p:cNvPr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6030913" y="1897063"/>
              <a:ext cx="209550" cy="150812"/>
            </a:xfrm>
            <a:custGeom>
              <a:avLst/>
              <a:gdLst>
                <a:gd name="T0" fmla="*/ 108880 w 485"/>
                <a:gd name="T1" fmla="*/ 10365 h 291"/>
                <a:gd name="T2" fmla="*/ 129619 w 485"/>
                <a:gd name="T3" fmla="*/ 22803 h 291"/>
                <a:gd name="T4" fmla="*/ 160727 w 485"/>
                <a:gd name="T5" fmla="*/ 22803 h 291"/>
                <a:gd name="T6" fmla="*/ 183626 w 485"/>
                <a:gd name="T7" fmla="*/ 67891 h 291"/>
                <a:gd name="T8" fmla="*/ 209550 w 485"/>
                <a:gd name="T9" fmla="*/ 86548 h 291"/>
                <a:gd name="T10" fmla="*/ 178009 w 485"/>
                <a:gd name="T11" fmla="*/ 89658 h 291"/>
                <a:gd name="T12" fmla="*/ 187083 w 485"/>
                <a:gd name="T13" fmla="*/ 108833 h 291"/>
                <a:gd name="T14" fmla="*/ 169368 w 485"/>
                <a:gd name="T15" fmla="*/ 124899 h 291"/>
                <a:gd name="T16" fmla="*/ 166344 w 485"/>
                <a:gd name="T17" fmla="*/ 150812 h 291"/>
                <a:gd name="T18" fmla="*/ 123138 w 485"/>
                <a:gd name="T19" fmla="*/ 137856 h 291"/>
                <a:gd name="T20" fmla="*/ 74747 w 485"/>
                <a:gd name="T21" fmla="*/ 131637 h 291"/>
                <a:gd name="T22" fmla="*/ 25924 w 485"/>
                <a:gd name="T23" fmla="*/ 137856 h 291"/>
                <a:gd name="T24" fmla="*/ 6481 w 485"/>
                <a:gd name="T25" fmla="*/ 140447 h 291"/>
                <a:gd name="T26" fmla="*/ 3456 w 485"/>
                <a:gd name="T27" fmla="*/ 133191 h 291"/>
                <a:gd name="T28" fmla="*/ 1296 w 485"/>
                <a:gd name="T29" fmla="*/ 126454 h 291"/>
                <a:gd name="T30" fmla="*/ 0 w 485"/>
                <a:gd name="T31" fmla="*/ 118680 h 291"/>
                <a:gd name="T32" fmla="*/ 2160 w 485"/>
                <a:gd name="T33" fmla="*/ 113498 h 291"/>
                <a:gd name="T34" fmla="*/ 6049 w 485"/>
                <a:gd name="T35" fmla="*/ 107279 h 291"/>
                <a:gd name="T36" fmla="*/ 9937 w 485"/>
                <a:gd name="T37" fmla="*/ 97950 h 291"/>
                <a:gd name="T38" fmla="*/ 13394 w 485"/>
                <a:gd name="T39" fmla="*/ 86030 h 291"/>
                <a:gd name="T40" fmla="*/ 17715 w 485"/>
                <a:gd name="T41" fmla="*/ 71001 h 291"/>
                <a:gd name="T42" fmla="*/ 20739 w 485"/>
                <a:gd name="T43" fmla="*/ 65300 h 291"/>
                <a:gd name="T44" fmla="*/ 25924 w 485"/>
                <a:gd name="T45" fmla="*/ 61672 h 291"/>
                <a:gd name="T46" fmla="*/ 37589 w 485"/>
                <a:gd name="T47" fmla="*/ 57526 h 291"/>
                <a:gd name="T48" fmla="*/ 38454 w 485"/>
                <a:gd name="T49" fmla="*/ 54935 h 291"/>
                <a:gd name="T50" fmla="*/ 40614 w 485"/>
                <a:gd name="T51" fmla="*/ 51825 h 291"/>
                <a:gd name="T52" fmla="*/ 43638 w 485"/>
                <a:gd name="T53" fmla="*/ 49234 h 291"/>
                <a:gd name="T54" fmla="*/ 45799 w 485"/>
                <a:gd name="T55" fmla="*/ 48198 h 291"/>
                <a:gd name="T56" fmla="*/ 45799 w 485"/>
                <a:gd name="T57" fmla="*/ 39387 h 291"/>
                <a:gd name="T58" fmla="*/ 47095 w 485"/>
                <a:gd name="T59" fmla="*/ 36278 h 291"/>
                <a:gd name="T60" fmla="*/ 48823 w 485"/>
                <a:gd name="T61" fmla="*/ 34723 h 291"/>
                <a:gd name="T62" fmla="*/ 52712 w 485"/>
                <a:gd name="T63" fmla="*/ 35760 h 291"/>
                <a:gd name="T64" fmla="*/ 55304 w 485"/>
                <a:gd name="T65" fmla="*/ 35760 h 291"/>
                <a:gd name="T66" fmla="*/ 57032 w 485"/>
                <a:gd name="T67" fmla="*/ 34205 h 291"/>
                <a:gd name="T68" fmla="*/ 57896 w 485"/>
                <a:gd name="T69" fmla="*/ 29022 h 291"/>
                <a:gd name="T70" fmla="*/ 60057 w 485"/>
                <a:gd name="T71" fmla="*/ 22803 h 291"/>
                <a:gd name="T72" fmla="*/ 62217 w 485"/>
                <a:gd name="T73" fmla="*/ 20212 h 291"/>
                <a:gd name="T74" fmla="*/ 92029 w 485"/>
                <a:gd name="T75" fmla="*/ 0 h 29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7" name="Freeform 444">
              <a:extLst>
                <a:ext uri="{FF2B5EF4-FFF2-40B4-BE49-F238E27FC236}">
                  <a16:creationId xmlns:a16="http://schemas.microsoft.com/office/drawing/2014/main" id="{C1F44F5A-12D4-4BC1-B8D5-61105726E3F8}"/>
                </a:ext>
              </a:extLst>
            </p:cNvPr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5888038" y="2228851"/>
              <a:ext cx="82550" cy="87313"/>
            </a:xfrm>
            <a:custGeom>
              <a:avLst/>
              <a:gdLst>
                <a:gd name="T0" fmla="*/ 38168 w 186"/>
                <a:gd name="T1" fmla="*/ 77319 h 166"/>
                <a:gd name="T2" fmla="*/ 36837 w 186"/>
                <a:gd name="T3" fmla="*/ 71534 h 166"/>
                <a:gd name="T4" fmla="*/ 34618 w 186"/>
                <a:gd name="T5" fmla="*/ 66800 h 166"/>
                <a:gd name="T6" fmla="*/ 32842 w 186"/>
                <a:gd name="T7" fmla="*/ 62066 h 166"/>
                <a:gd name="T8" fmla="*/ 31067 w 186"/>
                <a:gd name="T9" fmla="*/ 57858 h 166"/>
                <a:gd name="T10" fmla="*/ 26629 w 186"/>
                <a:gd name="T11" fmla="*/ 49968 h 166"/>
                <a:gd name="T12" fmla="*/ 21747 w 186"/>
                <a:gd name="T13" fmla="*/ 43131 h 166"/>
                <a:gd name="T14" fmla="*/ 16421 w 186"/>
                <a:gd name="T15" fmla="*/ 36819 h 166"/>
                <a:gd name="T16" fmla="*/ 11095 w 186"/>
                <a:gd name="T17" fmla="*/ 29455 h 166"/>
                <a:gd name="T18" fmla="*/ 5770 w 186"/>
                <a:gd name="T19" fmla="*/ 19987 h 166"/>
                <a:gd name="T20" fmla="*/ 0 w 186"/>
                <a:gd name="T21" fmla="*/ 9468 h 166"/>
                <a:gd name="T22" fmla="*/ 0 w 186"/>
                <a:gd name="T23" fmla="*/ 0 h 166"/>
                <a:gd name="T24" fmla="*/ 3107 w 186"/>
                <a:gd name="T25" fmla="*/ 1052 h 166"/>
                <a:gd name="T26" fmla="*/ 6213 w 186"/>
                <a:gd name="T27" fmla="*/ 1578 h 166"/>
                <a:gd name="T28" fmla="*/ 8876 w 186"/>
                <a:gd name="T29" fmla="*/ 2104 h 166"/>
                <a:gd name="T30" fmla="*/ 11983 w 186"/>
                <a:gd name="T31" fmla="*/ 2104 h 166"/>
                <a:gd name="T32" fmla="*/ 14646 w 186"/>
                <a:gd name="T33" fmla="*/ 2104 h 166"/>
                <a:gd name="T34" fmla="*/ 17753 w 186"/>
                <a:gd name="T35" fmla="*/ 1578 h 166"/>
                <a:gd name="T36" fmla="*/ 20859 w 186"/>
                <a:gd name="T37" fmla="*/ 1052 h 166"/>
                <a:gd name="T38" fmla="*/ 23522 w 186"/>
                <a:gd name="T39" fmla="*/ 0 h 166"/>
                <a:gd name="T40" fmla="*/ 62134 w 186"/>
                <a:gd name="T41" fmla="*/ 6312 h 166"/>
                <a:gd name="T42" fmla="*/ 82550 w 186"/>
                <a:gd name="T43" fmla="*/ 47864 h 166"/>
                <a:gd name="T44" fmla="*/ 75893 w 186"/>
                <a:gd name="T45" fmla="*/ 58910 h 166"/>
                <a:gd name="T46" fmla="*/ 68792 w 186"/>
                <a:gd name="T47" fmla="*/ 67852 h 166"/>
                <a:gd name="T48" fmla="*/ 66129 w 186"/>
                <a:gd name="T49" fmla="*/ 72060 h 166"/>
                <a:gd name="T50" fmla="*/ 63910 w 186"/>
                <a:gd name="T51" fmla="*/ 76267 h 166"/>
                <a:gd name="T52" fmla="*/ 63022 w 186"/>
                <a:gd name="T53" fmla="*/ 78897 h 166"/>
                <a:gd name="T54" fmla="*/ 62578 w 186"/>
                <a:gd name="T55" fmla="*/ 82053 h 166"/>
                <a:gd name="T56" fmla="*/ 62134 w 186"/>
                <a:gd name="T57" fmla="*/ 84683 h 166"/>
                <a:gd name="T58" fmla="*/ 62134 w 186"/>
                <a:gd name="T59" fmla="*/ 87313 h 166"/>
                <a:gd name="T60" fmla="*/ 38168 w 186"/>
                <a:gd name="T61" fmla="*/ 77319 h 16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88" name="Freeform 445">
              <a:extLst>
                <a:ext uri="{FF2B5EF4-FFF2-40B4-BE49-F238E27FC236}">
                  <a16:creationId xmlns:a16="http://schemas.microsoft.com/office/drawing/2014/main" id="{9A7A622E-2BB4-4CE8-817A-862686896235}"/>
                </a:ext>
              </a:extLst>
            </p:cNvPr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4252913" y="3665538"/>
              <a:ext cx="82550" cy="57150"/>
            </a:xfrm>
            <a:custGeom>
              <a:avLst/>
              <a:gdLst>
                <a:gd name="T0" fmla="*/ 67904 w 186"/>
                <a:gd name="T1" fmla="*/ 11540 h 104"/>
                <a:gd name="T2" fmla="*/ 64797 w 186"/>
                <a:gd name="T3" fmla="*/ 11540 h 104"/>
                <a:gd name="T4" fmla="*/ 62578 w 186"/>
                <a:gd name="T5" fmla="*/ 10990 h 104"/>
                <a:gd name="T6" fmla="*/ 60359 w 186"/>
                <a:gd name="T7" fmla="*/ 9891 h 104"/>
                <a:gd name="T8" fmla="*/ 59028 w 186"/>
                <a:gd name="T9" fmla="*/ 8243 h 104"/>
                <a:gd name="T10" fmla="*/ 57696 w 186"/>
                <a:gd name="T11" fmla="*/ 7144 h 104"/>
                <a:gd name="T12" fmla="*/ 55477 w 186"/>
                <a:gd name="T13" fmla="*/ 6045 h 104"/>
                <a:gd name="T14" fmla="*/ 53258 w 186"/>
                <a:gd name="T15" fmla="*/ 5495 h 104"/>
                <a:gd name="T16" fmla="*/ 50151 w 186"/>
                <a:gd name="T17" fmla="*/ 4946 h 104"/>
                <a:gd name="T18" fmla="*/ 44382 w 186"/>
                <a:gd name="T19" fmla="*/ 4396 h 104"/>
                <a:gd name="T20" fmla="*/ 39056 w 186"/>
                <a:gd name="T21" fmla="*/ 3297 h 104"/>
                <a:gd name="T22" fmla="*/ 33286 w 186"/>
                <a:gd name="T23" fmla="*/ 1649 h 104"/>
                <a:gd name="T24" fmla="*/ 28404 w 186"/>
                <a:gd name="T25" fmla="*/ 550 h 104"/>
                <a:gd name="T26" fmla="*/ 26629 w 186"/>
                <a:gd name="T27" fmla="*/ 0 h 104"/>
                <a:gd name="T28" fmla="*/ 23966 w 186"/>
                <a:gd name="T29" fmla="*/ 0 h 104"/>
                <a:gd name="T30" fmla="*/ 22635 w 186"/>
                <a:gd name="T31" fmla="*/ 550 h 104"/>
                <a:gd name="T32" fmla="*/ 20416 w 186"/>
                <a:gd name="T33" fmla="*/ 1099 h 104"/>
                <a:gd name="T34" fmla="*/ 19528 w 186"/>
                <a:gd name="T35" fmla="*/ 2198 h 104"/>
                <a:gd name="T36" fmla="*/ 18640 w 186"/>
                <a:gd name="T37" fmla="*/ 3297 h 104"/>
                <a:gd name="T38" fmla="*/ 18197 w 186"/>
                <a:gd name="T39" fmla="*/ 5495 h 104"/>
                <a:gd name="T40" fmla="*/ 17753 w 186"/>
                <a:gd name="T41" fmla="*/ 8243 h 104"/>
                <a:gd name="T42" fmla="*/ 15090 w 186"/>
                <a:gd name="T43" fmla="*/ 14837 h 104"/>
                <a:gd name="T44" fmla="*/ 8876 w 186"/>
                <a:gd name="T45" fmla="*/ 25827 h 104"/>
                <a:gd name="T46" fmla="*/ 3107 w 186"/>
                <a:gd name="T47" fmla="*/ 36268 h 104"/>
                <a:gd name="T48" fmla="*/ 0 w 186"/>
                <a:gd name="T49" fmla="*/ 42313 h 104"/>
                <a:gd name="T50" fmla="*/ 3551 w 186"/>
                <a:gd name="T51" fmla="*/ 42313 h 104"/>
                <a:gd name="T52" fmla="*/ 7101 w 186"/>
                <a:gd name="T53" fmla="*/ 42862 h 104"/>
                <a:gd name="T54" fmla="*/ 9320 w 186"/>
                <a:gd name="T55" fmla="*/ 43412 h 104"/>
                <a:gd name="T56" fmla="*/ 11095 w 186"/>
                <a:gd name="T57" fmla="*/ 44511 h 104"/>
                <a:gd name="T58" fmla="*/ 14646 w 186"/>
                <a:gd name="T59" fmla="*/ 46709 h 104"/>
                <a:gd name="T60" fmla="*/ 17753 w 186"/>
                <a:gd name="T61" fmla="*/ 48907 h 104"/>
                <a:gd name="T62" fmla="*/ 19972 w 186"/>
                <a:gd name="T63" fmla="*/ 51655 h 104"/>
                <a:gd name="T64" fmla="*/ 23078 w 186"/>
                <a:gd name="T65" fmla="*/ 53853 h 104"/>
                <a:gd name="T66" fmla="*/ 24854 w 186"/>
                <a:gd name="T67" fmla="*/ 54952 h 104"/>
                <a:gd name="T68" fmla="*/ 27073 w 186"/>
                <a:gd name="T69" fmla="*/ 55501 h 104"/>
                <a:gd name="T70" fmla="*/ 29292 w 186"/>
                <a:gd name="T71" fmla="*/ 56051 h 104"/>
                <a:gd name="T72" fmla="*/ 32842 w 186"/>
                <a:gd name="T73" fmla="*/ 56051 h 104"/>
                <a:gd name="T74" fmla="*/ 47488 w 186"/>
                <a:gd name="T75" fmla="*/ 56600 h 104"/>
                <a:gd name="T76" fmla="*/ 58140 w 186"/>
                <a:gd name="T77" fmla="*/ 57150 h 104"/>
                <a:gd name="T78" fmla="*/ 59915 w 186"/>
                <a:gd name="T79" fmla="*/ 56600 h 104"/>
                <a:gd name="T80" fmla="*/ 61691 w 186"/>
                <a:gd name="T81" fmla="*/ 56051 h 104"/>
                <a:gd name="T82" fmla="*/ 63022 w 186"/>
                <a:gd name="T83" fmla="*/ 54952 h 104"/>
                <a:gd name="T84" fmla="*/ 64353 w 186"/>
                <a:gd name="T85" fmla="*/ 53303 h 104"/>
                <a:gd name="T86" fmla="*/ 65241 w 186"/>
                <a:gd name="T87" fmla="*/ 51655 h 104"/>
                <a:gd name="T88" fmla="*/ 66573 w 186"/>
                <a:gd name="T89" fmla="*/ 48358 h 104"/>
                <a:gd name="T90" fmla="*/ 67460 w 186"/>
                <a:gd name="T91" fmla="*/ 45610 h 104"/>
                <a:gd name="T92" fmla="*/ 67904 w 186"/>
                <a:gd name="T93" fmla="*/ 42313 h 104"/>
                <a:gd name="T94" fmla="*/ 82550 w 186"/>
                <a:gd name="T95" fmla="*/ 14837 h 104"/>
                <a:gd name="T96" fmla="*/ 67904 w 186"/>
                <a:gd name="T97" fmla="*/ 11540 h 1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89" name="Freeform 446">
              <a:extLst>
                <a:ext uri="{FF2B5EF4-FFF2-40B4-BE49-F238E27FC236}">
                  <a16:creationId xmlns:a16="http://schemas.microsoft.com/office/drawing/2014/main" id="{75D34A6D-442E-4CAF-A8E8-CA192D19C1C2}"/>
                </a:ext>
              </a:extLst>
            </p:cNvPr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6046788" y="2263775"/>
              <a:ext cx="133350" cy="96838"/>
            </a:xfrm>
            <a:custGeom>
              <a:avLst/>
              <a:gdLst>
                <a:gd name="T0" fmla="*/ 33873 w 311"/>
                <a:gd name="T1" fmla="*/ 20558 h 179"/>
                <a:gd name="T2" fmla="*/ 49309 w 311"/>
                <a:gd name="T3" fmla="*/ 14066 h 179"/>
                <a:gd name="T4" fmla="*/ 63459 w 311"/>
                <a:gd name="T5" fmla="*/ 7574 h 179"/>
                <a:gd name="T6" fmla="*/ 76323 w 311"/>
                <a:gd name="T7" fmla="*/ 2164 h 179"/>
                <a:gd name="T8" fmla="*/ 90472 w 311"/>
                <a:gd name="T9" fmla="*/ 0 h 179"/>
                <a:gd name="T10" fmla="*/ 101192 w 311"/>
                <a:gd name="T11" fmla="*/ 1082 h 179"/>
                <a:gd name="T12" fmla="*/ 109767 w 311"/>
                <a:gd name="T13" fmla="*/ 3246 h 179"/>
                <a:gd name="T14" fmla="*/ 125203 w 311"/>
                <a:gd name="T15" fmla="*/ 6492 h 179"/>
                <a:gd name="T16" fmla="*/ 123059 w 311"/>
                <a:gd name="T17" fmla="*/ 15148 h 179"/>
                <a:gd name="T18" fmla="*/ 119200 w 311"/>
                <a:gd name="T19" fmla="*/ 22722 h 179"/>
                <a:gd name="T20" fmla="*/ 115341 w 311"/>
                <a:gd name="T21" fmla="*/ 28673 h 179"/>
                <a:gd name="T22" fmla="*/ 113626 w 311"/>
                <a:gd name="T23" fmla="*/ 33542 h 179"/>
                <a:gd name="T24" fmla="*/ 114055 w 311"/>
                <a:gd name="T25" fmla="*/ 35706 h 179"/>
                <a:gd name="T26" fmla="*/ 116199 w 311"/>
                <a:gd name="T27" fmla="*/ 38411 h 179"/>
                <a:gd name="T28" fmla="*/ 122202 w 311"/>
                <a:gd name="T29" fmla="*/ 42739 h 179"/>
                <a:gd name="T30" fmla="*/ 133350 w 311"/>
                <a:gd name="T31" fmla="*/ 50312 h 179"/>
                <a:gd name="T32" fmla="*/ 123059 w 311"/>
                <a:gd name="T33" fmla="*/ 57886 h 179"/>
                <a:gd name="T34" fmla="*/ 120487 w 311"/>
                <a:gd name="T35" fmla="*/ 62214 h 179"/>
                <a:gd name="T36" fmla="*/ 119200 w 311"/>
                <a:gd name="T37" fmla="*/ 69788 h 179"/>
                <a:gd name="T38" fmla="*/ 108052 w 311"/>
                <a:gd name="T39" fmla="*/ 73575 h 179"/>
                <a:gd name="T40" fmla="*/ 90472 w 311"/>
                <a:gd name="T41" fmla="*/ 80067 h 179"/>
                <a:gd name="T42" fmla="*/ 81897 w 311"/>
                <a:gd name="T43" fmla="*/ 90887 h 179"/>
                <a:gd name="T44" fmla="*/ 76323 w 311"/>
                <a:gd name="T45" fmla="*/ 95215 h 179"/>
                <a:gd name="T46" fmla="*/ 70748 w 311"/>
                <a:gd name="T47" fmla="*/ 96838 h 179"/>
                <a:gd name="T48" fmla="*/ 64745 w 311"/>
                <a:gd name="T49" fmla="*/ 94674 h 179"/>
                <a:gd name="T50" fmla="*/ 58743 w 311"/>
                <a:gd name="T51" fmla="*/ 90346 h 179"/>
                <a:gd name="T52" fmla="*/ 51453 w 311"/>
                <a:gd name="T53" fmla="*/ 85477 h 179"/>
                <a:gd name="T54" fmla="*/ 42020 w 311"/>
                <a:gd name="T55" fmla="*/ 83854 h 179"/>
                <a:gd name="T56" fmla="*/ 28299 w 311"/>
                <a:gd name="T57" fmla="*/ 83854 h 179"/>
                <a:gd name="T58" fmla="*/ 21868 w 311"/>
                <a:gd name="T59" fmla="*/ 84936 h 179"/>
                <a:gd name="T60" fmla="*/ 16722 w 311"/>
                <a:gd name="T61" fmla="*/ 87100 h 179"/>
                <a:gd name="T62" fmla="*/ 15436 w 311"/>
                <a:gd name="T63" fmla="*/ 76821 h 179"/>
                <a:gd name="T64" fmla="*/ 13721 w 311"/>
                <a:gd name="T65" fmla="*/ 66542 h 179"/>
                <a:gd name="T66" fmla="*/ 9004 w 311"/>
                <a:gd name="T67" fmla="*/ 69247 h 179"/>
                <a:gd name="T68" fmla="*/ 5574 w 311"/>
                <a:gd name="T69" fmla="*/ 69788 h 179"/>
                <a:gd name="T70" fmla="*/ 3001 w 311"/>
                <a:gd name="T71" fmla="*/ 68165 h 179"/>
                <a:gd name="T72" fmla="*/ 1286 w 311"/>
                <a:gd name="T73" fmla="*/ 65460 h 179"/>
                <a:gd name="T74" fmla="*/ 0 w 311"/>
                <a:gd name="T75" fmla="*/ 56804 h 179"/>
                <a:gd name="T76" fmla="*/ 0 w 311"/>
                <a:gd name="T77" fmla="*/ 47067 h 179"/>
                <a:gd name="T78" fmla="*/ 1286 w 311"/>
                <a:gd name="T79" fmla="*/ 44362 h 179"/>
                <a:gd name="T80" fmla="*/ 5574 w 311"/>
                <a:gd name="T81" fmla="*/ 42198 h 179"/>
                <a:gd name="T82" fmla="*/ 9004 w 311"/>
                <a:gd name="T83" fmla="*/ 38952 h 179"/>
                <a:gd name="T84" fmla="*/ 10719 w 311"/>
                <a:gd name="T85" fmla="*/ 36788 h 179"/>
                <a:gd name="T86" fmla="*/ 11148 w 311"/>
                <a:gd name="T87" fmla="*/ 33542 h 179"/>
                <a:gd name="T88" fmla="*/ 10291 w 311"/>
                <a:gd name="T89" fmla="*/ 27591 h 179"/>
                <a:gd name="T90" fmla="*/ 8147 w 311"/>
                <a:gd name="T91" fmla="*/ 23263 h 179"/>
                <a:gd name="T92" fmla="*/ 3430 w 311"/>
                <a:gd name="T93" fmla="*/ 15689 h 179"/>
                <a:gd name="T94" fmla="*/ 429 w 311"/>
                <a:gd name="T95" fmla="*/ 9738 h 179"/>
                <a:gd name="T96" fmla="*/ 429 w 311"/>
                <a:gd name="T97" fmla="*/ 7033 h 179"/>
                <a:gd name="T98" fmla="*/ 2573 w 311"/>
                <a:gd name="T99" fmla="*/ 3246 h 179"/>
                <a:gd name="T100" fmla="*/ 0 w 311"/>
                <a:gd name="T101" fmla="*/ 3246 h 17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0" name="Freeform 447">
              <a:extLst>
                <a:ext uri="{FF2B5EF4-FFF2-40B4-BE49-F238E27FC236}">
                  <a16:creationId xmlns:a16="http://schemas.microsoft.com/office/drawing/2014/main" id="{5F4649F3-8CE5-456B-B700-DE7246E192C8}"/>
                </a:ext>
              </a:extLst>
            </p:cNvPr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5402263" y="3190875"/>
              <a:ext cx="177800" cy="165100"/>
            </a:xfrm>
            <a:custGeom>
              <a:avLst/>
              <a:gdLst>
                <a:gd name="T0" fmla="*/ 2634 w 405"/>
                <a:gd name="T1" fmla="*/ 136707 h 314"/>
                <a:gd name="T2" fmla="*/ 5707 w 405"/>
                <a:gd name="T3" fmla="*/ 124614 h 314"/>
                <a:gd name="T4" fmla="*/ 7463 w 405"/>
                <a:gd name="T5" fmla="*/ 106211 h 314"/>
                <a:gd name="T6" fmla="*/ 10097 w 405"/>
                <a:gd name="T7" fmla="*/ 90963 h 314"/>
                <a:gd name="T8" fmla="*/ 14048 w 405"/>
                <a:gd name="T9" fmla="*/ 85179 h 314"/>
                <a:gd name="T10" fmla="*/ 21073 w 405"/>
                <a:gd name="T11" fmla="*/ 78869 h 314"/>
                <a:gd name="T12" fmla="*/ 31609 w 405"/>
                <a:gd name="T13" fmla="*/ 74137 h 314"/>
                <a:gd name="T14" fmla="*/ 40828 w 405"/>
                <a:gd name="T15" fmla="*/ 70457 h 314"/>
                <a:gd name="T16" fmla="*/ 45657 w 405"/>
                <a:gd name="T17" fmla="*/ 65725 h 314"/>
                <a:gd name="T18" fmla="*/ 49608 w 405"/>
                <a:gd name="T19" fmla="*/ 59941 h 314"/>
                <a:gd name="T20" fmla="*/ 53999 w 405"/>
                <a:gd name="T21" fmla="*/ 48899 h 314"/>
                <a:gd name="T22" fmla="*/ 59706 w 405"/>
                <a:gd name="T23" fmla="*/ 36280 h 314"/>
                <a:gd name="T24" fmla="*/ 64535 w 405"/>
                <a:gd name="T25" fmla="*/ 28919 h 314"/>
                <a:gd name="T26" fmla="*/ 68047 w 405"/>
                <a:gd name="T27" fmla="*/ 26816 h 314"/>
                <a:gd name="T28" fmla="*/ 74632 w 405"/>
                <a:gd name="T29" fmla="*/ 26816 h 314"/>
                <a:gd name="T30" fmla="*/ 82973 w 405"/>
                <a:gd name="T31" fmla="*/ 25238 h 314"/>
                <a:gd name="T32" fmla="*/ 93510 w 405"/>
                <a:gd name="T33" fmla="*/ 18403 h 314"/>
                <a:gd name="T34" fmla="*/ 104046 w 405"/>
                <a:gd name="T35" fmla="*/ 10516 h 314"/>
                <a:gd name="T36" fmla="*/ 112826 w 405"/>
                <a:gd name="T37" fmla="*/ 5784 h 314"/>
                <a:gd name="T38" fmla="*/ 123801 w 405"/>
                <a:gd name="T39" fmla="*/ 2103 h 314"/>
                <a:gd name="T40" fmla="*/ 137850 w 405"/>
                <a:gd name="T41" fmla="*/ 0 h 314"/>
                <a:gd name="T42" fmla="*/ 145752 w 405"/>
                <a:gd name="T43" fmla="*/ 7361 h 314"/>
                <a:gd name="T44" fmla="*/ 147947 w 405"/>
                <a:gd name="T45" fmla="*/ 17877 h 314"/>
                <a:gd name="T46" fmla="*/ 150581 w 405"/>
                <a:gd name="T47" fmla="*/ 26290 h 314"/>
                <a:gd name="T48" fmla="*/ 154532 w 405"/>
                <a:gd name="T49" fmla="*/ 32599 h 314"/>
                <a:gd name="T50" fmla="*/ 161557 w 405"/>
                <a:gd name="T51" fmla="*/ 38909 h 314"/>
                <a:gd name="T52" fmla="*/ 167703 w 405"/>
                <a:gd name="T53" fmla="*/ 44693 h 314"/>
                <a:gd name="T54" fmla="*/ 171215 w 405"/>
                <a:gd name="T55" fmla="*/ 48899 h 314"/>
                <a:gd name="T56" fmla="*/ 173849 w 405"/>
                <a:gd name="T57" fmla="*/ 60467 h 314"/>
                <a:gd name="T58" fmla="*/ 174727 w 405"/>
                <a:gd name="T59" fmla="*/ 75189 h 314"/>
                <a:gd name="T60" fmla="*/ 174727 w 405"/>
                <a:gd name="T61" fmla="*/ 89385 h 314"/>
                <a:gd name="T62" fmla="*/ 176483 w 405"/>
                <a:gd name="T63" fmla="*/ 103056 h 314"/>
                <a:gd name="T64" fmla="*/ 174727 w 405"/>
                <a:gd name="T65" fmla="*/ 114098 h 314"/>
                <a:gd name="T66" fmla="*/ 167703 w 405"/>
                <a:gd name="T67" fmla="*/ 118830 h 314"/>
                <a:gd name="T68" fmla="*/ 160240 w 405"/>
                <a:gd name="T69" fmla="*/ 126717 h 314"/>
                <a:gd name="T70" fmla="*/ 159361 w 405"/>
                <a:gd name="T71" fmla="*/ 124614 h 314"/>
                <a:gd name="T72" fmla="*/ 157166 w 405"/>
                <a:gd name="T73" fmla="*/ 122511 h 314"/>
                <a:gd name="T74" fmla="*/ 150142 w 405"/>
                <a:gd name="T75" fmla="*/ 119356 h 314"/>
                <a:gd name="T76" fmla="*/ 140045 w 405"/>
                <a:gd name="T77" fmla="*/ 117253 h 314"/>
                <a:gd name="T78" fmla="*/ 66730 w 405"/>
                <a:gd name="T79" fmla="*/ 126717 h 314"/>
                <a:gd name="T80" fmla="*/ 65852 w 405"/>
                <a:gd name="T81" fmla="*/ 135130 h 314"/>
                <a:gd name="T82" fmla="*/ 65852 w 405"/>
                <a:gd name="T83" fmla="*/ 144068 h 314"/>
                <a:gd name="T84" fmla="*/ 66730 w 405"/>
                <a:gd name="T85" fmla="*/ 165100 h 314"/>
                <a:gd name="T86" fmla="*/ 61023 w 405"/>
                <a:gd name="T87" fmla="*/ 164048 h 314"/>
                <a:gd name="T88" fmla="*/ 55316 w 405"/>
                <a:gd name="T89" fmla="*/ 160368 h 314"/>
                <a:gd name="T90" fmla="*/ 43901 w 405"/>
                <a:gd name="T91" fmla="*/ 152481 h 314"/>
                <a:gd name="T92" fmla="*/ 39072 w 405"/>
                <a:gd name="T93" fmla="*/ 161419 h 314"/>
                <a:gd name="T94" fmla="*/ 35999 w 405"/>
                <a:gd name="T95" fmla="*/ 164048 h 314"/>
                <a:gd name="T96" fmla="*/ 32048 w 405"/>
                <a:gd name="T97" fmla="*/ 165100 h 314"/>
                <a:gd name="T98" fmla="*/ 26341 w 405"/>
                <a:gd name="T99" fmla="*/ 163523 h 314"/>
                <a:gd name="T100" fmla="*/ 20634 w 405"/>
                <a:gd name="T101" fmla="*/ 158790 h 314"/>
                <a:gd name="T102" fmla="*/ 12292 w 405"/>
                <a:gd name="T103" fmla="*/ 153007 h 314"/>
                <a:gd name="T104" fmla="*/ 0 w 405"/>
                <a:gd name="T105" fmla="*/ 149326 h 31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1" name="Freeform 448">
              <a:extLst>
                <a:ext uri="{FF2B5EF4-FFF2-40B4-BE49-F238E27FC236}">
                  <a16:creationId xmlns:a16="http://schemas.microsoft.com/office/drawing/2014/main" id="{F2BA2774-AD1A-4108-92AF-F5BFFCEAE168}"/>
                </a:ext>
              </a:extLst>
            </p:cNvPr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5749926" y="3259138"/>
              <a:ext cx="193675" cy="349250"/>
            </a:xfrm>
            <a:custGeom>
              <a:avLst/>
              <a:gdLst>
                <a:gd name="T0" fmla="*/ 143225 w 453"/>
                <a:gd name="T1" fmla="*/ 19021 h 661"/>
                <a:gd name="T2" fmla="*/ 137240 w 453"/>
                <a:gd name="T3" fmla="*/ 51780 h 661"/>
                <a:gd name="T4" fmla="*/ 118428 w 453"/>
                <a:gd name="T5" fmla="*/ 85595 h 661"/>
                <a:gd name="T6" fmla="*/ 108167 w 453"/>
                <a:gd name="T7" fmla="*/ 115712 h 661"/>
                <a:gd name="T8" fmla="*/ 99189 w 453"/>
                <a:gd name="T9" fmla="*/ 143716 h 661"/>
                <a:gd name="T10" fmla="*/ 89356 w 453"/>
                <a:gd name="T11" fmla="*/ 173832 h 661"/>
                <a:gd name="T12" fmla="*/ 83798 w 453"/>
                <a:gd name="T13" fmla="*/ 191269 h 661"/>
                <a:gd name="T14" fmla="*/ 76957 w 453"/>
                <a:gd name="T15" fmla="*/ 200779 h 661"/>
                <a:gd name="T16" fmla="*/ 71399 w 453"/>
                <a:gd name="T17" fmla="*/ 206063 h 661"/>
                <a:gd name="T18" fmla="*/ 60283 w 453"/>
                <a:gd name="T19" fmla="*/ 201836 h 661"/>
                <a:gd name="T20" fmla="*/ 51732 w 453"/>
                <a:gd name="T21" fmla="*/ 195495 h 661"/>
                <a:gd name="T22" fmla="*/ 40189 w 453"/>
                <a:gd name="T23" fmla="*/ 193910 h 661"/>
                <a:gd name="T24" fmla="*/ 27362 w 453"/>
                <a:gd name="T25" fmla="*/ 200779 h 661"/>
                <a:gd name="T26" fmla="*/ 18812 w 453"/>
                <a:gd name="T27" fmla="*/ 212932 h 661"/>
                <a:gd name="T28" fmla="*/ 8978 w 453"/>
                <a:gd name="T29" fmla="*/ 239878 h 661"/>
                <a:gd name="T30" fmla="*/ 2993 w 453"/>
                <a:gd name="T31" fmla="*/ 254672 h 661"/>
                <a:gd name="T32" fmla="*/ 428 w 453"/>
                <a:gd name="T33" fmla="*/ 264183 h 661"/>
                <a:gd name="T34" fmla="*/ 3420 w 453"/>
                <a:gd name="T35" fmla="*/ 273165 h 661"/>
                <a:gd name="T36" fmla="*/ 8551 w 453"/>
                <a:gd name="T37" fmla="*/ 277921 h 661"/>
                <a:gd name="T38" fmla="*/ 23515 w 453"/>
                <a:gd name="T39" fmla="*/ 277921 h 661"/>
                <a:gd name="T40" fmla="*/ 30355 w 453"/>
                <a:gd name="T41" fmla="*/ 289545 h 661"/>
                <a:gd name="T42" fmla="*/ 31210 w 453"/>
                <a:gd name="T43" fmla="*/ 311736 h 661"/>
                <a:gd name="T44" fmla="*/ 28645 w 453"/>
                <a:gd name="T45" fmla="*/ 332871 h 661"/>
                <a:gd name="T46" fmla="*/ 185124 w 453"/>
                <a:gd name="T47" fmla="*/ 349250 h 661"/>
                <a:gd name="T48" fmla="*/ 188972 w 453"/>
                <a:gd name="T49" fmla="*/ 307509 h 661"/>
                <a:gd name="T50" fmla="*/ 177429 w 453"/>
                <a:gd name="T51" fmla="*/ 300112 h 661"/>
                <a:gd name="T52" fmla="*/ 159472 w 453"/>
                <a:gd name="T53" fmla="*/ 294300 h 661"/>
                <a:gd name="T54" fmla="*/ 150921 w 453"/>
                <a:gd name="T55" fmla="*/ 290073 h 661"/>
                <a:gd name="T56" fmla="*/ 145363 w 453"/>
                <a:gd name="T57" fmla="*/ 283733 h 661"/>
                <a:gd name="T58" fmla="*/ 142370 w 453"/>
                <a:gd name="T59" fmla="*/ 272109 h 661"/>
                <a:gd name="T60" fmla="*/ 142370 w 453"/>
                <a:gd name="T61" fmla="*/ 245162 h 661"/>
                <a:gd name="T62" fmla="*/ 144081 w 453"/>
                <a:gd name="T63" fmla="*/ 226141 h 661"/>
                <a:gd name="T64" fmla="*/ 150066 w 453"/>
                <a:gd name="T65" fmla="*/ 209761 h 661"/>
                <a:gd name="T66" fmla="*/ 159472 w 453"/>
                <a:gd name="T67" fmla="*/ 192325 h 661"/>
                <a:gd name="T68" fmla="*/ 167595 w 453"/>
                <a:gd name="T69" fmla="*/ 174361 h 661"/>
                <a:gd name="T70" fmla="*/ 170588 w 453"/>
                <a:gd name="T71" fmla="*/ 156925 h 661"/>
                <a:gd name="T72" fmla="*/ 166313 w 453"/>
                <a:gd name="T73" fmla="*/ 141074 h 661"/>
                <a:gd name="T74" fmla="*/ 159472 w 453"/>
                <a:gd name="T75" fmla="*/ 129978 h 661"/>
                <a:gd name="T76" fmla="*/ 146646 w 453"/>
                <a:gd name="T77" fmla="*/ 114655 h 661"/>
                <a:gd name="T78" fmla="*/ 142370 w 453"/>
                <a:gd name="T79" fmla="*/ 101446 h 661"/>
                <a:gd name="T80" fmla="*/ 143225 w 453"/>
                <a:gd name="T81" fmla="*/ 91407 h 661"/>
                <a:gd name="T82" fmla="*/ 150921 w 453"/>
                <a:gd name="T83" fmla="*/ 86652 h 661"/>
                <a:gd name="T84" fmla="*/ 173581 w 453"/>
                <a:gd name="T85" fmla="*/ 85595 h 661"/>
                <a:gd name="T86" fmla="*/ 168878 w 453"/>
                <a:gd name="T87" fmla="*/ 79783 h 661"/>
                <a:gd name="T88" fmla="*/ 162037 w 453"/>
                <a:gd name="T89" fmla="*/ 61819 h 661"/>
                <a:gd name="T90" fmla="*/ 158617 w 453"/>
                <a:gd name="T91" fmla="*/ 38571 h 661"/>
                <a:gd name="T92" fmla="*/ 159472 w 453"/>
                <a:gd name="T93" fmla="*/ 23776 h 661"/>
                <a:gd name="T94" fmla="*/ 156907 w 453"/>
                <a:gd name="T95" fmla="*/ 5812 h 661"/>
                <a:gd name="T96" fmla="*/ 148356 w 453"/>
                <a:gd name="T97" fmla="*/ 0 h 66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2" name="Freeform 449">
              <a:extLst>
                <a:ext uri="{FF2B5EF4-FFF2-40B4-BE49-F238E27FC236}">
                  <a16:creationId xmlns:a16="http://schemas.microsoft.com/office/drawing/2014/main" id="{D8E44AE3-3699-4B4B-BE7E-BC59F38CDD9C}"/>
                </a:ext>
              </a:extLst>
            </p:cNvPr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8201026" y="3017838"/>
              <a:ext cx="55563" cy="57150"/>
            </a:xfrm>
            <a:custGeom>
              <a:avLst/>
              <a:gdLst>
                <a:gd name="T0" fmla="*/ 0 w 126"/>
                <a:gd name="T1" fmla="*/ 30480 h 105"/>
                <a:gd name="T2" fmla="*/ 1764 w 126"/>
                <a:gd name="T3" fmla="*/ 26670 h 105"/>
                <a:gd name="T4" fmla="*/ 4410 w 126"/>
                <a:gd name="T5" fmla="*/ 22316 h 105"/>
                <a:gd name="T6" fmla="*/ 7056 w 126"/>
                <a:gd name="T7" fmla="*/ 17961 h 105"/>
                <a:gd name="T8" fmla="*/ 10583 w 126"/>
                <a:gd name="T9" fmla="*/ 13607 h 105"/>
                <a:gd name="T10" fmla="*/ 16316 w 126"/>
                <a:gd name="T11" fmla="*/ 5987 h 105"/>
                <a:gd name="T12" fmla="*/ 20726 w 126"/>
                <a:gd name="T13" fmla="*/ 0 h 105"/>
                <a:gd name="T14" fmla="*/ 49830 w 126"/>
                <a:gd name="T15" fmla="*/ 0 h 105"/>
                <a:gd name="T16" fmla="*/ 50271 w 126"/>
                <a:gd name="T17" fmla="*/ 2177 h 105"/>
                <a:gd name="T18" fmla="*/ 50712 w 126"/>
                <a:gd name="T19" fmla="*/ 4354 h 105"/>
                <a:gd name="T20" fmla="*/ 51594 w 126"/>
                <a:gd name="T21" fmla="*/ 6531 h 105"/>
                <a:gd name="T22" fmla="*/ 52476 w 126"/>
                <a:gd name="T23" fmla="*/ 7620 h 105"/>
                <a:gd name="T24" fmla="*/ 54681 w 126"/>
                <a:gd name="T25" fmla="*/ 10886 h 105"/>
                <a:gd name="T26" fmla="*/ 55563 w 126"/>
                <a:gd name="T27" fmla="*/ 13063 h 105"/>
                <a:gd name="T28" fmla="*/ 55563 w 126"/>
                <a:gd name="T29" fmla="*/ 17417 h 105"/>
                <a:gd name="T30" fmla="*/ 55122 w 126"/>
                <a:gd name="T31" fmla="*/ 22316 h 105"/>
                <a:gd name="T32" fmla="*/ 54681 w 126"/>
                <a:gd name="T33" fmla="*/ 26126 h 105"/>
                <a:gd name="T34" fmla="*/ 53799 w 126"/>
                <a:gd name="T35" fmla="*/ 29936 h 105"/>
                <a:gd name="T36" fmla="*/ 52476 w 126"/>
                <a:gd name="T37" fmla="*/ 33746 h 105"/>
                <a:gd name="T38" fmla="*/ 51153 w 126"/>
                <a:gd name="T39" fmla="*/ 37556 h 105"/>
                <a:gd name="T40" fmla="*/ 49389 w 126"/>
                <a:gd name="T41" fmla="*/ 40821 h 105"/>
                <a:gd name="T42" fmla="*/ 47625 w 126"/>
                <a:gd name="T43" fmla="*/ 44087 h 105"/>
                <a:gd name="T44" fmla="*/ 45862 w 126"/>
                <a:gd name="T45" fmla="*/ 46809 h 105"/>
                <a:gd name="T46" fmla="*/ 43657 w 126"/>
                <a:gd name="T47" fmla="*/ 48986 h 105"/>
                <a:gd name="T48" fmla="*/ 41011 w 126"/>
                <a:gd name="T49" fmla="*/ 51163 h 105"/>
                <a:gd name="T50" fmla="*/ 38806 w 126"/>
                <a:gd name="T51" fmla="*/ 53884 h 105"/>
                <a:gd name="T52" fmla="*/ 35719 w 126"/>
                <a:gd name="T53" fmla="*/ 54973 h 105"/>
                <a:gd name="T54" fmla="*/ 32632 w 126"/>
                <a:gd name="T55" fmla="*/ 56061 h 105"/>
                <a:gd name="T56" fmla="*/ 29545 w 126"/>
                <a:gd name="T57" fmla="*/ 57150 h 105"/>
                <a:gd name="T58" fmla="*/ 26459 w 126"/>
                <a:gd name="T59" fmla="*/ 57150 h 105"/>
                <a:gd name="T60" fmla="*/ 21167 w 126"/>
                <a:gd name="T61" fmla="*/ 56606 h 105"/>
                <a:gd name="T62" fmla="*/ 16757 w 126"/>
                <a:gd name="T63" fmla="*/ 55517 h 105"/>
                <a:gd name="T64" fmla="*/ 13670 w 126"/>
                <a:gd name="T65" fmla="*/ 53340 h 105"/>
                <a:gd name="T66" fmla="*/ 10583 w 126"/>
                <a:gd name="T67" fmla="*/ 50074 h 105"/>
                <a:gd name="T68" fmla="*/ 8820 w 126"/>
                <a:gd name="T69" fmla="*/ 46809 h 105"/>
                <a:gd name="T70" fmla="*/ 7056 w 126"/>
                <a:gd name="T71" fmla="*/ 42454 h 105"/>
                <a:gd name="T72" fmla="*/ 6174 w 126"/>
                <a:gd name="T73" fmla="*/ 38100 h 105"/>
                <a:gd name="T74" fmla="*/ 5733 w 126"/>
                <a:gd name="T75" fmla="*/ 33746 h 105"/>
                <a:gd name="T76" fmla="*/ 0 w 126"/>
                <a:gd name="T77" fmla="*/ 30480 h 10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3" name="Freeform 450">
              <a:extLst>
                <a:ext uri="{FF2B5EF4-FFF2-40B4-BE49-F238E27FC236}">
                  <a16:creationId xmlns:a16="http://schemas.microsoft.com/office/drawing/2014/main" id="{D5F9C66F-B205-412D-854D-B35D1130446C}"/>
                </a:ext>
              </a:extLst>
            </p:cNvPr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3556000" y="3281364"/>
              <a:ext cx="298450" cy="523875"/>
            </a:xfrm>
            <a:custGeom>
              <a:avLst/>
              <a:gdLst>
                <a:gd name="T0" fmla="*/ 292778 w 684"/>
                <a:gd name="T1" fmla="*/ 300782 h 998"/>
                <a:gd name="T2" fmla="*/ 296705 w 684"/>
                <a:gd name="T3" fmla="*/ 288709 h 998"/>
                <a:gd name="T4" fmla="*/ 292778 w 684"/>
                <a:gd name="T5" fmla="*/ 257738 h 998"/>
                <a:gd name="T6" fmla="*/ 287542 w 684"/>
                <a:gd name="T7" fmla="*/ 222043 h 998"/>
                <a:gd name="T8" fmla="*/ 295832 w 684"/>
                <a:gd name="T9" fmla="*/ 204196 h 998"/>
                <a:gd name="T10" fmla="*/ 243036 w 684"/>
                <a:gd name="T11" fmla="*/ 189498 h 998"/>
                <a:gd name="T12" fmla="*/ 232564 w 684"/>
                <a:gd name="T13" fmla="*/ 171126 h 998"/>
                <a:gd name="T14" fmla="*/ 201585 w 684"/>
                <a:gd name="T15" fmla="*/ 162727 h 998"/>
                <a:gd name="T16" fmla="*/ 175405 w 684"/>
                <a:gd name="T17" fmla="*/ 141730 h 998"/>
                <a:gd name="T18" fmla="*/ 163624 w 684"/>
                <a:gd name="T19" fmla="*/ 105510 h 998"/>
                <a:gd name="T20" fmla="*/ 163624 w 684"/>
                <a:gd name="T21" fmla="*/ 69815 h 998"/>
                <a:gd name="T22" fmla="*/ 172351 w 684"/>
                <a:gd name="T23" fmla="*/ 44094 h 998"/>
                <a:gd name="T24" fmla="*/ 189804 w 684"/>
                <a:gd name="T25" fmla="*/ 25196 h 998"/>
                <a:gd name="T26" fmla="*/ 202021 w 684"/>
                <a:gd name="T27" fmla="*/ 5774 h 998"/>
                <a:gd name="T28" fmla="*/ 169733 w 684"/>
                <a:gd name="T29" fmla="*/ 20472 h 998"/>
                <a:gd name="T30" fmla="*/ 146171 w 684"/>
                <a:gd name="T31" fmla="*/ 35695 h 998"/>
                <a:gd name="T32" fmla="*/ 132644 w 684"/>
                <a:gd name="T33" fmla="*/ 40944 h 998"/>
                <a:gd name="T34" fmla="*/ 121300 w 684"/>
                <a:gd name="T35" fmla="*/ 44094 h 998"/>
                <a:gd name="T36" fmla="*/ 105156 w 684"/>
                <a:gd name="T37" fmla="*/ 42519 h 998"/>
                <a:gd name="T38" fmla="*/ 94684 w 684"/>
                <a:gd name="T39" fmla="*/ 56692 h 998"/>
                <a:gd name="T40" fmla="*/ 85521 w 684"/>
                <a:gd name="T41" fmla="*/ 91862 h 998"/>
                <a:gd name="T42" fmla="*/ 68504 w 684"/>
                <a:gd name="T43" fmla="*/ 119158 h 998"/>
                <a:gd name="T44" fmla="*/ 46687 w 684"/>
                <a:gd name="T45" fmla="*/ 149079 h 998"/>
                <a:gd name="T46" fmla="*/ 39270 w 684"/>
                <a:gd name="T47" fmla="*/ 166401 h 998"/>
                <a:gd name="T48" fmla="*/ 37524 w 684"/>
                <a:gd name="T49" fmla="*/ 186873 h 998"/>
                <a:gd name="T50" fmla="*/ 42324 w 684"/>
                <a:gd name="T51" fmla="*/ 200521 h 998"/>
                <a:gd name="T52" fmla="*/ 42324 w 684"/>
                <a:gd name="T53" fmla="*/ 236741 h 998"/>
                <a:gd name="T54" fmla="*/ 41451 w 684"/>
                <a:gd name="T55" fmla="*/ 275586 h 998"/>
                <a:gd name="T56" fmla="*/ 31416 w 684"/>
                <a:gd name="T57" fmla="*/ 295533 h 998"/>
                <a:gd name="T58" fmla="*/ 16144 w 684"/>
                <a:gd name="T59" fmla="*/ 310756 h 998"/>
                <a:gd name="T60" fmla="*/ 4800 w 684"/>
                <a:gd name="T61" fmla="*/ 321254 h 998"/>
                <a:gd name="T62" fmla="*/ 13090 w 684"/>
                <a:gd name="T63" fmla="*/ 350650 h 998"/>
                <a:gd name="T64" fmla="*/ 53669 w 684"/>
                <a:gd name="T65" fmla="*/ 380571 h 998"/>
                <a:gd name="T66" fmla="*/ 76358 w 684"/>
                <a:gd name="T67" fmla="*/ 382145 h 998"/>
                <a:gd name="T68" fmla="*/ 102101 w 684"/>
                <a:gd name="T69" fmla="*/ 391594 h 998"/>
                <a:gd name="T70" fmla="*/ 130463 w 684"/>
                <a:gd name="T71" fmla="*/ 417315 h 998"/>
                <a:gd name="T72" fmla="*/ 147043 w 684"/>
                <a:gd name="T73" fmla="*/ 446186 h 998"/>
                <a:gd name="T74" fmla="*/ 160133 w 684"/>
                <a:gd name="T75" fmla="*/ 462459 h 998"/>
                <a:gd name="T76" fmla="*/ 179768 w 684"/>
                <a:gd name="T77" fmla="*/ 465083 h 998"/>
                <a:gd name="T78" fmla="*/ 201585 w 684"/>
                <a:gd name="T79" fmla="*/ 459834 h 998"/>
                <a:gd name="T80" fmla="*/ 214675 w 684"/>
                <a:gd name="T81" fmla="*/ 460884 h 998"/>
                <a:gd name="T82" fmla="*/ 224710 w 684"/>
                <a:gd name="T83" fmla="*/ 474532 h 998"/>
                <a:gd name="T84" fmla="*/ 223838 w 684"/>
                <a:gd name="T85" fmla="*/ 483981 h 998"/>
                <a:gd name="T86" fmla="*/ 212929 w 684"/>
                <a:gd name="T87" fmla="*/ 491855 h 998"/>
                <a:gd name="T88" fmla="*/ 212929 w 684"/>
                <a:gd name="T89" fmla="*/ 505503 h 998"/>
                <a:gd name="T90" fmla="*/ 222965 w 684"/>
                <a:gd name="T91" fmla="*/ 521775 h 998"/>
                <a:gd name="T92" fmla="*/ 236491 w 684"/>
                <a:gd name="T93" fmla="*/ 504978 h 998"/>
                <a:gd name="T94" fmla="*/ 246963 w 684"/>
                <a:gd name="T95" fmla="*/ 451960 h 998"/>
                <a:gd name="T96" fmla="*/ 249145 w 684"/>
                <a:gd name="T97" fmla="*/ 421515 h 998"/>
                <a:gd name="T98" fmla="*/ 242163 w 684"/>
                <a:gd name="T99" fmla="*/ 404717 h 998"/>
                <a:gd name="T100" fmla="*/ 228201 w 684"/>
                <a:gd name="T101" fmla="*/ 393169 h 998"/>
                <a:gd name="T102" fmla="*/ 227328 w 684"/>
                <a:gd name="T103" fmla="*/ 379521 h 998"/>
                <a:gd name="T104" fmla="*/ 246963 w 684"/>
                <a:gd name="T105" fmla="*/ 367447 h 998"/>
                <a:gd name="T106" fmla="*/ 242600 w 684"/>
                <a:gd name="T107" fmla="*/ 349075 h 998"/>
                <a:gd name="T108" fmla="*/ 242600 w 684"/>
                <a:gd name="T109" fmla="*/ 340676 h 998"/>
                <a:gd name="T110" fmla="*/ 285796 w 684"/>
                <a:gd name="T111" fmla="*/ 329653 h 99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4" name="Freeform 451">
              <a:extLst>
                <a:ext uri="{FF2B5EF4-FFF2-40B4-BE49-F238E27FC236}">
                  <a16:creationId xmlns:a16="http://schemas.microsoft.com/office/drawing/2014/main" id="{136F9E8A-DDA3-469B-9941-CD2A05652B23}"/>
                </a:ext>
              </a:extLst>
            </p:cNvPr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5808664" y="3549650"/>
              <a:ext cx="187325" cy="274638"/>
            </a:xfrm>
            <a:custGeom>
              <a:avLst/>
              <a:gdLst>
                <a:gd name="T0" fmla="*/ 187325 w 429"/>
                <a:gd name="T1" fmla="*/ 11531 h 524"/>
                <a:gd name="T2" fmla="*/ 186888 w 429"/>
                <a:gd name="T3" fmla="*/ 22537 h 524"/>
                <a:gd name="T4" fmla="*/ 185142 w 429"/>
                <a:gd name="T5" fmla="*/ 28302 h 524"/>
                <a:gd name="T6" fmla="*/ 181212 w 429"/>
                <a:gd name="T7" fmla="*/ 35116 h 524"/>
                <a:gd name="T8" fmla="*/ 180339 w 429"/>
                <a:gd name="T9" fmla="*/ 42454 h 524"/>
                <a:gd name="T10" fmla="*/ 180775 w 429"/>
                <a:gd name="T11" fmla="*/ 83859 h 524"/>
                <a:gd name="T12" fmla="*/ 178155 w 429"/>
                <a:gd name="T13" fmla="*/ 108492 h 524"/>
                <a:gd name="T14" fmla="*/ 172915 w 429"/>
                <a:gd name="T15" fmla="*/ 126313 h 524"/>
                <a:gd name="T16" fmla="*/ 162436 w 429"/>
                <a:gd name="T17" fmla="*/ 145705 h 524"/>
                <a:gd name="T18" fmla="*/ 147589 w 429"/>
                <a:gd name="T19" fmla="*/ 161953 h 524"/>
                <a:gd name="T20" fmla="*/ 139293 w 429"/>
                <a:gd name="T21" fmla="*/ 174531 h 524"/>
                <a:gd name="T22" fmla="*/ 136236 w 429"/>
                <a:gd name="T23" fmla="*/ 215937 h 524"/>
                <a:gd name="T24" fmla="*/ 132743 w 429"/>
                <a:gd name="T25" fmla="*/ 230088 h 524"/>
                <a:gd name="T26" fmla="*/ 126630 w 429"/>
                <a:gd name="T27" fmla="*/ 234805 h 524"/>
                <a:gd name="T28" fmla="*/ 117460 w 429"/>
                <a:gd name="T29" fmla="*/ 238474 h 524"/>
                <a:gd name="T30" fmla="*/ 110474 w 429"/>
                <a:gd name="T31" fmla="*/ 247384 h 524"/>
                <a:gd name="T32" fmla="*/ 102177 w 429"/>
                <a:gd name="T33" fmla="*/ 262059 h 524"/>
                <a:gd name="T34" fmla="*/ 97374 w 429"/>
                <a:gd name="T35" fmla="*/ 264680 h 524"/>
                <a:gd name="T36" fmla="*/ 87768 w 429"/>
                <a:gd name="T37" fmla="*/ 264156 h 524"/>
                <a:gd name="T38" fmla="*/ 82528 w 429"/>
                <a:gd name="T39" fmla="*/ 261011 h 524"/>
                <a:gd name="T40" fmla="*/ 63315 w 429"/>
                <a:gd name="T41" fmla="*/ 262059 h 524"/>
                <a:gd name="T42" fmla="*/ 53709 w 429"/>
                <a:gd name="T43" fmla="*/ 262059 h 524"/>
                <a:gd name="T44" fmla="*/ 49342 w 429"/>
                <a:gd name="T45" fmla="*/ 258914 h 524"/>
                <a:gd name="T46" fmla="*/ 41482 w 429"/>
                <a:gd name="T47" fmla="*/ 258390 h 524"/>
                <a:gd name="T48" fmla="*/ 34059 w 429"/>
                <a:gd name="T49" fmla="*/ 263107 h 524"/>
                <a:gd name="T50" fmla="*/ 27073 w 429"/>
                <a:gd name="T51" fmla="*/ 272017 h 524"/>
                <a:gd name="T52" fmla="*/ 11790 w 429"/>
                <a:gd name="T53" fmla="*/ 257342 h 524"/>
                <a:gd name="T54" fmla="*/ 2620 w 429"/>
                <a:gd name="T55" fmla="*/ 234281 h 524"/>
                <a:gd name="T56" fmla="*/ 10916 w 429"/>
                <a:gd name="T57" fmla="*/ 225371 h 524"/>
                <a:gd name="T58" fmla="*/ 18340 w 429"/>
                <a:gd name="T59" fmla="*/ 222226 h 524"/>
                <a:gd name="T60" fmla="*/ 26636 w 429"/>
                <a:gd name="T61" fmla="*/ 224323 h 524"/>
                <a:gd name="T62" fmla="*/ 25326 w 429"/>
                <a:gd name="T63" fmla="*/ 219081 h 524"/>
                <a:gd name="T64" fmla="*/ 19649 w 429"/>
                <a:gd name="T65" fmla="*/ 202310 h 524"/>
                <a:gd name="T66" fmla="*/ 20523 w 429"/>
                <a:gd name="T67" fmla="*/ 191827 h 524"/>
                <a:gd name="T68" fmla="*/ 24889 w 429"/>
                <a:gd name="T69" fmla="*/ 186586 h 524"/>
                <a:gd name="T70" fmla="*/ 31003 w 429"/>
                <a:gd name="T71" fmla="*/ 184490 h 524"/>
                <a:gd name="T72" fmla="*/ 38862 w 429"/>
                <a:gd name="T73" fmla="*/ 176628 h 524"/>
                <a:gd name="T74" fmla="*/ 45412 w 429"/>
                <a:gd name="T75" fmla="*/ 174531 h 524"/>
                <a:gd name="T76" fmla="*/ 50215 w 429"/>
                <a:gd name="T77" fmla="*/ 179248 h 524"/>
                <a:gd name="T78" fmla="*/ 58948 w 429"/>
                <a:gd name="T79" fmla="*/ 188158 h 524"/>
                <a:gd name="T80" fmla="*/ 67245 w 429"/>
                <a:gd name="T81" fmla="*/ 183966 h 524"/>
                <a:gd name="T82" fmla="*/ 79035 w 429"/>
                <a:gd name="T83" fmla="*/ 185014 h 524"/>
                <a:gd name="T84" fmla="*/ 86894 w 429"/>
                <a:gd name="T85" fmla="*/ 178200 h 524"/>
                <a:gd name="T86" fmla="*/ 91698 w 429"/>
                <a:gd name="T87" fmla="*/ 165097 h 524"/>
                <a:gd name="T88" fmla="*/ 93008 w 429"/>
                <a:gd name="T89" fmla="*/ 151994 h 524"/>
                <a:gd name="T90" fmla="*/ 93881 w 429"/>
                <a:gd name="T91" fmla="*/ 140988 h 524"/>
                <a:gd name="T92" fmla="*/ 87768 w 429"/>
                <a:gd name="T93" fmla="*/ 123692 h 524"/>
                <a:gd name="T94" fmla="*/ 82091 w 429"/>
                <a:gd name="T95" fmla="*/ 106396 h 524"/>
                <a:gd name="T96" fmla="*/ 90388 w 429"/>
                <a:gd name="T97" fmla="*/ 92769 h 524"/>
                <a:gd name="T98" fmla="*/ 91698 w 429"/>
                <a:gd name="T99" fmla="*/ 85955 h 524"/>
                <a:gd name="T100" fmla="*/ 87331 w 429"/>
                <a:gd name="T101" fmla="*/ 81238 h 524"/>
                <a:gd name="T102" fmla="*/ 86021 w 429"/>
                <a:gd name="T103" fmla="*/ 71804 h 524"/>
                <a:gd name="T104" fmla="*/ 82091 w 429"/>
                <a:gd name="T105" fmla="*/ 67611 h 524"/>
                <a:gd name="T106" fmla="*/ 70301 w 429"/>
                <a:gd name="T107" fmla="*/ 69184 h 524"/>
                <a:gd name="T108" fmla="*/ 59822 w 429"/>
                <a:gd name="T109" fmla="*/ 68660 h 524"/>
                <a:gd name="T110" fmla="*/ 54582 w 429"/>
                <a:gd name="T111" fmla="*/ 62370 h 524"/>
                <a:gd name="T112" fmla="*/ 53709 w 429"/>
                <a:gd name="T113" fmla="*/ 53984 h 524"/>
                <a:gd name="T114" fmla="*/ 57638 w 429"/>
                <a:gd name="T115" fmla="*/ 39833 h 524"/>
                <a:gd name="T116" fmla="*/ 133616 w 429"/>
                <a:gd name="T117" fmla="*/ 19916 h 524"/>
                <a:gd name="T118" fmla="*/ 141040 w 429"/>
                <a:gd name="T119" fmla="*/ 8910 h 524"/>
                <a:gd name="T120" fmla="*/ 149773 w 429"/>
                <a:gd name="T121" fmla="*/ 3669 h 524"/>
                <a:gd name="T122" fmla="*/ 163309 w 429"/>
                <a:gd name="T123" fmla="*/ 2621 h 524"/>
                <a:gd name="T124" fmla="*/ 178155 w 429"/>
                <a:gd name="T125" fmla="*/ 2096 h 52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5" name="Freeform 452">
              <a:extLst>
                <a:ext uri="{FF2B5EF4-FFF2-40B4-BE49-F238E27FC236}">
                  <a16:creationId xmlns:a16="http://schemas.microsoft.com/office/drawing/2014/main" id="{E955F136-370E-4B80-8395-3F9BC85A330E}"/>
                </a:ext>
              </a:extLst>
            </p:cNvPr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5840413" y="2192338"/>
              <a:ext cx="127000" cy="114300"/>
            </a:xfrm>
            <a:custGeom>
              <a:avLst/>
              <a:gdLst>
                <a:gd name="T0" fmla="*/ 112647 w 292"/>
                <a:gd name="T1" fmla="*/ 47668 h 223"/>
                <a:gd name="T2" fmla="*/ 72199 w 292"/>
                <a:gd name="T3" fmla="*/ 39467 h 223"/>
                <a:gd name="T4" fmla="*/ 66110 w 292"/>
                <a:gd name="T5" fmla="*/ 40492 h 223"/>
                <a:gd name="T6" fmla="*/ 60455 w 292"/>
                <a:gd name="T7" fmla="*/ 40492 h 223"/>
                <a:gd name="T8" fmla="*/ 54801 w 292"/>
                <a:gd name="T9" fmla="*/ 39467 h 223"/>
                <a:gd name="T10" fmla="*/ 51757 w 292"/>
                <a:gd name="T11" fmla="*/ 47668 h 223"/>
                <a:gd name="T12" fmla="*/ 62630 w 292"/>
                <a:gd name="T13" fmla="*/ 67145 h 223"/>
                <a:gd name="T14" fmla="*/ 73068 w 292"/>
                <a:gd name="T15" fmla="*/ 80471 h 223"/>
                <a:gd name="T16" fmla="*/ 82202 w 292"/>
                <a:gd name="T17" fmla="*/ 94823 h 223"/>
                <a:gd name="T18" fmla="*/ 85682 w 292"/>
                <a:gd name="T19" fmla="*/ 103536 h 223"/>
                <a:gd name="T20" fmla="*/ 89161 w 292"/>
                <a:gd name="T21" fmla="*/ 113787 h 223"/>
                <a:gd name="T22" fmla="*/ 76113 w 292"/>
                <a:gd name="T23" fmla="*/ 114300 h 223"/>
                <a:gd name="T24" fmla="*/ 70024 w 292"/>
                <a:gd name="T25" fmla="*/ 113787 h 223"/>
                <a:gd name="T26" fmla="*/ 63500 w 292"/>
                <a:gd name="T27" fmla="*/ 110712 h 223"/>
                <a:gd name="T28" fmla="*/ 58281 w 292"/>
                <a:gd name="T29" fmla="*/ 107124 h 223"/>
                <a:gd name="T30" fmla="*/ 55236 w 292"/>
                <a:gd name="T31" fmla="*/ 101486 h 223"/>
                <a:gd name="T32" fmla="*/ 52627 w 292"/>
                <a:gd name="T33" fmla="*/ 95848 h 223"/>
                <a:gd name="T34" fmla="*/ 49147 w 292"/>
                <a:gd name="T35" fmla="*/ 92260 h 223"/>
                <a:gd name="T36" fmla="*/ 39579 w 292"/>
                <a:gd name="T37" fmla="*/ 74321 h 223"/>
                <a:gd name="T38" fmla="*/ 29575 w 292"/>
                <a:gd name="T39" fmla="*/ 57919 h 223"/>
                <a:gd name="T40" fmla="*/ 23921 w 292"/>
                <a:gd name="T41" fmla="*/ 50743 h 223"/>
                <a:gd name="T42" fmla="*/ 18267 w 292"/>
                <a:gd name="T43" fmla="*/ 44592 h 223"/>
                <a:gd name="T44" fmla="*/ 11743 w 292"/>
                <a:gd name="T45" fmla="*/ 40492 h 223"/>
                <a:gd name="T46" fmla="*/ 5654 w 292"/>
                <a:gd name="T47" fmla="*/ 38442 h 223"/>
                <a:gd name="T48" fmla="*/ 1740 w 292"/>
                <a:gd name="T49" fmla="*/ 33316 h 223"/>
                <a:gd name="T50" fmla="*/ 435 w 292"/>
                <a:gd name="T51" fmla="*/ 29728 h 223"/>
                <a:gd name="T52" fmla="*/ 0 w 292"/>
                <a:gd name="T53" fmla="*/ 25115 h 223"/>
                <a:gd name="T54" fmla="*/ 17397 w 292"/>
                <a:gd name="T55" fmla="*/ 28191 h 223"/>
                <a:gd name="T56" fmla="*/ 30445 w 292"/>
                <a:gd name="T57" fmla="*/ 28191 h 223"/>
                <a:gd name="T58" fmla="*/ 39579 w 292"/>
                <a:gd name="T59" fmla="*/ 25628 h 223"/>
                <a:gd name="T60" fmla="*/ 46103 w 292"/>
                <a:gd name="T61" fmla="*/ 21015 h 223"/>
                <a:gd name="T62" fmla="*/ 55236 w 292"/>
                <a:gd name="T63" fmla="*/ 10251 h 223"/>
                <a:gd name="T64" fmla="*/ 60021 w 292"/>
                <a:gd name="T65" fmla="*/ 4613 h 223"/>
                <a:gd name="T66" fmla="*/ 66110 w 292"/>
                <a:gd name="T67" fmla="*/ 0 h 223"/>
                <a:gd name="T68" fmla="*/ 74808 w 292"/>
                <a:gd name="T69" fmla="*/ 7176 h 223"/>
                <a:gd name="T70" fmla="*/ 84377 w 292"/>
                <a:gd name="T71" fmla="*/ 13326 h 223"/>
                <a:gd name="T72" fmla="*/ 94815 w 292"/>
                <a:gd name="T73" fmla="*/ 17427 h 223"/>
                <a:gd name="T74" fmla="*/ 106993 w 292"/>
                <a:gd name="T75" fmla="*/ 18965 h 223"/>
                <a:gd name="T76" fmla="*/ 113952 w 292"/>
                <a:gd name="T77" fmla="*/ 17427 h 223"/>
                <a:gd name="T78" fmla="*/ 121346 w 292"/>
                <a:gd name="T79" fmla="*/ 15889 h 223"/>
                <a:gd name="T80" fmla="*/ 123955 w 292"/>
                <a:gd name="T81" fmla="*/ 24090 h 223"/>
                <a:gd name="T82" fmla="*/ 124825 w 292"/>
                <a:gd name="T83" fmla="*/ 25115 h 223"/>
                <a:gd name="T84" fmla="*/ 127000 w 292"/>
                <a:gd name="T85" fmla="*/ 35366 h 22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6" name="Freeform 453">
              <a:extLst>
                <a:ext uri="{FF2B5EF4-FFF2-40B4-BE49-F238E27FC236}">
                  <a16:creationId xmlns:a16="http://schemas.microsoft.com/office/drawing/2014/main" id="{D5C00F51-EA7B-4254-88C5-6FC31B775BE8}"/>
                </a:ext>
              </a:extLst>
            </p:cNvPr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5791201" y="2051050"/>
              <a:ext cx="168275" cy="77788"/>
            </a:xfrm>
            <a:custGeom>
              <a:avLst/>
              <a:gdLst>
                <a:gd name="T0" fmla="*/ 166499 w 379"/>
                <a:gd name="T1" fmla="*/ 49742 h 147"/>
                <a:gd name="T2" fmla="*/ 159839 w 379"/>
                <a:gd name="T3" fmla="*/ 53446 h 147"/>
                <a:gd name="T4" fmla="*/ 157175 w 379"/>
                <a:gd name="T5" fmla="*/ 57150 h 147"/>
                <a:gd name="T6" fmla="*/ 154067 w 379"/>
                <a:gd name="T7" fmla="*/ 61913 h 147"/>
                <a:gd name="T8" fmla="*/ 147851 w 379"/>
                <a:gd name="T9" fmla="*/ 67205 h 147"/>
                <a:gd name="T10" fmla="*/ 142079 w 379"/>
                <a:gd name="T11" fmla="*/ 69321 h 147"/>
                <a:gd name="T12" fmla="*/ 138083 w 379"/>
                <a:gd name="T13" fmla="*/ 69850 h 147"/>
                <a:gd name="T14" fmla="*/ 133643 w 379"/>
                <a:gd name="T15" fmla="*/ 68792 h 147"/>
                <a:gd name="T16" fmla="*/ 129203 w 379"/>
                <a:gd name="T17" fmla="*/ 66675 h 147"/>
                <a:gd name="T18" fmla="*/ 124763 w 379"/>
                <a:gd name="T19" fmla="*/ 62971 h 147"/>
                <a:gd name="T20" fmla="*/ 122099 w 379"/>
                <a:gd name="T21" fmla="*/ 61384 h 147"/>
                <a:gd name="T22" fmla="*/ 119435 w 379"/>
                <a:gd name="T23" fmla="*/ 62442 h 147"/>
                <a:gd name="T24" fmla="*/ 118547 w 379"/>
                <a:gd name="T25" fmla="*/ 65088 h 147"/>
                <a:gd name="T26" fmla="*/ 118103 w 379"/>
                <a:gd name="T27" fmla="*/ 74084 h 147"/>
                <a:gd name="T28" fmla="*/ 114107 w 379"/>
                <a:gd name="T29" fmla="*/ 76730 h 147"/>
                <a:gd name="T30" fmla="*/ 108335 w 379"/>
                <a:gd name="T31" fmla="*/ 74084 h 147"/>
                <a:gd name="T32" fmla="*/ 101675 w 379"/>
                <a:gd name="T33" fmla="*/ 69321 h 147"/>
                <a:gd name="T34" fmla="*/ 50172 w 379"/>
                <a:gd name="T35" fmla="*/ 74613 h 147"/>
                <a:gd name="T36" fmla="*/ 35520 w 379"/>
                <a:gd name="T37" fmla="*/ 65617 h 147"/>
                <a:gd name="T38" fmla="*/ 25752 w 379"/>
                <a:gd name="T39" fmla="*/ 57680 h 147"/>
                <a:gd name="T40" fmla="*/ 19980 w 379"/>
                <a:gd name="T41" fmla="*/ 49742 h 147"/>
                <a:gd name="T42" fmla="*/ 16428 w 379"/>
                <a:gd name="T43" fmla="*/ 43392 h 147"/>
                <a:gd name="T44" fmla="*/ 11544 w 379"/>
                <a:gd name="T45" fmla="*/ 31221 h 147"/>
                <a:gd name="T46" fmla="*/ 7104 w 379"/>
                <a:gd name="T47" fmla="*/ 25400 h 147"/>
                <a:gd name="T48" fmla="*/ 0 w 379"/>
                <a:gd name="T49" fmla="*/ 19050 h 147"/>
                <a:gd name="T50" fmla="*/ 12876 w 379"/>
                <a:gd name="T51" fmla="*/ 21167 h 147"/>
                <a:gd name="T52" fmla="*/ 23088 w 379"/>
                <a:gd name="T53" fmla="*/ 20108 h 147"/>
                <a:gd name="T54" fmla="*/ 31968 w 379"/>
                <a:gd name="T55" fmla="*/ 17463 h 147"/>
                <a:gd name="T56" fmla="*/ 38628 w 379"/>
                <a:gd name="T57" fmla="*/ 13229 h 147"/>
                <a:gd name="T58" fmla="*/ 52836 w 379"/>
                <a:gd name="T59" fmla="*/ 4233 h 147"/>
                <a:gd name="T60" fmla="*/ 61272 w 379"/>
                <a:gd name="T61" fmla="*/ 1058 h 147"/>
                <a:gd name="T62" fmla="*/ 70596 w 379"/>
                <a:gd name="T63" fmla="*/ 0 h 147"/>
                <a:gd name="T64" fmla="*/ 88799 w 379"/>
                <a:gd name="T65" fmla="*/ 12171 h 147"/>
                <a:gd name="T66" fmla="*/ 108335 w 379"/>
                <a:gd name="T67" fmla="*/ 23813 h 147"/>
                <a:gd name="T68" fmla="*/ 129647 w 379"/>
                <a:gd name="T69" fmla="*/ 35454 h 147"/>
                <a:gd name="T70" fmla="*/ 147851 w 379"/>
                <a:gd name="T71" fmla="*/ 42334 h 147"/>
                <a:gd name="T72" fmla="*/ 157175 w 379"/>
                <a:gd name="T73" fmla="*/ 45509 h 147"/>
                <a:gd name="T74" fmla="*/ 168275 w 379"/>
                <a:gd name="T75" fmla="*/ 48684 h 14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7" name="Freeform 454">
              <a:extLst>
                <a:ext uri="{FF2B5EF4-FFF2-40B4-BE49-F238E27FC236}">
                  <a16:creationId xmlns:a16="http://schemas.microsoft.com/office/drawing/2014/main" id="{92C6B85A-6F3A-411D-AFA0-52F565777F55}"/>
                </a:ext>
              </a:extLst>
            </p:cNvPr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5754688" y="1906589"/>
              <a:ext cx="30162" cy="60325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8103 h 67"/>
                <a:gd name="T4" fmla="*/ 0 w 61"/>
                <a:gd name="T5" fmla="*/ 16207 h 67"/>
                <a:gd name="T6" fmla="*/ 494 w 61"/>
                <a:gd name="T7" fmla="*/ 21609 h 67"/>
                <a:gd name="T8" fmla="*/ 989 w 61"/>
                <a:gd name="T9" fmla="*/ 27011 h 67"/>
                <a:gd name="T10" fmla="*/ 1483 w 61"/>
                <a:gd name="T11" fmla="*/ 32413 h 67"/>
                <a:gd name="T12" fmla="*/ 2967 w 61"/>
                <a:gd name="T13" fmla="*/ 37816 h 67"/>
                <a:gd name="T14" fmla="*/ 5934 w 61"/>
                <a:gd name="T15" fmla="*/ 49521 h 67"/>
                <a:gd name="T16" fmla="*/ 10384 w 61"/>
                <a:gd name="T17" fmla="*/ 60325 h 67"/>
                <a:gd name="T18" fmla="*/ 13845 w 61"/>
                <a:gd name="T19" fmla="*/ 58524 h 67"/>
                <a:gd name="T20" fmla="*/ 17306 w 61"/>
                <a:gd name="T21" fmla="*/ 54923 h 67"/>
                <a:gd name="T22" fmla="*/ 20767 w 61"/>
                <a:gd name="T23" fmla="*/ 52222 h 67"/>
                <a:gd name="T24" fmla="*/ 23734 w 61"/>
                <a:gd name="T25" fmla="*/ 47720 h 67"/>
                <a:gd name="T26" fmla="*/ 26206 w 61"/>
                <a:gd name="T27" fmla="*/ 42318 h 67"/>
                <a:gd name="T28" fmla="*/ 28184 w 61"/>
                <a:gd name="T29" fmla="*/ 36015 h 67"/>
                <a:gd name="T30" fmla="*/ 29173 w 61"/>
                <a:gd name="T31" fmla="*/ 28812 h 67"/>
                <a:gd name="T32" fmla="*/ 30162 w 61"/>
                <a:gd name="T33" fmla="*/ 21609 h 67"/>
                <a:gd name="T34" fmla="*/ 26206 w 61"/>
                <a:gd name="T35" fmla="*/ 12605 h 67"/>
                <a:gd name="T36" fmla="*/ 20273 w 61"/>
                <a:gd name="T37" fmla="*/ 0 h 67"/>
                <a:gd name="T38" fmla="*/ 13845 w 61"/>
                <a:gd name="T39" fmla="*/ 2701 h 67"/>
                <a:gd name="T40" fmla="*/ 8900 w 61"/>
                <a:gd name="T41" fmla="*/ 3601 h 67"/>
                <a:gd name="T42" fmla="*/ 6428 w 61"/>
                <a:gd name="T43" fmla="*/ 3601 h 67"/>
                <a:gd name="T44" fmla="*/ 4945 w 61"/>
                <a:gd name="T45" fmla="*/ 2701 h 67"/>
                <a:gd name="T46" fmla="*/ 2967 w 61"/>
                <a:gd name="T47" fmla="*/ 1801 h 67"/>
                <a:gd name="T48" fmla="*/ 0 w 61"/>
                <a:gd name="T49" fmla="*/ 0 h 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8" name="Freeform 455">
              <a:extLst>
                <a:ext uri="{FF2B5EF4-FFF2-40B4-BE49-F238E27FC236}">
                  <a16:creationId xmlns:a16="http://schemas.microsoft.com/office/drawing/2014/main" id="{7E998DDC-41ED-4F6A-A935-638250A82D73}"/>
                </a:ext>
              </a:extLst>
            </p:cNvPr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5726113" y="1911350"/>
              <a:ext cx="25400" cy="58738"/>
            </a:xfrm>
            <a:custGeom>
              <a:avLst/>
              <a:gdLst>
                <a:gd name="T0" fmla="*/ 0 w 60"/>
                <a:gd name="T1" fmla="*/ 6408 h 55"/>
                <a:gd name="T2" fmla="*/ 0 w 60"/>
                <a:gd name="T3" fmla="*/ 25631 h 55"/>
                <a:gd name="T4" fmla="*/ 2117 w 60"/>
                <a:gd name="T5" fmla="*/ 34175 h 55"/>
                <a:gd name="T6" fmla="*/ 4233 w 60"/>
                <a:gd name="T7" fmla="*/ 42719 h 55"/>
                <a:gd name="T8" fmla="*/ 6773 w 60"/>
                <a:gd name="T9" fmla="*/ 48058 h 55"/>
                <a:gd name="T10" fmla="*/ 8890 w 60"/>
                <a:gd name="T11" fmla="*/ 52330 h 55"/>
                <a:gd name="T12" fmla="*/ 11430 w 60"/>
                <a:gd name="T13" fmla="*/ 55534 h 55"/>
                <a:gd name="T14" fmla="*/ 13970 w 60"/>
                <a:gd name="T15" fmla="*/ 57670 h 55"/>
                <a:gd name="T16" fmla="*/ 16933 w 60"/>
                <a:gd name="T17" fmla="*/ 58738 h 55"/>
                <a:gd name="T18" fmla="*/ 19473 w 60"/>
                <a:gd name="T19" fmla="*/ 58738 h 55"/>
                <a:gd name="T20" fmla="*/ 22437 w 60"/>
                <a:gd name="T21" fmla="*/ 55534 h 55"/>
                <a:gd name="T22" fmla="*/ 25400 w 60"/>
                <a:gd name="T23" fmla="*/ 52330 h 55"/>
                <a:gd name="T24" fmla="*/ 21167 w 60"/>
                <a:gd name="T25" fmla="*/ 36311 h 55"/>
                <a:gd name="T26" fmla="*/ 17780 w 60"/>
                <a:gd name="T27" fmla="*/ 23495 h 55"/>
                <a:gd name="T28" fmla="*/ 16510 w 60"/>
                <a:gd name="T29" fmla="*/ 18155 h 55"/>
                <a:gd name="T30" fmla="*/ 14817 w 60"/>
                <a:gd name="T31" fmla="*/ 12816 h 55"/>
                <a:gd name="T32" fmla="*/ 14393 w 60"/>
                <a:gd name="T33" fmla="*/ 6408 h 55"/>
                <a:gd name="T34" fmla="*/ 13970 w 60"/>
                <a:gd name="T35" fmla="*/ 0 h 55"/>
                <a:gd name="T36" fmla="*/ 9737 w 60"/>
                <a:gd name="T37" fmla="*/ 1068 h 55"/>
                <a:gd name="T38" fmla="*/ 6350 w 60"/>
                <a:gd name="T39" fmla="*/ 3204 h 55"/>
                <a:gd name="T40" fmla="*/ 2963 w 60"/>
                <a:gd name="T41" fmla="*/ 5340 h 55"/>
                <a:gd name="T42" fmla="*/ 0 w 60"/>
                <a:gd name="T43" fmla="*/ 6408 h 5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9" name="Freeform 456">
              <a:extLst>
                <a:ext uri="{FF2B5EF4-FFF2-40B4-BE49-F238E27FC236}">
                  <a16:creationId xmlns:a16="http://schemas.microsoft.com/office/drawing/2014/main" id="{712EB2C1-BFB7-42DD-8D24-09DE2B0022F5}"/>
                </a:ext>
              </a:extLst>
            </p:cNvPr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5695950" y="1857375"/>
              <a:ext cx="52388" cy="77788"/>
            </a:xfrm>
            <a:custGeom>
              <a:avLst/>
              <a:gdLst>
                <a:gd name="T0" fmla="*/ 32306 w 120"/>
                <a:gd name="T1" fmla="*/ 67802 h 148"/>
                <a:gd name="T2" fmla="*/ 30560 w 120"/>
                <a:gd name="T3" fmla="*/ 68853 h 148"/>
                <a:gd name="T4" fmla="*/ 29250 w 120"/>
                <a:gd name="T5" fmla="*/ 69378 h 148"/>
                <a:gd name="T6" fmla="*/ 27940 w 120"/>
                <a:gd name="T7" fmla="*/ 69904 h 148"/>
                <a:gd name="T8" fmla="*/ 26194 w 120"/>
                <a:gd name="T9" fmla="*/ 69904 h 148"/>
                <a:gd name="T10" fmla="*/ 24448 w 120"/>
                <a:gd name="T11" fmla="*/ 69904 h 148"/>
                <a:gd name="T12" fmla="*/ 23138 w 120"/>
                <a:gd name="T13" fmla="*/ 69378 h 148"/>
                <a:gd name="T14" fmla="*/ 21828 w 120"/>
                <a:gd name="T15" fmla="*/ 68853 h 148"/>
                <a:gd name="T16" fmla="*/ 20519 w 120"/>
                <a:gd name="T17" fmla="*/ 67802 h 148"/>
                <a:gd name="T18" fmla="*/ 17899 w 120"/>
                <a:gd name="T19" fmla="*/ 67276 h 148"/>
                <a:gd name="T20" fmla="*/ 14843 w 120"/>
                <a:gd name="T21" fmla="*/ 65699 h 148"/>
                <a:gd name="T22" fmla="*/ 11351 w 120"/>
                <a:gd name="T23" fmla="*/ 63071 h 148"/>
                <a:gd name="T24" fmla="*/ 8295 w 120"/>
                <a:gd name="T25" fmla="*/ 60443 h 148"/>
                <a:gd name="T26" fmla="*/ 4802 w 120"/>
                <a:gd name="T27" fmla="*/ 56764 h 148"/>
                <a:gd name="T28" fmla="*/ 2619 w 120"/>
                <a:gd name="T29" fmla="*/ 53085 h 148"/>
                <a:gd name="T30" fmla="*/ 1310 w 120"/>
                <a:gd name="T31" fmla="*/ 50983 h 148"/>
                <a:gd name="T32" fmla="*/ 873 w 120"/>
                <a:gd name="T33" fmla="*/ 49406 h 148"/>
                <a:gd name="T34" fmla="*/ 437 w 120"/>
                <a:gd name="T35" fmla="*/ 47304 h 148"/>
                <a:gd name="T36" fmla="*/ 0 w 120"/>
                <a:gd name="T37" fmla="*/ 45727 h 148"/>
                <a:gd name="T38" fmla="*/ 873 w 120"/>
                <a:gd name="T39" fmla="*/ 38368 h 148"/>
                <a:gd name="T40" fmla="*/ 3493 w 120"/>
                <a:gd name="T41" fmla="*/ 28908 h 148"/>
                <a:gd name="T42" fmla="*/ 6112 w 120"/>
                <a:gd name="T43" fmla="*/ 18396 h 148"/>
                <a:gd name="T44" fmla="*/ 8731 w 120"/>
                <a:gd name="T45" fmla="*/ 9461 h 148"/>
                <a:gd name="T46" fmla="*/ 13970 w 120"/>
                <a:gd name="T47" fmla="*/ 8935 h 148"/>
                <a:gd name="T48" fmla="*/ 18336 w 120"/>
                <a:gd name="T49" fmla="*/ 8410 h 148"/>
                <a:gd name="T50" fmla="*/ 22265 w 120"/>
                <a:gd name="T51" fmla="*/ 7358 h 148"/>
                <a:gd name="T52" fmla="*/ 25321 w 120"/>
                <a:gd name="T53" fmla="*/ 5782 h 148"/>
                <a:gd name="T54" fmla="*/ 30560 w 120"/>
                <a:gd name="T55" fmla="*/ 2628 h 148"/>
                <a:gd name="T56" fmla="*/ 34925 w 120"/>
                <a:gd name="T57" fmla="*/ 0 h 148"/>
                <a:gd name="T58" fmla="*/ 37108 w 120"/>
                <a:gd name="T59" fmla="*/ 1051 h 148"/>
                <a:gd name="T60" fmla="*/ 40601 w 120"/>
                <a:gd name="T61" fmla="*/ 3679 h 148"/>
                <a:gd name="T62" fmla="*/ 42784 w 120"/>
                <a:gd name="T63" fmla="*/ 5256 h 148"/>
                <a:gd name="T64" fmla="*/ 44530 w 120"/>
                <a:gd name="T65" fmla="*/ 6833 h 148"/>
                <a:gd name="T66" fmla="*/ 46276 w 120"/>
                <a:gd name="T67" fmla="*/ 8410 h 148"/>
                <a:gd name="T68" fmla="*/ 46713 w 120"/>
                <a:gd name="T69" fmla="*/ 9461 h 148"/>
                <a:gd name="T70" fmla="*/ 43657 w 120"/>
                <a:gd name="T71" fmla="*/ 14717 h 148"/>
                <a:gd name="T72" fmla="*/ 40601 w 120"/>
                <a:gd name="T73" fmla="*/ 19447 h 148"/>
                <a:gd name="T74" fmla="*/ 41474 w 120"/>
                <a:gd name="T75" fmla="*/ 22075 h 148"/>
                <a:gd name="T76" fmla="*/ 42784 w 120"/>
                <a:gd name="T77" fmla="*/ 25754 h 148"/>
                <a:gd name="T78" fmla="*/ 44530 w 120"/>
                <a:gd name="T79" fmla="*/ 29433 h 148"/>
                <a:gd name="T80" fmla="*/ 46713 w 120"/>
                <a:gd name="T81" fmla="*/ 33112 h 148"/>
                <a:gd name="T82" fmla="*/ 50205 w 120"/>
                <a:gd name="T83" fmla="*/ 39420 h 148"/>
                <a:gd name="T84" fmla="*/ 52388 w 120"/>
                <a:gd name="T85" fmla="*/ 41522 h 148"/>
                <a:gd name="T86" fmla="*/ 49332 w 120"/>
                <a:gd name="T87" fmla="*/ 42573 h 148"/>
                <a:gd name="T88" fmla="*/ 46713 w 120"/>
                <a:gd name="T89" fmla="*/ 44150 h 148"/>
                <a:gd name="T90" fmla="*/ 43657 w 120"/>
                <a:gd name="T91" fmla="*/ 45727 h 148"/>
                <a:gd name="T92" fmla="*/ 41910 w 120"/>
                <a:gd name="T93" fmla="*/ 47829 h 148"/>
                <a:gd name="T94" fmla="*/ 39291 w 120"/>
                <a:gd name="T95" fmla="*/ 49931 h 148"/>
                <a:gd name="T96" fmla="*/ 37981 w 120"/>
                <a:gd name="T97" fmla="*/ 52034 h 148"/>
                <a:gd name="T98" fmla="*/ 35798 w 120"/>
                <a:gd name="T99" fmla="*/ 54662 h 148"/>
                <a:gd name="T100" fmla="*/ 34925 w 120"/>
                <a:gd name="T101" fmla="*/ 57290 h 148"/>
                <a:gd name="T102" fmla="*/ 34052 w 120"/>
                <a:gd name="T103" fmla="*/ 59918 h 148"/>
                <a:gd name="T104" fmla="*/ 33616 w 120"/>
                <a:gd name="T105" fmla="*/ 63071 h 148"/>
                <a:gd name="T106" fmla="*/ 33179 w 120"/>
                <a:gd name="T107" fmla="*/ 65699 h 148"/>
                <a:gd name="T108" fmla="*/ 32743 w 120"/>
                <a:gd name="T109" fmla="*/ 68327 h 148"/>
                <a:gd name="T110" fmla="*/ 33179 w 120"/>
                <a:gd name="T111" fmla="*/ 70955 h 148"/>
                <a:gd name="T112" fmla="*/ 33616 w 120"/>
                <a:gd name="T113" fmla="*/ 73583 h 148"/>
                <a:gd name="T114" fmla="*/ 34052 w 120"/>
                <a:gd name="T115" fmla="*/ 75686 h 148"/>
                <a:gd name="T116" fmla="*/ 34925 w 120"/>
                <a:gd name="T117" fmla="*/ 77788 h 148"/>
                <a:gd name="T118" fmla="*/ 32306 w 120"/>
                <a:gd name="T119" fmla="*/ 67802 h 14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300" name="Freeform 457">
              <a:extLst>
                <a:ext uri="{FF2B5EF4-FFF2-40B4-BE49-F238E27FC236}">
                  <a16:creationId xmlns:a16="http://schemas.microsoft.com/office/drawing/2014/main" id="{70970050-8625-4E30-9286-68BEE70E664F}"/>
                </a:ext>
              </a:extLst>
            </p:cNvPr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6127750" y="2662239"/>
              <a:ext cx="273050" cy="307975"/>
            </a:xfrm>
            <a:custGeom>
              <a:avLst/>
              <a:gdLst>
                <a:gd name="T0" fmla="*/ 9087 w 631"/>
                <a:gd name="T1" fmla="*/ 1040 h 592"/>
                <a:gd name="T2" fmla="*/ 13847 w 631"/>
                <a:gd name="T3" fmla="*/ 2081 h 592"/>
                <a:gd name="T4" fmla="*/ 23367 w 631"/>
                <a:gd name="T5" fmla="*/ 4162 h 592"/>
                <a:gd name="T6" fmla="*/ 33753 w 631"/>
                <a:gd name="T7" fmla="*/ 5723 h 592"/>
                <a:gd name="T8" fmla="*/ 45003 w 631"/>
                <a:gd name="T9" fmla="*/ 9884 h 592"/>
                <a:gd name="T10" fmla="*/ 56254 w 631"/>
                <a:gd name="T11" fmla="*/ 16647 h 592"/>
                <a:gd name="T12" fmla="*/ 63178 w 631"/>
                <a:gd name="T13" fmla="*/ 20809 h 592"/>
                <a:gd name="T14" fmla="*/ 68803 w 631"/>
                <a:gd name="T15" fmla="*/ 22370 h 592"/>
                <a:gd name="T16" fmla="*/ 81785 w 631"/>
                <a:gd name="T17" fmla="*/ 22370 h 592"/>
                <a:gd name="T18" fmla="*/ 98229 w 631"/>
                <a:gd name="T19" fmla="*/ 19248 h 592"/>
                <a:gd name="T20" fmla="*/ 119865 w 631"/>
                <a:gd name="T21" fmla="*/ 11965 h 592"/>
                <a:gd name="T22" fmla="*/ 172658 w 631"/>
                <a:gd name="T23" fmla="*/ 19769 h 592"/>
                <a:gd name="T24" fmla="*/ 174389 w 631"/>
                <a:gd name="T25" fmla="*/ 35896 h 592"/>
                <a:gd name="T26" fmla="*/ 177418 w 631"/>
                <a:gd name="T27" fmla="*/ 49422 h 592"/>
                <a:gd name="T28" fmla="*/ 180447 w 631"/>
                <a:gd name="T29" fmla="*/ 61907 h 592"/>
                <a:gd name="T30" fmla="*/ 184774 w 631"/>
                <a:gd name="T31" fmla="*/ 72832 h 592"/>
                <a:gd name="T32" fmla="*/ 194727 w 631"/>
                <a:gd name="T33" fmla="*/ 91040 h 592"/>
                <a:gd name="T34" fmla="*/ 204247 w 631"/>
                <a:gd name="T35" fmla="*/ 106127 h 592"/>
                <a:gd name="T36" fmla="*/ 208574 w 631"/>
                <a:gd name="T37" fmla="*/ 115491 h 592"/>
                <a:gd name="T38" fmla="*/ 209872 w 631"/>
                <a:gd name="T39" fmla="*/ 124855 h 592"/>
                <a:gd name="T40" fmla="*/ 212468 w 631"/>
                <a:gd name="T41" fmla="*/ 132658 h 592"/>
                <a:gd name="T42" fmla="*/ 214632 w 631"/>
                <a:gd name="T43" fmla="*/ 135780 h 592"/>
                <a:gd name="T44" fmla="*/ 218527 w 631"/>
                <a:gd name="T45" fmla="*/ 138381 h 592"/>
                <a:gd name="T46" fmla="*/ 221988 w 631"/>
                <a:gd name="T47" fmla="*/ 140462 h 592"/>
                <a:gd name="T48" fmla="*/ 224585 w 631"/>
                <a:gd name="T49" fmla="*/ 144623 h 592"/>
                <a:gd name="T50" fmla="*/ 230643 w 631"/>
                <a:gd name="T51" fmla="*/ 157629 h 592"/>
                <a:gd name="T52" fmla="*/ 234105 w 631"/>
                <a:gd name="T53" fmla="*/ 172195 h 592"/>
                <a:gd name="T54" fmla="*/ 235836 w 631"/>
                <a:gd name="T55" fmla="*/ 186242 h 592"/>
                <a:gd name="T56" fmla="*/ 237134 w 631"/>
                <a:gd name="T57" fmla="*/ 191444 h 592"/>
                <a:gd name="T58" fmla="*/ 241028 w 631"/>
                <a:gd name="T59" fmla="*/ 198207 h 592"/>
                <a:gd name="T60" fmla="*/ 252279 w 631"/>
                <a:gd name="T61" fmla="*/ 215895 h 592"/>
                <a:gd name="T62" fmla="*/ 264828 w 631"/>
                <a:gd name="T63" fmla="*/ 232542 h 592"/>
                <a:gd name="T64" fmla="*/ 273050 w 631"/>
                <a:gd name="T65" fmla="*/ 240866 h 592"/>
                <a:gd name="T66" fmla="*/ 264828 w 631"/>
                <a:gd name="T67" fmla="*/ 250230 h 592"/>
                <a:gd name="T68" fmla="*/ 270021 w 631"/>
                <a:gd name="T69" fmla="*/ 258033 h 592"/>
                <a:gd name="T70" fmla="*/ 270886 w 631"/>
                <a:gd name="T71" fmla="*/ 263756 h 592"/>
                <a:gd name="T72" fmla="*/ 270886 w 631"/>
                <a:gd name="T73" fmla="*/ 268438 h 592"/>
                <a:gd name="T74" fmla="*/ 273050 w 631"/>
                <a:gd name="T75" fmla="*/ 276241 h 592"/>
                <a:gd name="T76" fmla="*/ 270886 w 631"/>
                <a:gd name="T77" fmla="*/ 280403 h 592"/>
                <a:gd name="T78" fmla="*/ 266992 w 631"/>
                <a:gd name="T79" fmla="*/ 285085 h 592"/>
                <a:gd name="T80" fmla="*/ 256174 w 631"/>
                <a:gd name="T81" fmla="*/ 296010 h 592"/>
                <a:gd name="T82" fmla="*/ 241461 w 631"/>
                <a:gd name="T83" fmla="*/ 307975 h 592"/>
                <a:gd name="T84" fmla="*/ 19905 w 631"/>
                <a:gd name="T85" fmla="*/ 90520 h 592"/>
                <a:gd name="T86" fmla="*/ 10818 w 631"/>
                <a:gd name="T87" fmla="*/ 81676 h 592"/>
                <a:gd name="T88" fmla="*/ 4760 w 631"/>
                <a:gd name="T89" fmla="*/ 71791 h 592"/>
                <a:gd name="T90" fmla="*/ 865 w 631"/>
                <a:gd name="T91" fmla="*/ 60867 h 592"/>
                <a:gd name="T92" fmla="*/ 0 w 631"/>
                <a:gd name="T93" fmla="*/ 48381 h 592"/>
                <a:gd name="T94" fmla="*/ 1298 w 631"/>
                <a:gd name="T95" fmla="*/ 46300 h 592"/>
                <a:gd name="T96" fmla="*/ 4327 w 631"/>
                <a:gd name="T97" fmla="*/ 43179 h 592"/>
                <a:gd name="T98" fmla="*/ 7356 w 631"/>
                <a:gd name="T99" fmla="*/ 40058 h 592"/>
                <a:gd name="T100" fmla="*/ 8655 w 631"/>
                <a:gd name="T101" fmla="*/ 35896 h 592"/>
                <a:gd name="T102" fmla="*/ 7789 w 631"/>
                <a:gd name="T103" fmla="*/ 27572 h 592"/>
                <a:gd name="T104" fmla="*/ 5625 w 631"/>
                <a:gd name="T105" fmla="*/ 21850 h 592"/>
                <a:gd name="T106" fmla="*/ 3895 w 631"/>
                <a:gd name="T107" fmla="*/ 17688 h 592"/>
                <a:gd name="T108" fmla="*/ 3029 w 631"/>
                <a:gd name="T109" fmla="*/ 13526 h 592"/>
                <a:gd name="T110" fmla="*/ 5625 w 631"/>
                <a:gd name="T111" fmla="*/ 0 h 59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1" name="Freeform 458">
              <a:extLst>
                <a:ext uri="{FF2B5EF4-FFF2-40B4-BE49-F238E27FC236}">
                  <a16:creationId xmlns:a16="http://schemas.microsoft.com/office/drawing/2014/main" id="{437B1897-CCC5-4C5D-942C-06AE5AAE6779}"/>
                </a:ext>
              </a:extLst>
            </p:cNvPr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5722938" y="2297113"/>
              <a:ext cx="17462" cy="57150"/>
            </a:xfrm>
            <a:custGeom>
              <a:avLst/>
              <a:gdLst>
                <a:gd name="T0" fmla="*/ 3056 w 40"/>
                <a:gd name="T1" fmla="*/ 19050 h 93"/>
                <a:gd name="T2" fmla="*/ 4366 w 40"/>
                <a:gd name="T3" fmla="*/ 18435 h 93"/>
                <a:gd name="T4" fmla="*/ 6112 w 40"/>
                <a:gd name="T5" fmla="*/ 15977 h 93"/>
                <a:gd name="T6" fmla="*/ 8731 w 40"/>
                <a:gd name="T7" fmla="*/ 12290 h 93"/>
                <a:gd name="T8" fmla="*/ 10914 w 40"/>
                <a:gd name="T9" fmla="*/ 9218 h 93"/>
                <a:gd name="T10" fmla="*/ 15279 w 40"/>
                <a:gd name="T11" fmla="*/ 2458 h 93"/>
                <a:gd name="T12" fmla="*/ 17462 w 40"/>
                <a:gd name="T13" fmla="*/ 0 h 93"/>
                <a:gd name="T14" fmla="*/ 16152 w 40"/>
                <a:gd name="T15" fmla="*/ 15977 h 93"/>
                <a:gd name="T16" fmla="*/ 15279 w 40"/>
                <a:gd name="T17" fmla="*/ 32569 h 93"/>
                <a:gd name="T18" fmla="*/ 14843 w 40"/>
                <a:gd name="T19" fmla="*/ 39944 h 93"/>
                <a:gd name="T20" fmla="*/ 14843 w 40"/>
                <a:gd name="T21" fmla="*/ 47318 h 93"/>
                <a:gd name="T22" fmla="*/ 15279 w 40"/>
                <a:gd name="T23" fmla="*/ 50390 h 93"/>
                <a:gd name="T24" fmla="*/ 15716 w 40"/>
                <a:gd name="T25" fmla="*/ 52848 h 93"/>
                <a:gd name="T26" fmla="*/ 16152 w 40"/>
                <a:gd name="T27" fmla="*/ 55306 h 93"/>
                <a:gd name="T28" fmla="*/ 17462 w 40"/>
                <a:gd name="T29" fmla="*/ 57150 h 93"/>
                <a:gd name="T30" fmla="*/ 11350 w 40"/>
                <a:gd name="T31" fmla="*/ 57150 h 93"/>
                <a:gd name="T32" fmla="*/ 5675 w 40"/>
                <a:gd name="T33" fmla="*/ 57150 h 93"/>
                <a:gd name="T34" fmla="*/ 4802 w 40"/>
                <a:gd name="T35" fmla="*/ 56535 h 93"/>
                <a:gd name="T36" fmla="*/ 3492 w 40"/>
                <a:gd name="T37" fmla="*/ 55921 h 93"/>
                <a:gd name="T38" fmla="*/ 2619 w 40"/>
                <a:gd name="T39" fmla="*/ 54077 h 93"/>
                <a:gd name="T40" fmla="*/ 1746 w 40"/>
                <a:gd name="T41" fmla="*/ 52848 h 93"/>
                <a:gd name="T42" fmla="*/ 437 w 40"/>
                <a:gd name="T43" fmla="*/ 49161 h 93"/>
                <a:gd name="T44" fmla="*/ 0 w 40"/>
                <a:gd name="T45" fmla="*/ 44860 h 93"/>
                <a:gd name="T46" fmla="*/ 437 w 40"/>
                <a:gd name="T47" fmla="*/ 39329 h 93"/>
                <a:gd name="T48" fmla="*/ 1310 w 40"/>
                <a:gd name="T49" fmla="*/ 30726 h 93"/>
                <a:gd name="T50" fmla="*/ 2619 w 40"/>
                <a:gd name="T51" fmla="*/ 22737 h 93"/>
                <a:gd name="T52" fmla="*/ 3056 w 40"/>
                <a:gd name="T53" fmla="*/ 19050 h 9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2" name="Freeform 459">
              <a:extLst>
                <a:ext uri="{FF2B5EF4-FFF2-40B4-BE49-F238E27FC236}">
                  <a16:creationId xmlns:a16="http://schemas.microsoft.com/office/drawing/2014/main" id="{5D7989E3-924D-47FA-B95D-2EE0ECDDE59B}"/>
                </a:ext>
              </a:extLst>
            </p:cNvPr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5362576" y="2047875"/>
              <a:ext cx="295275" cy="273050"/>
            </a:xfrm>
            <a:custGeom>
              <a:avLst/>
              <a:gdLst>
                <a:gd name="T0" fmla="*/ 66259 w 664"/>
                <a:gd name="T1" fmla="*/ 234570 h 518"/>
                <a:gd name="T2" fmla="*/ 67148 w 664"/>
                <a:gd name="T3" fmla="*/ 227190 h 518"/>
                <a:gd name="T4" fmla="*/ 64925 w 664"/>
                <a:gd name="T5" fmla="*/ 210849 h 518"/>
                <a:gd name="T6" fmla="*/ 67148 w 664"/>
                <a:gd name="T7" fmla="*/ 186075 h 518"/>
                <a:gd name="T8" fmla="*/ 64925 w 664"/>
                <a:gd name="T9" fmla="*/ 157083 h 518"/>
                <a:gd name="T10" fmla="*/ 59589 w 664"/>
                <a:gd name="T11" fmla="*/ 132308 h 518"/>
                <a:gd name="T12" fmla="*/ 48471 w 664"/>
                <a:gd name="T13" fmla="*/ 127037 h 518"/>
                <a:gd name="T14" fmla="*/ 8894 w 664"/>
                <a:gd name="T15" fmla="*/ 101208 h 518"/>
                <a:gd name="T16" fmla="*/ 10673 w 664"/>
                <a:gd name="T17" fmla="*/ 90138 h 518"/>
                <a:gd name="T18" fmla="*/ 16009 w 664"/>
                <a:gd name="T19" fmla="*/ 83813 h 518"/>
                <a:gd name="T20" fmla="*/ 21345 w 664"/>
                <a:gd name="T21" fmla="*/ 78014 h 518"/>
                <a:gd name="T22" fmla="*/ 44469 w 664"/>
                <a:gd name="T23" fmla="*/ 81704 h 518"/>
                <a:gd name="T24" fmla="*/ 55586 w 664"/>
                <a:gd name="T25" fmla="*/ 80123 h 518"/>
                <a:gd name="T26" fmla="*/ 65370 w 664"/>
                <a:gd name="T27" fmla="*/ 82758 h 518"/>
                <a:gd name="T28" fmla="*/ 73374 w 664"/>
                <a:gd name="T29" fmla="*/ 49550 h 518"/>
                <a:gd name="T30" fmla="*/ 82268 w 664"/>
                <a:gd name="T31" fmla="*/ 57456 h 518"/>
                <a:gd name="T32" fmla="*/ 92051 w 664"/>
                <a:gd name="T33" fmla="*/ 57984 h 518"/>
                <a:gd name="T34" fmla="*/ 104947 w 664"/>
                <a:gd name="T35" fmla="*/ 52185 h 518"/>
                <a:gd name="T36" fmla="*/ 117398 w 664"/>
                <a:gd name="T37" fmla="*/ 42170 h 518"/>
                <a:gd name="T38" fmla="*/ 128516 w 664"/>
                <a:gd name="T39" fmla="*/ 30046 h 518"/>
                <a:gd name="T40" fmla="*/ 136965 w 664"/>
                <a:gd name="T41" fmla="*/ 16868 h 518"/>
                <a:gd name="T42" fmla="*/ 141412 w 664"/>
                <a:gd name="T43" fmla="*/ 6325 h 518"/>
                <a:gd name="T44" fmla="*/ 164536 w 664"/>
                <a:gd name="T45" fmla="*/ 2108 h 518"/>
                <a:gd name="T46" fmla="*/ 179655 w 664"/>
                <a:gd name="T47" fmla="*/ 16868 h 518"/>
                <a:gd name="T48" fmla="*/ 203224 w 664"/>
                <a:gd name="T49" fmla="*/ 32155 h 518"/>
                <a:gd name="T50" fmla="*/ 227237 w 664"/>
                <a:gd name="T51" fmla="*/ 47441 h 518"/>
                <a:gd name="T52" fmla="*/ 245470 w 664"/>
                <a:gd name="T53" fmla="*/ 56402 h 518"/>
                <a:gd name="T54" fmla="*/ 257032 w 664"/>
                <a:gd name="T55" fmla="*/ 61146 h 518"/>
                <a:gd name="T56" fmla="*/ 277043 w 664"/>
                <a:gd name="T57" fmla="*/ 63782 h 518"/>
                <a:gd name="T58" fmla="*/ 292607 w 664"/>
                <a:gd name="T59" fmla="*/ 71689 h 518"/>
                <a:gd name="T60" fmla="*/ 286826 w 664"/>
                <a:gd name="T61" fmla="*/ 87503 h 518"/>
                <a:gd name="T62" fmla="*/ 275709 w 664"/>
                <a:gd name="T63" fmla="*/ 124401 h 518"/>
                <a:gd name="T64" fmla="*/ 265925 w 664"/>
                <a:gd name="T65" fmla="*/ 143378 h 518"/>
                <a:gd name="T66" fmla="*/ 260144 w 664"/>
                <a:gd name="T67" fmla="*/ 150757 h 518"/>
                <a:gd name="T68" fmla="*/ 266370 w 664"/>
                <a:gd name="T69" fmla="*/ 157083 h 518"/>
                <a:gd name="T70" fmla="*/ 274819 w 664"/>
                <a:gd name="T71" fmla="*/ 161827 h 518"/>
                <a:gd name="T72" fmla="*/ 277043 w 664"/>
                <a:gd name="T73" fmla="*/ 176059 h 518"/>
                <a:gd name="T74" fmla="*/ 275709 w 664"/>
                <a:gd name="T75" fmla="*/ 182912 h 518"/>
                <a:gd name="T76" fmla="*/ 274819 w 664"/>
                <a:gd name="T77" fmla="*/ 196090 h 518"/>
                <a:gd name="T78" fmla="*/ 276598 w 664"/>
                <a:gd name="T79" fmla="*/ 210322 h 518"/>
                <a:gd name="T80" fmla="*/ 281045 w 664"/>
                <a:gd name="T81" fmla="*/ 222973 h 518"/>
                <a:gd name="T82" fmla="*/ 270372 w 664"/>
                <a:gd name="T83" fmla="*/ 240895 h 518"/>
                <a:gd name="T84" fmla="*/ 253029 w 664"/>
                <a:gd name="T85" fmla="*/ 255128 h 518"/>
                <a:gd name="T86" fmla="*/ 241023 w 664"/>
                <a:gd name="T87" fmla="*/ 257763 h 518"/>
                <a:gd name="T88" fmla="*/ 226348 w 664"/>
                <a:gd name="T89" fmla="*/ 253546 h 518"/>
                <a:gd name="T90" fmla="*/ 212118 w 664"/>
                <a:gd name="T91" fmla="*/ 242477 h 518"/>
                <a:gd name="T92" fmla="*/ 205892 w 664"/>
                <a:gd name="T93" fmla="*/ 240368 h 518"/>
                <a:gd name="T94" fmla="*/ 196998 w 664"/>
                <a:gd name="T95" fmla="*/ 240895 h 518"/>
                <a:gd name="T96" fmla="*/ 188104 w 664"/>
                <a:gd name="T97" fmla="*/ 245112 h 518"/>
                <a:gd name="T98" fmla="*/ 180545 w 664"/>
                <a:gd name="T99" fmla="*/ 251438 h 518"/>
                <a:gd name="T100" fmla="*/ 172540 w 664"/>
                <a:gd name="T101" fmla="*/ 265143 h 518"/>
                <a:gd name="T102" fmla="*/ 171206 w 664"/>
                <a:gd name="T103" fmla="*/ 272523 h 518"/>
                <a:gd name="T104" fmla="*/ 148082 w 664"/>
                <a:gd name="T105" fmla="*/ 271469 h 518"/>
                <a:gd name="T106" fmla="*/ 140967 w 664"/>
                <a:gd name="T107" fmla="*/ 267252 h 518"/>
                <a:gd name="T108" fmla="*/ 136520 w 664"/>
                <a:gd name="T109" fmla="*/ 263562 h 518"/>
                <a:gd name="T110" fmla="*/ 131629 w 664"/>
                <a:gd name="T111" fmla="*/ 267779 h 518"/>
                <a:gd name="T112" fmla="*/ 127626 w 664"/>
                <a:gd name="T113" fmla="*/ 271996 h 518"/>
                <a:gd name="T114" fmla="*/ 119177 w 664"/>
                <a:gd name="T115" fmla="*/ 271996 h 518"/>
                <a:gd name="T116" fmla="*/ 100945 w 664"/>
                <a:gd name="T117" fmla="*/ 266725 h 518"/>
                <a:gd name="T118" fmla="*/ 82268 w 664"/>
                <a:gd name="T119" fmla="*/ 256709 h 518"/>
                <a:gd name="T120" fmla="*/ 71151 w 664"/>
                <a:gd name="T121" fmla="*/ 247221 h 518"/>
                <a:gd name="T122" fmla="*/ 64925 w 664"/>
                <a:gd name="T123" fmla="*/ 237206 h 51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303" name="Freeform 460">
              <a:extLst>
                <a:ext uri="{FF2B5EF4-FFF2-40B4-BE49-F238E27FC236}">
                  <a16:creationId xmlns:a16="http://schemas.microsoft.com/office/drawing/2014/main" id="{F41603FD-C942-47C0-9CF9-C6EF9271B494}"/>
                </a:ext>
              </a:extLst>
            </p:cNvPr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6443663" y="2282825"/>
              <a:ext cx="150812" cy="82550"/>
            </a:xfrm>
            <a:custGeom>
              <a:avLst/>
              <a:gdLst>
                <a:gd name="T0" fmla="*/ 142243 w 352"/>
                <a:gd name="T1" fmla="*/ 49098 h 153"/>
                <a:gd name="T2" fmla="*/ 150812 w 352"/>
                <a:gd name="T3" fmla="*/ 82550 h 153"/>
                <a:gd name="T4" fmla="*/ 139672 w 352"/>
                <a:gd name="T5" fmla="*/ 76075 h 153"/>
                <a:gd name="T6" fmla="*/ 128105 w 352"/>
                <a:gd name="T7" fmla="*/ 69601 h 153"/>
                <a:gd name="T8" fmla="*/ 113966 w 352"/>
                <a:gd name="T9" fmla="*/ 76075 h 153"/>
                <a:gd name="T10" fmla="*/ 99399 w 352"/>
                <a:gd name="T11" fmla="*/ 76075 h 153"/>
                <a:gd name="T12" fmla="*/ 97257 w 352"/>
                <a:gd name="T13" fmla="*/ 72838 h 153"/>
                <a:gd name="T14" fmla="*/ 96828 w 352"/>
                <a:gd name="T15" fmla="*/ 72838 h 153"/>
                <a:gd name="T16" fmla="*/ 93829 w 352"/>
                <a:gd name="T17" fmla="*/ 69601 h 153"/>
                <a:gd name="T18" fmla="*/ 91258 w 352"/>
                <a:gd name="T19" fmla="*/ 67443 h 153"/>
                <a:gd name="T20" fmla="*/ 87831 w 352"/>
                <a:gd name="T21" fmla="*/ 65285 h 153"/>
                <a:gd name="T22" fmla="*/ 84403 w 352"/>
                <a:gd name="T23" fmla="*/ 63666 h 153"/>
                <a:gd name="T24" fmla="*/ 77548 w 352"/>
                <a:gd name="T25" fmla="*/ 60968 h 153"/>
                <a:gd name="T26" fmla="*/ 69836 w 352"/>
                <a:gd name="T27" fmla="*/ 59350 h 153"/>
                <a:gd name="T28" fmla="*/ 53984 w 352"/>
                <a:gd name="T29" fmla="*/ 57731 h 153"/>
                <a:gd name="T30" fmla="*/ 36846 w 352"/>
                <a:gd name="T31" fmla="*/ 56112 h 153"/>
                <a:gd name="T32" fmla="*/ 36418 w 352"/>
                <a:gd name="T33" fmla="*/ 50717 h 153"/>
                <a:gd name="T34" fmla="*/ 35132 w 352"/>
                <a:gd name="T35" fmla="*/ 45322 h 153"/>
                <a:gd name="T36" fmla="*/ 34275 w 352"/>
                <a:gd name="T37" fmla="*/ 40466 h 153"/>
                <a:gd name="T38" fmla="*/ 32133 w 352"/>
                <a:gd name="T39" fmla="*/ 36149 h 153"/>
                <a:gd name="T40" fmla="*/ 30419 w 352"/>
                <a:gd name="T41" fmla="*/ 31833 h 153"/>
                <a:gd name="T42" fmla="*/ 28706 w 352"/>
                <a:gd name="T43" fmla="*/ 28056 h 153"/>
                <a:gd name="T44" fmla="*/ 26135 w 352"/>
                <a:gd name="T45" fmla="*/ 23740 h 153"/>
                <a:gd name="T46" fmla="*/ 23993 w 352"/>
                <a:gd name="T47" fmla="*/ 19963 h 153"/>
                <a:gd name="T48" fmla="*/ 18852 w 352"/>
                <a:gd name="T49" fmla="*/ 14028 h 153"/>
                <a:gd name="T50" fmla="*/ 12425 w 352"/>
                <a:gd name="T51" fmla="*/ 8633 h 153"/>
                <a:gd name="T52" fmla="*/ 6427 w 352"/>
                <a:gd name="T53" fmla="*/ 3777 h 153"/>
                <a:gd name="T54" fmla="*/ 0 w 352"/>
                <a:gd name="T55" fmla="*/ 0 h 153"/>
                <a:gd name="T56" fmla="*/ 2999 w 352"/>
                <a:gd name="T57" fmla="*/ 0 h 153"/>
                <a:gd name="T58" fmla="*/ 25707 w 352"/>
                <a:gd name="T59" fmla="*/ 9712 h 153"/>
                <a:gd name="T60" fmla="*/ 45415 w 352"/>
                <a:gd name="T61" fmla="*/ 16186 h 153"/>
                <a:gd name="T62" fmla="*/ 57411 w 352"/>
                <a:gd name="T63" fmla="*/ 9712 h 153"/>
                <a:gd name="T64" fmla="*/ 77120 w 352"/>
                <a:gd name="T65" fmla="*/ 19424 h 153"/>
                <a:gd name="T66" fmla="*/ 88259 w 352"/>
                <a:gd name="T67" fmla="*/ 29675 h 153"/>
                <a:gd name="T68" fmla="*/ 105397 w 352"/>
                <a:gd name="T69" fmla="*/ 26438 h 153"/>
                <a:gd name="T70" fmla="*/ 122535 w 352"/>
                <a:gd name="T71" fmla="*/ 32912 h 153"/>
                <a:gd name="T72" fmla="*/ 134103 w 352"/>
                <a:gd name="T73" fmla="*/ 42624 h 153"/>
                <a:gd name="T74" fmla="*/ 142243 w 352"/>
                <a:gd name="T75" fmla="*/ 49098 h 15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4" name="Freeform 461">
              <a:extLst>
                <a:ext uri="{FF2B5EF4-FFF2-40B4-BE49-F238E27FC236}">
                  <a16:creationId xmlns:a16="http://schemas.microsoft.com/office/drawing/2014/main" id="{CB306605-6E2E-42C5-9859-7A2FBCB99A82}"/>
                </a:ext>
              </a:extLst>
            </p:cNvPr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5992814" y="2343150"/>
              <a:ext cx="147637" cy="173038"/>
            </a:xfrm>
            <a:custGeom>
              <a:avLst/>
              <a:gdLst>
                <a:gd name="T0" fmla="*/ 102588 w 331"/>
                <a:gd name="T1" fmla="*/ 21167 h 327"/>
                <a:gd name="T2" fmla="*/ 86084 w 331"/>
                <a:gd name="T3" fmla="*/ 29633 h 327"/>
                <a:gd name="T4" fmla="*/ 81178 w 331"/>
                <a:gd name="T5" fmla="*/ 35454 h 327"/>
                <a:gd name="T6" fmla="*/ 80732 w 331"/>
                <a:gd name="T7" fmla="*/ 42863 h 327"/>
                <a:gd name="T8" fmla="*/ 82070 w 331"/>
                <a:gd name="T9" fmla="*/ 49742 h 327"/>
                <a:gd name="T10" fmla="*/ 78948 w 331"/>
                <a:gd name="T11" fmla="*/ 53975 h 327"/>
                <a:gd name="T12" fmla="*/ 74934 w 331"/>
                <a:gd name="T13" fmla="*/ 55563 h 327"/>
                <a:gd name="T14" fmla="*/ 71365 w 331"/>
                <a:gd name="T15" fmla="*/ 51858 h 327"/>
                <a:gd name="T16" fmla="*/ 66459 w 331"/>
                <a:gd name="T17" fmla="*/ 44979 h 327"/>
                <a:gd name="T18" fmla="*/ 56200 w 331"/>
                <a:gd name="T19" fmla="*/ 39158 h 327"/>
                <a:gd name="T20" fmla="*/ 56646 w 331"/>
                <a:gd name="T21" fmla="*/ 50800 h 327"/>
                <a:gd name="T22" fmla="*/ 61999 w 331"/>
                <a:gd name="T23" fmla="*/ 61384 h 327"/>
                <a:gd name="T24" fmla="*/ 68689 w 331"/>
                <a:gd name="T25" fmla="*/ 68263 h 327"/>
                <a:gd name="T26" fmla="*/ 70919 w 331"/>
                <a:gd name="T27" fmla="*/ 68792 h 327"/>
                <a:gd name="T28" fmla="*/ 70919 w 331"/>
                <a:gd name="T29" fmla="*/ 93663 h 327"/>
                <a:gd name="T30" fmla="*/ 70919 w 331"/>
                <a:gd name="T31" fmla="*/ 125413 h 327"/>
                <a:gd name="T32" fmla="*/ 69581 w 331"/>
                <a:gd name="T33" fmla="*/ 132821 h 327"/>
                <a:gd name="T34" fmla="*/ 65567 w 331"/>
                <a:gd name="T35" fmla="*/ 137055 h 327"/>
                <a:gd name="T36" fmla="*/ 64675 w 331"/>
                <a:gd name="T37" fmla="*/ 139700 h 327"/>
                <a:gd name="T38" fmla="*/ 72257 w 331"/>
                <a:gd name="T39" fmla="*/ 146050 h 327"/>
                <a:gd name="T40" fmla="*/ 74488 w 331"/>
                <a:gd name="T41" fmla="*/ 151342 h 327"/>
                <a:gd name="T42" fmla="*/ 69135 w 331"/>
                <a:gd name="T43" fmla="*/ 156105 h 327"/>
                <a:gd name="T44" fmla="*/ 62445 w 331"/>
                <a:gd name="T45" fmla="*/ 157163 h 327"/>
                <a:gd name="T46" fmla="*/ 57984 w 331"/>
                <a:gd name="T47" fmla="*/ 162455 h 327"/>
                <a:gd name="T48" fmla="*/ 56200 w 331"/>
                <a:gd name="T49" fmla="*/ 169863 h 327"/>
                <a:gd name="T50" fmla="*/ 53970 w 331"/>
                <a:gd name="T51" fmla="*/ 158750 h 327"/>
                <a:gd name="T52" fmla="*/ 55308 w 331"/>
                <a:gd name="T53" fmla="*/ 152400 h 327"/>
                <a:gd name="T54" fmla="*/ 48618 w 331"/>
                <a:gd name="T55" fmla="*/ 151342 h 327"/>
                <a:gd name="T56" fmla="*/ 41481 w 331"/>
                <a:gd name="T57" fmla="*/ 154517 h 327"/>
                <a:gd name="T58" fmla="*/ 35237 w 331"/>
                <a:gd name="T59" fmla="*/ 156634 h 327"/>
                <a:gd name="T60" fmla="*/ 32560 w 331"/>
                <a:gd name="T61" fmla="*/ 128059 h 327"/>
                <a:gd name="T62" fmla="*/ 35237 w 331"/>
                <a:gd name="T63" fmla="*/ 114300 h 327"/>
                <a:gd name="T64" fmla="*/ 21410 w 331"/>
                <a:gd name="T65" fmla="*/ 111654 h 327"/>
                <a:gd name="T66" fmla="*/ 12489 w 331"/>
                <a:gd name="T67" fmla="*/ 104775 h 327"/>
                <a:gd name="T68" fmla="*/ 5798 w 331"/>
                <a:gd name="T69" fmla="*/ 91546 h 327"/>
                <a:gd name="T70" fmla="*/ 0 w 331"/>
                <a:gd name="T71" fmla="*/ 68792 h 327"/>
                <a:gd name="T72" fmla="*/ 12489 w 331"/>
                <a:gd name="T73" fmla="*/ 58738 h 327"/>
                <a:gd name="T74" fmla="*/ 22302 w 331"/>
                <a:gd name="T75" fmla="*/ 42863 h 327"/>
                <a:gd name="T76" fmla="*/ 32560 w 331"/>
                <a:gd name="T77" fmla="*/ 29104 h 327"/>
                <a:gd name="T78" fmla="*/ 51294 w 331"/>
                <a:gd name="T79" fmla="*/ 21696 h 327"/>
                <a:gd name="T80" fmla="*/ 80286 w 331"/>
                <a:gd name="T81" fmla="*/ 7408 h 327"/>
                <a:gd name="T82" fmla="*/ 97235 w 331"/>
                <a:gd name="T83" fmla="*/ 3704 h 327"/>
                <a:gd name="T84" fmla="*/ 111062 w 331"/>
                <a:gd name="T85" fmla="*/ 7408 h 327"/>
                <a:gd name="T86" fmla="*/ 120875 w 331"/>
                <a:gd name="T87" fmla="*/ 14288 h 327"/>
                <a:gd name="T88" fmla="*/ 130242 w 331"/>
                <a:gd name="T89" fmla="*/ 15875 h 327"/>
                <a:gd name="T90" fmla="*/ 136932 w 331"/>
                <a:gd name="T91" fmla="*/ 10583 h 327"/>
                <a:gd name="T92" fmla="*/ 145853 w 331"/>
                <a:gd name="T93" fmla="*/ 3175 h 327"/>
                <a:gd name="T94" fmla="*/ 147191 w 331"/>
                <a:gd name="T95" fmla="*/ 16933 h 3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5" name="Freeform 462">
              <a:extLst>
                <a:ext uri="{FF2B5EF4-FFF2-40B4-BE49-F238E27FC236}">
                  <a16:creationId xmlns:a16="http://schemas.microsoft.com/office/drawing/2014/main" id="{42CD7993-52D1-4CDA-9328-B834D6660D6D}"/>
                </a:ext>
              </a:extLst>
            </p:cNvPr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6076950" y="2535238"/>
              <a:ext cx="69850" cy="57150"/>
            </a:xfrm>
            <a:custGeom>
              <a:avLst/>
              <a:gdLst>
                <a:gd name="T0" fmla="*/ 0 w 153"/>
                <a:gd name="T1" fmla="*/ 0 h 49"/>
                <a:gd name="T2" fmla="*/ 20088 w 153"/>
                <a:gd name="T3" fmla="*/ 2333 h 49"/>
                <a:gd name="T4" fmla="*/ 37892 w 153"/>
                <a:gd name="T5" fmla="*/ 6998 h 49"/>
                <a:gd name="T6" fmla="*/ 47023 w 153"/>
                <a:gd name="T7" fmla="*/ 9331 h 49"/>
                <a:gd name="T8" fmla="*/ 55241 w 153"/>
                <a:gd name="T9" fmla="*/ 8164 h 49"/>
                <a:gd name="T10" fmla="*/ 59350 w 153"/>
                <a:gd name="T11" fmla="*/ 6998 h 49"/>
                <a:gd name="T12" fmla="*/ 62545 w 153"/>
                <a:gd name="T13" fmla="*/ 5832 h 49"/>
                <a:gd name="T14" fmla="*/ 66198 w 153"/>
                <a:gd name="T15" fmla="*/ 3499 h 49"/>
                <a:gd name="T16" fmla="*/ 69850 w 153"/>
                <a:gd name="T17" fmla="*/ 0 h 49"/>
                <a:gd name="T18" fmla="*/ 69850 w 153"/>
                <a:gd name="T19" fmla="*/ 10497 h 49"/>
                <a:gd name="T20" fmla="*/ 69850 w 153"/>
                <a:gd name="T21" fmla="*/ 29158 h 49"/>
                <a:gd name="T22" fmla="*/ 65285 w 153"/>
                <a:gd name="T23" fmla="*/ 36156 h 49"/>
                <a:gd name="T24" fmla="*/ 60719 w 153"/>
                <a:gd name="T25" fmla="*/ 41988 h 49"/>
                <a:gd name="T26" fmla="*/ 56610 w 153"/>
                <a:gd name="T27" fmla="*/ 46653 h 49"/>
                <a:gd name="T28" fmla="*/ 52045 w 153"/>
                <a:gd name="T29" fmla="*/ 51318 h 49"/>
                <a:gd name="T30" fmla="*/ 48393 w 153"/>
                <a:gd name="T31" fmla="*/ 53651 h 49"/>
                <a:gd name="T32" fmla="*/ 45197 w 153"/>
                <a:gd name="T33" fmla="*/ 55984 h 49"/>
                <a:gd name="T34" fmla="*/ 42001 w 153"/>
                <a:gd name="T35" fmla="*/ 57150 h 49"/>
                <a:gd name="T36" fmla="*/ 39719 w 153"/>
                <a:gd name="T37" fmla="*/ 57150 h 49"/>
                <a:gd name="T38" fmla="*/ 32871 w 153"/>
                <a:gd name="T39" fmla="*/ 55984 h 49"/>
                <a:gd name="T40" fmla="*/ 27392 w 153"/>
                <a:gd name="T41" fmla="*/ 53651 h 49"/>
                <a:gd name="T42" fmla="*/ 22827 w 153"/>
                <a:gd name="T43" fmla="*/ 50152 h 49"/>
                <a:gd name="T44" fmla="*/ 18718 w 153"/>
                <a:gd name="T45" fmla="*/ 44320 h 49"/>
                <a:gd name="T46" fmla="*/ 10044 w 153"/>
                <a:gd name="T47" fmla="*/ 33823 h 49"/>
                <a:gd name="T48" fmla="*/ 0 w 153"/>
                <a:gd name="T49" fmla="*/ 22160 h 49"/>
                <a:gd name="T50" fmla="*/ 0 w 153"/>
                <a:gd name="T51" fmla="*/ 0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6" name="Freeform 463">
              <a:extLst>
                <a:ext uri="{FF2B5EF4-FFF2-40B4-BE49-F238E27FC236}">
                  <a16:creationId xmlns:a16="http://schemas.microsoft.com/office/drawing/2014/main" id="{F40E5BE9-8586-4DE2-8E98-B8706EBABB4E}"/>
                </a:ext>
              </a:extLst>
            </p:cNvPr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5156201" y="3267075"/>
              <a:ext cx="187325" cy="158750"/>
            </a:xfrm>
            <a:custGeom>
              <a:avLst/>
              <a:gdLst>
                <a:gd name="T0" fmla="*/ 85308 w 426"/>
                <a:gd name="T1" fmla="*/ 8495 h 299"/>
                <a:gd name="T2" fmla="*/ 94982 w 426"/>
                <a:gd name="T3" fmla="*/ 11681 h 299"/>
                <a:gd name="T4" fmla="*/ 101138 w 426"/>
                <a:gd name="T5" fmla="*/ 15397 h 299"/>
                <a:gd name="T6" fmla="*/ 111252 w 426"/>
                <a:gd name="T7" fmla="*/ 18583 h 299"/>
                <a:gd name="T8" fmla="*/ 122685 w 426"/>
                <a:gd name="T9" fmla="*/ 19645 h 299"/>
                <a:gd name="T10" fmla="*/ 131919 w 426"/>
                <a:gd name="T11" fmla="*/ 19645 h 299"/>
                <a:gd name="T12" fmla="*/ 140274 w 426"/>
                <a:gd name="T13" fmla="*/ 18052 h 299"/>
                <a:gd name="T14" fmla="*/ 144671 w 426"/>
                <a:gd name="T15" fmla="*/ 15397 h 299"/>
                <a:gd name="T16" fmla="*/ 160501 w 426"/>
                <a:gd name="T17" fmla="*/ 13273 h 299"/>
                <a:gd name="T18" fmla="*/ 163580 w 426"/>
                <a:gd name="T19" fmla="*/ 26016 h 299"/>
                <a:gd name="T20" fmla="*/ 168417 w 426"/>
                <a:gd name="T21" fmla="*/ 39289 h 299"/>
                <a:gd name="T22" fmla="*/ 171934 w 426"/>
                <a:gd name="T23" fmla="*/ 44599 h 299"/>
                <a:gd name="T24" fmla="*/ 175892 w 426"/>
                <a:gd name="T25" fmla="*/ 48846 h 299"/>
                <a:gd name="T26" fmla="*/ 181169 w 426"/>
                <a:gd name="T27" fmla="*/ 51501 h 299"/>
                <a:gd name="T28" fmla="*/ 186885 w 426"/>
                <a:gd name="T29" fmla="*/ 52563 h 299"/>
                <a:gd name="T30" fmla="*/ 186885 w 426"/>
                <a:gd name="T31" fmla="*/ 63712 h 299"/>
                <a:gd name="T32" fmla="*/ 186885 w 426"/>
                <a:gd name="T33" fmla="*/ 75393 h 299"/>
                <a:gd name="T34" fmla="*/ 182928 w 426"/>
                <a:gd name="T35" fmla="*/ 83888 h 299"/>
                <a:gd name="T36" fmla="*/ 181169 w 426"/>
                <a:gd name="T37" fmla="*/ 90259 h 299"/>
                <a:gd name="T38" fmla="*/ 181169 w 426"/>
                <a:gd name="T39" fmla="*/ 96099 h 299"/>
                <a:gd name="T40" fmla="*/ 182488 w 426"/>
                <a:gd name="T41" fmla="*/ 100878 h 299"/>
                <a:gd name="T42" fmla="*/ 186006 w 426"/>
                <a:gd name="T43" fmla="*/ 112028 h 299"/>
                <a:gd name="T44" fmla="*/ 187325 w 426"/>
                <a:gd name="T45" fmla="*/ 119992 h 299"/>
                <a:gd name="T46" fmla="*/ 186885 w 426"/>
                <a:gd name="T47" fmla="*/ 131141 h 299"/>
                <a:gd name="T48" fmla="*/ 187325 w 426"/>
                <a:gd name="T49" fmla="*/ 145477 h 299"/>
                <a:gd name="T50" fmla="*/ 186006 w 426"/>
                <a:gd name="T51" fmla="*/ 151317 h 299"/>
                <a:gd name="T52" fmla="*/ 181169 w 426"/>
                <a:gd name="T53" fmla="*/ 157157 h 299"/>
                <a:gd name="T54" fmla="*/ 167097 w 426"/>
                <a:gd name="T55" fmla="*/ 158219 h 299"/>
                <a:gd name="T56" fmla="*/ 162700 w 426"/>
                <a:gd name="T57" fmla="*/ 158750 h 299"/>
                <a:gd name="T58" fmla="*/ 158303 w 426"/>
                <a:gd name="T59" fmla="*/ 157157 h 299"/>
                <a:gd name="T60" fmla="*/ 154345 w 426"/>
                <a:gd name="T61" fmla="*/ 153972 h 299"/>
                <a:gd name="T62" fmla="*/ 148629 w 426"/>
                <a:gd name="T63" fmla="*/ 147600 h 299"/>
                <a:gd name="T64" fmla="*/ 142473 w 426"/>
                <a:gd name="T65" fmla="*/ 138574 h 299"/>
                <a:gd name="T66" fmla="*/ 136756 w 426"/>
                <a:gd name="T67" fmla="*/ 134327 h 299"/>
                <a:gd name="T68" fmla="*/ 129281 w 426"/>
                <a:gd name="T69" fmla="*/ 133265 h 299"/>
                <a:gd name="T70" fmla="*/ 122245 w 426"/>
                <a:gd name="T71" fmla="*/ 123177 h 299"/>
                <a:gd name="T72" fmla="*/ 120486 w 426"/>
                <a:gd name="T73" fmla="*/ 111497 h 299"/>
                <a:gd name="T74" fmla="*/ 118287 w 426"/>
                <a:gd name="T75" fmla="*/ 104594 h 299"/>
                <a:gd name="T76" fmla="*/ 114770 w 426"/>
                <a:gd name="T77" fmla="*/ 97692 h 299"/>
                <a:gd name="T78" fmla="*/ 110372 w 426"/>
                <a:gd name="T79" fmla="*/ 91852 h 299"/>
                <a:gd name="T80" fmla="*/ 104656 w 426"/>
                <a:gd name="T81" fmla="*/ 87605 h 299"/>
                <a:gd name="T82" fmla="*/ 97620 w 426"/>
                <a:gd name="T83" fmla="*/ 85481 h 299"/>
                <a:gd name="T84" fmla="*/ 89705 w 426"/>
                <a:gd name="T85" fmla="*/ 85481 h 299"/>
                <a:gd name="T86" fmla="*/ 82669 w 426"/>
                <a:gd name="T87" fmla="*/ 86543 h 299"/>
                <a:gd name="T88" fmla="*/ 76073 w 426"/>
                <a:gd name="T89" fmla="*/ 89197 h 299"/>
                <a:gd name="T90" fmla="*/ 70357 w 426"/>
                <a:gd name="T91" fmla="*/ 93445 h 299"/>
                <a:gd name="T92" fmla="*/ 62002 w 426"/>
                <a:gd name="T93" fmla="*/ 101409 h 299"/>
                <a:gd name="T94" fmla="*/ 51888 w 426"/>
                <a:gd name="T95" fmla="*/ 114151 h 299"/>
                <a:gd name="T96" fmla="*/ 46172 w 426"/>
                <a:gd name="T97" fmla="*/ 115744 h 299"/>
                <a:gd name="T98" fmla="*/ 43973 w 426"/>
                <a:gd name="T99" fmla="*/ 106718 h 299"/>
                <a:gd name="T100" fmla="*/ 39576 w 426"/>
                <a:gd name="T101" fmla="*/ 98754 h 299"/>
                <a:gd name="T102" fmla="*/ 33419 w 426"/>
                <a:gd name="T103" fmla="*/ 90790 h 299"/>
                <a:gd name="T104" fmla="*/ 21987 w 426"/>
                <a:gd name="T105" fmla="*/ 81233 h 299"/>
                <a:gd name="T106" fmla="*/ 10554 w 426"/>
                <a:gd name="T107" fmla="*/ 71145 h 299"/>
                <a:gd name="T108" fmla="*/ 3518 w 426"/>
                <a:gd name="T109" fmla="*/ 63181 h 299"/>
                <a:gd name="T110" fmla="*/ 6596 w 426"/>
                <a:gd name="T111" fmla="*/ 53625 h 299"/>
                <a:gd name="T112" fmla="*/ 20228 w 426"/>
                <a:gd name="T113" fmla="*/ 40882 h 299"/>
                <a:gd name="T114" fmla="*/ 32980 w 426"/>
                <a:gd name="T115" fmla="*/ 25485 h 299"/>
                <a:gd name="T116" fmla="*/ 43094 w 426"/>
                <a:gd name="T117" fmla="*/ 9026 h 299"/>
                <a:gd name="T118" fmla="*/ 78712 w 426"/>
                <a:gd name="T119" fmla="*/ 6902 h 29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7" name="Freeform 464">
              <a:extLst>
                <a:ext uri="{FF2B5EF4-FFF2-40B4-BE49-F238E27FC236}">
                  <a16:creationId xmlns:a16="http://schemas.microsoft.com/office/drawing/2014/main" id="{7D9F4C71-1746-4E29-9827-C53B7513D738}"/>
                </a:ext>
              </a:extLst>
            </p:cNvPr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7200900" y="2530476"/>
              <a:ext cx="692150" cy="874713"/>
            </a:xfrm>
            <a:custGeom>
              <a:avLst/>
              <a:gdLst>
                <a:gd name="T0" fmla="*/ 207124 w 1594"/>
                <a:gd name="T1" fmla="*/ 56044 h 1670"/>
                <a:gd name="T2" fmla="*/ 210598 w 1594"/>
                <a:gd name="T3" fmla="*/ 96899 h 1670"/>
                <a:gd name="T4" fmla="*/ 250980 w 1594"/>
                <a:gd name="T5" fmla="*/ 150325 h 1670"/>
                <a:gd name="T6" fmla="*/ 304390 w 1594"/>
                <a:gd name="T7" fmla="*/ 240415 h 1670"/>
                <a:gd name="T8" fmla="*/ 345207 w 1594"/>
                <a:gd name="T9" fmla="*/ 261366 h 1670"/>
                <a:gd name="T10" fmla="*/ 380813 w 1594"/>
                <a:gd name="T11" fmla="*/ 258224 h 1670"/>
                <a:gd name="T12" fmla="*/ 403827 w 1594"/>
                <a:gd name="T13" fmla="*/ 281270 h 1670"/>
                <a:gd name="T14" fmla="*/ 478513 w 1594"/>
                <a:gd name="T15" fmla="*/ 296983 h 1670"/>
                <a:gd name="T16" fmla="*/ 486763 w 1594"/>
                <a:gd name="T17" fmla="*/ 241463 h 1670"/>
                <a:gd name="T18" fmla="*/ 511948 w 1594"/>
                <a:gd name="T19" fmla="*/ 282318 h 1670"/>
                <a:gd name="T20" fmla="*/ 539738 w 1594"/>
                <a:gd name="T21" fmla="*/ 293841 h 1670"/>
                <a:gd name="T22" fmla="*/ 564054 w 1594"/>
                <a:gd name="T23" fmla="*/ 260843 h 1670"/>
                <a:gd name="T24" fmla="*/ 609648 w 1594"/>
                <a:gd name="T25" fmla="*/ 214226 h 1670"/>
                <a:gd name="T26" fmla="*/ 672610 w 1594"/>
                <a:gd name="T27" fmla="*/ 224178 h 1670"/>
                <a:gd name="T28" fmla="*/ 685637 w 1594"/>
                <a:gd name="T29" fmla="*/ 260843 h 1670"/>
                <a:gd name="T30" fmla="*/ 653070 w 1594"/>
                <a:gd name="T31" fmla="*/ 283889 h 1670"/>
                <a:gd name="T32" fmla="*/ 644820 w 1594"/>
                <a:gd name="T33" fmla="*/ 355647 h 1670"/>
                <a:gd name="T34" fmla="*/ 620503 w 1594"/>
                <a:gd name="T35" fmla="*/ 368741 h 1670"/>
                <a:gd name="T36" fmla="*/ 611385 w 1594"/>
                <a:gd name="T37" fmla="*/ 426357 h 1670"/>
                <a:gd name="T38" fmla="*/ 573607 w 1594"/>
                <a:gd name="T39" fmla="*/ 394930 h 1670"/>
                <a:gd name="T40" fmla="*/ 574476 w 1594"/>
                <a:gd name="T41" fmla="*/ 365599 h 1670"/>
                <a:gd name="T42" fmla="*/ 531922 w 1594"/>
                <a:gd name="T43" fmla="*/ 334172 h 1670"/>
                <a:gd name="T44" fmla="*/ 515422 w 1594"/>
                <a:gd name="T45" fmla="*/ 307983 h 1670"/>
                <a:gd name="T46" fmla="*/ 491105 w 1594"/>
                <a:gd name="T47" fmla="*/ 301174 h 1670"/>
                <a:gd name="T48" fmla="*/ 489368 w 1594"/>
                <a:gd name="T49" fmla="*/ 327363 h 1670"/>
                <a:gd name="T50" fmla="*/ 485026 w 1594"/>
                <a:gd name="T51" fmla="*/ 357742 h 1670"/>
                <a:gd name="T52" fmla="*/ 503698 w 1594"/>
                <a:gd name="T53" fmla="*/ 384978 h 1670"/>
                <a:gd name="T54" fmla="*/ 498921 w 1594"/>
                <a:gd name="T55" fmla="*/ 441547 h 1670"/>
                <a:gd name="T56" fmla="*/ 466789 w 1594"/>
                <a:gd name="T57" fmla="*/ 452546 h 1670"/>
                <a:gd name="T58" fmla="*/ 455499 w 1594"/>
                <a:gd name="T59" fmla="*/ 490782 h 1670"/>
                <a:gd name="T60" fmla="*/ 414248 w 1594"/>
                <a:gd name="T61" fmla="*/ 524304 h 1670"/>
                <a:gd name="T62" fmla="*/ 396011 w 1594"/>
                <a:gd name="T63" fmla="*/ 549969 h 1670"/>
                <a:gd name="T64" fmla="*/ 338693 w 1594"/>
                <a:gd name="T65" fmla="*/ 622251 h 1670"/>
                <a:gd name="T66" fmla="*/ 313943 w 1594"/>
                <a:gd name="T67" fmla="*/ 645821 h 1670"/>
                <a:gd name="T68" fmla="*/ 323061 w 1594"/>
                <a:gd name="T69" fmla="*/ 703961 h 1670"/>
                <a:gd name="T70" fmla="*/ 309166 w 1594"/>
                <a:gd name="T71" fmla="*/ 756862 h 1670"/>
                <a:gd name="T72" fmla="*/ 313508 w 1594"/>
                <a:gd name="T73" fmla="*/ 798241 h 1670"/>
                <a:gd name="T74" fmla="*/ 300916 w 1594"/>
                <a:gd name="T75" fmla="*/ 825478 h 1670"/>
                <a:gd name="T76" fmla="*/ 258362 w 1594"/>
                <a:gd name="T77" fmla="*/ 871047 h 1670"/>
                <a:gd name="T78" fmla="*/ 224059 w 1594"/>
                <a:gd name="T79" fmla="*/ 800860 h 1670"/>
                <a:gd name="T80" fmla="*/ 181939 w 1594"/>
                <a:gd name="T81" fmla="*/ 698723 h 1670"/>
                <a:gd name="T82" fmla="*/ 130701 w 1594"/>
                <a:gd name="T83" fmla="*/ 583491 h 1670"/>
                <a:gd name="T84" fmla="*/ 112464 w 1594"/>
                <a:gd name="T85" fmla="*/ 450975 h 1670"/>
                <a:gd name="T86" fmla="*/ 99871 w 1594"/>
                <a:gd name="T87" fmla="*/ 426357 h 1670"/>
                <a:gd name="T88" fmla="*/ 71212 w 1594"/>
                <a:gd name="T89" fmla="*/ 471402 h 1670"/>
                <a:gd name="T90" fmla="*/ 39080 w 1594"/>
                <a:gd name="T91" fmla="*/ 458831 h 1670"/>
                <a:gd name="T92" fmla="*/ 22145 w 1594"/>
                <a:gd name="T93" fmla="*/ 417977 h 1670"/>
                <a:gd name="T94" fmla="*/ 13027 w 1594"/>
                <a:gd name="T95" fmla="*/ 403835 h 1670"/>
                <a:gd name="T96" fmla="*/ 13895 w 1594"/>
                <a:gd name="T97" fmla="*/ 370836 h 1670"/>
                <a:gd name="T98" fmla="*/ 69041 w 1594"/>
                <a:gd name="T99" fmla="*/ 345171 h 1670"/>
                <a:gd name="T100" fmla="*/ 39948 w 1594"/>
                <a:gd name="T101" fmla="*/ 298031 h 1670"/>
                <a:gd name="T102" fmla="*/ 25619 w 1594"/>
                <a:gd name="T103" fmla="*/ 261890 h 1670"/>
                <a:gd name="T104" fmla="*/ 70344 w 1594"/>
                <a:gd name="T105" fmla="*/ 240415 h 1670"/>
                <a:gd name="T106" fmla="*/ 117240 w 1594"/>
                <a:gd name="T107" fmla="*/ 153991 h 1670"/>
                <a:gd name="T108" fmla="*/ 118977 w 1594"/>
                <a:gd name="T109" fmla="*/ 120469 h 1670"/>
                <a:gd name="T110" fmla="*/ 98568 w 1594"/>
                <a:gd name="T111" fmla="*/ 74377 h 1670"/>
                <a:gd name="T112" fmla="*/ 139820 w 1594"/>
                <a:gd name="T113" fmla="*/ 28284 h 16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08" name="Freeform 465">
              <a:extLst>
                <a:ext uri="{FF2B5EF4-FFF2-40B4-BE49-F238E27FC236}">
                  <a16:creationId xmlns:a16="http://schemas.microsoft.com/office/drawing/2014/main" id="{6CE96E76-A052-478C-94DB-7E5E8E6804C9}"/>
                </a:ext>
              </a:extLst>
            </p:cNvPr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5322888" y="3325814"/>
              <a:ext cx="158750" cy="206375"/>
            </a:xfrm>
            <a:custGeom>
              <a:avLst/>
              <a:gdLst>
                <a:gd name="T0" fmla="*/ 23437 w 359"/>
                <a:gd name="T1" fmla="*/ 200089 h 394"/>
                <a:gd name="T2" fmla="*/ 23437 w 359"/>
                <a:gd name="T3" fmla="*/ 187518 h 394"/>
                <a:gd name="T4" fmla="*/ 23437 w 359"/>
                <a:gd name="T5" fmla="*/ 174424 h 394"/>
                <a:gd name="T6" fmla="*/ 22110 w 359"/>
                <a:gd name="T7" fmla="*/ 163424 h 394"/>
                <a:gd name="T8" fmla="*/ 19015 w 359"/>
                <a:gd name="T9" fmla="*/ 153472 h 394"/>
                <a:gd name="T10" fmla="*/ 15477 w 359"/>
                <a:gd name="T11" fmla="*/ 145091 h 394"/>
                <a:gd name="T12" fmla="*/ 5749 w 359"/>
                <a:gd name="T13" fmla="*/ 128330 h 394"/>
                <a:gd name="T14" fmla="*/ 0 w 359"/>
                <a:gd name="T15" fmla="*/ 96902 h 394"/>
                <a:gd name="T16" fmla="*/ 14593 w 359"/>
                <a:gd name="T17" fmla="*/ 94807 h 394"/>
                <a:gd name="T18" fmla="*/ 17688 w 359"/>
                <a:gd name="T19" fmla="*/ 88521 h 394"/>
                <a:gd name="T20" fmla="*/ 18130 w 359"/>
                <a:gd name="T21" fmla="*/ 78569 h 394"/>
                <a:gd name="T22" fmla="*/ 16804 w 359"/>
                <a:gd name="T23" fmla="*/ 56046 h 394"/>
                <a:gd name="T24" fmla="*/ 13708 w 359"/>
                <a:gd name="T25" fmla="*/ 34047 h 394"/>
                <a:gd name="T26" fmla="*/ 14150 w 359"/>
                <a:gd name="T27" fmla="*/ 24618 h 394"/>
                <a:gd name="T28" fmla="*/ 15919 w 359"/>
                <a:gd name="T29" fmla="*/ 18857 h 394"/>
                <a:gd name="T30" fmla="*/ 53064 w 359"/>
                <a:gd name="T31" fmla="*/ 16238 h 394"/>
                <a:gd name="T32" fmla="*/ 53948 w 359"/>
                <a:gd name="T33" fmla="*/ 11523 h 394"/>
                <a:gd name="T34" fmla="*/ 56602 w 359"/>
                <a:gd name="T35" fmla="*/ 7333 h 394"/>
                <a:gd name="T36" fmla="*/ 61908 w 359"/>
                <a:gd name="T37" fmla="*/ 0 h 394"/>
                <a:gd name="T38" fmla="*/ 62792 w 359"/>
                <a:gd name="T39" fmla="*/ 9428 h 394"/>
                <a:gd name="T40" fmla="*/ 62792 w 359"/>
                <a:gd name="T41" fmla="*/ 13619 h 394"/>
                <a:gd name="T42" fmla="*/ 61908 w 359"/>
                <a:gd name="T43" fmla="*/ 16238 h 394"/>
                <a:gd name="T44" fmla="*/ 74290 w 359"/>
                <a:gd name="T45" fmla="*/ 16238 h 394"/>
                <a:gd name="T46" fmla="*/ 82249 w 359"/>
                <a:gd name="T47" fmla="*/ 16238 h 394"/>
                <a:gd name="T48" fmla="*/ 94631 w 359"/>
                <a:gd name="T49" fmla="*/ 19904 h 394"/>
                <a:gd name="T50" fmla="*/ 103033 w 359"/>
                <a:gd name="T51" fmla="*/ 25666 h 394"/>
                <a:gd name="T52" fmla="*/ 108781 w 359"/>
                <a:gd name="T53" fmla="*/ 30380 h 394"/>
                <a:gd name="T54" fmla="*/ 114530 w 359"/>
                <a:gd name="T55" fmla="*/ 31951 h 394"/>
                <a:gd name="T56" fmla="*/ 118510 w 359"/>
                <a:gd name="T57" fmla="*/ 30904 h 394"/>
                <a:gd name="T58" fmla="*/ 121605 w 359"/>
                <a:gd name="T59" fmla="*/ 28285 h 394"/>
                <a:gd name="T60" fmla="*/ 126469 w 359"/>
                <a:gd name="T61" fmla="*/ 19380 h 394"/>
                <a:gd name="T62" fmla="*/ 137967 w 359"/>
                <a:gd name="T63" fmla="*/ 27237 h 394"/>
                <a:gd name="T64" fmla="*/ 143715 w 359"/>
                <a:gd name="T65" fmla="*/ 30904 h 394"/>
                <a:gd name="T66" fmla="*/ 149464 w 359"/>
                <a:gd name="T67" fmla="*/ 31951 h 394"/>
                <a:gd name="T68" fmla="*/ 156097 w 359"/>
                <a:gd name="T69" fmla="*/ 84331 h 394"/>
                <a:gd name="T70" fmla="*/ 149464 w 359"/>
                <a:gd name="T71" fmla="*/ 96902 h 394"/>
                <a:gd name="T72" fmla="*/ 142831 w 359"/>
                <a:gd name="T73" fmla="*/ 107902 h 394"/>
                <a:gd name="T74" fmla="*/ 139293 w 359"/>
                <a:gd name="T75" fmla="*/ 117330 h 394"/>
                <a:gd name="T76" fmla="*/ 138409 w 359"/>
                <a:gd name="T77" fmla="*/ 125187 h 394"/>
                <a:gd name="T78" fmla="*/ 138409 w 359"/>
                <a:gd name="T79" fmla="*/ 133568 h 394"/>
                <a:gd name="T80" fmla="*/ 141946 w 359"/>
                <a:gd name="T81" fmla="*/ 142996 h 394"/>
                <a:gd name="T82" fmla="*/ 146368 w 359"/>
                <a:gd name="T83" fmla="*/ 153472 h 394"/>
                <a:gd name="T84" fmla="*/ 149022 w 359"/>
                <a:gd name="T85" fmla="*/ 161852 h 394"/>
                <a:gd name="T86" fmla="*/ 149022 w 359"/>
                <a:gd name="T87" fmla="*/ 168138 h 394"/>
                <a:gd name="T88" fmla="*/ 145926 w 359"/>
                <a:gd name="T89" fmla="*/ 176519 h 394"/>
                <a:gd name="T90" fmla="*/ 144157 w 359"/>
                <a:gd name="T91" fmla="*/ 183852 h 394"/>
                <a:gd name="T92" fmla="*/ 141062 w 359"/>
                <a:gd name="T93" fmla="*/ 187518 h 394"/>
                <a:gd name="T94" fmla="*/ 136198 w 359"/>
                <a:gd name="T95" fmla="*/ 186471 h 394"/>
                <a:gd name="T96" fmla="*/ 131776 w 359"/>
                <a:gd name="T97" fmla="*/ 183328 h 394"/>
                <a:gd name="T98" fmla="*/ 126912 w 359"/>
                <a:gd name="T99" fmla="*/ 178090 h 394"/>
                <a:gd name="T100" fmla="*/ 122490 w 359"/>
                <a:gd name="T101" fmla="*/ 175471 h 394"/>
                <a:gd name="T102" fmla="*/ 117625 w 359"/>
                <a:gd name="T103" fmla="*/ 174424 h 394"/>
                <a:gd name="T104" fmla="*/ 108781 w 359"/>
                <a:gd name="T105" fmla="*/ 174424 h 394"/>
                <a:gd name="T106" fmla="*/ 97726 w 359"/>
                <a:gd name="T107" fmla="*/ 175995 h 394"/>
                <a:gd name="T108" fmla="*/ 80038 w 359"/>
                <a:gd name="T109" fmla="*/ 179661 h 394"/>
                <a:gd name="T110" fmla="*/ 57928 w 359"/>
                <a:gd name="T111" fmla="*/ 188042 h 394"/>
                <a:gd name="T112" fmla="*/ 38029 w 359"/>
                <a:gd name="T113" fmla="*/ 196423 h 394"/>
                <a:gd name="T114" fmla="*/ 23437 w 359"/>
                <a:gd name="T115" fmla="*/ 206375 h 39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9" name="Freeform 466">
              <a:extLst>
                <a:ext uri="{FF2B5EF4-FFF2-40B4-BE49-F238E27FC236}">
                  <a16:creationId xmlns:a16="http://schemas.microsoft.com/office/drawing/2014/main" id="{B2B40C81-740A-48F6-9C95-D2C0C83AFAC2}"/>
                </a:ext>
              </a:extLst>
            </p:cNvPr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6391275" y="3521076"/>
              <a:ext cx="192088" cy="271463"/>
            </a:xfrm>
            <a:custGeom>
              <a:avLst/>
              <a:gdLst>
                <a:gd name="T0" fmla="*/ 175403 w 449"/>
                <a:gd name="T1" fmla="*/ 54500 h 523"/>
                <a:gd name="T2" fmla="*/ 173264 w 449"/>
                <a:gd name="T3" fmla="*/ 50867 h 523"/>
                <a:gd name="T4" fmla="*/ 174548 w 449"/>
                <a:gd name="T5" fmla="*/ 47753 h 523"/>
                <a:gd name="T6" fmla="*/ 180537 w 449"/>
                <a:gd name="T7" fmla="*/ 39967 h 523"/>
                <a:gd name="T8" fmla="*/ 188665 w 449"/>
                <a:gd name="T9" fmla="*/ 31143 h 523"/>
                <a:gd name="T10" fmla="*/ 191232 w 449"/>
                <a:gd name="T11" fmla="*/ 25952 h 523"/>
                <a:gd name="T12" fmla="*/ 192088 w 449"/>
                <a:gd name="T13" fmla="*/ 19205 h 523"/>
                <a:gd name="T14" fmla="*/ 184815 w 449"/>
                <a:gd name="T15" fmla="*/ 17648 h 523"/>
                <a:gd name="T16" fmla="*/ 180537 w 449"/>
                <a:gd name="T17" fmla="*/ 14014 h 523"/>
                <a:gd name="T18" fmla="*/ 175831 w 449"/>
                <a:gd name="T19" fmla="*/ 10900 h 523"/>
                <a:gd name="T20" fmla="*/ 166847 w 449"/>
                <a:gd name="T21" fmla="*/ 9343 h 523"/>
                <a:gd name="T22" fmla="*/ 161285 w 449"/>
                <a:gd name="T23" fmla="*/ 10381 h 523"/>
                <a:gd name="T24" fmla="*/ 157435 w 449"/>
                <a:gd name="T25" fmla="*/ 12457 h 523"/>
                <a:gd name="T26" fmla="*/ 151874 w 449"/>
                <a:gd name="T27" fmla="*/ 19205 h 523"/>
                <a:gd name="T28" fmla="*/ 145456 w 449"/>
                <a:gd name="T29" fmla="*/ 25952 h 523"/>
                <a:gd name="T30" fmla="*/ 139467 w 449"/>
                <a:gd name="T31" fmla="*/ 28029 h 523"/>
                <a:gd name="T32" fmla="*/ 132622 w 449"/>
                <a:gd name="T33" fmla="*/ 28548 h 523"/>
                <a:gd name="T34" fmla="*/ 122782 w 449"/>
                <a:gd name="T35" fmla="*/ 28029 h 523"/>
                <a:gd name="T36" fmla="*/ 114226 w 449"/>
                <a:gd name="T37" fmla="*/ 25952 h 523"/>
                <a:gd name="T38" fmla="*/ 100536 w 449"/>
                <a:gd name="T39" fmla="*/ 18686 h 523"/>
                <a:gd name="T40" fmla="*/ 88129 w 449"/>
                <a:gd name="T41" fmla="*/ 9862 h 523"/>
                <a:gd name="T42" fmla="*/ 80857 w 449"/>
                <a:gd name="T43" fmla="*/ 6229 h 523"/>
                <a:gd name="T44" fmla="*/ 72728 w 449"/>
                <a:gd name="T45" fmla="*/ 3114 h 523"/>
                <a:gd name="T46" fmla="*/ 57327 w 449"/>
                <a:gd name="T47" fmla="*/ 4152 h 523"/>
                <a:gd name="T48" fmla="*/ 50910 w 449"/>
                <a:gd name="T49" fmla="*/ 3114 h 523"/>
                <a:gd name="T50" fmla="*/ 44065 w 449"/>
                <a:gd name="T51" fmla="*/ 0 h 523"/>
                <a:gd name="T52" fmla="*/ 22246 w 449"/>
                <a:gd name="T53" fmla="*/ 0 h 523"/>
                <a:gd name="T54" fmla="*/ 2139 w 449"/>
                <a:gd name="T55" fmla="*/ 0 h 523"/>
                <a:gd name="T56" fmla="*/ 2139 w 449"/>
                <a:gd name="T57" fmla="*/ 9343 h 523"/>
                <a:gd name="T58" fmla="*/ 2139 w 449"/>
                <a:gd name="T59" fmla="*/ 19205 h 523"/>
                <a:gd name="T60" fmla="*/ 6417 w 449"/>
                <a:gd name="T61" fmla="*/ 31143 h 523"/>
                <a:gd name="T62" fmla="*/ 9840 w 449"/>
                <a:gd name="T63" fmla="*/ 47234 h 523"/>
                <a:gd name="T64" fmla="*/ 13262 w 449"/>
                <a:gd name="T65" fmla="*/ 66438 h 523"/>
                <a:gd name="T66" fmla="*/ 16257 w 449"/>
                <a:gd name="T67" fmla="*/ 89277 h 523"/>
                <a:gd name="T68" fmla="*/ 15829 w 449"/>
                <a:gd name="T69" fmla="*/ 106924 h 523"/>
                <a:gd name="T70" fmla="*/ 12407 w 449"/>
                <a:gd name="T71" fmla="*/ 119381 h 523"/>
                <a:gd name="T72" fmla="*/ 2995 w 449"/>
                <a:gd name="T73" fmla="*/ 139624 h 523"/>
                <a:gd name="T74" fmla="*/ 4278 w 449"/>
                <a:gd name="T75" fmla="*/ 166615 h 523"/>
                <a:gd name="T76" fmla="*/ 11979 w 449"/>
                <a:gd name="T77" fmla="*/ 175958 h 523"/>
                <a:gd name="T78" fmla="*/ 35936 w 449"/>
                <a:gd name="T79" fmla="*/ 190491 h 523"/>
                <a:gd name="T80" fmla="*/ 58183 w 449"/>
                <a:gd name="T81" fmla="*/ 205544 h 523"/>
                <a:gd name="T82" fmla="*/ 72728 w 449"/>
                <a:gd name="T83" fmla="*/ 218001 h 523"/>
                <a:gd name="T84" fmla="*/ 80857 w 449"/>
                <a:gd name="T85" fmla="*/ 226306 h 523"/>
                <a:gd name="T86" fmla="*/ 84707 w 449"/>
                <a:gd name="T87" fmla="*/ 234091 h 523"/>
                <a:gd name="T88" fmla="*/ 85990 w 449"/>
                <a:gd name="T89" fmla="*/ 240839 h 523"/>
                <a:gd name="T90" fmla="*/ 89413 w 449"/>
                <a:gd name="T91" fmla="*/ 248625 h 523"/>
                <a:gd name="T92" fmla="*/ 94119 w 449"/>
                <a:gd name="T93" fmla="*/ 255372 h 523"/>
                <a:gd name="T94" fmla="*/ 99680 w 449"/>
                <a:gd name="T95" fmla="*/ 261082 h 523"/>
                <a:gd name="T96" fmla="*/ 105670 w 449"/>
                <a:gd name="T97" fmla="*/ 265753 h 523"/>
                <a:gd name="T98" fmla="*/ 112943 w 449"/>
                <a:gd name="T99" fmla="*/ 269387 h 523"/>
                <a:gd name="T100" fmla="*/ 120215 w 449"/>
                <a:gd name="T101" fmla="*/ 271463 h 523"/>
                <a:gd name="T102" fmla="*/ 130055 w 449"/>
                <a:gd name="T103" fmla="*/ 260563 h 523"/>
                <a:gd name="T104" fmla="*/ 143317 w 449"/>
                <a:gd name="T105" fmla="*/ 239801 h 523"/>
                <a:gd name="T106" fmla="*/ 156152 w 449"/>
                <a:gd name="T107" fmla="*/ 221634 h 523"/>
                <a:gd name="T108" fmla="*/ 168558 w 449"/>
                <a:gd name="T109" fmla="*/ 202429 h 52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0" name="Freeform 467">
              <a:extLst>
                <a:ext uri="{FF2B5EF4-FFF2-40B4-BE49-F238E27FC236}">
                  <a16:creationId xmlns:a16="http://schemas.microsoft.com/office/drawing/2014/main" id="{B689618C-C167-4808-8BF3-FC1A5D2EECA5}"/>
                </a:ext>
              </a:extLst>
            </p:cNvPr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6373813" y="2606676"/>
              <a:ext cx="101600" cy="130175"/>
            </a:xfrm>
            <a:custGeom>
              <a:avLst/>
              <a:gdLst>
                <a:gd name="T0" fmla="*/ 5395 w 226"/>
                <a:gd name="T1" fmla="*/ 120650 h 246"/>
                <a:gd name="T2" fmla="*/ 16184 w 226"/>
                <a:gd name="T3" fmla="*/ 127000 h 246"/>
                <a:gd name="T4" fmla="*/ 23827 w 226"/>
                <a:gd name="T5" fmla="*/ 129646 h 246"/>
                <a:gd name="T6" fmla="*/ 30570 w 226"/>
                <a:gd name="T7" fmla="*/ 129646 h 246"/>
                <a:gd name="T8" fmla="*/ 38212 w 226"/>
                <a:gd name="T9" fmla="*/ 127529 h 246"/>
                <a:gd name="T10" fmla="*/ 49451 w 226"/>
                <a:gd name="T11" fmla="*/ 120650 h 246"/>
                <a:gd name="T12" fmla="*/ 63388 w 226"/>
                <a:gd name="T13" fmla="*/ 108479 h 246"/>
                <a:gd name="T14" fmla="*/ 72379 w 226"/>
                <a:gd name="T15" fmla="*/ 97367 h 246"/>
                <a:gd name="T16" fmla="*/ 71480 w 226"/>
                <a:gd name="T17" fmla="*/ 91546 h 246"/>
                <a:gd name="T18" fmla="*/ 66984 w 226"/>
                <a:gd name="T19" fmla="*/ 84667 h 246"/>
                <a:gd name="T20" fmla="*/ 64287 w 226"/>
                <a:gd name="T21" fmla="*/ 76729 h 246"/>
                <a:gd name="T22" fmla="*/ 63388 w 226"/>
                <a:gd name="T23" fmla="*/ 68792 h 246"/>
                <a:gd name="T24" fmla="*/ 63388 w 226"/>
                <a:gd name="T25" fmla="*/ 61383 h 246"/>
                <a:gd name="T26" fmla="*/ 65635 w 226"/>
                <a:gd name="T27" fmla="*/ 55562 h 246"/>
                <a:gd name="T28" fmla="*/ 70131 w 226"/>
                <a:gd name="T29" fmla="*/ 49742 h 246"/>
                <a:gd name="T30" fmla="*/ 75526 w 226"/>
                <a:gd name="T31" fmla="*/ 45508 h 246"/>
                <a:gd name="T32" fmla="*/ 91710 w 226"/>
                <a:gd name="T33" fmla="*/ 37571 h 246"/>
                <a:gd name="T34" fmla="*/ 101150 w 226"/>
                <a:gd name="T35" fmla="*/ 25929 h 246"/>
                <a:gd name="T36" fmla="*/ 99352 w 226"/>
                <a:gd name="T37" fmla="*/ 15875 h 246"/>
                <a:gd name="T38" fmla="*/ 96205 w 226"/>
                <a:gd name="T39" fmla="*/ 8996 h 246"/>
                <a:gd name="T40" fmla="*/ 95306 w 226"/>
                <a:gd name="T41" fmla="*/ 3175 h 246"/>
                <a:gd name="T42" fmla="*/ 90811 w 226"/>
                <a:gd name="T43" fmla="*/ 529 h 246"/>
                <a:gd name="T44" fmla="*/ 81370 w 226"/>
                <a:gd name="T45" fmla="*/ 3704 h 246"/>
                <a:gd name="T46" fmla="*/ 69232 w 226"/>
                <a:gd name="T47" fmla="*/ 10583 h 246"/>
                <a:gd name="T48" fmla="*/ 54396 w 226"/>
                <a:gd name="T49" fmla="*/ 20108 h 246"/>
                <a:gd name="T50" fmla="*/ 44956 w 226"/>
                <a:gd name="T51" fmla="*/ 26987 h 246"/>
                <a:gd name="T52" fmla="*/ 39112 w 226"/>
                <a:gd name="T53" fmla="*/ 29104 h 246"/>
                <a:gd name="T54" fmla="*/ 33717 w 226"/>
                <a:gd name="T55" fmla="*/ 28575 h 246"/>
                <a:gd name="T56" fmla="*/ 26524 w 226"/>
                <a:gd name="T57" fmla="*/ 24871 h 246"/>
                <a:gd name="T58" fmla="*/ 16184 w 226"/>
                <a:gd name="T59" fmla="*/ 16404 h 246"/>
                <a:gd name="T60" fmla="*/ 10789 w 226"/>
                <a:gd name="T61" fmla="*/ 20638 h 246"/>
                <a:gd name="T62" fmla="*/ 8092 w 226"/>
                <a:gd name="T63" fmla="*/ 50271 h 246"/>
                <a:gd name="T64" fmla="*/ 4496 w 226"/>
                <a:gd name="T65" fmla="*/ 86254 h 246"/>
                <a:gd name="T66" fmla="*/ 1349 w 226"/>
                <a:gd name="T67" fmla="*/ 112183 h 24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1" name="Freeform 468">
              <a:extLst>
                <a:ext uri="{FF2B5EF4-FFF2-40B4-BE49-F238E27FC236}">
                  <a16:creationId xmlns:a16="http://schemas.microsoft.com/office/drawing/2014/main" id="{DB019487-E493-4C00-8C4A-9D4C443ECCFA}"/>
                </a:ext>
              </a:extLst>
            </p:cNvPr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6672264" y="2709863"/>
              <a:ext cx="22225" cy="55562"/>
            </a:xfrm>
            <a:custGeom>
              <a:avLst/>
              <a:gdLst>
                <a:gd name="T0" fmla="*/ 10001 w 60"/>
                <a:gd name="T1" fmla="*/ 0 h 81"/>
                <a:gd name="T2" fmla="*/ 10742 w 60"/>
                <a:gd name="T3" fmla="*/ 1372 h 81"/>
                <a:gd name="T4" fmla="*/ 11853 w 60"/>
                <a:gd name="T5" fmla="*/ 2058 h 81"/>
                <a:gd name="T6" fmla="*/ 13335 w 60"/>
                <a:gd name="T7" fmla="*/ 2058 h 81"/>
                <a:gd name="T8" fmla="*/ 14817 w 60"/>
                <a:gd name="T9" fmla="*/ 1372 h 81"/>
                <a:gd name="T10" fmla="*/ 17410 w 60"/>
                <a:gd name="T11" fmla="*/ 686 h 81"/>
                <a:gd name="T12" fmla="*/ 19632 w 60"/>
                <a:gd name="T13" fmla="*/ 0 h 81"/>
                <a:gd name="T14" fmla="*/ 19632 w 60"/>
                <a:gd name="T15" fmla="*/ 17835 h 81"/>
                <a:gd name="T16" fmla="*/ 20003 w 60"/>
                <a:gd name="T17" fmla="*/ 32240 h 81"/>
                <a:gd name="T18" fmla="*/ 20003 w 60"/>
                <a:gd name="T19" fmla="*/ 39099 h 81"/>
                <a:gd name="T20" fmla="*/ 20743 w 60"/>
                <a:gd name="T21" fmla="*/ 44587 h 81"/>
                <a:gd name="T22" fmla="*/ 21484 w 60"/>
                <a:gd name="T23" fmla="*/ 50074 h 81"/>
                <a:gd name="T24" fmla="*/ 22225 w 60"/>
                <a:gd name="T25" fmla="*/ 55562 h 81"/>
                <a:gd name="T26" fmla="*/ 7408 w 60"/>
                <a:gd name="T27" fmla="*/ 55562 h 81"/>
                <a:gd name="T28" fmla="*/ 5186 w 60"/>
                <a:gd name="T29" fmla="*/ 54876 h 81"/>
                <a:gd name="T30" fmla="*/ 2593 w 60"/>
                <a:gd name="T31" fmla="*/ 52818 h 81"/>
                <a:gd name="T32" fmla="*/ 1852 w 60"/>
                <a:gd name="T33" fmla="*/ 50760 h 81"/>
                <a:gd name="T34" fmla="*/ 741 w 60"/>
                <a:gd name="T35" fmla="*/ 49388 h 81"/>
                <a:gd name="T36" fmla="*/ 370 w 60"/>
                <a:gd name="T37" fmla="*/ 48017 h 81"/>
                <a:gd name="T38" fmla="*/ 0 w 60"/>
                <a:gd name="T39" fmla="*/ 46645 h 81"/>
                <a:gd name="T40" fmla="*/ 2593 w 60"/>
                <a:gd name="T41" fmla="*/ 8231 h 81"/>
                <a:gd name="T42" fmla="*/ 7408 w 60"/>
                <a:gd name="T43" fmla="*/ 4116 h 81"/>
                <a:gd name="T44" fmla="*/ 12594 w 60"/>
                <a:gd name="T45" fmla="*/ 0 h 81"/>
                <a:gd name="T46" fmla="*/ 10001 w 60"/>
                <a:gd name="T47" fmla="*/ 0 h 8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2" name="Freeform 469">
              <a:extLst>
                <a:ext uri="{FF2B5EF4-FFF2-40B4-BE49-F238E27FC236}">
                  <a16:creationId xmlns:a16="http://schemas.microsoft.com/office/drawing/2014/main" id="{01AD7551-1E4C-4DC5-B722-CEAD9864F7DE}"/>
                </a:ext>
              </a:extLst>
            </p:cNvPr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5959476" y="1844676"/>
              <a:ext cx="161925" cy="66675"/>
            </a:xfrm>
            <a:custGeom>
              <a:avLst/>
              <a:gdLst>
                <a:gd name="T0" fmla="*/ 109409 w 370"/>
                <a:gd name="T1" fmla="*/ 60473 h 129"/>
                <a:gd name="T2" fmla="*/ 112910 w 370"/>
                <a:gd name="T3" fmla="*/ 61506 h 129"/>
                <a:gd name="T4" fmla="*/ 121225 w 370"/>
                <a:gd name="T5" fmla="*/ 63574 h 129"/>
                <a:gd name="T6" fmla="*/ 129102 w 370"/>
                <a:gd name="T7" fmla="*/ 65641 h 129"/>
                <a:gd name="T8" fmla="*/ 132603 w 370"/>
                <a:gd name="T9" fmla="*/ 66675 h 129"/>
                <a:gd name="T10" fmla="*/ 161925 w 370"/>
                <a:gd name="T11" fmla="*/ 50135 h 129"/>
                <a:gd name="T12" fmla="*/ 156673 w 370"/>
                <a:gd name="T13" fmla="*/ 38765 h 129"/>
                <a:gd name="T14" fmla="*/ 150984 w 370"/>
                <a:gd name="T15" fmla="*/ 24809 h 129"/>
                <a:gd name="T16" fmla="*/ 146608 w 370"/>
                <a:gd name="T17" fmla="*/ 13955 h 129"/>
                <a:gd name="T18" fmla="*/ 144420 w 370"/>
                <a:gd name="T19" fmla="*/ 9303 h 129"/>
                <a:gd name="T20" fmla="*/ 131291 w 370"/>
                <a:gd name="T21" fmla="*/ 7753 h 129"/>
                <a:gd name="T22" fmla="*/ 112472 w 370"/>
                <a:gd name="T23" fmla="*/ 4652 h 129"/>
                <a:gd name="T24" fmla="*/ 93654 w 370"/>
                <a:gd name="T25" fmla="*/ 1034 h 129"/>
                <a:gd name="T26" fmla="*/ 80087 w 370"/>
                <a:gd name="T27" fmla="*/ 0 h 129"/>
                <a:gd name="T28" fmla="*/ 78337 w 370"/>
                <a:gd name="T29" fmla="*/ 0 h 129"/>
                <a:gd name="T30" fmla="*/ 77024 w 370"/>
                <a:gd name="T31" fmla="*/ 517 h 129"/>
                <a:gd name="T32" fmla="*/ 75273 w 370"/>
                <a:gd name="T33" fmla="*/ 1034 h 129"/>
                <a:gd name="T34" fmla="*/ 74398 w 370"/>
                <a:gd name="T35" fmla="*/ 1551 h 129"/>
                <a:gd name="T36" fmla="*/ 70897 w 370"/>
                <a:gd name="T37" fmla="*/ 3618 h 129"/>
                <a:gd name="T38" fmla="*/ 65645 w 370"/>
                <a:gd name="T39" fmla="*/ 6202 h 129"/>
                <a:gd name="T40" fmla="*/ 64332 w 370"/>
                <a:gd name="T41" fmla="*/ 10854 h 129"/>
                <a:gd name="T42" fmla="*/ 61269 w 370"/>
                <a:gd name="T43" fmla="*/ 18090 h 129"/>
                <a:gd name="T44" fmla="*/ 58643 w 370"/>
                <a:gd name="T45" fmla="*/ 24809 h 129"/>
                <a:gd name="T46" fmla="*/ 57330 w 370"/>
                <a:gd name="T47" fmla="*/ 28427 h 129"/>
                <a:gd name="T48" fmla="*/ 53391 w 370"/>
                <a:gd name="T49" fmla="*/ 27910 h 129"/>
                <a:gd name="T50" fmla="*/ 48578 w 370"/>
                <a:gd name="T51" fmla="*/ 25326 h 129"/>
                <a:gd name="T52" fmla="*/ 42888 w 370"/>
                <a:gd name="T53" fmla="*/ 22742 h 129"/>
                <a:gd name="T54" fmla="*/ 36761 w 370"/>
                <a:gd name="T55" fmla="*/ 19641 h 129"/>
                <a:gd name="T56" fmla="*/ 26258 w 370"/>
                <a:gd name="T57" fmla="*/ 13438 h 129"/>
                <a:gd name="T58" fmla="*/ 19256 w 370"/>
                <a:gd name="T59" fmla="*/ 9303 h 129"/>
                <a:gd name="T60" fmla="*/ 14004 w 370"/>
                <a:gd name="T61" fmla="*/ 12922 h 129"/>
                <a:gd name="T62" fmla="*/ 9190 w 370"/>
                <a:gd name="T63" fmla="*/ 17056 h 129"/>
                <a:gd name="T64" fmla="*/ 7002 w 370"/>
                <a:gd name="T65" fmla="*/ 19124 h 129"/>
                <a:gd name="T66" fmla="*/ 5252 w 370"/>
                <a:gd name="T67" fmla="*/ 21191 h 129"/>
                <a:gd name="T68" fmla="*/ 3939 w 370"/>
                <a:gd name="T69" fmla="*/ 23776 h 129"/>
                <a:gd name="T70" fmla="*/ 2188 w 370"/>
                <a:gd name="T71" fmla="*/ 26877 h 129"/>
                <a:gd name="T72" fmla="*/ 1313 w 370"/>
                <a:gd name="T73" fmla="*/ 29461 h 129"/>
                <a:gd name="T74" fmla="*/ 438 w 370"/>
                <a:gd name="T75" fmla="*/ 32562 h 129"/>
                <a:gd name="T76" fmla="*/ 0 w 370"/>
                <a:gd name="T77" fmla="*/ 35663 h 129"/>
                <a:gd name="T78" fmla="*/ 0 w 370"/>
                <a:gd name="T79" fmla="*/ 38765 h 129"/>
                <a:gd name="T80" fmla="*/ 438 w 370"/>
                <a:gd name="T81" fmla="*/ 42383 h 129"/>
                <a:gd name="T82" fmla="*/ 1313 w 370"/>
                <a:gd name="T83" fmla="*/ 45484 h 129"/>
                <a:gd name="T84" fmla="*/ 2626 w 370"/>
                <a:gd name="T85" fmla="*/ 49619 h 129"/>
                <a:gd name="T86" fmla="*/ 4814 w 370"/>
                <a:gd name="T87" fmla="*/ 53237 h 129"/>
                <a:gd name="T88" fmla="*/ 8753 w 370"/>
                <a:gd name="T89" fmla="*/ 52203 h 129"/>
                <a:gd name="T90" fmla="*/ 14442 w 370"/>
                <a:gd name="T91" fmla="*/ 51169 h 129"/>
                <a:gd name="T92" fmla="*/ 21882 w 370"/>
                <a:gd name="T93" fmla="*/ 50135 h 129"/>
                <a:gd name="T94" fmla="*/ 30197 w 370"/>
                <a:gd name="T95" fmla="*/ 49102 h 129"/>
                <a:gd name="T96" fmla="*/ 44639 w 370"/>
                <a:gd name="T97" fmla="*/ 47551 h 129"/>
                <a:gd name="T98" fmla="*/ 51203 w 370"/>
                <a:gd name="T99" fmla="*/ 47034 h 129"/>
                <a:gd name="T100" fmla="*/ 59956 w 370"/>
                <a:gd name="T101" fmla="*/ 47551 h 129"/>
                <a:gd name="T102" fmla="*/ 66521 w 370"/>
                <a:gd name="T103" fmla="*/ 48585 h 129"/>
                <a:gd name="T104" fmla="*/ 72647 w 370"/>
                <a:gd name="T105" fmla="*/ 50135 h 129"/>
                <a:gd name="T106" fmla="*/ 77461 w 370"/>
                <a:gd name="T107" fmla="*/ 51686 h 129"/>
                <a:gd name="T108" fmla="*/ 82713 w 370"/>
                <a:gd name="T109" fmla="*/ 53753 h 129"/>
                <a:gd name="T110" fmla="*/ 87965 w 370"/>
                <a:gd name="T111" fmla="*/ 55821 h 129"/>
                <a:gd name="T112" fmla="*/ 94967 w 370"/>
                <a:gd name="T113" fmla="*/ 56855 h 129"/>
                <a:gd name="T114" fmla="*/ 103720 w 370"/>
                <a:gd name="T115" fmla="*/ 57372 h 129"/>
                <a:gd name="T116" fmla="*/ 103720 w 370"/>
                <a:gd name="T117" fmla="*/ 60473 h 129"/>
                <a:gd name="T118" fmla="*/ 109409 w 370"/>
                <a:gd name="T119" fmla="*/ 60473 h 12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313" name="Freeform 470">
              <a:extLst>
                <a:ext uri="{FF2B5EF4-FFF2-40B4-BE49-F238E27FC236}">
                  <a16:creationId xmlns:a16="http://schemas.microsoft.com/office/drawing/2014/main" id="{34B9E7B2-09A6-4BFA-AC7E-D45BBD163A51}"/>
                </a:ext>
              </a:extLst>
            </p:cNvPr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6370638" y="2565400"/>
              <a:ext cx="30162" cy="57150"/>
            </a:xfrm>
            <a:custGeom>
              <a:avLst/>
              <a:gdLst>
                <a:gd name="T0" fmla="*/ 10180 w 80"/>
                <a:gd name="T1" fmla="*/ 608 h 94"/>
                <a:gd name="T2" fmla="*/ 12819 w 80"/>
                <a:gd name="T3" fmla="*/ 0 h 94"/>
                <a:gd name="T4" fmla="*/ 15458 w 80"/>
                <a:gd name="T5" fmla="*/ 0 h 94"/>
                <a:gd name="T6" fmla="*/ 17720 w 80"/>
                <a:gd name="T7" fmla="*/ 1216 h 94"/>
                <a:gd name="T8" fmla="*/ 20359 w 80"/>
                <a:gd name="T9" fmla="*/ 2432 h 94"/>
                <a:gd name="T10" fmla="*/ 22622 w 80"/>
                <a:gd name="T11" fmla="*/ 3648 h 94"/>
                <a:gd name="T12" fmla="*/ 24884 w 80"/>
                <a:gd name="T13" fmla="*/ 4864 h 94"/>
                <a:gd name="T14" fmla="*/ 27523 w 80"/>
                <a:gd name="T15" fmla="*/ 4864 h 94"/>
                <a:gd name="T16" fmla="*/ 30162 w 80"/>
                <a:gd name="T17" fmla="*/ 4256 h 94"/>
                <a:gd name="T18" fmla="*/ 30162 w 80"/>
                <a:gd name="T19" fmla="*/ 23103 h 94"/>
                <a:gd name="T20" fmla="*/ 28277 w 80"/>
                <a:gd name="T21" fmla="*/ 26751 h 94"/>
                <a:gd name="T22" fmla="*/ 26015 w 80"/>
                <a:gd name="T23" fmla="*/ 31007 h 94"/>
                <a:gd name="T24" fmla="*/ 24130 w 80"/>
                <a:gd name="T25" fmla="*/ 35871 h 94"/>
                <a:gd name="T26" fmla="*/ 21867 w 80"/>
                <a:gd name="T27" fmla="*/ 41343 h 94"/>
                <a:gd name="T28" fmla="*/ 19228 w 80"/>
                <a:gd name="T29" fmla="*/ 51070 h 94"/>
                <a:gd name="T30" fmla="*/ 17720 w 80"/>
                <a:gd name="T31" fmla="*/ 57150 h 94"/>
                <a:gd name="T32" fmla="*/ 16212 w 80"/>
                <a:gd name="T33" fmla="*/ 56542 h 94"/>
                <a:gd name="T34" fmla="*/ 15081 w 80"/>
                <a:gd name="T35" fmla="*/ 55934 h 94"/>
                <a:gd name="T36" fmla="*/ 13950 w 80"/>
                <a:gd name="T37" fmla="*/ 55326 h 94"/>
                <a:gd name="T38" fmla="*/ 12819 w 80"/>
                <a:gd name="T39" fmla="*/ 54110 h 94"/>
                <a:gd name="T40" fmla="*/ 10934 w 80"/>
                <a:gd name="T41" fmla="*/ 51070 h 94"/>
                <a:gd name="T42" fmla="*/ 8672 w 80"/>
                <a:gd name="T43" fmla="*/ 47422 h 94"/>
                <a:gd name="T44" fmla="*/ 7163 w 80"/>
                <a:gd name="T45" fmla="*/ 43774 h 94"/>
                <a:gd name="T46" fmla="*/ 4901 w 80"/>
                <a:gd name="T47" fmla="*/ 39519 h 94"/>
                <a:gd name="T48" fmla="*/ 2639 w 80"/>
                <a:gd name="T49" fmla="*/ 36479 h 94"/>
                <a:gd name="T50" fmla="*/ 0 w 80"/>
                <a:gd name="T51" fmla="*/ 34047 h 94"/>
                <a:gd name="T52" fmla="*/ 3016 w 80"/>
                <a:gd name="T53" fmla="*/ 24927 h 94"/>
                <a:gd name="T54" fmla="*/ 4901 w 80"/>
                <a:gd name="T55" fmla="*/ 17631 h 94"/>
                <a:gd name="T56" fmla="*/ 7163 w 80"/>
                <a:gd name="T57" fmla="*/ 10336 h 94"/>
                <a:gd name="T58" fmla="*/ 10180 w 80"/>
                <a:gd name="T59" fmla="*/ 608 h 9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4" name="Freeform 471">
              <a:extLst>
                <a:ext uri="{FF2B5EF4-FFF2-40B4-BE49-F238E27FC236}">
                  <a16:creationId xmlns:a16="http://schemas.microsoft.com/office/drawing/2014/main" id="{F632ECEF-5319-418C-85C9-05E2169E5147}"/>
                </a:ext>
              </a:extLst>
            </p:cNvPr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6186488" y="4576763"/>
              <a:ext cx="61912" cy="57150"/>
            </a:xfrm>
            <a:custGeom>
              <a:avLst/>
              <a:gdLst>
                <a:gd name="T0" fmla="*/ 1376 w 135"/>
                <a:gd name="T1" fmla="*/ 32074 h 98"/>
                <a:gd name="T2" fmla="*/ 5045 w 135"/>
                <a:gd name="T3" fmla="*/ 31491 h 98"/>
                <a:gd name="T4" fmla="*/ 8255 w 135"/>
                <a:gd name="T5" fmla="*/ 30908 h 98"/>
                <a:gd name="T6" fmla="*/ 11007 w 135"/>
                <a:gd name="T7" fmla="*/ 29158 h 98"/>
                <a:gd name="T8" fmla="*/ 14217 w 135"/>
                <a:gd name="T9" fmla="*/ 27409 h 98"/>
                <a:gd name="T10" fmla="*/ 19262 w 135"/>
                <a:gd name="T11" fmla="*/ 22160 h 98"/>
                <a:gd name="T12" fmla="*/ 23848 w 135"/>
                <a:gd name="T13" fmla="*/ 16329 h 98"/>
                <a:gd name="T14" fmla="*/ 27975 w 135"/>
                <a:gd name="T15" fmla="*/ 10497 h 98"/>
                <a:gd name="T16" fmla="*/ 32561 w 135"/>
                <a:gd name="T17" fmla="*/ 4665 h 98"/>
                <a:gd name="T18" fmla="*/ 34854 w 135"/>
                <a:gd name="T19" fmla="*/ 2916 h 98"/>
                <a:gd name="T20" fmla="*/ 37606 w 135"/>
                <a:gd name="T21" fmla="*/ 1166 h 98"/>
                <a:gd name="T22" fmla="*/ 40357 w 135"/>
                <a:gd name="T23" fmla="*/ 0 h 98"/>
                <a:gd name="T24" fmla="*/ 44026 w 135"/>
                <a:gd name="T25" fmla="*/ 0 h 98"/>
                <a:gd name="T26" fmla="*/ 46778 w 135"/>
                <a:gd name="T27" fmla="*/ 0 h 98"/>
                <a:gd name="T28" fmla="*/ 50447 w 135"/>
                <a:gd name="T29" fmla="*/ 1749 h 98"/>
                <a:gd name="T30" fmla="*/ 53657 w 135"/>
                <a:gd name="T31" fmla="*/ 3499 h 98"/>
                <a:gd name="T32" fmla="*/ 56409 w 135"/>
                <a:gd name="T33" fmla="*/ 6415 h 98"/>
                <a:gd name="T34" fmla="*/ 58702 w 135"/>
                <a:gd name="T35" fmla="*/ 9331 h 98"/>
                <a:gd name="T36" fmla="*/ 60536 w 135"/>
                <a:gd name="T37" fmla="*/ 13996 h 98"/>
                <a:gd name="T38" fmla="*/ 61453 w 135"/>
                <a:gd name="T39" fmla="*/ 17495 h 98"/>
                <a:gd name="T40" fmla="*/ 61912 w 135"/>
                <a:gd name="T41" fmla="*/ 21577 h 98"/>
                <a:gd name="T42" fmla="*/ 61453 w 135"/>
                <a:gd name="T43" fmla="*/ 23327 h 98"/>
                <a:gd name="T44" fmla="*/ 60536 w 135"/>
                <a:gd name="T45" fmla="*/ 25076 h 98"/>
                <a:gd name="T46" fmla="*/ 59160 w 135"/>
                <a:gd name="T47" fmla="*/ 27409 h 98"/>
                <a:gd name="T48" fmla="*/ 56867 w 135"/>
                <a:gd name="T49" fmla="*/ 29741 h 98"/>
                <a:gd name="T50" fmla="*/ 51823 w 135"/>
                <a:gd name="T51" fmla="*/ 35573 h 98"/>
                <a:gd name="T52" fmla="*/ 45861 w 135"/>
                <a:gd name="T53" fmla="*/ 41988 h 98"/>
                <a:gd name="T54" fmla="*/ 39899 w 135"/>
                <a:gd name="T55" fmla="*/ 47819 h 98"/>
                <a:gd name="T56" fmla="*/ 33937 w 135"/>
                <a:gd name="T57" fmla="*/ 53068 h 98"/>
                <a:gd name="T58" fmla="*/ 28892 w 135"/>
                <a:gd name="T59" fmla="*/ 55984 h 98"/>
                <a:gd name="T60" fmla="*/ 25223 w 135"/>
                <a:gd name="T61" fmla="*/ 57150 h 98"/>
                <a:gd name="T62" fmla="*/ 23389 w 135"/>
                <a:gd name="T63" fmla="*/ 56567 h 98"/>
                <a:gd name="T64" fmla="*/ 19720 w 135"/>
                <a:gd name="T65" fmla="*/ 53651 h 98"/>
                <a:gd name="T66" fmla="*/ 14675 w 135"/>
                <a:gd name="T67" fmla="*/ 49569 h 98"/>
                <a:gd name="T68" fmla="*/ 9631 w 135"/>
                <a:gd name="T69" fmla="*/ 44904 h 98"/>
                <a:gd name="T70" fmla="*/ 5045 w 135"/>
                <a:gd name="T71" fmla="*/ 39655 h 98"/>
                <a:gd name="T72" fmla="*/ 2293 w 135"/>
                <a:gd name="T73" fmla="*/ 36156 h 98"/>
                <a:gd name="T74" fmla="*/ 459 w 135"/>
                <a:gd name="T75" fmla="*/ 34407 h 98"/>
                <a:gd name="T76" fmla="*/ 0 w 135"/>
                <a:gd name="T77" fmla="*/ 33240 h 98"/>
                <a:gd name="T78" fmla="*/ 0 w 135"/>
                <a:gd name="T79" fmla="*/ 32657 h 98"/>
                <a:gd name="T80" fmla="*/ 1376 w 135"/>
                <a:gd name="T81" fmla="*/ 32074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5" name="Freeform 472">
              <a:extLst>
                <a:ext uri="{FF2B5EF4-FFF2-40B4-BE49-F238E27FC236}">
                  <a16:creationId xmlns:a16="http://schemas.microsoft.com/office/drawing/2014/main" id="{66CA6499-207F-49E4-B816-BEB68CCF3A4D}"/>
                </a:ext>
              </a:extLst>
            </p:cNvPr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5957888" y="1892300"/>
              <a:ext cx="131762" cy="84138"/>
            </a:xfrm>
            <a:custGeom>
              <a:avLst/>
              <a:gdLst>
                <a:gd name="T0" fmla="*/ 81084 w 312"/>
                <a:gd name="T1" fmla="*/ 84138 h 155"/>
                <a:gd name="T2" fmla="*/ 81929 w 312"/>
                <a:gd name="T3" fmla="*/ 81967 h 155"/>
                <a:gd name="T4" fmla="*/ 83196 w 312"/>
                <a:gd name="T5" fmla="*/ 80338 h 155"/>
                <a:gd name="T6" fmla="*/ 84463 w 312"/>
                <a:gd name="T7" fmla="*/ 78710 h 155"/>
                <a:gd name="T8" fmla="*/ 85730 w 312"/>
                <a:gd name="T9" fmla="*/ 77081 h 155"/>
                <a:gd name="T10" fmla="*/ 89108 w 312"/>
                <a:gd name="T11" fmla="*/ 74367 h 155"/>
                <a:gd name="T12" fmla="*/ 92909 w 312"/>
                <a:gd name="T13" fmla="*/ 71653 h 155"/>
                <a:gd name="T14" fmla="*/ 100511 w 312"/>
                <a:gd name="T15" fmla="*/ 66768 h 155"/>
                <a:gd name="T16" fmla="*/ 106845 w 312"/>
                <a:gd name="T17" fmla="*/ 63511 h 155"/>
                <a:gd name="T18" fmla="*/ 107690 w 312"/>
                <a:gd name="T19" fmla="*/ 59168 h 155"/>
                <a:gd name="T20" fmla="*/ 109802 w 312"/>
                <a:gd name="T21" fmla="*/ 52654 h 155"/>
                <a:gd name="T22" fmla="*/ 111491 w 312"/>
                <a:gd name="T23" fmla="*/ 49397 h 155"/>
                <a:gd name="T24" fmla="*/ 112758 w 312"/>
                <a:gd name="T25" fmla="*/ 46683 h 155"/>
                <a:gd name="T26" fmla="*/ 113602 w 312"/>
                <a:gd name="T27" fmla="*/ 44512 h 155"/>
                <a:gd name="T28" fmla="*/ 114869 w 312"/>
                <a:gd name="T29" fmla="*/ 43969 h 155"/>
                <a:gd name="T30" fmla="*/ 131762 w 312"/>
                <a:gd name="T31" fmla="*/ 23884 h 155"/>
                <a:gd name="T32" fmla="*/ 131762 w 312"/>
                <a:gd name="T33" fmla="*/ 21170 h 155"/>
                <a:gd name="T34" fmla="*/ 130917 w 312"/>
                <a:gd name="T35" fmla="*/ 18999 h 155"/>
                <a:gd name="T36" fmla="*/ 129228 w 312"/>
                <a:gd name="T37" fmla="*/ 17370 h 155"/>
                <a:gd name="T38" fmla="*/ 127539 w 312"/>
                <a:gd name="T39" fmla="*/ 16285 h 155"/>
                <a:gd name="T40" fmla="*/ 122893 w 312"/>
                <a:gd name="T41" fmla="*/ 15199 h 155"/>
                <a:gd name="T42" fmla="*/ 118248 w 312"/>
                <a:gd name="T43" fmla="*/ 14656 h 155"/>
                <a:gd name="T44" fmla="*/ 113180 w 312"/>
                <a:gd name="T45" fmla="*/ 14656 h 155"/>
                <a:gd name="T46" fmla="*/ 109379 w 312"/>
                <a:gd name="T47" fmla="*/ 14656 h 155"/>
                <a:gd name="T48" fmla="*/ 108112 w 312"/>
                <a:gd name="T49" fmla="*/ 14113 h 155"/>
                <a:gd name="T50" fmla="*/ 106845 w 312"/>
                <a:gd name="T51" fmla="*/ 13571 h 155"/>
                <a:gd name="T52" fmla="*/ 106423 w 312"/>
                <a:gd name="T53" fmla="*/ 12485 h 155"/>
                <a:gd name="T54" fmla="*/ 106845 w 312"/>
                <a:gd name="T55" fmla="*/ 10857 h 155"/>
                <a:gd name="T56" fmla="*/ 97977 w 312"/>
                <a:gd name="T57" fmla="*/ 10314 h 155"/>
                <a:gd name="T58" fmla="*/ 91220 w 312"/>
                <a:gd name="T59" fmla="*/ 9228 h 155"/>
                <a:gd name="T60" fmla="*/ 85307 w 312"/>
                <a:gd name="T61" fmla="*/ 7057 h 155"/>
                <a:gd name="T62" fmla="*/ 79817 w 312"/>
                <a:gd name="T63" fmla="*/ 4885 h 155"/>
                <a:gd name="T64" fmla="*/ 74750 w 312"/>
                <a:gd name="T65" fmla="*/ 3257 h 155"/>
                <a:gd name="T66" fmla="*/ 68837 w 312"/>
                <a:gd name="T67" fmla="*/ 1628 h 155"/>
                <a:gd name="T68" fmla="*/ 61658 w 312"/>
                <a:gd name="T69" fmla="*/ 543 h 155"/>
                <a:gd name="T70" fmla="*/ 53212 w 312"/>
                <a:gd name="T71" fmla="*/ 0 h 155"/>
                <a:gd name="T72" fmla="*/ 46455 w 312"/>
                <a:gd name="T73" fmla="*/ 543 h 155"/>
                <a:gd name="T74" fmla="*/ 31251 w 312"/>
                <a:gd name="T75" fmla="*/ 2171 h 155"/>
                <a:gd name="T76" fmla="*/ 22383 w 312"/>
                <a:gd name="T77" fmla="*/ 3257 h 155"/>
                <a:gd name="T78" fmla="*/ 14359 w 312"/>
                <a:gd name="T79" fmla="*/ 4343 h 155"/>
                <a:gd name="T80" fmla="*/ 7602 w 312"/>
                <a:gd name="T81" fmla="*/ 5428 h 155"/>
                <a:gd name="T82" fmla="*/ 2956 w 312"/>
                <a:gd name="T83" fmla="*/ 6514 h 155"/>
                <a:gd name="T84" fmla="*/ 3801 w 312"/>
                <a:gd name="T85" fmla="*/ 9228 h 155"/>
                <a:gd name="T86" fmla="*/ 4645 w 312"/>
                <a:gd name="T87" fmla="*/ 10314 h 155"/>
                <a:gd name="T88" fmla="*/ 5490 w 312"/>
                <a:gd name="T89" fmla="*/ 10314 h 155"/>
                <a:gd name="T90" fmla="*/ 6335 w 312"/>
                <a:gd name="T91" fmla="*/ 10857 h 155"/>
                <a:gd name="T92" fmla="*/ 7602 w 312"/>
                <a:gd name="T93" fmla="*/ 10857 h 155"/>
                <a:gd name="T94" fmla="*/ 8024 w 312"/>
                <a:gd name="T95" fmla="*/ 10857 h 155"/>
                <a:gd name="T96" fmla="*/ 8446 w 312"/>
                <a:gd name="T97" fmla="*/ 11942 h 155"/>
                <a:gd name="T98" fmla="*/ 8446 w 312"/>
                <a:gd name="T99" fmla="*/ 14113 h 155"/>
                <a:gd name="T100" fmla="*/ 8446 w 312"/>
                <a:gd name="T101" fmla="*/ 16285 h 155"/>
                <a:gd name="T102" fmla="*/ 8024 w 312"/>
                <a:gd name="T103" fmla="*/ 18999 h 155"/>
                <a:gd name="T104" fmla="*/ 7602 w 312"/>
                <a:gd name="T105" fmla="*/ 21170 h 155"/>
                <a:gd name="T106" fmla="*/ 6335 w 312"/>
                <a:gd name="T107" fmla="*/ 22799 h 155"/>
                <a:gd name="T108" fmla="*/ 5068 w 312"/>
                <a:gd name="T109" fmla="*/ 24427 h 155"/>
                <a:gd name="T110" fmla="*/ 3801 w 312"/>
                <a:gd name="T111" fmla="*/ 26056 h 155"/>
                <a:gd name="T112" fmla="*/ 1689 w 312"/>
                <a:gd name="T113" fmla="*/ 26598 h 155"/>
                <a:gd name="T114" fmla="*/ 0 w 312"/>
                <a:gd name="T115" fmla="*/ 27141 h 155"/>
                <a:gd name="T116" fmla="*/ 31251 w 312"/>
                <a:gd name="T117" fmla="*/ 36912 h 155"/>
                <a:gd name="T118" fmla="*/ 36741 w 312"/>
                <a:gd name="T119" fmla="*/ 60254 h 155"/>
                <a:gd name="T120" fmla="*/ 70104 w 312"/>
                <a:gd name="T121" fmla="*/ 66768 h 155"/>
                <a:gd name="T122" fmla="*/ 81084 w 312"/>
                <a:gd name="T123" fmla="*/ 84138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16" name="Freeform 473">
              <a:extLst>
                <a:ext uri="{FF2B5EF4-FFF2-40B4-BE49-F238E27FC236}">
                  <a16:creationId xmlns:a16="http://schemas.microsoft.com/office/drawing/2014/main" id="{3BB530EE-5D25-4421-9D0A-0D53694023E1}"/>
                </a:ext>
              </a:extLst>
            </p:cNvPr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5664200" y="2078039"/>
              <a:ext cx="19050" cy="60325"/>
            </a:xfrm>
            <a:custGeom>
              <a:avLst/>
              <a:gdLst>
                <a:gd name="T0" fmla="*/ 0 w 46"/>
                <a:gd name="T1" fmla="*/ 30163 h 50"/>
                <a:gd name="T2" fmla="*/ 828 w 46"/>
                <a:gd name="T3" fmla="*/ 21717 h 50"/>
                <a:gd name="T4" fmla="*/ 414 w 46"/>
                <a:gd name="T5" fmla="*/ 16891 h 50"/>
                <a:gd name="T6" fmla="*/ 828 w 46"/>
                <a:gd name="T7" fmla="*/ 15685 h 50"/>
                <a:gd name="T8" fmla="*/ 1242 w 46"/>
                <a:gd name="T9" fmla="*/ 15685 h 50"/>
                <a:gd name="T10" fmla="*/ 2485 w 46"/>
                <a:gd name="T11" fmla="*/ 14478 h 50"/>
                <a:gd name="T12" fmla="*/ 5384 w 46"/>
                <a:gd name="T13" fmla="*/ 14478 h 50"/>
                <a:gd name="T14" fmla="*/ 19050 w 46"/>
                <a:gd name="T15" fmla="*/ 0 h 50"/>
                <a:gd name="T16" fmla="*/ 19050 w 46"/>
                <a:gd name="T17" fmla="*/ 60325 h 50"/>
                <a:gd name="T18" fmla="*/ 16565 w 46"/>
                <a:gd name="T19" fmla="*/ 59119 h 50"/>
                <a:gd name="T20" fmla="*/ 13666 w 46"/>
                <a:gd name="T21" fmla="*/ 54293 h 50"/>
                <a:gd name="T22" fmla="*/ 10353 w 46"/>
                <a:gd name="T23" fmla="*/ 49467 h 50"/>
                <a:gd name="T24" fmla="*/ 7040 w 46"/>
                <a:gd name="T25" fmla="*/ 44641 h 50"/>
                <a:gd name="T26" fmla="*/ 2071 w 46"/>
                <a:gd name="T27" fmla="*/ 33782 h 50"/>
                <a:gd name="T28" fmla="*/ 0 w 46"/>
                <a:gd name="T29" fmla="*/ 30163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17" name="Freeform 474">
              <a:extLst>
                <a:ext uri="{FF2B5EF4-FFF2-40B4-BE49-F238E27FC236}">
                  <a16:creationId xmlns:a16="http://schemas.microsoft.com/office/drawing/2014/main" id="{BF815E69-713C-4742-8873-EF9CB2C482CC}"/>
                </a:ext>
              </a:extLst>
            </p:cNvPr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6361113" y="3962400"/>
              <a:ext cx="69850" cy="241300"/>
            </a:xfrm>
            <a:custGeom>
              <a:avLst/>
              <a:gdLst>
                <a:gd name="T0" fmla="*/ 4208 w 166"/>
                <a:gd name="T1" fmla="*/ 149225 h 456"/>
                <a:gd name="T2" fmla="*/ 7995 w 166"/>
                <a:gd name="T3" fmla="*/ 153458 h 456"/>
                <a:gd name="T4" fmla="*/ 15569 w 166"/>
                <a:gd name="T5" fmla="*/ 158750 h 456"/>
                <a:gd name="T6" fmla="*/ 24405 w 166"/>
                <a:gd name="T7" fmla="*/ 161925 h 456"/>
                <a:gd name="T8" fmla="*/ 29455 w 166"/>
                <a:gd name="T9" fmla="*/ 165100 h 456"/>
                <a:gd name="T10" fmla="*/ 33663 w 166"/>
                <a:gd name="T11" fmla="*/ 169333 h 456"/>
                <a:gd name="T12" fmla="*/ 36187 w 166"/>
                <a:gd name="T13" fmla="*/ 175154 h 456"/>
                <a:gd name="T14" fmla="*/ 36187 w 166"/>
                <a:gd name="T15" fmla="*/ 183621 h 456"/>
                <a:gd name="T16" fmla="*/ 32821 w 166"/>
                <a:gd name="T17" fmla="*/ 192088 h 456"/>
                <a:gd name="T18" fmla="*/ 28613 w 166"/>
                <a:gd name="T19" fmla="*/ 198438 h 456"/>
                <a:gd name="T20" fmla="*/ 26089 w 166"/>
                <a:gd name="T21" fmla="*/ 205317 h 456"/>
                <a:gd name="T22" fmla="*/ 25247 w 166"/>
                <a:gd name="T23" fmla="*/ 211667 h 456"/>
                <a:gd name="T24" fmla="*/ 26930 w 166"/>
                <a:gd name="T25" fmla="*/ 217487 h 456"/>
                <a:gd name="T26" fmla="*/ 31980 w 166"/>
                <a:gd name="T27" fmla="*/ 224367 h 456"/>
                <a:gd name="T28" fmla="*/ 43761 w 166"/>
                <a:gd name="T29" fmla="*/ 235479 h 456"/>
                <a:gd name="T30" fmla="*/ 50494 w 166"/>
                <a:gd name="T31" fmla="*/ 234421 h 456"/>
                <a:gd name="T32" fmla="*/ 50494 w 166"/>
                <a:gd name="T33" fmla="*/ 223837 h 456"/>
                <a:gd name="T34" fmla="*/ 55123 w 166"/>
                <a:gd name="T35" fmla="*/ 218546 h 456"/>
                <a:gd name="T36" fmla="*/ 61014 w 166"/>
                <a:gd name="T37" fmla="*/ 215371 h 456"/>
                <a:gd name="T38" fmla="*/ 64380 w 166"/>
                <a:gd name="T39" fmla="*/ 212725 h 456"/>
                <a:gd name="T40" fmla="*/ 67325 w 166"/>
                <a:gd name="T41" fmla="*/ 207962 h 456"/>
                <a:gd name="T42" fmla="*/ 69850 w 166"/>
                <a:gd name="T43" fmla="*/ 198438 h 456"/>
                <a:gd name="T44" fmla="*/ 69429 w 166"/>
                <a:gd name="T45" fmla="*/ 185208 h 456"/>
                <a:gd name="T46" fmla="*/ 66484 w 166"/>
                <a:gd name="T47" fmla="*/ 173567 h 456"/>
                <a:gd name="T48" fmla="*/ 62276 w 166"/>
                <a:gd name="T49" fmla="*/ 162454 h 456"/>
                <a:gd name="T50" fmla="*/ 59330 w 166"/>
                <a:gd name="T51" fmla="*/ 150283 h 456"/>
                <a:gd name="T52" fmla="*/ 56806 w 166"/>
                <a:gd name="T53" fmla="*/ 142346 h 456"/>
                <a:gd name="T54" fmla="*/ 49652 w 166"/>
                <a:gd name="T55" fmla="*/ 132821 h 456"/>
                <a:gd name="T56" fmla="*/ 40816 w 166"/>
                <a:gd name="T57" fmla="*/ 118533 h 456"/>
                <a:gd name="T58" fmla="*/ 35767 w 166"/>
                <a:gd name="T59" fmla="*/ 109008 h 456"/>
                <a:gd name="T60" fmla="*/ 33663 w 166"/>
                <a:gd name="T61" fmla="*/ 103187 h 456"/>
                <a:gd name="T62" fmla="*/ 34083 w 166"/>
                <a:gd name="T63" fmla="*/ 93663 h 456"/>
                <a:gd name="T64" fmla="*/ 37029 w 166"/>
                <a:gd name="T65" fmla="*/ 77788 h 456"/>
                <a:gd name="T66" fmla="*/ 40395 w 166"/>
                <a:gd name="T67" fmla="*/ 68263 h 456"/>
                <a:gd name="T68" fmla="*/ 41237 w 166"/>
                <a:gd name="T69" fmla="*/ 59796 h 456"/>
                <a:gd name="T70" fmla="*/ 39974 w 166"/>
                <a:gd name="T71" fmla="*/ 43392 h 456"/>
                <a:gd name="T72" fmla="*/ 38712 w 166"/>
                <a:gd name="T73" fmla="*/ 23813 h 456"/>
                <a:gd name="T74" fmla="*/ 37450 w 166"/>
                <a:gd name="T75" fmla="*/ 9525 h 456"/>
                <a:gd name="T76" fmla="*/ 29876 w 166"/>
                <a:gd name="T77" fmla="*/ 4233 h 456"/>
                <a:gd name="T78" fmla="*/ 13886 w 166"/>
                <a:gd name="T79" fmla="*/ 2117 h 456"/>
                <a:gd name="T80" fmla="*/ 5049 w 166"/>
                <a:gd name="T81" fmla="*/ 5292 h 456"/>
                <a:gd name="T82" fmla="*/ 9257 w 166"/>
                <a:gd name="T83" fmla="*/ 13229 h 456"/>
                <a:gd name="T84" fmla="*/ 13886 w 166"/>
                <a:gd name="T85" fmla="*/ 15875 h 456"/>
                <a:gd name="T86" fmla="*/ 16831 w 166"/>
                <a:gd name="T87" fmla="*/ 23283 h 456"/>
                <a:gd name="T88" fmla="*/ 16831 w 166"/>
                <a:gd name="T89" fmla="*/ 33867 h 456"/>
                <a:gd name="T90" fmla="*/ 16831 w 166"/>
                <a:gd name="T91" fmla="*/ 41275 h 456"/>
                <a:gd name="T92" fmla="*/ 15148 w 166"/>
                <a:gd name="T93" fmla="*/ 44979 h 456"/>
                <a:gd name="T94" fmla="*/ 12203 w 166"/>
                <a:gd name="T95" fmla="*/ 50271 h 456"/>
                <a:gd name="T96" fmla="*/ 6312 w 166"/>
                <a:gd name="T97" fmla="*/ 57679 h 456"/>
                <a:gd name="T98" fmla="*/ 1262 w 166"/>
                <a:gd name="T99" fmla="*/ 64558 h 456"/>
                <a:gd name="T100" fmla="*/ 2945 w 166"/>
                <a:gd name="T101" fmla="*/ 146579 h 4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8" name="Freeform 475">
              <a:extLst>
                <a:ext uri="{FF2B5EF4-FFF2-40B4-BE49-F238E27FC236}">
                  <a16:creationId xmlns:a16="http://schemas.microsoft.com/office/drawing/2014/main" id="{184EDDE7-306D-4E39-B764-8B91FD3FB46A}"/>
                </a:ext>
              </a:extLst>
            </p:cNvPr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5853114" y="2533650"/>
              <a:ext cx="14287" cy="57150"/>
            </a:xfrm>
            <a:custGeom>
              <a:avLst/>
              <a:gdLst>
                <a:gd name="T0" fmla="*/ 14287 w 27"/>
                <a:gd name="T1" fmla="*/ 0 h 19"/>
                <a:gd name="T2" fmla="*/ 14287 w 27"/>
                <a:gd name="T3" fmla="*/ 36095 h 19"/>
                <a:gd name="T4" fmla="*/ 14287 w 27"/>
                <a:gd name="T5" fmla="*/ 57150 h 19"/>
                <a:gd name="T6" fmla="*/ 4762 w 27"/>
                <a:gd name="T7" fmla="*/ 57150 h 19"/>
                <a:gd name="T8" fmla="*/ 0 w 27"/>
                <a:gd name="T9" fmla="*/ 57150 h 19"/>
                <a:gd name="T10" fmla="*/ 4762 w 27"/>
                <a:gd name="T11" fmla="*/ 36095 h 19"/>
                <a:gd name="T12" fmla="*/ 1428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9" name="Freeform 476">
              <a:extLst>
                <a:ext uri="{FF2B5EF4-FFF2-40B4-BE49-F238E27FC236}">
                  <a16:creationId xmlns:a16="http://schemas.microsoft.com/office/drawing/2014/main" id="{3A7DBCC9-4794-475B-A31C-C1D9D8887361}"/>
                </a:ext>
              </a:extLst>
            </p:cNvPr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6172201" y="4154489"/>
              <a:ext cx="188913" cy="217487"/>
            </a:xfrm>
            <a:custGeom>
              <a:avLst/>
              <a:gdLst>
                <a:gd name="T0" fmla="*/ 122492 w 438"/>
                <a:gd name="T1" fmla="*/ 4285 h 406"/>
                <a:gd name="T2" fmla="*/ 138019 w 438"/>
                <a:gd name="T3" fmla="*/ 14463 h 406"/>
                <a:gd name="T4" fmla="*/ 156565 w 438"/>
                <a:gd name="T5" fmla="*/ 25177 h 406"/>
                <a:gd name="T6" fmla="*/ 170367 w 438"/>
                <a:gd name="T7" fmla="*/ 31070 h 406"/>
                <a:gd name="T8" fmla="*/ 179424 w 438"/>
                <a:gd name="T9" fmla="*/ 32677 h 406"/>
                <a:gd name="T10" fmla="*/ 183306 w 438"/>
                <a:gd name="T11" fmla="*/ 43390 h 406"/>
                <a:gd name="T12" fmla="*/ 185031 w 438"/>
                <a:gd name="T13" fmla="*/ 64282 h 406"/>
                <a:gd name="T14" fmla="*/ 187188 w 438"/>
                <a:gd name="T15" fmla="*/ 84102 h 406"/>
                <a:gd name="T16" fmla="*/ 188913 w 438"/>
                <a:gd name="T17" fmla="*/ 104458 h 406"/>
                <a:gd name="T18" fmla="*/ 188913 w 438"/>
                <a:gd name="T19" fmla="*/ 119457 h 406"/>
                <a:gd name="T20" fmla="*/ 187619 w 438"/>
                <a:gd name="T21" fmla="*/ 126957 h 406"/>
                <a:gd name="T22" fmla="*/ 183306 w 438"/>
                <a:gd name="T23" fmla="*/ 138742 h 406"/>
                <a:gd name="T24" fmla="*/ 175542 w 438"/>
                <a:gd name="T25" fmla="*/ 153741 h 406"/>
                <a:gd name="T26" fmla="*/ 168642 w 438"/>
                <a:gd name="T27" fmla="*/ 164454 h 406"/>
                <a:gd name="T28" fmla="*/ 164328 w 438"/>
                <a:gd name="T29" fmla="*/ 171418 h 406"/>
                <a:gd name="T30" fmla="*/ 161309 w 438"/>
                <a:gd name="T31" fmla="*/ 177847 h 406"/>
                <a:gd name="T32" fmla="*/ 160447 w 438"/>
                <a:gd name="T33" fmla="*/ 188560 h 406"/>
                <a:gd name="T34" fmla="*/ 154840 w 438"/>
                <a:gd name="T35" fmla="*/ 199274 h 406"/>
                <a:gd name="T36" fmla="*/ 138450 w 438"/>
                <a:gd name="T37" fmla="*/ 214809 h 406"/>
                <a:gd name="T38" fmla="*/ 88418 w 438"/>
                <a:gd name="T39" fmla="*/ 207845 h 406"/>
                <a:gd name="T40" fmla="*/ 78498 w 438"/>
                <a:gd name="T41" fmla="*/ 203024 h 406"/>
                <a:gd name="T42" fmla="*/ 71166 w 438"/>
                <a:gd name="T43" fmla="*/ 198202 h 406"/>
                <a:gd name="T44" fmla="*/ 64696 w 438"/>
                <a:gd name="T45" fmla="*/ 192310 h 406"/>
                <a:gd name="T46" fmla="*/ 59952 w 438"/>
                <a:gd name="T47" fmla="*/ 185346 h 406"/>
                <a:gd name="T48" fmla="*/ 53482 w 438"/>
                <a:gd name="T49" fmla="*/ 172490 h 406"/>
                <a:gd name="T50" fmla="*/ 46581 w 438"/>
                <a:gd name="T51" fmla="*/ 158562 h 406"/>
                <a:gd name="T52" fmla="*/ 40543 w 438"/>
                <a:gd name="T53" fmla="*/ 149455 h 406"/>
                <a:gd name="T54" fmla="*/ 31054 w 438"/>
                <a:gd name="T55" fmla="*/ 138742 h 406"/>
                <a:gd name="T56" fmla="*/ 18978 w 438"/>
                <a:gd name="T57" fmla="*/ 125350 h 406"/>
                <a:gd name="T58" fmla="*/ 10351 w 438"/>
                <a:gd name="T59" fmla="*/ 114100 h 406"/>
                <a:gd name="T60" fmla="*/ 5607 w 438"/>
                <a:gd name="T61" fmla="*/ 104458 h 406"/>
                <a:gd name="T62" fmla="*/ 1725 w 438"/>
                <a:gd name="T63" fmla="*/ 94280 h 406"/>
                <a:gd name="T64" fmla="*/ 0 w 438"/>
                <a:gd name="T65" fmla="*/ 82495 h 406"/>
                <a:gd name="T66" fmla="*/ 7764 w 438"/>
                <a:gd name="T67" fmla="*/ 75531 h 406"/>
                <a:gd name="T68" fmla="*/ 17252 w 438"/>
                <a:gd name="T69" fmla="*/ 75531 h 406"/>
                <a:gd name="T70" fmla="*/ 22859 w 438"/>
                <a:gd name="T71" fmla="*/ 75531 h 406"/>
                <a:gd name="T72" fmla="*/ 27172 w 438"/>
                <a:gd name="T73" fmla="*/ 73924 h 406"/>
                <a:gd name="T74" fmla="*/ 33211 w 438"/>
                <a:gd name="T75" fmla="*/ 70174 h 406"/>
                <a:gd name="T76" fmla="*/ 42700 w 438"/>
                <a:gd name="T77" fmla="*/ 57854 h 406"/>
                <a:gd name="T78" fmla="*/ 50463 w 438"/>
                <a:gd name="T79" fmla="*/ 46604 h 406"/>
                <a:gd name="T80" fmla="*/ 56070 w 438"/>
                <a:gd name="T81" fmla="*/ 42855 h 406"/>
                <a:gd name="T82" fmla="*/ 64696 w 438"/>
                <a:gd name="T83" fmla="*/ 38033 h 406"/>
                <a:gd name="T84" fmla="*/ 77204 w 438"/>
                <a:gd name="T85" fmla="*/ 32141 h 406"/>
                <a:gd name="T86" fmla="*/ 87556 w 438"/>
                <a:gd name="T87" fmla="*/ 26784 h 406"/>
                <a:gd name="T88" fmla="*/ 91006 w 438"/>
                <a:gd name="T89" fmla="*/ 23034 h 406"/>
                <a:gd name="T90" fmla="*/ 90575 w 438"/>
                <a:gd name="T91" fmla="*/ 20356 h 406"/>
                <a:gd name="T92" fmla="*/ 91006 w 438"/>
                <a:gd name="T93" fmla="*/ 16070 h 406"/>
                <a:gd name="T94" fmla="*/ 91869 w 438"/>
                <a:gd name="T95" fmla="*/ 9107 h 406"/>
                <a:gd name="T96" fmla="*/ 93594 w 438"/>
                <a:gd name="T97" fmla="*/ 6428 h 406"/>
                <a:gd name="T98" fmla="*/ 97044 w 438"/>
                <a:gd name="T99" fmla="*/ 6428 h 406"/>
                <a:gd name="T100" fmla="*/ 100064 w 438"/>
                <a:gd name="T101" fmla="*/ 4821 h 406"/>
                <a:gd name="T102" fmla="*/ 101789 w 438"/>
                <a:gd name="T103" fmla="*/ 2143 h 406"/>
                <a:gd name="T104" fmla="*/ 105239 w 438"/>
                <a:gd name="T105" fmla="*/ 1071 h 406"/>
                <a:gd name="T106" fmla="*/ 108258 w 438"/>
                <a:gd name="T107" fmla="*/ 1607 h 406"/>
                <a:gd name="T108" fmla="*/ 113865 w 438"/>
                <a:gd name="T109" fmla="*/ 536 h 4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0" name="Freeform 477">
              <a:extLst>
                <a:ext uri="{FF2B5EF4-FFF2-40B4-BE49-F238E27FC236}">
                  <a16:creationId xmlns:a16="http://schemas.microsoft.com/office/drawing/2014/main" id="{76BBD892-C532-4DDD-99EC-425F45277B4A}"/>
                </a:ext>
              </a:extLst>
            </p:cNvPr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6084889" y="3930650"/>
              <a:ext cx="293687" cy="300038"/>
            </a:xfrm>
            <a:custGeom>
              <a:avLst/>
              <a:gdLst>
                <a:gd name="T0" fmla="*/ 222215 w 678"/>
                <a:gd name="T1" fmla="*/ 4182 h 574"/>
                <a:gd name="T2" fmla="*/ 239108 w 678"/>
                <a:gd name="T3" fmla="*/ 13591 h 574"/>
                <a:gd name="T4" fmla="*/ 279393 w 678"/>
                <a:gd name="T5" fmla="*/ 32931 h 574"/>
                <a:gd name="T6" fmla="*/ 285890 w 678"/>
                <a:gd name="T7" fmla="*/ 45999 h 574"/>
                <a:gd name="T8" fmla="*/ 293687 w 678"/>
                <a:gd name="T9" fmla="*/ 49135 h 574"/>
                <a:gd name="T10" fmla="*/ 293687 w 678"/>
                <a:gd name="T11" fmla="*/ 66385 h 574"/>
                <a:gd name="T12" fmla="*/ 293254 w 678"/>
                <a:gd name="T13" fmla="*/ 75271 h 574"/>
                <a:gd name="T14" fmla="*/ 288922 w 678"/>
                <a:gd name="T15" fmla="*/ 82589 h 574"/>
                <a:gd name="T16" fmla="*/ 280259 w 678"/>
                <a:gd name="T17" fmla="*/ 93043 h 574"/>
                <a:gd name="T18" fmla="*/ 276360 w 678"/>
                <a:gd name="T19" fmla="*/ 180859 h 574"/>
                <a:gd name="T20" fmla="*/ 199690 w 678"/>
                <a:gd name="T21" fmla="*/ 202813 h 574"/>
                <a:gd name="T22" fmla="*/ 199690 w 678"/>
                <a:gd name="T23" fmla="*/ 216926 h 574"/>
                <a:gd name="T24" fmla="*/ 197091 w 678"/>
                <a:gd name="T25" fmla="*/ 227381 h 574"/>
                <a:gd name="T26" fmla="*/ 192326 w 678"/>
                <a:gd name="T27" fmla="*/ 227381 h 574"/>
                <a:gd name="T28" fmla="*/ 187994 w 678"/>
                <a:gd name="T29" fmla="*/ 229994 h 574"/>
                <a:gd name="T30" fmla="*/ 184096 w 678"/>
                <a:gd name="T31" fmla="*/ 232608 h 574"/>
                <a:gd name="T32" fmla="*/ 179331 w 678"/>
                <a:gd name="T33" fmla="*/ 233653 h 574"/>
                <a:gd name="T34" fmla="*/ 178032 w 678"/>
                <a:gd name="T35" fmla="*/ 242017 h 574"/>
                <a:gd name="T36" fmla="*/ 177598 w 678"/>
                <a:gd name="T37" fmla="*/ 247767 h 574"/>
                <a:gd name="T38" fmla="*/ 174566 w 678"/>
                <a:gd name="T39" fmla="*/ 252471 h 574"/>
                <a:gd name="T40" fmla="*/ 158106 w 678"/>
                <a:gd name="T41" fmla="*/ 260312 h 574"/>
                <a:gd name="T42" fmla="*/ 142945 w 678"/>
                <a:gd name="T43" fmla="*/ 268152 h 574"/>
                <a:gd name="T44" fmla="*/ 135581 w 678"/>
                <a:gd name="T45" fmla="*/ 274425 h 574"/>
                <a:gd name="T46" fmla="*/ 119987 w 678"/>
                <a:gd name="T47" fmla="*/ 294811 h 574"/>
                <a:gd name="T48" fmla="*/ 111757 w 678"/>
                <a:gd name="T49" fmla="*/ 299515 h 574"/>
                <a:gd name="T50" fmla="*/ 103094 w 678"/>
                <a:gd name="T51" fmla="*/ 300038 h 574"/>
                <a:gd name="T52" fmla="*/ 83601 w 678"/>
                <a:gd name="T53" fmla="*/ 300038 h 574"/>
                <a:gd name="T54" fmla="*/ 80569 w 678"/>
                <a:gd name="T55" fmla="*/ 292197 h 574"/>
                <a:gd name="T56" fmla="*/ 71473 w 678"/>
                <a:gd name="T57" fmla="*/ 285925 h 574"/>
                <a:gd name="T58" fmla="*/ 57611 w 678"/>
                <a:gd name="T59" fmla="*/ 284879 h 574"/>
                <a:gd name="T60" fmla="*/ 40285 w 678"/>
                <a:gd name="T61" fmla="*/ 290629 h 574"/>
                <a:gd name="T62" fmla="*/ 14295 w 678"/>
                <a:gd name="T63" fmla="*/ 275470 h 574"/>
                <a:gd name="T64" fmla="*/ 0 w 678"/>
                <a:gd name="T65" fmla="*/ 148974 h 574"/>
                <a:gd name="T66" fmla="*/ 31621 w 678"/>
                <a:gd name="T67" fmla="*/ 149496 h 574"/>
                <a:gd name="T68" fmla="*/ 44616 w 678"/>
                <a:gd name="T69" fmla="*/ 147405 h 574"/>
                <a:gd name="T70" fmla="*/ 51547 w 678"/>
                <a:gd name="T71" fmla="*/ 143746 h 574"/>
                <a:gd name="T72" fmla="*/ 55879 w 678"/>
                <a:gd name="T73" fmla="*/ 133815 h 574"/>
                <a:gd name="T74" fmla="*/ 56745 w 678"/>
                <a:gd name="T75" fmla="*/ 119702 h 574"/>
                <a:gd name="T76" fmla="*/ 54579 w 678"/>
                <a:gd name="T77" fmla="*/ 96702 h 574"/>
                <a:gd name="T78" fmla="*/ 56312 w 678"/>
                <a:gd name="T79" fmla="*/ 86248 h 574"/>
                <a:gd name="T80" fmla="*/ 60643 w 678"/>
                <a:gd name="T81" fmla="*/ 89384 h 574"/>
                <a:gd name="T82" fmla="*/ 75371 w 678"/>
                <a:gd name="T83" fmla="*/ 91475 h 574"/>
                <a:gd name="T84" fmla="*/ 81435 w 678"/>
                <a:gd name="T85" fmla="*/ 97225 h 574"/>
                <a:gd name="T86" fmla="*/ 84468 w 678"/>
                <a:gd name="T87" fmla="*/ 105066 h 574"/>
                <a:gd name="T88" fmla="*/ 90099 w 678"/>
                <a:gd name="T89" fmla="*/ 109770 h 574"/>
                <a:gd name="T90" fmla="*/ 104393 w 678"/>
                <a:gd name="T91" fmla="*/ 113429 h 574"/>
                <a:gd name="T92" fmla="*/ 116522 w 678"/>
                <a:gd name="T93" fmla="*/ 111861 h 574"/>
                <a:gd name="T94" fmla="*/ 130383 w 678"/>
                <a:gd name="T95" fmla="*/ 104020 h 574"/>
                <a:gd name="T96" fmla="*/ 138180 w 678"/>
                <a:gd name="T97" fmla="*/ 102452 h 574"/>
                <a:gd name="T98" fmla="*/ 143378 w 678"/>
                <a:gd name="T99" fmla="*/ 100884 h 574"/>
                <a:gd name="T100" fmla="*/ 148576 w 678"/>
                <a:gd name="T101" fmla="*/ 99316 h 574"/>
                <a:gd name="T102" fmla="*/ 154641 w 678"/>
                <a:gd name="T103" fmla="*/ 95134 h 574"/>
                <a:gd name="T104" fmla="*/ 159405 w 678"/>
                <a:gd name="T105" fmla="*/ 87816 h 574"/>
                <a:gd name="T106" fmla="*/ 165903 w 678"/>
                <a:gd name="T107" fmla="*/ 65862 h 574"/>
                <a:gd name="T108" fmla="*/ 174566 w 678"/>
                <a:gd name="T109" fmla="*/ 24568 h 574"/>
                <a:gd name="T110" fmla="*/ 179331 w 678"/>
                <a:gd name="T111" fmla="*/ 5227 h 574"/>
                <a:gd name="T112" fmla="*/ 186695 w 678"/>
                <a:gd name="T113" fmla="*/ 3136 h 574"/>
                <a:gd name="T114" fmla="*/ 196225 w 678"/>
                <a:gd name="T115" fmla="*/ 4182 h 574"/>
                <a:gd name="T116" fmla="*/ 208786 w 678"/>
                <a:gd name="T117" fmla="*/ 523 h 57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1" name="Freeform 478">
              <a:extLst>
                <a:ext uri="{FF2B5EF4-FFF2-40B4-BE49-F238E27FC236}">
                  <a16:creationId xmlns:a16="http://schemas.microsoft.com/office/drawing/2014/main" id="{B6762328-6FD9-4A0C-A439-5BBAD4B9AB97}"/>
                </a:ext>
              </a:extLst>
            </p:cNvPr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5821364" y="4203700"/>
              <a:ext cx="350837" cy="381000"/>
            </a:xfrm>
            <a:custGeom>
              <a:avLst/>
              <a:gdLst>
                <a:gd name="T0" fmla="*/ 345206 w 810"/>
                <a:gd name="T1" fmla="*/ 22011 h 727"/>
                <a:gd name="T2" fmla="*/ 331779 w 810"/>
                <a:gd name="T3" fmla="*/ 13626 h 727"/>
                <a:gd name="T4" fmla="*/ 310989 w 810"/>
                <a:gd name="T5" fmla="*/ 17294 h 727"/>
                <a:gd name="T6" fmla="*/ 274606 w 810"/>
                <a:gd name="T7" fmla="*/ 23059 h 727"/>
                <a:gd name="T8" fmla="*/ 261612 w 810"/>
                <a:gd name="T9" fmla="*/ 28824 h 727"/>
                <a:gd name="T10" fmla="*/ 121277 w 810"/>
                <a:gd name="T11" fmla="*/ 20963 h 727"/>
                <a:gd name="T12" fmla="*/ 100487 w 810"/>
                <a:gd name="T13" fmla="*/ 19391 h 727"/>
                <a:gd name="T14" fmla="*/ 74499 w 810"/>
                <a:gd name="T15" fmla="*/ 8909 h 727"/>
                <a:gd name="T16" fmla="*/ 50243 w 810"/>
                <a:gd name="T17" fmla="*/ 0 h 727"/>
                <a:gd name="T18" fmla="*/ 35950 w 810"/>
                <a:gd name="T19" fmla="*/ 2620 h 727"/>
                <a:gd name="T20" fmla="*/ 22956 w 810"/>
                <a:gd name="T21" fmla="*/ 12578 h 727"/>
                <a:gd name="T22" fmla="*/ 0 w 810"/>
                <a:gd name="T23" fmla="*/ 28824 h 727"/>
                <a:gd name="T24" fmla="*/ 3032 w 810"/>
                <a:gd name="T25" fmla="*/ 35637 h 727"/>
                <a:gd name="T26" fmla="*/ 11261 w 810"/>
                <a:gd name="T27" fmla="*/ 38781 h 727"/>
                <a:gd name="T28" fmla="*/ 15593 w 810"/>
                <a:gd name="T29" fmla="*/ 67605 h 727"/>
                <a:gd name="T30" fmla="*/ 25988 w 810"/>
                <a:gd name="T31" fmla="*/ 100622 h 727"/>
                <a:gd name="T32" fmla="*/ 47211 w 810"/>
                <a:gd name="T33" fmla="*/ 144644 h 727"/>
                <a:gd name="T34" fmla="*/ 57607 w 810"/>
                <a:gd name="T35" fmla="*/ 157221 h 727"/>
                <a:gd name="T36" fmla="*/ 68868 w 810"/>
                <a:gd name="T37" fmla="*/ 158270 h 727"/>
                <a:gd name="T38" fmla="*/ 68868 w 810"/>
                <a:gd name="T39" fmla="*/ 173992 h 727"/>
                <a:gd name="T40" fmla="*/ 65836 w 810"/>
                <a:gd name="T41" fmla="*/ 188142 h 727"/>
                <a:gd name="T42" fmla="*/ 63237 w 810"/>
                <a:gd name="T43" fmla="*/ 206484 h 727"/>
                <a:gd name="T44" fmla="*/ 64970 w 810"/>
                <a:gd name="T45" fmla="*/ 222730 h 727"/>
                <a:gd name="T46" fmla="*/ 74932 w 810"/>
                <a:gd name="T47" fmla="*/ 253651 h 727"/>
                <a:gd name="T48" fmla="*/ 77531 w 810"/>
                <a:gd name="T49" fmla="*/ 271469 h 727"/>
                <a:gd name="T50" fmla="*/ 80996 w 810"/>
                <a:gd name="T51" fmla="*/ 317587 h 727"/>
                <a:gd name="T52" fmla="*/ 88359 w 810"/>
                <a:gd name="T53" fmla="*/ 339074 h 727"/>
                <a:gd name="T54" fmla="*/ 100054 w 810"/>
                <a:gd name="T55" fmla="*/ 361609 h 727"/>
                <a:gd name="T56" fmla="*/ 106117 w 810"/>
                <a:gd name="T57" fmla="*/ 366850 h 727"/>
                <a:gd name="T58" fmla="*/ 112181 w 810"/>
                <a:gd name="T59" fmla="*/ 374711 h 727"/>
                <a:gd name="T60" fmla="*/ 114780 w 810"/>
                <a:gd name="T61" fmla="*/ 355320 h 727"/>
                <a:gd name="T62" fmla="*/ 133405 w 810"/>
                <a:gd name="T63" fmla="*/ 364754 h 727"/>
                <a:gd name="T64" fmla="*/ 142067 w 810"/>
                <a:gd name="T65" fmla="*/ 373663 h 727"/>
                <a:gd name="T66" fmla="*/ 161125 w 810"/>
                <a:gd name="T67" fmla="*/ 380476 h 727"/>
                <a:gd name="T68" fmla="*/ 176285 w 810"/>
                <a:gd name="T69" fmla="*/ 378904 h 727"/>
                <a:gd name="T70" fmla="*/ 185814 w 810"/>
                <a:gd name="T71" fmla="*/ 372091 h 727"/>
                <a:gd name="T72" fmla="*/ 195776 w 810"/>
                <a:gd name="T73" fmla="*/ 353748 h 727"/>
                <a:gd name="T74" fmla="*/ 200540 w 810"/>
                <a:gd name="T75" fmla="*/ 277234 h 727"/>
                <a:gd name="T76" fmla="*/ 201406 w 810"/>
                <a:gd name="T77" fmla="*/ 251554 h 727"/>
                <a:gd name="T78" fmla="*/ 204005 w 810"/>
                <a:gd name="T79" fmla="*/ 245790 h 727"/>
                <a:gd name="T80" fmla="*/ 200540 w 810"/>
                <a:gd name="T81" fmla="*/ 223254 h 727"/>
                <a:gd name="T82" fmla="*/ 203139 w 810"/>
                <a:gd name="T83" fmla="*/ 192858 h 727"/>
                <a:gd name="T84" fmla="*/ 216566 w 810"/>
                <a:gd name="T85" fmla="*/ 172944 h 727"/>
                <a:gd name="T86" fmla="*/ 227394 w 810"/>
                <a:gd name="T87" fmla="*/ 167703 h 727"/>
                <a:gd name="T88" fmla="*/ 233025 w 810"/>
                <a:gd name="T89" fmla="*/ 121585 h 727"/>
                <a:gd name="T90" fmla="*/ 238656 w 810"/>
                <a:gd name="T91" fmla="*/ 77563 h 727"/>
                <a:gd name="T92" fmla="*/ 234324 w 810"/>
                <a:gd name="T93" fmla="*/ 64985 h 727"/>
                <a:gd name="T94" fmla="*/ 229993 w 810"/>
                <a:gd name="T95" fmla="*/ 51883 h 727"/>
                <a:gd name="T96" fmla="*/ 233458 w 810"/>
                <a:gd name="T97" fmla="*/ 45070 h 727"/>
                <a:gd name="T98" fmla="*/ 267243 w 810"/>
                <a:gd name="T99" fmla="*/ 41926 h 727"/>
                <a:gd name="T100" fmla="*/ 306658 w 810"/>
                <a:gd name="T101" fmla="*/ 33017 h 727"/>
                <a:gd name="T102" fmla="*/ 347805 w 810"/>
                <a:gd name="T103" fmla="*/ 31968 h 72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2" name="Freeform 479">
              <a:extLst>
                <a:ext uri="{FF2B5EF4-FFF2-40B4-BE49-F238E27FC236}">
                  <a16:creationId xmlns:a16="http://schemas.microsoft.com/office/drawing/2014/main" id="{E39A73B6-4E42-40FB-9F09-26EC87DC2037}"/>
                </a:ext>
              </a:extLst>
            </p:cNvPr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5100639" y="3133725"/>
              <a:ext cx="161925" cy="141288"/>
            </a:xfrm>
            <a:custGeom>
              <a:avLst/>
              <a:gdLst>
                <a:gd name="T0" fmla="*/ 90057 w 365"/>
                <a:gd name="T1" fmla="*/ 130339 h 271"/>
                <a:gd name="T2" fmla="*/ 72312 w 365"/>
                <a:gd name="T3" fmla="*/ 128254 h 271"/>
                <a:gd name="T4" fmla="*/ 53679 w 365"/>
                <a:gd name="T5" fmla="*/ 128775 h 271"/>
                <a:gd name="T6" fmla="*/ 40814 w 365"/>
                <a:gd name="T7" fmla="*/ 130339 h 271"/>
                <a:gd name="T8" fmla="*/ 32829 w 365"/>
                <a:gd name="T9" fmla="*/ 132946 h 271"/>
                <a:gd name="T10" fmla="*/ 11534 w 365"/>
                <a:gd name="T11" fmla="*/ 141288 h 271"/>
                <a:gd name="T12" fmla="*/ 8873 w 365"/>
                <a:gd name="T13" fmla="*/ 140767 h 271"/>
                <a:gd name="T14" fmla="*/ 7542 w 365"/>
                <a:gd name="T15" fmla="*/ 138681 h 271"/>
                <a:gd name="T16" fmla="*/ 7985 w 365"/>
                <a:gd name="T17" fmla="*/ 132425 h 271"/>
                <a:gd name="T18" fmla="*/ 11534 w 365"/>
                <a:gd name="T19" fmla="*/ 118870 h 271"/>
                <a:gd name="T20" fmla="*/ 27061 w 365"/>
                <a:gd name="T21" fmla="*/ 117827 h 271"/>
                <a:gd name="T22" fmla="*/ 39483 w 365"/>
                <a:gd name="T23" fmla="*/ 115741 h 271"/>
                <a:gd name="T24" fmla="*/ 51017 w 365"/>
                <a:gd name="T25" fmla="*/ 113656 h 271"/>
                <a:gd name="T26" fmla="*/ 64770 w 365"/>
                <a:gd name="T27" fmla="*/ 112613 h 271"/>
                <a:gd name="T28" fmla="*/ 80741 w 365"/>
                <a:gd name="T29" fmla="*/ 113656 h 271"/>
                <a:gd name="T30" fmla="*/ 88282 w 365"/>
                <a:gd name="T31" fmla="*/ 113656 h 271"/>
                <a:gd name="T32" fmla="*/ 97155 w 365"/>
                <a:gd name="T33" fmla="*/ 112613 h 271"/>
                <a:gd name="T34" fmla="*/ 95380 w 365"/>
                <a:gd name="T35" fmla="*/ 108442 h 271"/>
                <a:gd name="T36" fmla="*/ 93162 w 365"/>
                <a:gd name="T37" fmla="*/ 104793 h 271"/>
                <a:gd name="T38" fmla="*/ 86508 w 365"/>
                <a:gd name="T39" fmla="*/ 101143 h 271"/>
                <a:gd name="T40" fmla="*/ 77635 w 365"/>
                <a:gd name="T41" fmla="*/ 99579 h 271"/>
                <a:gd name="T42" fmla="*/ 67432 w 365"/>
                <a:gd name="T43" fmla="*/ 99058 h 271"/>
                <a:gd name="T44" fmla="*/ 41258 w 365"/>
                <a:gd name="T45" fmla="*/ 100101 h 271"/>
                <a:gd name="T46" fmla="*/ 28392 w 365"/>
                <a:gd name="T47" fmla="*/ 102186 h 271"/>
                <a:gd name="T48" fmla="*/ 14640 w 365"/>
                <a:gd name="T49" fmla="*/ 105836 h 271"/>
                <a:gd name="T50" fmla="*/ 16858 w 365"/>
                <a:gd name="T51" fmla="*/ 95409 h 271"/>
                <a:gd name="T52" fmla="*/ 17302 w 365"/>
                <a:gd name="T53" fmla="*/ 89674 h 271"/>
                <a:gd name="T54" fmla="*/ 11534 w 365"/>
                <a:gd name="T55" fmla="*/ 85503 h 271"/>
                <a:gd name="T56" fmla="*/ 5767 w 365"/>
                <a:gd name="T57" fmla="*/ 83417 h 271"/>
                <a:gd name="T58" fmla="*/ 4880 w 365"/>
                <a:gd name="T59" fmla="*/ 76640 h 271"/>
                <a:gd name="T60" fmla="*/ 2662 w 365"/>
                <a:gd name="T61" fmla="*/ 74554 h 271"/>
                <a:gd name="T62" fmla="*/ 887 w 365"/>
                <a:gd name="T63" fmla="*/ 73511 h 271"/>
                <a:gd name="T64" fmla="*/ 0 w 365"/>
                <a:gd name="T65" fmla="*/ 70383 h 271"/>
                <a:gd name="T66" fmla="*/ 2218 w 365"/>
                <a:gd name="T67" fmla="*/ 59956 h 271"/>
                <a:gd name="T68" fmla="*/ 7542 w 365"/>
                <a:gd name="T69" fmla="*/ 47965 h 271"/>
                <a:gd name="T70" fmla="*/ 13309 w 365"/>
                <a:gd name="T71" fmla="*/ 35974 h 271"/>
                <a:gd name="T72" fmla="*/ 17302 w 365"/>
                <a:gd name="T73" fmla="*/ 25547 h 271"/>
                <a:gd name="T74" fmla="*/ 21294 w 365"/>
                <a:gd name="T75" fmla="*/ 21897 h 271"/>
                <a:gd name="T76" fmla="*/ 21738 w 365"/>
                <a:gd name="T77" fmla="*/ 25025 h 271"/>
                <a:gd name="T78" fmla="*/ 23069 w 365"/>
                <a:gd name="T79" fmla="*/ 18769 h 271"/>
                <a:gd name="T80" fmla="*/ 33272 w 365"/>
                <a:gd name="T81" fmla="*/ 16162 h 271"/>
                <a:gd name="T82" fmla="*/ 50574 w 365"/>
                <a:gd name="T83" fmla="*/ 9384 h 271"/>
                <a:gd name="T84" fmla="*/ 73199 w 365"/>
                <a:gd name="T85" fmla="*/ 0 h 271"/>
                <a:gd name="T86" fmla="*/ 81628 w 365"/>
                <a:gd name="T87" fmla="*/ 7820 h 271"/>
                <a:gd name="T88" fmla="*/ 89613 w 365"/>
                <a:gd name="T89" fmla="*/ 12513 h 271"/>
                <a:gd name="T90" fmla="*/ 97599 w 365"/>
                <a:gd name="T91" fmla="*/ 15119 h 271"/>
                <a:gd name="T92" fmla="*/ 106028 w 365"/>
                <a:gd name="T93" fmla="*/ 15641 h 271"/>
                <a:gd name="T94" fmla="*/ 106915 w 365"/>
                <a:gd name="T95" fmla="*/ 27111 h 271"/>
                <a:gd name="T96" fmla="*/ 109577 w 365"/>
                <a:gd name="T97" fmla="*/ 35974 h 271"/>
                <a:gd name="T98" fmla="*/ 112682 w 365"/>
                <a:gd name="T99" fmla="*/ 43794 h 271"/>
                <a:gd name="T100" fmla="*/ 117118 w 365"/>
                <a:gd name="T101" fmla="*/ 49529 h 271"/>
                <a:gd name="T102" fmla="*/ 135307 w 365"/>
                <a:gd name="T103" fmla="*/ 67255 h 271"/>
                <a:gd name="T104" fmla="*/ 156158 w 365"/>
                <a:gd name="T105" fmla="*/ 121998 h 271"/>
                <a:gd name="T106" fmla="*/ 159263 w 365"/>
                <a:gd name="T107" fmla="*/ 133989 h 271"/>
                <a:gd name="T108" fmla="*/ 161925 w 365"/>
                <a:gd name="T109" fmla="*/ 141288 h 271"/>
                <a:gd name="T110" fmla="*/ 142405 w 365"/>
                <a:gd name="T111" fmla="*/ 135032 h 271"/>
                <a:gd name="T112" fmla="*/ 121998 w 365"/>
                <a:gd name="T113" fmla="*/ 131382 h 271"/>
                <a:gd name="T114" fmla="*/ 110020 w 365"/>
                <a:gd name="T115" fmla="*/ 130861 h 271"/>
                <a:gd name="T116" fmla="*/ 97155 w 365"/>
                <a:gd name="T117" fmla="*/ 131382 h 27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3" name="Freeform 480">
              <a:extLst>
                <a:ext uri="{FF2B5EF4-FFF2-40B4-BE49-F238E27FC236}">
                  <a16:creationId xmlns:a16="http://schemas.microsoft.com/office/drawing/2014/main" id="{A0FA82D4-97A2-4A92-938D-F494A04302AC}"/>
                </a:ext>
              </a:extLst>
            </p:cNvPr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6273801" y="3695701"/>
              <a:ext cx="269875" cy="334963"/>
            </a:xfrm>
            <a:custGeom>
              <a:avLst/>
              <a:gdLst>
                <a:gd name="T0" fmla="*/ 63144 w 624"/>
                <a:gd name="T1" fmla="*/ 6281 h 640"/>
                <a:gd name="T2" fmla="*/ 103366 w 624"/>
                <a:gd name="T3" fmla="*/ 6281 h 640"/>
                <a:gd name="T4" fmla="*/ 124125 w 624"/>
                <a:gd name="T5" fmla="*/ 2617 h 640"/>
                <a:gd name="T6" fmla="*/ 140992 w 624"/>
                <a:gd name="T7" fmla="*/ 11514 h 640"/>
                <a:gd name="T8" fmla="*/ 171267 w 624"/>
                <a:gd name="T9" fmla="*/ 34543 h 640"/>
                <a:gd name="T10" fmla="*/ 201109 w 624"/>
                <a:gd name="T11" fmla="*/ 58095 h 640"/>
                <a:gd name="T12" fmla="*/ 202839 w 624"/>
                <a:gd name="T13" fmla="*/ 68563 h 640"/>
                <a:gd name="T14" fmla="*/ 207596 w 624"/>
                <a:gd name="T15" fmla="*/ 80077 h 640"/>
                <a:gd name="T16" fmla="*/ 214949 w 624"/>
                <a:gd name="T17" fmla="*/ 88975 h 640"/>
                <a:gd name="T18" fmla="*/ 224463 w 624"/>
                <a:gd name="T19" fmla="*/ 95778 h 640"/>
                <a:gd name="T20" fmla="*/ 234843 w 624"/>
                <a:gd name="T21" fmla="*/ 99442 h 640"/>
                <a:gd name="T22" fmla="*/ 239601 w 624"/>
                <a:gd name="T23" fmla="*/ 102059 h 640"/>
                <a:gd name="T24" fmla="*/ 244358 w 624"/>
                <a:gd name="T25" fmla="*/ 107293 h 640"/>
                <a:gd name="T26" fmla="*/ 242628 w 624"/>
                <a:gd name="T27" fmla="*/ 118807 h 640"/>
                <a:gd name="T28" fmla="*/ 232248 w 624"/>
                <a:gd name="T29" fmla="*/ 131892 h 640"/>
                <a:gd name="T30" fmla="*/ 227058 w 624"/>
                <a:gd name="T31" fmla="*/ 141836 h 640"/>
                <a:gd name="T32" fmla="*/ 230518 w 624"/>
                <a:gd name="T33" fmla="*/ 150210 h 640"/>
                <a:gd name="T34" fmla="*/ 236573 w 624"/>
                <a:gd name="T35" fmla="*/ 156491 h 640"/>
                <a:gd name="T36" fmla="*/ 238736 w 624"/>
                <a:gd name="T37" fmla="*/ 222436 h 640"/>
                <a:gd name="T38" fmla="*/ 237871 w 624"/>
                <a:gd name="T39" fmla="*/ 229764 h 640"/>
                <a:gd name="T40" fmla="*/ 241331 w 624"/>
                <a:gd name="T41" fmla="*/ 241801 h 640"/>
                <a:gd name="T42" fmla="*/ 241331 w 624"/>
                <a:gd name="T43" fmla="*/ 255933 h 640"/>
                <a:gd name="T44" fmla="*/ 242628 w 624"/>
                <a:gd name="T45" fmla="*/ 269541 h 640"/>
                <a:gd name="T46" fmla="*/ 256900 w 624"/>
                <a:gd name="T47" fmla="*/ 287335 h 640"/>
                <a:gd name="T48" fmla="*/ 266415 w 624"/>
                <a:gd name="T49" fmla="*/ 303037 h 640"/>
                <a:gd name="T50" fmla="*/ 248683 w 624"/>
                <a:gd name="T51" fmla="*/ 314028 h 640"/>
                <a:gd name="T52" fmla="*/ 212354 w 624"/>
                <a:gd name="T53" fmla="*/ 330253 h 640"/>
                <a:gd name="T54" fmla="*/ 191594 w 624"/>
                <a:gd name="T55" fmla="*/ 333916 h 640"/>
                <a:gd name="T56" fmla="*/ 169537 w 624"/>
                <a:gd name="T57" fmla="*/ 328682 h 640"/>
                <a:gd name="T58" fmla="*/ 146615 w 624"/>
                <a:gd name="T59" fmla="*/ 331299 h 640"/>
                <a:gd name="T60" fmla="*/ 132343 w 624"/>
                <a:gd name="T61" fmla="*/ 328682 h 640"/>
                <a:gd name="T62" fmla="*/ 129315 w 624"/>
                <a:gd name="T63" fmla="*/ 321355 h 640"/>
                <a:gd name="T64" fmla="*/ 127153 w 624"/>
                <a:gd name="T65" fmla="*/ 299897 h 640"/>
                <a:gd name="T66" fmla="*/ 124558 w 624"/>
                <a:gd name="T67" fmla="*/ 276868 h 640"/>
                <a:gd name="T68" fmla="*/ 109420 w 624"/>
                <a:gd name="T69" fmla="*/ 270587 h 640"/>
                <a:gd name="T70" fmla="*/ 80011 w 624"/>
                <a:gd name="T71" fmla="*/ 262737 h 640"/>
                <a:gd name="T72" fmla="*/ 38924 w 624"/>
                <a:gd name="T73" fmla="*/ 240231 h 640"/>
                <a:gd name="T74" fmla="*/ 29409 w 624"/>
                <a:gd name="T75" fmla="*/ 233427 h 640"/>
                <a:gd name="T76" fmla="*/ 28544 w 624"/>
                <a:gd name="T77" fmla="*/ 224007 h 640"/>
                <a:gd name="T78" fmla="*/ 28112 w 624"/>
                <a:gd name="T79" fmla="*/ 210399 h 640"/>
                <a:gd name="T80" fmla="*/ 22922 w 624"/>
                <a:gd name="T81" fmla="*/ 197314 h 640"/>
                <a:gd name="T82" fmla="*/ 17732 w 624"/>
                <a:gd name="T83" fmla="*/ 186847 h 640"/>
                <a:gd name="T84" fmla="*/ 11677 w 624"/>
                <a:gd name="T85" fmla="*/ 181613 h 640"/>
                <a:gd name="T86" fmla="*/ 5190 w 624"/>
                <a:gd name="T87" fmla="*/ 173762 h 640"/>
                <a:gd name="T88" fmla="*/ 2162 w 624"/>
                <a:gd name="T89" fmla="*/ 161201 h 640"/>
                <a:gd name="T90" fmla="*/ 0 w 624"/>
                <a:gd name="T91" fmla="*/ 137125 h 640"/>
                <a:gd name="T92" fmla="*/ 0 w 624"/>
                <a:gd name="T93" fmla="*/ 122471 h 640"/>
                <a:gd name="T94" fmla="*/ 4325 w 624"/>
                <a:gd name="T95" fmla="*/ 110956 h 640"/>
                <a:gd name="T96" fmla="*/ 16435 w 624"/>
                <a:gd name="T97" fmla="*/ 102059 h 640"/>
                <a:gd name="T98" fmla="*/ 26382 w 624"/>
                <a:gd name="T99" fmla="*/ 90545 h 640"/>
                <a:gd name="T100" fmla="*/ 33302 w 624"/>
                <a:gd name="T101" fmla="*/ 40300 h 640"/>
                <a:gd name="T102" fmla="*/ 36329 w 624"/>
                <a:gd name="T103" fmla="*/ 22505 h 640"/>
                <a:gd name="T104" fmla="*/ 35464 w 624"/>
                <a:gd name="T105" fmla="*/ 4187 h 6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4" name="Freeform 481">
              <a:extLst>
                <a:ext uri="{FF2B5EF4-FFF2-40B4-BE49-F238E27FC236}">
                  <a16:creationId xmlns:a16="http://schemas.microsoft.com/office/drawing/2014/main" id="{319B055A-600E-4315-8959-4ED8A83EA434}"/>
                </a:ext>
              </a:extLst>
            </p:cNvPr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8837613" y="2209800"/>
              <a:ext cx="19050" cy="57150"/>
            </a:xfrm>
            <a:custGeom>
              <a:avLst/>
              <a:gdLst>
                <a:gd name="T0" fmla="*/ 4763 w 52"/>
                <a:gd name="T1" fmla="*/ 57150 h 50"/>
                <a:gd name="T2" fmla="*/ 0 w 52"/>
                <a:gd name="T3" fmla="*/ 36576 h 50"/>
                <a:gd name="T4" fmla="*/ 733 w 52"/>
                <a:gd name="T5" fmla="*/ 28575 h 50"/>
                <a:gd name="T6" fmla="*/ 2198 w 52"/>
                <a:gd name="T7" fmla="*/ 20574 h 50"/>
                <a:gd name="T8" fmla="*/ 4396 w 52"/>
                <a:gd name="T9" fmla="*/ 14859 h 50"/>
                <a:gd name="T10" fmla="*/ 6594 w 52"/>
                <a:gd name="T11" fmla="*/ 10287 h 50"/>
                <a:gd name="T12" fmla="*/ 9525 w 52"/>
                <a:gd name="T13" fmla="*/ 5715 h 50"/>
                <a:gd name="T14" fmla="*/ 12456 w 52"/>
                <a:gd name="T15" fmla="*/ 3429 h 50"/>
                <a:gd name="T16" fmla="*/ 15753 w 52"/>
                <a:gd name="T17" fmla="*/ 1143 h 50"/>
                <a:gd name="T18" fmla="*/ 19050 w 52"/>
                <a:gd name="T19" fmla="*/ 0 h 50"/>
                <a:gd name="T20" fmla="*/ 14654 w 52"/>
                <a:gd name="T21" fmla="*/ 12573 h 50"/>
                <a:gd name="T22" fmla="*/ 9891 w 52"/>
                <a:gd name="T23" fmla="*/ 25146 h 50"/>
                <a:gd name="T24" fmla="*/ 8060 w 52"/>
                <a:gd name="T25" fmla="*/ 34290 h 50"/>
                <a:gd name="T26" fmla="*/ 6228 w 52"/>
                <a:gd name="T27" fmla="*/ 41148 h 50"/>
                <a:gd name="T28" fmla="*/ 5129 w 52"/>
                <a:gd name="T29" fmla="*/ 49149 h 50"/>
                <a:gd name="T30" fmla="*/ 4763 w 52"/>
                <a:gd name="T31" fmla="*/ 57150 h 5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25" name="Freeform 482">
              <a:extLst>
                <a:ext uri="{FF2B5EF4-FFF2-40B4-BE49-F238E27FC236}">
                  <a16:creationId xmlns:a16="http://schemas.microsoft.com/office/drawing/2014/main" id="{46EBE187-D0FA-41E8-A777-CA09A0D217FF}"/>
                </a:ext>
              </a:extLst>
            </p:cNvPr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8696325" y="2211388"/>
              <a:ext cx="141288" cy="125412"/>
            </a:xfrm>
            <a:custGeom>
              <a:avLst/>
              <a:gdLst>
                <a:gd name="T0" fmla="*/ 33556 w 320"/>
                <a:gd name="T1" fmla="*/ 123804 h 234"/>
                <a:gd name="T2" fmla="*/ 26933 w 320"/>
                <a:gd name="T3" fmla="*/ 121124 h 234"/>
                <a:gd name="T4" fmla="*/ 29141 w 320"/>
                <a:gd name="T5" fmla="*/ 118981 h 234"/>
                <a:gd name="T6" fmla="*/ 33997 w 320"/>
                <a:gd name="T7" fmla="*/ 116301 h 234"/>
                <a:gd name="T8" fmla="*/ 28258 w 320"/>
                <a:gd name="T9" fmla="*/ 109334 h 234"/>
                <a:gd name="T10" fmla="*/ 18986 w 320"/>
                <a:gd name="T11" fmla="*/ 101294 h 234"/>
                <a:gd name="T12" fmla="*/ 15895 w 320"/>
                <a:gd name="T13" fmla="*/ 95935 h 234"/>
                <a:gd name="T14" fmla="*/ 15012 w 320"/>
                <a:gd name="T15" fmla="*/ 91647 h 234"/>
                <a:gd name="T16" fmla="*/ 15012 w 320"/>
                <a:gd name="T17" fmla="*/ 87896 h 234"/>
                <a:gd name="T18" fmla="*/ 15895 w 320"/>
                <a:gd name="T19" fmla="*/ 84144 h 234"/>
                <a:gd name="T20" fmla="*/ 18986 w 320"/>
                <a:gd name="T21" fmla="*/ 79856 h 234"/>
                <a:gd name="T22" fmla="*/ 24725 w 320"/>
                <a:gd name="T23" fmla="*/ 75569 h 234"/>
                <a:gd name="T24" fmla="*/ 32231 w 320"/>
                <a:gd name="T25" fmla="*/ 73425 h 234"/>
                <a:gd name="T26" fmla="*/ 35322 w 320"/>
                <a:gd name="T27" fmla="*/ 67530 h 234"/>
                <a:gd name="T28" fmla="*/ 29582 w 320"/>
                <a:gd name="T29" fmla="*/ 59490 h 234"/>
                <a:gd name="T30" fmla="*/ 26933 w 320"/>
                <a:gd name="T31" fmla="*/ 54667 h 234"/>
                <a:gd name="T32" fmla="*/ 26492 w 320"/>
                <a:gd name="T33" fmla="*/ 46092 h 234"/>
                <a:gd name="T34" fmla="*/ 24284 w 320"/>
                <a:gd name="T35" fmla="*/ 37516 h 234"/>
                <a:gd name="T36" fmla="*/ 20310 w 320"/>
                <a:gd name="T37" fmla="*/ 24654 h 234"/>
                <a:gd name="T38" fmla="*/ 14570 w 320"/>
                <a:gd name="T39" fmla="*/ 16614 h 234"/>
                <a:gd name="T40" fmla="*/ 8831 w 320"/>
                <a:gd name="T41" fmla="*/ 13399 h 234"/>
                <a:gd name="T42" fmla="*/ 3091 w 320"/>
                <a:gd name="T43" fmla="*/ 5359 h 234"/>
                <a:gd name="T44" fmla="*/ 3974 w 320"/>
                <a:gd name="T45" fmla="*/ 0 h 234"/>
                <a:gd name="T46" fmla="*/ 10597 w 320"/>
                <a:gd name="T47" fmla="*/ 0 h 234"/>
                <a:gd name="T48" fmla="*/ 16778 w 320"/>
                <a:gd name="T49" fmla="*/ 1608 h 234"/>
                <a:gd name="T50" fmla="*/ 24725 w 320"/>
                <a:gd name="T51" fmla="*/ 8575 h 234"/>
                <a:gd name="T52" fmla="*/ 34439 w 320"/>
                <a:gd name="T53" fmla="*/ 18758 h 234"/>
                <a:gd name="T54" fmla="*/ 42386 w 320"/>
                <a:gd name="T55" fmla="*/ 25726 h 234"/>
                <a:gd name="T56" fmla="*/ 52541 w 320"/>
                <a:gd name="T57" fmla="*/ 31085 h 234"/>
                <a:gd name="T58" fmla="*/ 67112 w 320"/>
                <a:gd name="T59" fmla="*/ 37516 h 234"/>
                <a:gd name="T60" fmla="*/ 79916 w 320"/>
                <a:gd name="T61" fmla="*/ 42340 h 234"/>
                <a:gd name="T62" fmla="*/ 94486 w 320"/>
                <a:gd name="T63" fmla="*/ 45556 h 234"/>
                <a:gd name="T64" fmla="*/ 104200 w 320"/>
                <a:gd name="T65" fmla="*/ 41268 h 234"/>
                <a:gd name="T66" fmla="*/ 113472 w 320"/>
                <a:gd name="T67" fmla="*/ 44484 h 234"/>
                <a:gd name="T68" fmla="*/ 125393 w 320"/>
                <a:gd name="T69" fmla="*/ 57347 h 234"/>
                <a:gd name="T70" fmla="*/ 134665 w 320"/>
                <a:gd name="T71" fmla="*/ 63778 h 234"/>
                <a:gd name="T72" fmla="*/ 131133 w 320"/>
                <a:gd name="T73" fmla="*/ 71281 h 234"/>
                <a:gd name="T74" fmla="*/ 118329 w 320"/>
                <a:gd name="T75" fmla="*/ 77177 h 234"/>
                <a:gd name="T76" fmla="*/ 109940 w 320"/>
                <a:gd name="T77" fmla="*/ 79320 h 234"/>
                <a:gd name="T78" fmla="*/ 104641 w 320"/>
                <a:gd name="T79" fmla="*/ 85216 h 234"/>
                <a:gd name="T80" fmla="*/ 102434 w 320"/>
                <a:gd name="T81" fmla="*/ 94327 h 234"/>
                <a:gd name="T82" fmla="*/ 101992 w 320"/>
                <a:gd name="T83" fmla="*/ 100222 h 234"/>
                <a:gd name="T84" fmla="*/ 98019 w 320"/>
                <a:gd name="T85" fmla="*/ 102902 h 234"/>
                <a:gd name="T86" fmla="*/ 90071 w 320"/>
                <a:gd name="T87" fmla="*/ 101294 h 234"/>
                <a:gd name="T88" fmla="*/ 82124 w 320"/>
                <a:gd name="T89" fmla="*/ 97007 h 234"/>
                <a:gd name="T90" fmla="*/ 74176 w 320"/>
                <a:gd name="T91" fmla="*/ 91111 h 234"/>
                <a:gd name="T92" fmla="*/ 68436 w 320"/>
                <a:gd name="T93" fmla="*/ 87896 h 234"/>
                <a:gd name="T94" fmla="*/ 64021 w 320"/>
                <a:gd name="T95" fmla="*/ 86288 h 234"/>
                <a:gd name="T96" fmla="*/ 57840 w 320"/>
                <a:gd name="T97" fmla="*/ 86824 h 234"/>
                <a:gd name="T98" fmla="*/ 50334 w 320"/>
                <a:gd name="T99" fmla="*/ 89503 h 234"/>
                <a:gd name="T100" fmla="*/ 44153 w 320"/>
                <a:gd name="T101" fmla="*/ 92719 h 234"/>
                <a:gd name="T102" fmla="*/ 38413 w 320"/>
                <a:gd name="T103" fmla="*/ 95399 h 234"/>
                <a:gd name="T104" fmla="*/ 37530 w 320"/>
                <a:gd name="T105" fmla="*/ 98079 h 234"/>
                <a:gd name="T106" fmla="*/ 42386 w 320"/>
                <a:gd name="T107" fmla="*/ 102366 h 234"/>
                <a:gd name="T108" fmla="*/ 51217 w 320"/>
                <a:gd name="T109" fmla="*/ 107190 h 234"/>
                <a:gd name="T110" fmla="*/ 55632 w 320"/>
                <a:gd name="T111" fmla="*/ 113621 h 234"/>
                <a:gd name="T112" fmla="*/ 49892 w 320"/>
                <a:gd name="T113" fmla="*/ 120053 h 234"/>
                <a:gd name="T114" fmla="*/ 45036 w 320"/>
                <a:gd name="T115" fmla="*/ 123804 h 234"/>
                <a:gd name="T116" fmla="*/ 40179 w 320"/>
                <a:gd name="T117" fmla="*/ 125412 h 23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26" name="Freeform 483">
              <a:extLst>
                <a:ext uri="{FF2B5EF4-FFF2-40B4-BE49-F238E27FC236}">
                  <a16:creationId xmlns:a16="http://schemas.microsoft.com/office/drawing/2014/main" id="{8EF05442-C62B-471D-BAE7-E664ABE2D7D8}"/>
                </a:ext>
              </a:extLst>
            </p:cNvPr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8666164" y="2565400"/>
              <a:ext cx="52387" cy="57150"/>
            </a:xfrm>
            <a:custGeom>
              <a:avLst/>
              <a:gdLst>
                <a:gd name="T0" fmla="*/ 13830 w 125"/>
                <a:gd name="T1" fmla="*/ 11676 h 93"/>
                <a:gd name="T2" fmla="*/ 18021 w 125"/>
                <a:gd name="T3" fmla="*/ 11676 h 93"/>
                <a:gd name="T4" fmla="*/ 21793 w 125"/>
                <a:gd name="T5" fmla="*/ 11676 h 93"/>
                <a:gd name="T6" fmla="*/ 23050 w 125"/>
                <a:gd name="T7" fmla="*/ 11676 h 93"/>
                <a:gd name="T8" fmla="*/ 24308 w 125"/>
                <a:gd name="T9" fmla="*/ 10447 h 93"/>
                <a:gd name="T10" fmla="*/ 25565 w 125"/>
                <a:gd name="T11" fmla="*/ 9218 h 93"/>
                <a:gd name="T12" fmla="*/ 27241 w 125"/>
                <a:gd name="T13" fmla="*/ 6760 h 93"/>
                <a:gd name="T14" fmla="*/ 28499 w 125"/>
                <a:gd name="T15" fmla="*/ 4916 h 93"/>
                <a:gd name="T16" fmla="*/ 29337 w 125"/>
                <a:gd name="T17" fmla="*/ 3073 h 93"/>
                <a:gd name="T18" fmla="*/ 30175 w 125"/>
                <a:gd name="T19" fmla="*/ 1844 h 93"/>
                <a:gd name="T20" fmla="*/ 30175 w 125"/>
                <a:gd name="T21" fmla="*/ 0 h 93"/>
                <a:gd name="T22" fmla="*/ 49453 w 125"/>
                <a:gd name="T23" fmla="*/ 0 h 93"/>
                <a:gd name="T24" fmla="*/ 51130 w 125"/>
                <a:gd name="T25" fmla="*/ 9218 h 93"/>
                <a:gd name="T26" fmla="*/ 52387 w 125"/>
                <a:gd name="T27" fmla="*/ 15363 h 93"/>
                <a:gd name="T28" fmla="*/ 51968 w 125"/>
                <a:gd name="T29" fmla="*/ 17821 h 93"/>
                <a:gd name="T30" fmla="*/ 51130 w 125"/>
                <a:gd name="T31" fmla="*/ 20279 h 93"/>
                <a:gd name="T32" fmla="*/ 49872 w 125"/>
                <a:gd name="T33" fmla="*/ 21508 h 93"/>
                <a:gd name="T34" fmla="*/ 49034 w 125"/>
                <a:gd name="T35" fmla="*/ 22737 h 93"/>
                <a:gd name="T36" fmla="*/ 46520 w 125"/>
                <a:gd name="T37" fmla="*/ 24581 h 93"/>
                <a:gd name="T38" fmla="*/ 43586 w 125"/>
                <a:gd name="T39" fmla="*/ 25195 h 93"/>
                <a:gd name="T40" fmla="*/ 36880 w 125"/>
                <a:gd name="T41" fmla="*/ 25195 h 93"/>
                <a:gd name="T42" fmla="*/ 30175 w 125"/>
                <a:gd name="T43" fmla="*/ 26424 h 93"/>
                <a:gd name="T44" fmla="*/ 29337 w 125"/>
                <a:gd name="T45" fmla="*/ 28882 h 93"/>
                <a:gd name="T46" fmla="*/ 28918 w 125"/>
                <a:gd name="T47" fmla="*/ 32569 h 93"/>
                <a:gd name="T48" fmla="*/ 28079 w 125"/>
                <a:gd name="T49" fmla="*/ 37485 h 93"/>
                <a:gd name="T50" fmla="*/ 28079 w 125"/>
                <a:gd name="T51" fmla="*/ 43631 h 93"/>
                <a:gd name="T52" fmla="*/ 27660 w 125"/>
                <a:gd name="T53" fmla="*/ 52848 h 93"/>
                <a:gd name="T54" fmla="*/ 27660 w 125"/>
                <a:gd name="T55" fmla="*/ 57150 h 93"/>
                <a:gd name="T56" fmla="*/ 20536 w 125"/>
                <a:gd name="T57" fmla="*/ 52234 h 93"/>
                <a:gd name="T58" fmla="*/ 11316 w 125"/>
                <a:gd name="T59" fmla="*/ 44860 h 93"/>
                <a:gd name="T60" fmla="*/ 6706 w 125"/>
                <a:gd name="T61" fmla="*/ 39944 h 93"/>
                <a:gd name="T62" fmla="*/ 2934 w 125"/>
                <a:gd name="T63" fmla="*/ 35642 h 93"/>
                <a:gd name="T64" fmla="*/ 1676 w 125"/>
                <a:gd name="T65" fmla="*/ 33184 h 93"/>
                <a:gd name="T66" fmla="*/ 838 w 125"/>
                <a:gd name="T67" fmla="*/ 30726 h 93"/>
                <a:gd name="T68" fmla="*/ 0 w 125"/>
                <a:gd name="T69" fmla="*/ 28882 h 93"/>
                <a:gd name="T70" fmla="*/ 0 w 125"/>
                <a:gd name="T71" fmla="*/ 26424 h 93"/>
                <a:gd name="T72" fmla="*/ 2934 w 125"/>
                <a:gd name="T73" fmla="*/ 26424 h 93"/>
                <a:gd name="T74" fmla="*/ 6286 w 125"/>
                <a:gd name="T75" fmla="*/ 25195 h 93"/>
                <a:gd name="T76" fmla="*/ 8382 w 125"/>
                <a:gd name="T77" fmla="*/ 23966 h 93"/>
                <a:gd name="T78" fmla="*/ 9639 w 125"/>
                <a:gd name="T79" fmla="*/ 22123 h 93"/>
                <a:gd name="T80" fmla="*/ 11735 w 125"/>
                <a:gd name="T81" fmla="*/ 17206 h 93"/>
                <a:gd name="T82" fmla="*/ 13830 w 125"/>
                <a:gd name="T83" fmla="*/ 11676 h 9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27" name="Freeform 484">
              <a:extLst>
                <a:ext uri="{FF2B5EF4-FFF2-40B4-BE49-F238E27FC236}">
                  <a16:creationId xmlns:a16="http://schemas.microsoft.com/office/drawing/2014/main" id="{8E188BA6-24D4-46BF-9D6A-358086508A33}"/>
                </a:ext>
              </a:extLst>
            </p:cNvPr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8612189" y="2579689"/>
              <a:ext cx="60325" cy="84137"/>
            </a:xfrm>
            <a:custGeom>
              <a:avLst/>
              <a:gdLst>
                <a:gd name="T0" fmla="*/ 9071 w 133"/>
                <a:gd name="T1" fmla="*/ 6556 h 154"/>
                <a:gd name="T2" fmla="*/ 10886 w 133"/>
                <a:gd name="T3" fmla="*/ 5463 h 154"/>
                <a:gd name="T4" fmla="*/ 14061 w 133"/>
                <a:gd name="T5" fmla="*/ 3278 h 154"/>
                <a:gd name="T6" fmla="*/ 15421 w 133"/>
                <a:gd name="T7" fmla="*/ 2185 h 154"/>
                <a:gd name="T8" fmla="*/ 16782 w 133"/>
                <a:gd name="T9" fmla="*/ 1093 h 154"/>
                <a:gd name="T10" fmla="*/ 19050 w 133"/>
                <a:gd name="T11" fmla="*/ 546 h 154"/>
                <a:gd name="T12" fmla="*/ 20864 w 133"/>
                <a:gd name="T13" fmla="*/ 0 h 154"/>
                <a:gd name="T14" fmla="*/ 26761 w 133"/>
                <a:gd name="T15" fmla="*/ 546 h 154"/>
                <a:gd name="T16" fmla="*/ 31750 w 133"/>
                <a:gd name="T17" fmla="*/ 2185 h 154"/>
                <a:gd name="T18" fmla="*/ 36739 w 133"/>
                <a:gd name="T19" fmla="*/ 4371 h 154"/>
                <a:gd name="T20" fmla="*/ 40821 w 133"/>
                <a:gd name="T21" fmla="*/ 7649 h 154"/>
                <a:gd name="T22" fmla="*/ 44904 w 133"/>
                <a:gd name="T23" fmla="*/ 11473 h 154"/>
                <a:gd name="T24" fmla="*/ 47625 w 133"/>
                <a:gd name="T25" fmla="*/ 16390 h 154"/>
                <a:gd name="T26" fmla="*/ 50800 w 133"/>
                <a:gd name="T27" fmla="*/ 21854 h 154"/>
                <a:gd name="T28" fmla="*/ 52614 w 133"/>
                <a:gd name="T29" fmla="*/ 27317 h 154"/>
                <a:gd name="T30" fmla="*/ 54882 w 133"/>
                <a:gd name="T31" fmla="*/ 32781 h 154"/>
                <a:gd name="T32" fmla="*/ 56243 w 133"/>
                <a:gd name="T33" fmla="*/ 38790 h 154"/>
                <a:gd name="T34" fmla="*/ 57604 w 133"/>
                <a:gd name="T35" fmla="*/ 44800 h 154"/>
                <a:gd name="T36" fmla="*/ 58964 w 133"/>
                <a:gd name="T37" fmla="*/ 51356 h 154"/>
                <a:gd name="T38" fmla="*/ 59871 w 133"/>
                <a:gd name="T39" fmla="*/ 63376 h 154"/>
                <a:gd name="T40" fmla="*/ 60325 w 133"/>
                <a:gd name="T41" fmla="*/ 73756 h 154"/>
                <a:gd name="T42" fmla="*/ 59871 w 133"/>
                <a:gd name="T43" fmla="*/ 75395 h 154"/>
                <a:gd name="T44" fmla="*/ 58964 w 133"/>
                <a:gd name="T45" fmla="*/ 77035 h 154"/>
                <a:gd name="T46" fmla="*/ 56696 w 133"/>
                <a:gd name="T47" fmla="*/ 78674 h 154"/>
                <a:gd name="T48" fmla="*/ 54882 w 133"/>
                <a:gd name="T49" fmla="*/ 80313 h 154"/>
                <a:gd name="T50" fmla="*/ 52161 w 133"/>
                <a:gd name="T51" fmla="*/ 81952 h 154"/>
                <a:gd name="T52" fmla="*/ 49893 w 133"/>
                <a:gd name="T53" fmla="*/ 83591 h 154"/>
                <a:gd name="T54" fmla="*/ 47171 w 133"/>
                <a:gd name="T55" fmla="*/ 84137 h 154"/>
                <a:gd name="T56" fmla="*/ 44904 w 133"/>
                <a:gd name="T57" fmla="*/ 84137 h 154"/>
                <a:gd name="T58" fmla="*/ 42182 w 133"/>
                <a:gd name="T59" fmla="*/ 83591 h 154"/>
                <a:gd name="T60" fmla="*/ 39461 w 133"/>
                <a:gd name="T61" fmla="*/ 81405 h 154"/>
                <a:gd name="T62" fmla="*/ 35832 w 133"/>
                <a:gd name="T63" fmla="*/ 77035 h 154"/>
                <a:gd name="T64" fmla="*/ 32204 w 133"/>
                <a:gd name="T65" fmla="*/ 73210 h 154"/>
                <a:gd name="T66" fmla="*/ 29029 w 133"/>
                <a:gd name="T67" fmla="*/ 68839 h 154"/>
                <a:gd name="T68" fmla="*/ 26307 w 133"/>
                <a:gd name="T69" fmla="*/ 64469 h 154"/>
                <a:gd name="T70" fmla="*/ 24493 w 133"/>
                <a:gd name="T71" fmla="*/ 60644 h 154"/>
                <a:gd name="T72" fmla="*/ 24039 w 133"/>
                <a:gd name="T73" fmla="*/ 57366 h 154"/>
                <a:gd name="T74" fmla="*/ 24493 w 133"/>
                <a:gd name="T75" fmla="*/ 53542 h 154"/>
                <a:gd name="T76" fmla="*/ 25400 w 133"/>
                <a:gd name="T77" fmla="*/ 45347 h 154"/>
                <a:gd name="T78" fmla="*/ 26307 w 133"/>
                <a:gd name="T79" fmla="*/ 37151 h 154"/>
                <a:gd name="T80" fmla="*/ 26761 w 133"/>
                <a:gd name="T81" fmla="*/ 33873 h 154"/>
                <a:gd name="T82" fmla="*/ 21318 w 133"/>
                <a:gd name="T83" fmla="*/ 33327 h 154"/>
                <a:gd name="T84" fmla="*/ 16329 w 133"/>
                <a:gd name="T85" fmla="*/ 32234 h 154"/>
                <a:gd name="T86" fmla="*/ 11339 w 133"/>
                <a:gd name="T87" fmla="*/ 30595 h 154"/>
                <a:gd name="T88" fmla="*/ 7711 w 133"/>
                <a:gd name="T89" fmla="*/ 28410 h 154"/>
                <a:gd name="T90" fmla="*/ 5896 w 133"/>
                <a:gd name="T91" fmla="*/ 26771 h 154"/>
                <a:gd name="T92" fmla="*/ 4536 w 133"/>
                <a:gd name="T93" fmla="*/ 25132 h 154"/>
                <a:gd name="T94" fmla="*/ 3175 w 133"/>
                <a:gd name="T95" fmla="*/ 23493 h 154"/>
                <a:gd name="T96" fmla="*/ 1814 w 133"/>
                <a:gd name="T97" fmla="*/ 21307 h 154"/>
                <a:gd name="T98" fmla="*/ 907 w 133"/>
                <a:gd name="T99" fmla="*/ 18576 h 154"/>
                <a:gd name="T100" fmla="*/ 454 w 133"/>
                <a:gd name="T101" fmla="*/ 15844 h 154"/>
                <a:gd name="T102" fmla="*/ 0 w 133"/>
                <a:gd name="T103" fmla="*/ 13112 h 154"/>
                <a:gd name="T104" fmla="*/ 0 w 133"/>
                <a:gd name="T105" fmla="*/ 9834 h 154"/>
                <a:gd name="T106" fmla="*/ 3175 w 133"/>
                <a:gd name="T107" fmla="*/ 8195 h 154"/>
                <a:gd name="T108" fmla="*/ 9071 w 133"/>
                <a:gd name="T109" fmla="*/ 6556 h 15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28" name="Freeform 485">
              <a:extLst>
                <a:ext uri="{FF2B5EF4-FFF2-40B4-BE49-F238E27FC236}">
                  <a16:creationId xmlns:a16="http://schemas.microsoft.com/office/drawing/2014/main" id="{F41010AB-BD31-447B-B70C-E3541410593A}"/>
                </a:ext>
              </a:extLst>
            </p:cNvPr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8628063" y="2341564"/>
              <a:ext cx="209550" cy="244475"/>
            </a:xfrm>
            <a:custGeom>
              <a:avLst/>
              <a:gdLst>
                <a:gd name="T0" fmla="*/ 57896 w 485"/>
                <a:gd name="T1" fmla="*/ 183356 h 468"/>
                <a:gd name="T2" fmla="*/ 72154 w 485"/>
                <a:gd name="T3" fmla="*/ 177088 h 468"/>
                <a:gd name="T4" fmla="*/ 86412 w 485"/>
                <a:gd name="T5" fmla="*/ 177088 h 468"/>
                <a:gd name="T6" fmla="*/ 97646 w 485"/>
                <a:gd name="T7" fmla="*/ 181789 h 468"/>
                <a:gd name="T8" fmla="*/ 96782 w 485"/>
                <a:gd name="T9" fmla="*/ 170819 h 468"/>
                <a:gd name="T10" fmla="*/ 95054 w 485"/>
                <a:gd name="T11" fmla="*/ 165073 h 468"/>
                <a:gd name="T12" fmla="*/ 100670 w 485"/>
                <a:gd name="T13" fmla="*/ 158282 h 468"/>
                <a:gd name="T14" fmla="*/ 103263 w 485"/>
                <a:gd name="T15" fmla="*/ 144178 h 468"/>
                <a:gd name="T16" fmla="*/ 104559 w 485"/>
                <a:gd name="T17" fmla="*/ 128506 h 468"/>
                <a:gd name="T18" fmla="*/ 115793 w 485"/>
                <a:gd name="T19" fmla="*/ 133208 h 468"/>
                <a:gd name="T20" fmla="*/ 129619 w 485"/>
                <a:gd name="T21" fmla="*/ 124327 h 468"/>
                <a:gd name="T22" fmla="*/ 136532 w 485"/>
                <a:gd name="T23" fmla="*/ 113357 h 468"/>
                <a:gd name="T24" fmla="*/ 126594 w 485"/>
                <a:gd name="T25" fmla="*/ 101342 h 468"/>
                <a:gd name="T26" fmla="*/ 137396 w 485"/>
                <a:gd name="T27" fmla="*/ 103954 h 468"/>
                <a:gd name="T28" fmla="*/ 148197 w 485"/>
                <a:gd name="T29" fmla="*/ 105521 h 468"/>
                <a:gd name="T30" fmla="*/ 149493 w 485"/>
                <a:gd name="T31" fmla="*/ 96641 h 468"/>
                <a:gd name="T32" fmla="*/ 127458 w 485"/>
                <a:gd name="T33" fmla="*/ 50149 h 468"/>
                <a:gd name="T34" fmla="*/ 123138 w 485"/>
                <a:gd name="T35" fmla="*/ 27686 h 468"/>
                <a:gd name="T36" fmla="*/ 125730 w 485"/>
                <a:gd name="T37" fmla="*/ 9925 h 468"/>
                <a:gd name="T38" fmla="*/ 136532 w 485"/>
                <a:gd name="T39" fmla="*/ 522 h 468"/>
                <a:gd name="T40" fmla="*/ 145173 w 485"/>
                <a:gd name="T41" fmla="*/ 9403 h 468"/>
                <a:gd name="T42" fmla="*/ 162887 w 485"/>
                <a:gd name="T43" fmla="*/ 23507 h 468"/>
                <a:gd name="T44" fmla="*/ 179306 w 485"/>
                <a:gd name="T45" fmla="*/ 37612 h 468"/>
                <a:gd name="T46" fmla="*/ 184058 w 485"/>
                <a:gd name="T47" fmla="*/ 51193 h 468"/>
                <a:gd name="T48" fmla="*/ 188379 w 485"/>
                <a:gd name="T49" fmla="*/ 71566 h 468"/>
                <a:gd name="T50" fmla="*/ 192268 w 485"/>
                <a:gd name="T51" fmla="*/ 90372 h 468"/>
                <a:gd name="T52" fmla="*/ 184922 w 485"/>
                <a:gd name="T53" fmla="*/ 93506 h 468"/>
                <a:gd name="T54" fmla="*/ 178009 w 485"/>
                <a:gd name="T55" fmla="*/ 96641 h 468"/>
                <a:gd name="T56" fmla="*/ 184058 w 485"/>
                <a:gd name="T57" fmla="*/ 103954 h 468"/>
                <a:gd name="T58" fmla="*/ 192268 w 485"/>
                <a:gd name="T59" fmla="*/ 106044 h 468"/>
                <a:gd name="T60" fmla="*/ 196588 w 485"/>
                <a:gd name="T61" fmla="*/ 136864 h 468"/>
                <a:gd name="T62" fmla="*/ 205229 w 485"/>
                <a:gd name="T63" fmla="*/ 162983 h 468"/>
                <a:gd name="T64" fmla="*/ 207390 w 485"/>
                <a:gd name="T65" fmla="*/ 199028 h 468"/>
                <a:gd name="T66" fmla="*/ 200045 w 485"/>
                <a:gd name="T67" fmla="*/ 190147 h 468"/>
                <a:gd name="T68" fmla="*/ 195724 w 485"/>
                <a:gd name="T69" fmla="*/ 185968 h 468"/>
                <a:gd name="T70" fmla="*/ 188379 w 485"/>
                <a:gd name="T71" fmla="*/ 189625 h 468"/>
                <a:gd name="T72" fmla="*/ 185355 w 485"/>
                <a:gd name="T73" fmla="*/ 208431 h 468"/>
                <a:gd name="T74" fmla="*/ 176281 w 485"/>
                <a:gd name="T75" fmla="*/ 203207 h 468"/>
                <a:gd name="T76" fmla="*/ 168072 w 485"/>
                <a:gd name="T77" fmla="*/ 199550 h 468"/>
                <a:gd name="T78" fmla="*/ 162455 w 485"/>
                <a:gd name="T79" fmla="*/ 209998 h 468"/>
                <a:gd name="T80" fmla="*/ 149061 w 485"/>
                <a:gd name="T81" fmla="*/ 215744 h 468"/>
                <a:gd name="T82" fmla="*/ 144309 w 485"/>
                <a:gd name="T83" fmla="*/ 208953 h 468"/>
                <a:gd name="T84" fmla="*/ 134803 w 485"/>
                <a:gd name="T85" fmla="*/ 206341 h 468"/>
                <a:gd name="T86" fmla="*/ 130915 w 485"/>
                <a:gd name="T87" fmla="*/ 222535 h 468"/>
                <a:gd name="T88" fmla="*/ 129186 w 485"/>
                <a:gd name="T89" fmla="*/ 235072 h 468"/>
                <a:gd name="T90" fmla="*/ 132643 w 485"/>
                <a:gd name="T91" fmla="*/ 243430 h 468"/>
                <a:gd name="T92" fmla="*/ 117521 w 485"/>
                <a:gd name="T93" fmla="*/ 244475 h 468"/>
                <a:gd name="T94" fmla="*/ 111472 w 485"/>
                <a:gd name="T95" fmla="*/ 242908 h 468"/>
                <a:gd name="T96" fmla="*/ 105423 w 485"/>
                <a:gd name="T97" fmla="*/ 229848 h 468"/>
                <a:gd name="T98" fmla="*/ 98942 w 485"/>
                <a:gd name="T99" fmla="*/ 218356 h 468"/>
                <a:gd name="T100" fmla="*/ 88141 w 485"/>
                <a:gd name="T101" fmla="*/ 212087 h 468"/>
                <a:gd name="T102" fmla="*/ 82092 w 485"/>
                <a:gd name="T103" fmla="*/ 205819 h 468"/>
                <a:gd name="T104" fmla="*/ 58760 w 485"/>
                <a:gd name="T105" fmla="*/ 217833 h 468"/>
                <a:gd name="T106" fmla="*/ 38886 w 485"/>
                <a:gd name="T107" fmla="*/ 227236 h 468"/>
                <a:gd name="T108" fmla="*/ 28084 w 485"/>
                <a:gd name="T109" fmla="*/ 239774 h 468"/>
                <a:gd name="T110" fmla="*/ 11666 w 485"/>
                <a:gd name="T111" fmla="*/ 240818 h 468"/>
                <a:gd name="T112" fmla="*/ 3024 w 485"/>
                <a:gd name="T113" fmla="*/ 228804 h 468"/>
                <a:gd name="T114" fmla="*/ 0 w 485"/>
                <a:gd name="T115" fmla="*/ 217833 h 468"/>
                <a:gd name="T116" fmla="*/ 3024 w 485"/>
                <a:gd name="T117" fmla="*/ 215744 h 468"/>
                <a:gd name="T118" fmla="*/ 11666 w 485"/>
                <a:gd name="T119" fmla="*/ 216266 h 468"/>
                <a:gd name="T120" fmla="*/ 20739 w 485"/>
                <a:gd name="T121" fmla="*/ 211565 h 468"/>
                <a:gd name="T122" fmla="*/ 31108 w 485"/>
                <a:gd name="T123" fmla="*/ 192759 h 468"/>
                <a:gd name="T124" fmla="*/ 40182 w 485"/>
                <a:gd name="T125" fmla="*/ 183879 h 46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29" name="Freeform 486">
              <a:extLst>
                <a:ext uri="{FF2B5EF4-FFF2-40B4-BE49-F238E27FC236}">
                  <a16:creationId xmlns:a16="http://schemas.microsoft.com/office/drawing/2014/main" id="{7C791921-D06C-49E9-BB09-BA00CF2F3218}"/>
                </a:ext>
              </a:extLst>
            </p:cNvPr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6211888" y="1231901"/>
              <a:ext cx="107950" cy="60325"/>
            </a:xfrm>
            <a:custGeom>
              <a:avLst/>
              <a:gdLst>
                <a:gd name="T0" fmla="*/ 11848 w 246"/>
                <a:gd name="T1" fmla="*/ 51707 h 42"/>
                <a:gd name="T2" fmla="*/ 15798 w 246"/>
                <a:gd name="T3" fmla="*/ 51707 h 42"/>
                <a:gd name="T4" fmla="*/ 19747 w 246"/>
                <a:gd name="T5" fmla="*/ 50271 h 42"/>
                <a:gd name="T6" fmla="*/ 23258 w 246"/>
                <a:gd name="T7" fmla="*/ 47398 h 42"/>
                <a:gd name="T8" fmla="*/ 25890 w 246"/>
                <a:gd name="T9" fmla="*/ 44526 h 42"/>
                <a:gd name="T10" fmla="*/ 28962 w 246"/>
                <a:gd name="T11" fmla="*/ 43089 h 42"/>
                <a:gd name="T12" fmla="*/ 31595 w 246"/>
                <a:gd name="T13" fmla="*/ 41653 h 42"/>
                <a:gd name="T14" fmla="*/ 35106 w 246"/>
                <a:gd name="T15" fmla="*/ 41653 h 42"/>
                <a:gd name="T16" fmla="*/ 38177 w 246"/>
                <a:gd name="T17" fmla="*/ 43089 h 42"/>
                <a:gd name="T18" fmla="*/ 38177 w 246"/>
                <a:gd name="T19" fmla="*/ 60325 h 42"/>
                <a:gd name="T20" fmla="*/ 67578 w 246"/>
                <a:gd name="T21" fmla="*/ 60325 h 42"/>
                <a:gd name="T22" fmla="*/ 67578 w 246"/>
                <a:gd name="T23" fmla="*/ 56016 h 42"/>
                <a:gd name="T24" fmla="*/ 68456 w 246"/>
                <a:gd name="T25" fmla="*/ 51707 h 42"/>
                <a:gd name="T26" fmla="*/ 69773 w 246"/>
                <a:gd name="T27" fmla="*/ 47398 h 42"/>
                <a:gd name="T28" fmla="*/ 71528 w 246"/>
                <a:gd name="T29" fmla="*/ 44526 h 42"/>
                <a:gd name="T30" fmla="*/ 76794 w 246"/>
                <a:gd name="T31" fmla="*/ 37344 h 42"/>
                <a:gd name="T32" fmla="*/ 83376 w 246"/>
                <a:gd name="T33" fmla="*/ 33035 h 42"/>
                <a:gd name="T34" fmla="*/ 96979 w 246"/>
                <a:gd name="T35" fmla="*/ 24417 h 42"/>
                <a:gd name="T36" fmla="*/ 107950 w 246"/>
                <a:gd name="T37" fmla="*/ 17236 h 42"/>
                <a:gd name="T38" fmla="*/ 93030 w 246"/>
                <a:gd name="T39" fmla="*/ 18672 h 42"/>
                <a:gd name="T40" fmla="*/ 81621 w 246"/>
                <a:gd name="T41" fmla="*/ 20108 h 42"/>
                <a:gd name="T42" fmla="*/ 78110 w 246"/>
                <a:gd name="T43" fmla="*/ 21545 h 42"/>
                <a:gd name="T44" fmla="*/ 75038 w 246"/>
                <a:gd name="T45" fmla="*/ 21545 h 42"/>
                <a:gd name="T46" fmla="*/ 73722 w 246"/>
                <a:gd name="T47" fmla="*/ 20108 h 42"/>
                <a:gd name="T48" fmla="*/ 73283 w 246"/>
                <a:gd name="T49" fmla="*/ 17236 h 42"/>
                <a:gd name="T50" fmla="*/ 69773 w 246"/>
                <a:gd name="T51" fmla="*/ 22981 h 42"/>
                <a:gd name="T52" fmla="*/ 66701 w 246"/>
                <a:gd name="T53" fmla="*/ 24417 h 42"/>
                <a:gd name="T54" fmla="*/ 64507 w 246"/>
                <a:gd name="T55" fmla="*/ 24417 h 42"/>
                <a:gd name="T56" fmla="*/ 61874 w 246"/>
                <a:gd name="T57" fmla="*/ 21545 h 42"/>
                <a:gd name="T58" fmla="*/ 60118 w 246"/>
                <a:gd name="T59" fmla="*/ 17236 h 42"/>
                <a:gd name="T60" fmla="*/ 58363 w 246"/>
                <a:gd name="T61" fmla="*/ 12927 h 42"/>
                <a:gd name="T62" fmla="*/ 56608 w 246"/>
                <a:gd name="T63" fmla="*/ 7182 h 42"/>
                <a:gd name="T64" fmla="*/ 55291 w 246"/>
                <a:gd name="T65" fmla="*/ 0 h 42"/>
                <a:gd name="T66" fmla="*/ 53097 w 246"/>
                <a:gd name="T67" fmla="*/ 2873 h 42"/>
                <a:gd name="T68" fmla="*/ 49587 w 246"/>
                <a:gd name="T69" fmla="*/ 5745 h 42"/>
                <a:gd name="T70" fmla="*/ 45199 w 246"/>
                <a:gd name="T71" fmla="*/ 7182 h 42"/>
                <a:gd name="T72" fmla="*/ 40810 w 246"/>
                <a:gd name="T73" fmla="*/ 7182 h 42"/>
                <a:gd name="T74" fmla="*/ 32473 w 246"/>
                <a:gd name="T75" fmla="*/ 8618 h 42"/>
                <a:gd name="T76" fmla="*/ 26329 w 246"/>
                <a:gd name="T77" fmla="*/ 8618 h 42"/>
                <a:gd name="T78" fmla="*/ 25452 w 246"/>
                <a:gd name="T79" fmla="*/ 12927 h 42"/>
                <a:gd name="T80" fmla="*/ 24574 w 246"/>
                <a:gd name="T81" fmla="*/ 17236 h 42"/>
                <a:gd name="T82" fmla="*/ 23696 w 246"/>
                <a:gd name="T83" fmla="*/ 21545 h 42"/>
                <a:gd name="T84" fmla="*/ 21941 w 246"/>
                <a:gd name="T85" fmla="*/ 24417 h 42"/>
                <a:gd name="T86" fmla="*/ 18430 w 246"/>
                <a:gd name="T87" fmla="*/ 28726 h 42"/>
                <a:gd name="T88" fmla="*/ 14481 w 246"/>
                <a:gd name="T89" fmla="*/ 31599 h 42"/>
                <a:gd name="T90" fmla="*/ 6143 w 246"/>
                <a:gd name="T91" fmla="*/ 34471 h 42"/>
                <a:gd name="T92" fmla="*/ 0 w 246"/>
                <a:gd name="T93" fmla="*/ 34471 h 42"/>
                <a:gd name="T94" fmla="*/ 439 w 246"/>
                <a:gd name="T95" fmla="*/ 38780 h 42"/>
                <a:gd name="T96" fmla="*/ 1316 w 246"/>
                <a:gd name="T97" fmla="*/ 41653 h 42"/>
                <a:gd name="T98" fmla="*/ 2194 w 246"/>
                <a:gd name="T99" fmla="*/ 44526 h 42"/>
                <a:gd name="T100" fmla="*/ 3949 w 246"/>
                <a:gd name="T101" fmla="*/ 47398 h 42"/>
                <a:gd name="T102" fmla="*/ 7460 w 246"/>
                <a:gd name="T103" fmla="*/ 50271 h 42"/>
                <a:gd name="T104" fmla="*/ 11848 w 246"/>
                <a:gd name="T105" fmla="*/ 5170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0" name="Freeform 487">
              <a:extLst>
                <a:ext uri="{FF2B5EF4-FFF2-40B4-BE49-F238E27FC236}">
                  <a16:creationId xmlns:a16="http://schemas.microsoft.com/office/drawing/2014/main" id="{E2F76E7C-FC97-44CD-8420-8CD4D3808F92}"/>
                </a:ext>
              </a:extLst>
            </p:cNvPr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6354763" y="1214438"/>
              <a:ext cx="63500" cy="57150"/>
            </a:xfrm>
            <a:custGeom>
              <a:avLst/>
              <a:gdLst>
                <a:gd name="T0" fmla="*/ 43896 w 149"/>
                <a:gd name="T1" fmla="*/ 0 h 61"/>
                <a:gd name="T2" fmla="*/ 50289 w 149"/>
                <a:gd name="T3" fmla="*/ 937 h 61"/>
                <a:gd name="T4" fmla="*/ 57107 w 149"/>
                <a:gd name="T5" fmla="*/ 2811 h 61"/>
                <a:gd name="T6" fmla="*/ 61795 w 149"/>
                <a:gd name="T7" fmla="*/ 4684 h 61"/>
                <a:gd name="T8" fmla="*/ 63500 w 149"/>
                <a:gd name="T9" fmla="*/ 5621 h 61"/>
                <a:gd name="T10" fmla="*/ 63500 w 149"/>
                <a:gd name="T11" fmla="*/ 7495 h 61"/>
                <a:gd name="T12" fmla="*/ 62648 w 149"/>
                <a:gd name="T13" fmla="*/ 9369 h 61"/>
                <a:gd name="T14" fmla="*/ 61795 w 149"/>
                <a:gd name="T15" fmla="*/ 11243 h 61"/>
                <a:gd name="T16" fmla="*/ 60091 w 149"/>
                <a:gd name="T17" fmla="*/ 12180 h 61"/>
                <a:gd name="T18" fmla="*/ 58386 w 149"/>
                <a:gd name="T19" fmla="*/ 13116 h 61"/>
                <a:gd name="T20" fmla="*/ 56255 w 149"/>
                <a:gd name="T21" fmla="*/ 13116 h 61"/>
                <a:gd name="T22" fmla="*/ 54124 w 149"/>
                <a:gd name="T23" fmla="*/ 13116 h 61"/>
                <a:gd name="T24" fmla="*/ 52419 w 149"/>
                <a:gd name="T25" fmla="*/ 11243 h 61"/>
                <a:gd name="T26" fmla="*/ 52419 w 149"/>
                <a:gd name="T27" fmla="*/ 21548 h 61"/>
                <a:gd name="T28" fmla="*/ 52419 w 149"/>
                <a:gd name="T29" fmla="*/ 30917 h 61"/>
                <a:gd name="T30" fmla="*/ 52419 w 149"/>
                <a:gd name="T31" fmla="*/ 38412 h 61"/>
                <a:gd name="T32" fmla="*/ 52419 w 149"/>
                <a:gd name="T33" fmla="*/ 45907 h 61"/>
                <a:gd name="T34" fmla="*/ 49436 w 149"/>
                <a:gd name="T35" fmla="*/ 46844 h 61"/>
                <a:gd name="T36" fmla="*/ 46453 w 149"/>
                <a:gd name="T37" fmla="*/ 47781 h 61"/>
                <a:gd name="T38" fmla="*/ 44322 w 149"/>
                <a:gd name="T39" fmla="*/ 49655 h 61"/>
                <a:gd name="T40" fmla="*/ 42617 w 149"/>
                <a:gd name="T41" fmla="*/ 51529 h 61"/>
                <a:gd name="T42" fmla="*/ 40060 w 149"/>
                <a:gd name="T43" fmla="*/ 53402 h 61"/>
                <a:gd name="T44" fmla="*/ 37930 w 149"/>
                <a:gd name="T45" fmla="*/ 55276 h 61"/>
                <a:gd name="T46" fmla="*/ 35372 w 149"/>
                <a:gd name="T47" fmla="*/ 57150 h 61"/>
                <a:gd name="T48" fmla="*/ 32389 w 149"/>
                <a:gd name="T49" fmla="*/ 57150 h 61"/>
                <a:gd name="T50" fmla="*/ 28554 w 149"/>
                <a:gd name="T51" fmla="*/ 56213 h 61"/>
                <a:gd name="T52" fmla="*/ 22587 w 149"/>
                <a:gd name="T53" fmla="*/ 53402 h 61"/>
                <a:gd name="T54" fmla="*/ 16621 w 149"/>
                <a:gd name="T55" fmla="*/ 50592 h 61"/>
                <a:gd name="T56" fmla="*/ 10654 w 149"/>
                <a:gd name="T57" fmla="*/ 45907 h 61"/>
                <a:gd name="T58" fmla="*/ 5114 w 149"/>
                <a:gd name="T59" fmla="*/ 42160 h 61"/>
                <a:gd name="T60" fmla="*/ 1279 w 149"/>
                <a:gd name="T61" fmla="*/ 38412 h 61"/>
                <a:gd name="T62" fmla="*/ 426 w 149"/>
                <a:gd name="T63" fmla="*/ 36539 h 61"/>
                <a:gd name="T64" fmla="*/ 0 w 149"/>
                <a:gd name="T65" fmla="*/ 35602 h 61"/>
                <a:gd name="T66" fmla="*/ 0 w 149"/>
                <a:gd name="T67" fmla="*/ 34665 h 61"/>
                <a:gd name="T68" fmla="*/ 1279 w 149"/>
                <a:gd name="T69" fmla="*/ 34665 h 61"/>
                <a:gd name="T70" fmla="*/ 8097 w 149"/>
                <a:gd name="T71" fmla="*/ 33728 h 61"/>
                <a:gd name="T72" fmla="*/ 14916 w 149"/>
                <a:gd name="T73" fmla="*/ 32791 h 61"/>
                <a:gd name="T74" fmla="*/ 20456 w 149"/>
                <a:gd name="T75" fmla="*/ 29980 h 61"/>
                <a:gd name="T76" fmla="*/ 25570 w 149"/>
                <a:gd name="T77" fmla="*/ 25296 h 61"/>
                <a:gd name="T78" fmla="*/ 30685 w 149"/>
                <a:gd name="T79" fmla="*/ 20611 h 61"/>
                <a:gd name="T80" fmla="*/ 34946 w 149"/>
                <a:gd name="T81" fmla="*/ 14990 h 61"/>
                <a:gd name="T82" fmla="*/ 39634 w 149"/>
                <a:gd name="T83" fmla="*/ 7495 h 61"/>
                <a:gd name="T84" fmla="*/ 43896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1" name="Freeform 488">
              <a:extLst>
                <a:ext uri="{FF2B5EF4-FFF2-40B4-BE49-F238E27FC236}">
                  <a16:creationId xmlns:a16="http://schemas.microsoft.com/office/drawing/2014/main" id="{25FD37D7-54D0-42B8-AFB4-ED29BF58240B}"/>
                </a:ext>
              </a:extLst>
            </p:cNvPr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6391276" y="1222375"/>
              <a:ext cx="130175" cy="57150"/>
            </a:xfrm>
            <a:custGeom>
              <a:avLst/>
              <a:gdLst>
                <a:gd name="T0" fmla="*/ 57904 w 299"/>
                <a:gd name="T1" fmla="*/ 55605 h 74"/>
                <a:gd name="T2" fmla="*/ 67047 w 299"/>
                <a:gd name="T3" fmla="*/ 50199 h 74"/>
                <a:gd name="T4" fmla="*/ 77495 w 299"/>
                <a:gd name="T5" fmla="*/ 41704 h 74"/>
                <a:gd name="T6" fmla="*/ 86638 w 299"/>
                <a:gd name="T7" fmla="*/ 32436 h 74"/>
                <a:gd name="T8" fmla="*/ 90121 w 299"/>
                <a:gd name="T9" fmla="*/ 30892 h 74"/>
                <a:gd name="T10" fmla="*/ 91863 w 299"/>
                <a:gd name="T11" fmla="*/ 35526 h 74"/>
                <a:gd name="T12" fmla="*/ 95781 w 299"/>
                <a:gd name="T13" fmla="*/ 39387 h 74"/>
                <a:gd name="T14" fmla="*/ 105794 w 299"/>
                <a:gd name="T15" fmla="*/ 42476 h 74"/>
                <a:gd name="T16" fmla="*/ 117114 w 299"/>
                <a:gd name="T17" fmla="*/ 42476 h 74"/>
                <a:gd name="T18" fmla="*/ 124515 w 299"/>
                <a:gd name="T19" fmla="*/ 42476 h 74"/>
                <a:gd name="T20" fmla="*/ 127563 w 299"/>
                <a:gd name="T21" fmla="*/ 35526 h 74"/>
                <a:gd name="T22" fmla="*/ 129740 w 299"/>
                <a:gd name="T23" fmla="*/ 23941 h 74"/>
                <a:gd name="T24" fmla="*/ 121468 w 299"/>
                <a:gd name="T25" fmla="*/ 19307 h 74"/>
                <a:gd name="T26" fmla="*/ 106230 w 299"/>
                <a:gd name="T27" fmla="*/ 19307 h 74"/>
                <a:gd name="T28" fmla="*/ 97958 w 299"/>
                <a:gd name="T29" fmla="*/ 19307 h 74"/>
                <a:gd name="T30" fmla="*/ 93169 w 299"/>
                <a:gd name="T31" fmla="*/ 20852 h 74"/>
                <a:gd name="T32" fmla="*/ 88815 w 299"/>
                <a:gd name="T33" fmla="*/ 25486 h 74"/>
                <a:gd name="T34" fmla="*/ 74883 w 299"/>
                <a:gd name="T35" fmla="*/ 28575 h 74"/>
                <a:gd name="T36" fmla="*/ 76625 w 299"/>
                <a:gd name="T37" fmla="*/ 21624 h 74"/>
                <a:gd name="T38" fmla="*/ 78366 w 299"/>
                <a:gd name="T39" fmla="*/ 16218 h 74"/>
                <a:gd name="T40" fmla="*/ 84461 w 299"/>
                <a:gd name="T41" fmla="*/ 10040 h 74"/>
                <a:gd name="T42" fmla="*/ 91427 w 299"/>
                <a:gd name="T43" fmla="*/ 6951 h 74"/>
                <a:gd name="T44" fmla="*/ 97958 w 299"/>
                <a:gd name="T45" fmla="*/ 0 h 74"/>
                <a:gd name="T46" fmla="*/ 80543 w 299"/>
                <a:gd name="T47" fmla="*/ 2317 h 74"/>
                <a:gd name="T48" fmla="*/ 68353 w 299"/>
                <a:gd name="T49" fmla="*/ 8495 h 74"/>
                <a:gd name="T50" fmla="*/ 58339 w 299"/>
                <a:gd name="T51" fmla="*/ 19307 h 74"/>
                <a:gd name="T52" fmla="*/ 49632 w 299"/>
                <a:gd name="T53" fmla="*/ 30892 h 74"/>
                <a:gd name="T54" fmla="*/ 43537 w 299"/>
                <a:gd name="T55" fmla="*/ 40932 h 74"/>
                <a:gd name="T56" fmla="*/ 37877 w 299"/>
                <a:gd name="T57" fmla="*/ 45566 h 74"/>
                <a:gd name="T58" fmla="*/ 27864 w 299"/>
                <a:gd name="T59" fmla="*/ 48655 h 74"/>
                <a:gd name="T60" fmla="*/ 13932 w 299"/>
                <a:gd name="T61" fmla="*/ 49427 h 74"/>
                <a:gd name="T62" fmla="*/ 5224 w 299"/>
                <a:gd name="T63" fmla="*/ 51744 h 74"/>
                <a:gd name="T64" fmla="*/ 871 w 299"/>
                <a:gd name="T65" fmla="*/ 54061 h 74"/>
                <a:gd name="T66" fmla="*/ 16979 w 299"/>
                <a:gd name="T67" fmla="*/ 57150 h 74"/>
                <a:gd name="T68" fmla="*/ 44408 w 299"/>
                <a:gd name="T69" fmla="*/ 57150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2" name="Freeform 489">
              <a:extLst>
                <a:ext uri="{FF2B5EF4-FFF2-40B4-BE49-F238E27FC236}">
                  <a16:creationId xmlns:a16="http://schemas.microsoft.com/office/drawing/2014/main" id="{59B236CD-142B-4E97-B537-32EFDBB99966}"/>
                </a:ext>
              </a:extLst>
            </p:cNvPr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6924676" y="1408113"/>
              <a:ext cx="41275" cy="57150"/>
            </a:xfrm>
            <a:custGeom>
              <a:avLst/>
              <a:gdLst>
                <a:gd name="T0" fmla="*/ 38386 w 100"/>
                <a:gd name="T1" fmla="*/ 0 h 42"/>
                <a:gd name="T2" fmla="*/ 40037 w 100"/>
                <a:gd name="T3" fmla="*/ 9525 h 42"/>
                <a:gd name="T4" fmla="*/ 41275 w 100"/>
                <a:gd name="T5" fmla="*/ 24493 h 42"/>
                <a:gd name="T6" fmla="*/ 37973 w 100"/>
                <a:gd name="T7" fmla="*/ 32657 h 42"/>
                <a:gd name="T8" fmla="*/ 35497 w 100"/>
                <a:gd name="T9" fmla="*/ 39461 h 42"/>
                <a:gd name="T10" fmla="*/ 32607 w 100"/>
                <a:gd name="T11" fmla="*/ 46264 h 42"/>
                <a:gd name="T12" fmla="*/ 29718 w 100"/>
                <a:gd name="T13" fmla="*/ 50346 h 42"/>
                <a:gd name="T14" fmla="*/ 26829 w 100"/>
                <a:gd name="T15" fmla="*/ 53068 h 42"/>
                <a:gd name="T16" fmla="*/ 23527 w 100"/>
                <a:gd name="T17" fmla="*/ 55789 h 42"/>
                <a:gd name="T18" fmla="*/ 20225 w 100"/>
                <a:gd name="T19" fmla="*/ 57150 h 42"/>
                <a:gd name="T20" fmla="*/ 16510 w 100"/>
                <a:gd name="T21" fmla="*/ 57150 h 42"/>
                <a:gd name="T22" fmla="*/ 11144 w 100"/>
                <a:gd name="T23" fmla="*/ 55789 h 42"/>
                <a:gd name="T24" fmla="*/ 4953 w 100"/>
                <a:gd name="T25" fmla="*/ 53068 h 42"/>
                <a:gd name="T26" fmla="*/ 413 w 100"/>
                <a:gd name="T27" fmla="*/ 50346 h 42"/>
                <a:gd name="T28" fmla="*/ 0 w 100"/>
                <a:gd name="T29" fmla="*/ 48986 h 42"/>
                <a:gd name="T30" fmla="*/ 2477 w 100"/>
                <a:gd name="T31" fmla="*/ 48986 h 42"/>
                <a:gd name="T32" fmla="*/ 4953 w 100"/>
                <a:gd name="T33" fmla="*/ 47625 h 42"/>
                <a:gd name="T34" fmla="*/ 7430 w 100"/>
                <a:gd name="T35" fmla="*/ 44904 h 42"/>
                <a:gd name="T36" fmla="*/ 9493 w 100"/>
                <a:gd name="T37" fmla="*/ 40821 h 42"/>
                <a:gd name="T38" fmla="*/ 13621 w 100"/>
                <a:gd name="T39" fmla="*/ 34018 h 42"/>
                <a:gd name="T40" fmla="*/ 18161 w 100"/>
                <a:gd name="T41" fmla="*/ 24493 h 42"/>
                <a:gd name="T42" fmla="*/ 22701 w 100"/>
                <a:gd name="T43" fmla="*/ 14968 h 42"/>
                <a:gd name="T44" fmla="*/ 27242 w 100"/>
                <a:gd name="T45" fmla="*/ 6804 h 42"/>
                <a:gd name="T46" fmla="*/ 29718 w 100"/>
                <a:gd name="T47" fmla="*/ 4082 h 42"/>
                <a:gd name="T48" fmla="*/ 32607 w 100"/>
                <a:gd name="T49" fmla="*/ 1361 h 42"/>
                <a:gd name="T50" fmla="*/ 35497 w 100"/>
                <a:gd name="T51" fmla="*/ 0 h 42"/>
                <a:gd name="T52" fmla="*/ 38386 w 100"/>
                <a:gd name="T53" fmla="*/ 0 h 4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3" name="Freeform 490">
              <a:extLst>
                <a:ext uri="{FF2B5EF4-FFF2-40B4-BE49-F238E27FC236}">
                  <a16:creationId xmlns:a16="http://schemas.microsoft.com/office/drawing/2014/main" id="{64F4BDE4-A6E6-4B6F-940F-187CDF6EA3E9}"/>
                </a:ext>
              </a:extLst>
            </p:cNvPr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6834189" y="1266825"/>
              <a:ext cx="15875" cy="58738"/>
            </a:xfrm>
            <a:custGeom>
              <a:avLst/>
              <a:gdLst>
                <a:gd name="T0" fmla="*/ 15875 w 40"/>
                <a:gd name="T1" fmla="*/ 58738 h 5"/>
                <a:gd name="T2" fmla="*/ 0 w 40"/>
                <a:gd name="T3" fmla="*/ 58738 h 5"/>
                <a:gd name="T4" fmla="*/ 1984 w 40"/>
                <a:gd name="T5" fmla="*/ 35243 h 5"/>
                <a:gd name="T6" fmla="*/ 3572 w 40"/>
                <a:gd name="T7" fmla="*/ 11748 h 5"/>
                <a:gd name="T8" fmla="*/ 5953 w 40"/>
                <a:gd name="T9" fmla="*/ 0 h 5"/>
                <a:gd name="T10" fmla="*/ 7938 w 40"/>
                <a:gd name="T11" fmla="*/ 0 h 5"/>
                <a:gd name="T12" fmla="*/ 9922 w 40"/>
                <a:gd name="T13" fmla="*/ 0 h 5"/>
                <a:gd name="T14" fmla="*/ 11906 w 40"/>
                <a:gd name="T15" fmla="*/ 11748 h 5"/>
                <a:gd name="T16" fmla="*/ 13891 w 40"/>
                <a:gd name="T17" fmla="*/ 35243 h 5"/>
                <a:gd name="T18" fmla="*/ 15875 w 40"/>
                <a:gd name="T19" fmla="*/ 58738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4" name="Freeform 491">
              <a:extLst>
                <a:ext uri="{FF2B5EF4-FFF2-40B4-BE49-F238E27FC236}">
                  <a16:creationId xmlns:a16="http://schemas.microsoft.com/office/drawing/2014/main" id="{A43C6A14-20B9-4253-8673-7580B1430566}"/>
                </a:ext>
              </a:extLst>
            </p:cNvPr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6856414" y="1225551"/>
              <a:ext cx="14287" cy="60325"/>
            </a:xfrm>
            <a:custGeom>
              <a:avLst/>
              <a:gdLst>
                <a:gd name="T0" fmla="*/ 0 w 33"/>
                <a:gd name="T1" fmla="*/ 36973 h 31"/>
                <a:gd name="T2" fmla="*/ 8659 w 33"/>
                <a:gd name="T3" fmla="*/ 0 h 31"/>
                <a:gd name="T4" fmla="*/ 8659 w 33"/>
                <a:gd name="T5" fmla="*/ 7784 h 31"/>
                <a:gd name="T6" fmla="*/ 9525 w 33"/>
                <a:gd name="T7" fmla="*/ 19460 h 31"/>
                <a:gd name="T8" fmla="*/ 10823 w 33"/>
                <a:gd name="T9" fmla="*/ 27244 h 31"/>
                <a:gd name="T10" fmla="*/ 11689 w 33"/>
                <a:gd name="T11" fmla="*/ 35027 h 31"/>
                <a:gd name="T12" fmla="*/ 13421 w 33"/>
                <a:gd name="T13" fmla="*/ 50595 h 31"/>
                <a:gd name="T14" fmla="*/ 14287 w 33"/>
                <a:gd name="T15" fmla="*/ 60325 h 31"/>
                <a:gd name="T16" fmla="*/ 0 w 33"/>
                <a:gd name="T17" fmla="*/ 60325 h 31"/>
                <a:gd name="T18" fmla="*/ 0 w 33"/>
                <a:gd name="T19" fmla="*/ 48649 h 31"/>
                <a:gd name="T20" fmla="*/ 0 w 33"/>
                <a:gd name="T21" fmla="*/ 36973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5" name="Freeform 492">
              <a:extLst>
                <a:ext uri="{FF2B5EF4-FFF2-40B4-BE49-F238E27FC236}">
                  <a16:creationId xmlns:a16="http://schemas.microsoft.com/office/drawing/2014/main" id="{2CF6A85C-3F34-401F-9604-56C82F20D34A}"/>
                </a:ext>
              </a:extLst>
            </p:cNvPr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7000876" y="1341438"/>
              <a:ext cx="17463" cy="57150"/>
            </a:xfrm>
            <a:custGeom>
              <a:avLst/>
              <a:gdLst>
                <a:gd name="T0" fmla="*/ 17463 w 41"/>
                <a:gd name="T1" fmla="*/ 0 h 43"/>
                <a:gd name="T2" fmla="*/ 17463 w 41"/>
                <a:gd name="T3" fmla="*/ 57150 h 43"/>
                <a:gd name="T4" fmla="*/ 13204 w 41"/>
                <a:gd name="T5" fmla="*/ 55821 h 43"/>
                <a:gd name="T6" fmla="*/ 10222 w 41"/>
                <a:gd name="T7" fmla="*/ 53163 h 43"/>
                <a:gd name="T8" fmla="*/ 7667 w 41"/>
                <a:gd name="T9" fmla="*/ 49176 h 43"/>
                <a:gd name="T10" fmla="*/ 5537 w 41"/>
                <a:gd name="T11" fmla="*/ 43859 h 43"/>
                <a:gd name="T12" fmla="*/ 2130 w 41"/>
                <a:gd name="T13" fmla="*/ 33227 h 43"/>
                <a:gd name="T14" fmla="*/ 0 w 41"/>
                <a:gd name="T15" fmla="*/ 25252 h 43"/>
                <a:gd name="T16" fmla="*/ 5111 w 41"/>
                <a:gd name="T17" fmla="*/ 17278 h 43"/>
                <a:gd name="T18" fmla="*/ 10648 w 41"/>
                <a:gd name="T19" fmla="*/ 9303 h 43"/>
                <a:gd name="T20" fmla="*/ 15333 w 41"/>
                <a:gd name="T21" fmla="*/ 2658 h 43"/>
                <a:gd name="T22" fmla="*/ 17463 w 41"/>
                <a:gd name="T23" fmla="*/ 0 h 4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6" name="Freeform 493">
              <a:extLst>
                <a:ext uri="{FF2B5EF4-FFF2-40B4-BE49-F238E27FC236}">
                  <a16:creationId xmlns:a16="http://schemas.microsoft.com/office/drawing/2014/main" id="{C54C1645-5741-461B-B8B7-890C36FC3CAA}"/>
                </a:ext>
              </a:extLst>
            </p:cNvPr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7054851" y="1225551"/>
              <a:ext cx="93663" cy="60325"/>
            </a:xfrm>
            <a:custGeom>
              <a:avLst/>
              <a:gdLst>
                <a:gd name="T0" fmla="*/ 26824 w 213"/>
                <a:gd name="T1" fmla="*/ 0 h 62"/>
                <a:gd name="T2" fmla="*/ 36498 w 213"/>
                <a:gd name="T3" fmla="*/ 0 h 62"/>
                <a:gd name="T4" fmla="*/ 46172 w 213"/>
                <a:gd name="T5" fmla="*/ 973 h 62"/>
                <a:gd name="T6" fmla="*/ 55846 w 213"/>
                <a:gd name="T7" fmla="*/ 2919 h 62"/>
                <a:gd name="T8" fmla="*/ 64201 w 213"/>
                <a:gd name="T9" fmla="*/ 6811 h 62"/>
                <a:gd name="T10" fmla="*/ 72996 w 213"/>
                <a:gd name="T11" fmla="*/ 10703 h 62"/>
                <a:gd name="T12" fmla="*/ 80911 w 213"/>
                <a:gd name="T13" fmla="*/ 15568 h 62"/>
                <a:gd name="T14" fmla="*/ 83989 w 213"/>
                <a:gd name="T15" fmla="*/ 18487 h 62"/>
                <a:gd name="T16" fmla="*/ 87507 w 213"/>
                <a:gd name="T17" fmla="*/ 22379 h 62"/>
                <a:gd name="T18" fmla="*/ 91025 w 213"/>
                <a:gd name="T19" fmla="*/ 26271 h 62"/>
                <a:gd name="T20" fmla="*/ 93663 w 213"/>
                <a:gd name="T21" fmla="*/ 30163 h 62"/>
                <a:gd name="T22" fmla="*/ 92784 w 213"/>
                <a:gd name="T23" fmla="*/ 34054 h 62"/>
                <a:gd name="T24" fmla="*/ 91025 w 213"/>
                <a:gd name="T25" fmla="*/ 36973 h 62"/>
                <a:gd name="T26" fmla="*/ 88386 w 213"/>
                <a:gd name="T27" fmla="*/ 39892 h 62"/>
                <a:gd name="T28" fmla="*/ 85748 w 213"/>
                <a:gd name="T29" fmla="*/ 42811 h 62"/>
                <a:gd name="T30" fmla="*/ 77833 w 213"/>
                <a:gd name="T31" fmla="*/ 47676 h 62"/>
                <a:gd name="T32" fmla="*/ 68598 w 213"/>
                <a:gd name="T33" fmla="*/ 51568 h 62"/>
                <a:gd name="T34" fmla="*/ 59364 w 213"/>
                <a:gd name="T35" fmla="*/ 55460 h 62"/>
                <a:gd name="T36" fmla="*/ 50129 w 213"/>
                <a:gd name="T37" fmla="*/ 57406 h 62"/>
                <a:gd name="T38" fmla="*/ 41775 w 213"/>
                <a:gd name="T39" fmla="*/ 60325 h 62"/>
                <a:gd name="T40" fmla="*/ 35179 w 213"/>
                <a:gd name="T41" fmla="*/ 60325 h 62"/>
                <a:gd name="T42" fmla="*/ 27263 w 213"/>
                <a:gd name="T43" fmla="*/ 60325 h 62"/>
                <a:gd name="T44" fmla="*/ 18908 w 213"/>
                <a:gd name="T45" fmla="*/ 57406 h 62"/>
                <a:gd name="T46" fmla="*/ 14511 w 213"/>
                <a:gd name="T47" fmla="*/ 57406 h 62"/>
                <a:gd name="T48" fmla="*/ 10114 w 213"/>
                <a:gd name="T49" fmla="*/ 57406 h 62"/>
                <a:gd name="T50" fmla="*/ 5277 w 213"/>
                <a:gd name="T51" fmla="*/ 58379 h 62"/>
                <a:gd name="T52" fmla="*/ 0 w 213"/>
                <a:gd name="T53" fmla="*/ 60325 h 62"/>
                <a:gd name="T54" fmla="*/ 2638 w 213"/>
                <a:gd name="T55" fmla="*/ 48649 h 62"/>
                <a:gd name="T56" fmla="*/ 4837 w 213"/>
                <a:gd name="T57" fmla="*/ 37946 h 62"/>
                <a:gd name="T58" fmla="*/ 7475 w 213"/>
                <a:gd name="T59" fmla="*/ 28217 h 62"/>
                <a:gd name="T60" fmla="*/ 10114 w 213"/>
                <a:gd name="T61" fmla="*/ 19460 h 62"/>
                <a:gd name="T62" fmla="*/ 11873 w 213"/>
                <a:gd name="T63" fmla="*/ 15568 h 62"/>
                <a:gd name="T64" fmla="*/ 13192 w 213"/>
                <a:gd name="T65" fmla="*/ 11676 h 62"/>
                <a:gd name="T66" fmla="*/ 14951 w 213"/>
                <a:gd name="T67" fmla="*/ 8757 h 62"/>
                <a:gd name="T68" fmla="*/ 17150 w 213"/>
                <a:gd name="T69" fmla="*/ 5838 h 62"/>
                <a:gd name="T70" fmla="*/ 18908 w 213"/>
                <a:gd name="T71" fmla="*/ 2919 h 62"/>
                <a:gd name="T72" fmla="*/ 21547 w 213"/>
                <a:gd name="T73" fmla="*/ 973 h 62"/>
                <a:gd name="T74" fmla="*/ 23746 w 213"/>
                <a:gd name="T75" fmla="*/ 0 h 62"/>
                <a:gd name="T76" fmla="*/ 26824 w 213"/>
                <a:gd name="T77" fmla="*/ 0 h 6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7" name="Freeform 494">
              <a:extLst>
                <a:ext uri="{FF2B5EF4-FFF2-40B4-BE49-F238E27FC236}">
                  <a16:creationId xmlns:a16="http://schemas.microsoft.com/office/drawing/2014/main" id="{7A6B03A5-3A24-476A-91BE-69A489DDC220}"/>
                </a:ext>
              </a:extLst>
            </p:cNvPr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7115175" y="1250951"/>
              <a:ext cx="103188" cy="60325"/>
            </a:xfrm>
            <a:custGeom>
              <a:avLst/>
              <a:gdLst>
                <a:gd name="T0" fmla="*/ 17702 w 239"/>
                <a:gd name="T1" fmla="*/ 0 h 56"/>
                <a:gd name="T2" fmla="*/ 12952 w 239"/>
                <a:gd name="T3" fmla="*/ 3232 h 56"/>
                <a:gd name="T4" fmla="*/ 9930 w 239"/>
                <a:gd name="T5" fmla="*/ 5386 h 56"/>
                <a:gd name="T6" fmla="*/ 8203 w 239"/>
                <a:gd name="T7" fmla="*/ 7541 h 56"/>
                <a:gd name="T8" fmla="*/ 6476 w 239"/>
                <a:gd name="T9" fmla="*/ 9695 h 56"/>
                <a:gd name="T10" fmla="*/ 5613 w 239"/>
                <a:gd name="T11" fmla="*/ 14004 h 56"/>
                <a:gd name="T12" fmla="*/ 4317 w 239"/>
                <a:gd name="T13" fmla="*/ 16158 h 56"/>
                <a:gd name="T14" fmla="*/ 3022 w 239"/>
                <a:gd name="T15" fmla="*/ 18313 h 56"/>
                <a:gd name="T16" fmla="*/ 0 w 239"/>
                <a:gd name="T17" fmla="*/ 20467 h 56"/>
                <a:gd name="T18" fmla="*/ 863 w 239"/>
                <a:gd name="T19" fmla="*/ 25854 h 56"/>
                <a:gd name="T20" fmla="*/ 2159 w 239"/>
                <a:gd name="T21" fmla="*/ 29085 h 56"/>
                <a:gd name="T22" fmla="*/ 3022 w 239"/>
                <a:gd name="T23" fmla="*/ 32317 h 56"/>
                <a:gd name="T24" fmla="*/ 4317 w 239"/>
                <a:gd name="T25" fmla="*/ 35549 h 56"/>
                <a:gd name="T26" fmla="*/ 7340 w 239"/>
                <a:gd name="T27" fmla="*/ 38780 h 56"/>
                <a:gd name="T28" fmla="*/ 10362 w 239"/>
                <a:gd name="T29" fmla="*/ 40935 h 56"/>
                <a:gd name="T30" fmla="*/ 17702 w 239"/>
                <a:gd name="T31" fmla="*/ 40935 h 56"/>
                <a:gd name="T32" fmla="*/ 23314 w 239"/>
                <a:gd name="T33" fmla="*/ 40935 h 56"/>
                <a:gd name="T34" fmla="*/ 66058 w 239"/>
                <a:gd name="T35" fmla="*/ 40935 h 56"/>
                <a:gd name="T36" fmla="*/ 66921 w 239"/>
                <a:gd name="T37" fmla="*/ 44167 h 56"/>
                <a:gd name="T38" fmla="*/ 67353 w 239"/>
                <a:gd name="T39" fmla="*/ 47398 h 56"/>
                <a:gd name="T40" fmla="*/ 68648 w 239"/>
                <a:gd name="T41" fmla="*/ 49553 h 56"/>
                <a:gd name="T42" fmla="*/ 69943 w 239"/>
                <a:gd name="T43" fmla="*/ 51707 h 56"/>
                <a:gd name="T44" fmla="*/ 72102 w 239"/>
                <a:gd name="T45" fmla="*/ 54939 h 56"/>
                <a:gd name="T46" fmla="*/ 75124 w 239"/>
                <a:gd name="T47" fmla="*/ 58171 h 56"/>
                <a:gd name="T48" fmla="*/ 81169 w 239"/>
                <a:gd name="T49" fmla="*/ 60325 h 56"/>
                <a:gd name="T50" fmla="*/ 86350 w 239"/>
                <a:gd name="T51" fmla="*/ 60325 h 56"/>
                <a:gd name="T52" fmla="*/ 88077 w 239"/>
                <a:gd name="T53" fmla="*/ 59248 h 56"/>
                <a:gd name="T54" fmla="*/ 90667 w 239"/>
                <a:gd name="T55" fmla="*/ 58171 h 56"/>
                <a:gd name="T56" fmla="*/ 92394 w 239"/>
                <a:gd name="T57" fmla="*/ 56016 h 56"/>
                <a:gd name="T58" fmla="*/ 94985 w 239"/>
                <a:gd name="T59" fmla="*/ 52784 h 56"/>
                <a:gd name="T60" fmla="*/ 99302 w 239"/>
                <a:gd name="T61" fmla="*/ 46321 h 56"/>
                <a:gd name="T62" fmla="*/ 103188 w 239"/>
                <a:gd name="T63" fmla="*/ 40935 h 56"/>
                <a:gd name="T64" fmla="*/ 100166 w 239"/>
                <a:gd name="T65" fmla="*/ 39858 h 56"/>
                <a:gd name="T66" fmla="*/ 97144 w 239"/>
                <a:gd name="T67" fmla="*/ 38780 h 56"/>
                <a:gd name="T68" fmla="*/ 94553 w 239"/>
                <a:gd name="T69" fmla="*/ 36626 h 56"/>
                <a:gd name="T70" fmla="*/ 91963 w 239"/>
                <a:gd name="T71" fmla="*/ 34471 h 56"/>
                <a:gd name="T72" fmla="*/ 86782 w 239"/>
                <a:gd name="T73" fmla="*/ 28008 h 56"/>
                <a:gd name="T74" fmla="*/ 82032 w 239"/>
                <a:gd name="T75" fmla="*/ 20467 h 56"/>
                <a:gd name="T76" fmla="*/ 76851 w 239"/>
                <a:gd name="T77" fmla="*/ 14004 h 56"/>
                <a:gd name="T78" fmla="*/ 72102 w 239"/>
                <a:gd name="T79" fmla="*/ 6463 h 56"/>
                <a:gd name="T80" fmla="*/ 69080 w 239"/>
                <a:gd name="T81" fmla="*/ 4309 h 56"/>
                <a:gd name="T82" fmla="*/ 66489 w 239"/>
                <a:gd name="T83" fmla="*/ 2154 h 56"/>
                <a:gd name="T84" fmla="*/ 63467 w 239"/>
                <a:gd name="T85" fmla="*/ 1077 h 56"/>
                <a:gd name="T86" fmla="*/ 60445 w 239"/>
                <a:gd name="T87" fmla="*/ 0 h 56"/>
                <a:gd name="T88" fmla="*/ 57854 w 239"/>
                <a:gd name="T89" fmla="*/ 1077 h 56"/>
                <a:gd name="T90" fmla="*/ 54832 w 239"/>
                <a:gd name="T91" fmla="*/ 4309 h 56"/>
                <a:gd name="T92" fmla="*/ 53537 w 239"/>
                <a:gd name="T93" fmla="*/ 6463 h 56"/>
                <a:gd name="T94" fmla="*/ 52673 w 239"/>
                <a:gd name="T95" fmla="*/ 8618 h 56"/>
                <a:gd name="T96" fmla="*/ 52242 w 239"/>
                <a:gd name="T97" fmla="*/ 10772 h 56"/>
                <a:gd name="T98" fmla="*/ 51810 w 239"/>
                <a:gd name="T99" fmla="*/ 14004 h 56"/>
                <a:gd name="T100" fmla="*/ 43175 w 239"/>
                <a:gd name="T101" fmla="*/ 8618 h 56"/>
                <a:gd name="T102" fmla="*/ 34540 w 239"/>
                <a:gd name="T103" fmla="*/ 4309 h 56"/>
                <a:gd name="T104" fmla="*/ 26337 w 239"/>
                <a:gd name="T105" fmla="*/ 1077 h 56"/>
                <a:gd name="T106" fmla="*/ 17702 w 239"/>
                <a:gd name="T107" fmla="*/ 0 h 5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8" name="Freeform 495">
              <a:extLst>
                <a:ext uri="{FF2B5EF4-FFF2-40B4-BE49-F238E27FC236}">
                  <a16:creationId xmlns:a16="http://schemas.microsoft.com/office/drawing/2014/main" id="{F2532C31-6F43-4B42-BA60-A95887E531E9}"/>
                </a:ext>
              </a:extLst>
            </p:cNvPr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7232650" y="1265238"/>
              <a:ext cx="82550" cy="57150"/>
            </a:xfrm>
            <a:custGeom>
              <a:avLst/>
              <a:gdLst>
                <a:gd name="T0" fmla="*/ 6180 w 187"/>
                <a:gd name="T1" fmla="*/ 13573 h 80"/>
                <a:gd name="T2" fmla="*/ 18099 w 187"/>
                <a:gd name="T3" fmla="*/ 0 h 80"/>
                <a:gd name="T4" fmla="*/ 19424 w 187"/>
                <a:gd name="T5" fmla="*/ 2143 h 80"/>
                <a:gd name="T6" fmla="*/ 22072 w 187"/>
                <a:gd name="T7" fmla="*/ 4286 h 80"/>
                <a:gd name="T8" fmla="*/ 25604 w 187"/>
                <a:gd name="T9" fmla="*/ 6429 h 80"/>
                <a:gd name="T10" fmla="*/ 29577 w 187"/>
                <a:gd name="T11" fmla="*/ 8573 h 80"/>
                <a:gd name="T12" fmla="*/ 39289 w 187"/>
                <a:gd name="T13" fmla="*/ 13573 h 80"/>
                <a:gd name="T14" fmla="*/ 50325 w 187"/>
                <a:gd name="T15" fmla="*/ 18574 h 80"/>
                <a:gd name="T16" fmla="*/ 61361 w 187"/>
                <a:gd name="T17" fmla="*/ 23574 h 80"/>
                <a:gd name="T18" fmla="*/ 71072 w 187"/>
                <a:gd name="T19" fmla="*/ 27146 h 80"/>
                <a:gd name="T20" fmla="*/ 78136 w 187"/>
                <a:gd name="T21" fmla="*/ 30004 h 80"/>
                <a:gd name="T22" fmla="*/ 82550 w 187"/>
                <a:gd name="T23" fmla="*/ 30718 h 80"/>
                <a:gd name="T24" fmla="*/ 82550 w 187"/>
                <a:gd name="T25" fmla="*/ 40005 h 80"/>
                <a:gd name="T26" fmla="*/ 82550 w 187"/>
                <a:gd name="T27" fmla="*/ 48578 h 80"/>
                <a:gd name="T28" fmla="*/ 75045 w 187"/>
                <a:gd name="T29" fmla="*/ 50006 h 80"/>
                <a:gd name="T30" fmla="*/ 66658 w 187"/>
                <a:gd name="T31" fmla="*/ 50721 h 80"/>
                <a:gd name="T32" fmla="*/ 58712 w 187"/>
                <a:gd name="T33" fmla="*/ 50721 h 80"/>
                <a:gd name="T34" fmla="*/ 51207 w 187"/>
                <a:gd name="T35" fmla="*/ 50006 h 80"/>
                <a:gd name="T36" fmla="*/ 37523 w 187"/>
                <a:gd name="T37" fmla="*/ 49292 h 80"/>
                <a:gd name="T38" fmla="*/ 26928 w 187"/>
                <a:gd name="T39" fmla="*/ 48578 h 80"/>
                <a:gd name="T40" fmla="*/ 24279 w 187"/>
                <a:gd name="T41" fmla="*/ 49292 h 80"/>
                <a:gd name="T42" fmla="*/ 22514 w 187"/>
                <a:gd name="T43" fmla="*/ 50006 h 80"/>
                <a:gd name="T44" fmla="*/ 19865 w 187"/>
                <a:gd name="T45" fmla="*/ 51435 h 80"/>
                <a:gd name="T46" fmla="*/ 18099 w 187"/>
                <a:gd name="T47" fmla="*/ 52864 h 80"/>
                <a:gd name="T48" fmla="*/ 14568 w 187"/>
                <a:gd name="T49" fmla="*/ 55721 h 80"/>
                <a:gd name="T50" fmla="*/ 12360 w 187"/>
                <a:gd name="T51" fmla="*/ 57150 h 80"/>
                <a:gd name="T52" fmla="*/ 9712 w 187"/>
                <a:gd name="T53" fmla="*/ 56436 h 80"/>
                <a:gd name="T54" fmla="*/ 7946 w 187"/>
                <a:gd name="T55" fmla="*/ 54293 h 80"/>
                <a:gd name="T56" fmla="*/ 6180 w 187"/>
                <a:gd name="T57" fmla="*/ 51435 h 80"/>
                <a:gd name="T58" fmla="*/ 3973 w 187"/>
                <a:gd name="T59" fmla="*/ 47863 h 80"/>
                <a:gd name="T60" fmla="*/ 2649 w 187"/>
                <a:gd name="T61" fmla="*/ 44291 h 80"/>
                <a:gd name="T62" fmla="*/ 1324 w 187"/>
                <a:gd name="T63" fmla="*/ 40719 h 80"/>
                <a:gd name="T64" fmla="*/ 883 w 187"/>
                <a:gd name="T65" fmla="*/ 37862 h 80"/>
                <a:gd name="T66" fmla="*/ 0 w 187"/>
                <a:gd name="T67" fmla="*/ 35719 h 80"/>
                <a:gd name="T68" fmla="*/ 883 w 187"/>
                <a:gd name="T69" fmla="*/ 31433 h 80"/>
                <a:gd name="T70" fmla="*/ 1324 w 187"/>
                <a:gd name="T71" fmla="*/ 28575 h 80"/>
                <a:gd name="T72" fmla="*/ 2207 w 187"/>
                <a:gd name="T73" fmla="*/ 25718 h 80"/>
                <a:gd name="T74" fmla="*/ 3090 w 187"/>
                <a:gd name="T75" fmla="*/ 22146 h 80"/>
                <a:gd name="T76" fmla="*/ 5739 w 187"/>
                <a:gd name="T77" fmla="*/ 17145 h 80"/>
                <a:gd name="T78" fmla="*/ 6180 w 187"/>
                <a:gd name="T79" fmla="*/ 13573 h 8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9" name="Freeform 496">
              <a:extLst>
                <a:ext uri="{FF2B5EF4-FFF2-40B4-BE49-F238E27FC236}">
                  <a16:creationId xmlns:a16="http://schemas.microsoft.com/office/drawing/2014/main" id="{6EAD9154-6EBD-4D1D-9C96-EC6EDBA502AC}"/>
                </a:ext>
              </a:extLst>
            </p:cNvPr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7759701" y="1390650"/>
              <a:ext cx="79375" cy="58738"/>
            </a:xfrm>
            <a:custGeom>
              <a:avLst/>
              <a:gdLst>
                <a:gd name="T0" fmla="*/ 21687 w 183"/>
                <a:gd name="T1" fmla="*/ 0 h 73"/>
                <a:gd name="T2" fmla="*/ 27326 w 183"/>
                <a:gd name="T3" fmla="*/ 0 h 73"/>
                <a:gd name="T4" fmla="*/ 32531 w 183"/>
                <a:gd name="T5" fmla="*/ 805 h 73"/>
                <a:gd name="T6" fmla="*/ 37302 w 183"/>
                <a:gd name="T7" fmla="*/ 3219 h 73"/>
                <a:gd name="T8" fmla="*/ 42073 w 183"/>
                <a:gd name="T9" fmla="*/ 5632 h 73"/>
                <a:gd name="T10" fmla="*/ 45977 w 183"/>
                <a:gd name="T11" fmla="*/ 8046 h 73"/>
                <a:gd name="T12" fmla="*/ 50314 w 183"/>
                <a:gd name="T13" fmla="*/ 12069 h 73"/>
                <a:gd name="T14" fmla="*/ 53784 w 183"/>
                <a:gd name="T15" fmla="*/ 15288 h 73"/>
                <a:gd name="T16" fmla="*/ 56820 w 183"/>
                <a:gd name="T17" fmla="*/ 20116 h 73"/>
                <a:gd name="T18" fmla="*/ 68965 w 183"/>
                <a:gd name="T19" fmla="*/ 39427 h 73"/>
                <a:gd name="T20" fmla="*/ 79375 w 183"/>
                <a:gd name="T21" fmla="*/ 58738 h 73"/>
                <a:gd name="T22" fmla="*/ 59423 w 183"/>
                <a:gd name="T23" fmla="*/ 58738 h 73"/>
                <a:gd name="T24" fmla="*/ 55519 w 183"/>
                <a:gd name="T25" fmla="*/ 57933 h 73"/>
                <a:gd name="T26" fmla="*/ 50748 w 183"/>
                <a:gd name="T27" fmla="*/ 56324 h 73"/>
                <a:gd name="T28" fmla="*/ 45109 w 183"/>
                <a:gd name="T29" fmla="*/ 53106 h 73"/>
                <a:gd name="T30" fmla="*/ 39037 w 183"/>
                <a:gd name="T31" fmla="*/ 49887 h 73"/>
                <a:gd name="T32" fmla="*/ 31663 w 183"/>
                <a:gd name="T33" fmla="*/ 45059 h 73"/>
                <a:gd name="T34" fmla="*/ 25157 w 183"/>
                <a:gd name="T35" fmla="*/ 40232 h 73"/>
                <a:gd name="T36" fmla="*/ 18217 w 183"/>
                <a:gd name="T37" fmla="*/ 35404 h 73"/>
                <a:gd name="T38" fmla="*/ 12145 w 183"/>
                <a:gd name="T39" fmla="*/ 29771 h 73"/>
                <a:gd name="T40" fmla="*/ 6940 w 183"/>
                <a:gd name="T41" fmla="*/ 24139 h 73"/>
                <a:gd name="T42" fmla="*/ 3036 w 183"/>
                <a:gd name="T43" fmla="*/ 18506 h 73"/>
                <a:gd name="T44" fmla="*/ 1735 w 183"/>
                <a:gd name="T45" fmla="*/ 15288 h 73"/>
                <a:gd name="T46" fmla="*/ 867 w 183"/>
                <a:gd name="T47" fmla="*/ 12874 h 73"/>
                <a:gd name="T48" fmla="*/ 434 w 183"/>
                <a:gd name="T49" fmla="*/ 11265 h 73"/>
                <a:gd name="T50" fmla="*/ 0 w 183"/>
                <a:gd name="T51" fmla="*/ 8851 h 73"/>
                <a:gd name="T52" fmla="*/ 434 w 183"/>
                <a:gd name="T53" fmla="*/ 6437 h 73"/>
                <a:gd name="T54" fmla="*/ 1301 w 183"/>
                <a:gd name="T55" fmla="*/ 4828 h 73"/>
                <a:gd name="T56" fmla="*/ 3036 w 183"/>
                <a:gd name="T57" fmla="*/ 3219 h 73"/>
                <a:gd name="T58" fmla="*/ 5639 w 183"/>
                <a:gd name="T59" fmla="*/ 2414 h 73"/>
                <a:gd name="T60" fmla="*/ 8241 w 183"/>
                <a:gd name="T61" fmla="*/ 805 h 73"/>
                <a:gd name="T62" fmla="*/ 12145 w 183"/>
                <a:gd name="T63" fmla="*/ 0 h 73"/>
                <a:gd name="T64" fmla="*/ 16482 w 183"/>
                <a:gd name="T65" fmla="*/ 0 h 73"/>
                <a:gd name="T66" fmla="*/ 21687 w 183"/>
                <a:gd name="T67" fmla="*/ 0 h 7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0" name="Freeform 497">
              <a:extLst>
                <a:ext uri="{FF2B5EF4-FFF2-40B4-BE49-F238E27FC236}">
                  <a16:creationId xmlns:a16="http://schemas.microsoft.com/office/drawing/2014/main" id="{309501A1-E153-4A64-98C4-39F4FBA4C753}"/>
                </a:ext>
              </a:extLst>
            </p:cNvPr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7826375" y="1408113"/>
              <a:ext cx="33338" cy="57150"/>
            </a:xfrm>
            <a:custGeom>
              <a:avLst/>
              <a:gdLst>
                <a:gd name="T0" fmla="*/ 0 w 79"/>
                <a:gd name="T1" fmla="*/ 8164 h 42"/>
                <a:gd name="T2" fmla="*/ 9706 w 79"/>
                <a:gd name="T3" fmla="*/ 2721 h 42"/>
                <a:gd name="T4" fmla="*/ 17302 w 79"/>
                <a:gd name="T5" fmla="*/ 1361 h 42"/>
                <a:gd name="T6" fmla="*/ 25320 w 79"/>
                <a:gd name="T7" fmla="*/ 0 h 42"/>
                <a:gd name="T8" fmla="*/ 33338 w 79"/>
                <a:gd name="T9" fmla="*/ 0 h 42"/>
                <a:gd name="T10" fmla="*/ 33338 w 79"/>
                <a:gd name="T11" fmla="*/ 12246 h 42"/>
                <a:gd name="T12" fmla="*/ 33338 w 79"/>
                <a:gd name="T13" fmla="*/ 24493 h 42"/>
                <a:gd name="T14" fmla="*/ 33338 w 79"/>
                <a:gd name="T15" fmla="*/ 29936 h 42"/>
                <a:gd name="T16" fmla="*/ 31650 w 79"/>
                <a:gd name="T17" fmla="*/ 36739 h 42"/>
                <a:gd name="T18" fmla="*/ 30384 w 79"/>
                <a:gd name="T19" fmla="*/ 42182 h 42"/>
                <a:gd name="T20" fmla="*/ 28696 w 79"/>
                <a:gd name="T21" fmla="*/ 47625 h 42"/>
                <a:gd name="T22" fmla="*/ 26164 w 79"/>
                <a:gd name="T23" fmla="*/ 51707 h 42"/>
                <a:gd name="T24" fmla="*/ 24054 w 79"/>
                <a:gd name="T25" fmla="*/ 54429 h 42"/>
                <a:gd name="T26" fmla="*/ 21522 w 79"/>
                <a:gd name="T27" fmla="*/ 57150 h 42"/>
                <a:gd name="T28" fmla="*/ 19412 w 79"/>
                <a:gd name="T29" fmla="*/ 57150 h 42"/>
                <a:gd name="T30" fmla="*/ 16880 w 79"/>
                <a:gd name="T31" fmla="*/ 57150 h 42"/>
                <a:gd name="T32" fmla="*/ 14770 w 79"/>
                <a:gd name="T33" fmla="*/ 55789 h 42"/>
                <a:gd name="T34" fmla="*/ 12238 w 79"/>
                <a:gd name="T35" fmla="*/ 53068 h 42"/>
                <a:gd name="T36" fmla="*/ 10550 w 79"/>
                <a:gd name="T37" fmla="*/ 50346 h 42"/>
                <a:gd name="T38" fmla="*/ 6752 w 79"/>
                <a:gd name="T39" fmla="*/ 43543 h 42"/>
                <a:gd name="T40" fmla="*/ 4642 w 79"/>
                <a:gd name="T41" fmla="*/ 35379 h 42"/>
                <a:gd name="T42" fmla="*/ 2110 w 79"/>
                <a:gd name="T43" fmla="*/ 27214 h 42"/>
                <a:gd name="T44" fmla="*/ 844 w 79"/>
                <a:gd name="T45" fmla="*/ 19050 h 42"/>
                <a:gd name="T46" fmla="*/ 0 w 79"/>
                <a:gd name="T47" fmla="*/ 12246 h 42"/>
                <a:gd name="T48" fmla="*/ 0 w 79"/>
                <a:gd name="T49" fmla="*/ 8164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1" name="Freeform 498">
              <a:extLst>
                <a:ext uri="{FF2B5EF4-FFF2-40B4-BE49-F238E27FC236}">
                  <a16:creationId xmlns:a16="http://schemas.microsoft.com/office/drawing/2014/main" id="{31619E49-54B7-4B2C-A01E-56B71FD24DC3}"/>
                </a:ext>
              </a:extLst>
            </p:cNvPr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7856539" y="1419225"/>
              <a:ext cx="52387" cy="58738"/>
            </a:xfrm>
            <a:custGeom>
              <a:avLst/>
              <a:gdLst>
                <a:gd name="T0" fmla="*/ 52387 w 113"/>
                <a:gd name="T1" fmla="*/ 44054 h 52"/>
                <a:gd name="T2" fmla="*/ 51923 w 113"/>
                <a:gd name="T3" fmla="*/ 47442 h 52"/>
                <a:gd name="T4" fmla="*/ 50533 w 113"/>
                <a:gd name="T5" fmla="*/ 50831 h 52"/>
                <a:gd name="T6" fmla="*/ 49142 w 113"/>
                <a:gd name="T7" fmla="*/ 53090 h 52"/>
                <a:gd name="T8" fmla="*/ 47751 w 113"/>
                <a:gd name="T9" fmla="*/ 55349 h 52"/>
                <a:gd name="T10" fmla="*/ 43579 w 113"/>
                <a:gd name="T11" fmla="*/ 57608 h 52"/>
                <a:gd name="T12" fmla="*/ 39406 w 113"/>
                <a:gd name="T13" fmla="*/ 58738 h 52"/>
                <a:gd name="T14" fmla="*/ 30598 w 113"/>
                <a:gd name="T15" fmla="*/ 58738 h 52"/>
                <a:gd name="T16" fmla="*/ 24571 w 113"/>
                <a:gd name="T17" fmla="*/ 57608 h 52"/>
                <a:gd name="T18" fmla="*/ 21789 w 113"/>
                <a:gd name="T19" fmla="*/ 57608 h 52"/>
                <a:gd name="T20" fmla="*/ 18080 w 113"/>
                <a:gd name="T21" fmla="*/ 54220 h 52"/>
                <a:gd name="T22" fmla="*/ 13908 w 113"/>
                <a:gd name="T23" fmla="*/ 50831 h 52"/>
                <a:gd name="T24" fmla="*/ 9736 w 113"/>
                <a:gd name="T25" fmla="*/ 46313 h 52"/>
                <a:gd name="T26" fmla="*/ 6027 w 113"/>
                <a:gd name="T27" fmla="*/ 40665 h 52"/>
                <a:gd name="T28" fmla="*/ 2782 w 113"/>
                <a:gd name="T29" fmla="*/ 35017 h 52"/>
                <a:gd name="T30" fmla="*/ 1854 w 113"/>
                <a:gd name="T31" fmla="*/ 31628 h 52"/>
                <a:gd name="T32" fmla="*/ 927 w 113"/>
                <a:gd name="T33" fmla="*/ 28239 h 52"/>
                <a:gd name="T34" fmla="*/ 464 w 113"/>
                <a:gd name="T35" fmla="*/ 24851 h 52"/>
                <a:gd name="T36" fmla="*/ 0 w 113"/>
                <a:gd name="T37" fmla="*/ 22592 h 52"/>
                <a:gd name="T38" fmla="*/ 464 w 113"/>
                <a:gd name="T39" fmla="*/ 16944 h 52"/>
                <a:gd name="T40" fmla="*/ 464 w 113"/>
                <a:gd name="T41" fmla="*/ 12425 h 52"/>
                <a:gd name="T42" fmla="*/ 1391 w 113"/>
                <a:gd name="T43" fmla="*/ 9037 h 52"/>
                <a:gd name="T44" fmla="*/ 2318 w 113"/>
                <a:gd name="T45" fmla="*/ 5648 h 52"/>
                <a:gd name="T46" fmla="*/ 3245 w 113"/>
                <a:gd name="T47" fmla="*/ 3389 h 52"/>
                <a:gd name="T48" fmla="*/ 4636 w 113"/>
                <a:gd name="T49" fmla="*/ 2259 h 52"/>
                <a:gd name="T50" fmla="*/ 6490 w 113"/>
                <a:gd name="T51" fmla="*/ 1130 h 52"/>
                <a:gd name="T52" fmla="*/ 7881 w 113"/>
                <a:gd name="T53" fmla="*/ 0 h 52"/>
                <a:gd name="T54" fmla="*/ 12054 w 113"/>
                <a:gd name="T55" fmla="*/ 0 h 52"/>
                <a:gd name="T56" fmla="*/ 16690 w 113"/>
                <a:gd name="T57" fmla="*/ 2259 h 52"/>
                <a:gd name="T58" fmla="*/ 21326 w 113"/>
                <a:gd name="T59" fmla="*/ 5648 h 52"/>
                <a:gd name="T60" fmla="*/ 26425 w 113"/>
                <a:gd name="T61" fmla="*/ 10166 h 52"/>
                <a:gd name="T62" fmla="*/ 35697 w 113"/>
                <a:gd name="T63" fmla="*/ 20332 h 52"/>
                <a:gd name="T64" fmla="*/ 44042 w 113"/>
                <a:gd name="T65" fmla="*/ 32758 h 52"/>
                <a:gd name="T66" fmla="*/ 50069 w 113"/>
                <a:gd name="T67" fmla="*/ 40665 h 52"/>
                <a:gd name="T68" fmla="*/ 52387 w 113"/>
                <a:gd name="T69" fmla="*/ 44054 h 5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2" name="Freeform 499">
              <a:extLst>
                <a:ext uri="{FF2B5EF4-FFF2-40B4-BE49-F238E27FC236}">
                  <a16:creationId xmlns:a16="http://schemas.microsoft.com/office/drawing/2014/main" id="{FDA35465-82FF-47A0-9C67-760E4704AF74}"/>
                </a:ext>
              </a:extLst>
            </p:cNvPr>
            <p:cNvSpPr>
              <a:spLocks/>
            </p:cNvSpPr>
            <p:nvPr>
              <p:custDataLst>
                <p:tags r:id="rId337"/>
              </p:custDataLst>
            </p:nvPr>
          </p:nvSpPr>
          <p:spPr bwMode="auto">
            <a:xfrm>
              <a:off x="7627938" y="1392239"/>
              <a:ext cx="61912" cy="58737"/>
            </a:xfrm>
            <a:custGeom>
              <a:avLst/>
              <a:gdLst>
                <a:gd name="T0" fmla="*/ 0 w 139"/>
                <a:gd name="T1" fmla="*/ 11747 h 40"/>
                <a:gd name="T2" fmla="*/ 3563 w 139"/>
                <a:gd name="T3" fmla="*/ 13216 h 40"/>
                <a:gd name="T4" fmla="*/ 8463 w 139"/>
                <a:gd name="T5" fmla="*/ 11747 h 40"/>
                <a:gd name="T6" fmla="*/ 13362 w 139"/>
                <a:gd name="T7" fmla="*/ 10279 h 40"/>
                <a:gd name="T8" fmla="*/ 18707 w 139"/>
                <a:gd name="T9" fmla="*/ 7342 h 40"/>
                <a:gd name="T10" fmla="*/ 23607 w 139"/>
                <a:gd name="T11" fmla="*/ 2937 h 40"/>
                <a:gd name="T12" fmla="*/ 28506 w 139"/>
                <a:gd name="T13" fmla="*/ 1468 h 40"/>
                <a:gd name="T14" fmla="*/ 32515 w 139"/>
                <a:gd name="T15" fmla="*/ 0 h 40"/>
                <a:gd name="T16" fmla="*/ 35633 w 139"/>
                <a:gd name="T17" fmla="*/ 2937 h 40"/>
                <a:gd name="T18" fmla="*/ 61912 w 139"/>
                <a:gd name="T19" fmla="*/ 57269 h 40"/>
                <a:gd name="T20" fmla="*/ 59240 w 139"/>
                <a:gd name="T21" fmla="*/ 58737 h 40"/>
                <a:gd name="T22" fmla="*/ 55676 w 139"/>
                <a:gd name="T23" fmla="*/ 57269 h 40"/>
                <a:gd name="T24" fmla="*/ 51668 w 139"/>
                <a:gd name="T25" fmla="*/ 55800 h 40"/>
                <a:gd name="T26" fmla="*/ 47213 w 139"/>
                <a:gd name="T27" fmla="*/ 52863 h 40"/>
                <a:gd name="T28" fmla="*/ 38305 w 139"/>
                <a:gd name="T29" fmla="*/ 44053 h 40"/>
                <a:gd name="T30" fmla="*/ 28506 w 139"/>
                <a:gd name="T31" fmla="*/ 35242 h 40"/>
                <a:gd name="T32" fmla="*/ 19598 w 139"/>
                <a:gd name="T33" fmla="*/ 23495 h 40"/>
                <a:gd name="T34" fmla="*/ 11581 w 139"/>
                <a:gd name="T35" fmla="*/ 16153 h 40"/>
                <a:gd name="T36" fmla="*/ 7572 w 139"/>
                <a:gd name="T37" fmla="*/ 13216 h 40"/>
                <a:gd name="T38" fmla="*/ 4900 w 139"/>
                <a:gd name="T39" fmla="*/ 10279 h 40"/>
                <a:gd name="T40" fmla="*/ 1782 w 139"/>
                <a:gd name="T41" fmla="*/ 10279 h 40"/>
                <a:gd name="T42" fmla="*/ 0 w 139"/>
                <a:gd name="T43" fmla="*/ 11747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3" name="Freeform 500">
              <a:extLst>
                <a:ext uri="{FF2B5EF4-FFF2-40B4-BE49-F238E27FC236}">
                  <a16:creationId xmlns:a16="http://schemas.microsoft.com/office/drawing/2014/main" id="{AEC352AB-BEC3-4155-ADF4-A59F7606B35F}"/>
                </a:ext>
              </a:extLst>
            </p:cNvPr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7927975" y="1333500"/>
              <a:ext cx="139700" cy="57150"/>
            </a:xfrm>
            <a:custGeom>
              <a:avLst/>
              <a:gdLst>
                <a:gd name="T0" fmla="*/ 4298 w 325"/>
                <a:gd name="T1" fmla="*/ 5635 h 71"/>
                <a:gd name="T2" fmla="*/ 13325 w 325"/>
                <a:gd name="T3" fmla="*/ 805 h 71"/>
                <a:gd name="T4" fmla="*/ 22782 w 325"/>
                <a:gd name="T5" fmla="*/ 0 h 71"/>
                <a:gd name="T6" fmla="*/ 31379 w 325"/>
                <a:gd name="T7" fmla="*/ 3220 h 71"/>
                <a:gd name="T8" fmla="*/ 39546 w 325"/>
                <a:gd name="T9" fmla="*/ 8049 h 71"/>
                <a:gd name="T10" fmla="*/ 47283 w 325"/>
                <a:gd name="T11" fmla="*/ 14489 h 71"/>
                <a:gd name="T12" fmla="*/ 52441 w 325"/>
                <a:gd name="T13" fmla="*/ 23343 h 71"/>
                <a:gd name="T14" fmla="*/ 55880 w 325"/>
                <a:gd name="T15" fmla="*/ 30587 h 71"/>
                <a:gd name="T16" fmla="*/ 58459 w 325"/>
                <a:gd name="T17" fmla="*/ 27368 h 71"/>
                <a:gd name="T18" fmla="*/ 59749 w 325"/>
                <a:gd name="T19" fmla="*/ 12074 h 71"/>
                <a:gd name="T20" fmla="*/ 69205 w 325"/>
                <a:gd name="T21" fmla="*/ 5635 h 71"/>
                <a:gd name="T22" fmla="*/ 92847 w 325"/>
                <a:gd name="T23" fmla="*/ 10464 h 71"/>
                <a:gd name="T24" fmla="*/ 110900 w 325"/>
                <a:gd name="T25" fmla="*/ 18513 h 71"/>
                <a:gd name="T26" fmla="*/ 121646 w 325"/>
                <a:gd name="T27" fmla="*/ 25758 h 71"/>
                <a:gd name="T28" fmla="*/ 131103 w 325"/>
                <a:gd name="T29" fmla="*/ 34612 h 71"/>
                <a:gd name="T30" fmla="*/ 137551 w 325"/>
                <a:gd name="T31" fmla="*/ 44271 h 71"/>
                <a:gd name="T32" fmla="*/ 135831 w 325"/>
                <a:gd name="T33" fmla="*/ 51515 h 71"/>
                <a:gd name="T34" fmla="*/ 126375 w 325"/>
                <a:gd name="T35" fmla="*/ 54735 h 71"/>
                <a:gd name="T36" fmla="*/ 111330 w 325"/>
                <a:gd name="T37" fmla="*/ 57150 h 71"/>
                <a:gd name="T38" fmla="*/ 90268 w 325"/>
                <a:gd name="T39" fmla="*/ 56345 h 71"/>
                <a:gd name="T40" fmla="*/ 71784 w 325"/>
                <a:gd name="T41" fmla="*/ 54735 h 71"/>
                <a:gd name="T42" fmla="*/ 57170 w 325"/>
                <a:gd name="T43" fmla="*/ 55540 h 71"/>
                <a:gd name="T44" fmla="*/ 38686 w 325"/>
                <a:gd name="T45" fmla="*/ 57150 h 71"/>
                <a:gd name="T46" fmla="*/ 30949 w 325"/>
                <a:gd name="T47" fmla="*/ 54735 h 71"/>
                <a:gd name="T48" fmla="*/ 28800 w 325"/>
                <a:gd name="T49" fmla="*/ 51515 h 71"/>
                <a:gd name="T50" fmla="*/ 24931 w 325"/>
                <a:gd name="T51" fmla="*/ 49101 h 71"/>
                <a:gd name="T52" fmla="*/ 19773 w 325"/>
                <a:gd name="T53" fmla="*/ 47491 h 71"/>
                <a:gd name="T54" fmla="*/ 15045 w 325"/>
                <a:gd name="T55" fmla="*/ 42661 h 71"/>
                <a:gd name="T56" fmla="*/ 10746 w 325"/>
                <a:gd name="T57" fmla="*/ 36222 h 71"/>
                <a:gd name="T58" fmla="*/ 6878 w 325"/>
                <a:gd name="T59" fmla="*/ 31392 h 71"/>
                <a:gd name="T60" fmla="*/ 2579 w 325"/>
                <a:gd name="T61" fmla="*/ 29782 h 71"/>
                <a:gd name="T62" fmla="*/ 0 w 325"/>
                <a:gd name="T63" fmla="*/ 17708 h 7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4" name="Freeform 501">
              <a:extLst>
                <a:ext uri="{FF2B5EF4-FFF2-40B4-BE49-F238E27FC236}">
                  <a16:creationId xmlns:a16="http://schemas.microsoft.com/office/drawing/2014/main" id="{1BC1807A-D5DD-4815-8A15-EEBDEA59C5BE}"/>
                </a:ext>
              </a:extLst>
            </p:cNvPr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8088313" y="1341438"/>
              <a:ext cx="95250" cy="57150"/>
            </a:xfrm>
            <a:custGeom>
              <a:avLst/>
              <a:gdLst>
                <a:gd name="T0" fmla="*/ 37667 w 220"/>
                <a:gd name="T1" fmla="*/ 19844 h 72"/>
                <a:gd name="T2" fmla="*/ 39832 w 220"/>
                <a:gd name="T3" fmla="*/ 20638 h 72"/>
                <a:gd name="T4" fmla="*/ 42430 w 220"/>
                <a:gd name="T5" fmla="*/ 21431 h 72"/>
                <a:gd name="T6" fmla="*/ 43728 w 220"/>
                <a:gd name="T7" fmla="*/ 22225 h 72"/>
                <a:gd name="T8" fmla="*/ 45027 w 220"/>
                <a:gd name="T9" fmla="*/ 21431 h 72"/>
                <a:gd name="T10" fmla="*/ 47192 w 220"/>
                <a:gd name="T11" fmla="*/ 21431 h 72"/>
                <a:gd name="T12" fmla="*/ 48924 w 220"/>
                <a:gd name="T13" fmla="*/ 19844 h 72"/>
                <a:gd name="T14" fmla="*/ 49357 w 220"/>
                <a:gd name="T15" fmla="*/ 20638 h 72"/>
                <a:gd name="T16" fmla="*/ 49790 w 220"/>
                <a:gd name="T17" fmla="*/ 20638 h 72"/>
                <a:gd name="T18" fmla="*/ 50223 w 220"/>
                <a:gd name="T19" fmla="*/ 19844 h 72"/>
                <a:gd name="T20" fmla="*/ 50656 w 220"/>
                <a:gd name="T21" fmla="*/ 19844 h 72"/>
                <a:gd name="T22" fmla="*/ 51522 w 220"/>
                <a:gd name="T23" fmla="*/ 17463 h 72"/>
                <a:gd name="T24" fmla="*/ 51955 w 220"/>
                <a:gd name="T25" fmla="*/ 13494 h 72"/>
                <a:gd name="T26" fmla="*/ 51955 w 220"/>
                <a:gd name="T27" fmla="*/ 5556 h 72"/>
                <a:gd name="T28" fmla="*/ 51955 w 220"/>
                <a:gd name="T29" fmla="*/ 0 h 72"/>
                <a:gd name="T30" fmla="*/ 54119 w 220"/>
                <a:gd name="T31" fmla="*/ 3969 h 72"/>
                <a:gd name="T32" fmla="*/ 56717 w 220"/>
                <a:gd name="T33" fmla="*/ 7938 h 72"/>
                <a:gd name="T34" fmla="*/ 59315 w 220"/>
                <a:gd name="T35" fmla="*/ 11906 h 72"/>
                <a:gd name="T36" fmla="*/ 61913 w 220"/>
                <a:gd name="T37" fmla="*/ 15081 h 72"/>
                <a:gd name="T38" fmla="*/ 67541 w 220"/>
                <a:gd name="T39" fmla="*/ 19844 h 72"/>
                <a:gd name="T40" fmla="*/ 73602 w 220"/>
                <a:gd name="T41" fmla="*/ 23813 h 72"/>
                <a:gd name="T42" fmla="*/ 79231 w 220"/>
                <a:gd name="T43" fmla="*/ 27781 h 72"/>
                <a:gd name="T44" fmla="*/ 84859 w 220"/>
                <a:gd name="T45" fmla="*/ 32544 h 72"/>
                <a:gd name="T46" fmla="*/ 87890 w 220"/>
                <a:gd name="T47" fmla="*/ 34925 h 72"/>
                <a:gd name="T48" fmla="*/ 90488 w 220"/>
                <a:gd name="T49" fmla="*/ 37306 h 72"/>
                <a:gd name="T50" fmla="*/ 92652 w 220"/>
                <a:gd name="T51" fmla="*/ 40481 h 72"/>
                <a:gd name="T52" fmla="*/ 95250 w 220"/>
                <a:gd name="T53" fmla="*/ 43656 h 72"/>
                <a:gd name="T54" fmla="*/ 89189 w 220"/>
                <a:gd name="T55" fmla="*/ 44450 h 72"/>
                <a:gd name="T56" fmla="*/ 83993 w 220"/>
                <a:gd name="T57" fmla="*/ 45244 h 72"/>
                <a:gd name="T58" fmla="*/ 78798 w 220"/>
                <a:gd name="T59" fmla="*/ 46038 h 72"/>
                <a:gd name="T60" fmla="*/ 74035 w 220"/>
                <a:gd name="T61" fmla="*/ 47625 h 72"/>
                <a:gd name="T62" fmla="*/ 65376 w 220"/>
                <a:gd name="T63" fmla="*/ 51594 h 72"/>
                <a:gd name="T64" fmla="*/ 58016 w 220"/>
                <a:gd name="T65" fmla="*/ 55563 h 72"/>
                <a:gd name="T66" fmla="*/ 54552 w 220"/>
                <a:gd name="T67" fmla="*/ 56356 h 72"/>
                <a:gd name="T68" fmla="*/ 50656 w 220"/>
                <a:gd name="T69" fmla="*/ 57150 h 72"/>
                <a:gd name="T70" fmla="*/ 47625 w 220"/>
                <a:gd name="T71" fmla="*/ 57150 h 72"/>
                <a:gd name="T72" fmla="*/ 44594 w 220"/>
                <a:gd name="T73" fmla="*/ 57150 h 72"/>
                <a:gd name="T74" fmla="*/ 41131 w 220"/>
                <a:gd name="T75" fmla="*/ 55563 h 72"/>
                <a:gd name="T76" fmla="*/ 38100 w 220"/>
                <a:gd name="T77" fmla="*/ 52388 h 72"/>
                <a:gd name="T78" fmla="*/ 35069 w 220"/>
                <a:gd name="T79" fmla="*/ 48419 h 72"/>
                <a:gd name="T80" fmla="*/ 32039 w 220"/>
                <a:gd name="T81" fmla="*/ 43656 h 72"/>
                <a:gd name="T82" fmla="*/ 25544 w 220"/>
                <a:gd name="T83" fmla="*/ 42069 h 72"/>
                <a:gd name="T84" fmla="*/ 19483 w 220"/>
                <a:gd name="T85" fmla="*/ 39688 h 72"/>
                <a:gd name="T86" fmla="*/ 14288 w 220"/>
                <a:gd name="T87" fmla="*/ 37306 h 72"/>
                <a:gd name="T88" fmla="*/ 9525 w 220"/>
                <a:gd name="T89" fmla="*/ 34131 h 72"/>
                <a:gd name="T90" fmla="*/ 7793 w 220"/>
                <a:gd name="T91" fmla="*/ 32544 h 72"/>
                <a:gd name="T92" fmla="*/ 5628 w 220"/>
                <a:gd name="T93" fmla="*/ 30163 h 72"/>
                <a:gd name="T94" fmla="*/ 3897 w 220"/>
                <a:gd name="T95" fmla="*/ 27781 h 72"/>
                <a:gd name="T96" fmla="*/ 3031 w 220"/>
                <a:gd name="T97" fmla="*/ 24606 h 72"/>
                <a:gd name="T98" fmla="*/ 1299 w 220"/>
                <a:gd name="T99" fmla="*/ 21431 h 72"/>
                <a:gd name="T100" fmla="*/ 866 w 220"/>
                <a:gd name="T101" fmla="*/ 18256 h 72"/>
                <a:gd name="T102" fmla="*/ 433 w 220"/>
                <a:gd name="T103" fmla="*/ 14288 h 72"/>
                <a:gd name="T104" fmla="*/ 0 w 220"/>
                <a:gd name="T105" fmla="*/ 10319 h 72"/>
                <a:gd name="T106" fmla="*/ 9958 w 220"/>
                <a:gd name="T107" fmla="*/ 13494 h 72"/>
                <a:gd name="T108" fmla="*/ 19050 w 220"/>
                <a:gd name="T109" fmla="*/ 16669 h 72"/>
                <a:gd name="T110" fmla="*/ 27709 w 220"/>
                <a:gd name="T111" fmla="*/ 19050 h 72"/>
                <a:gd name="T112" fmla="*/ 37667 w 220"/>
                <a:gd name="T113" fmla="*/ 19844 h 7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5" name="Freeform 502">
              <a:extLst>
                <a:ext uri="{FF2B5EF4-FFF2-40B4-BE49-F238E27FC236}">
                  <a16:creationId xmlns:a16="http://schemas.microsoft.com/office/drawing/2014/main" id="{D8B9A459-268D-4FF9-8F78-9D0C06A206EF}"/>
                </a:ext>
              </a:extLst>
            </p:cNvPr>
            <p:cNvSpPr>
              <a:spLocks/>
            </p:cNvSpPr>
            <p:nvPr>
              <p:custDataLst>
                <p:tags r:id="rId340"/>
              </p:custDataLst>
            </p:nvPr>
          </p:nvSpPr>
          <p:spPr bwMode="auto">
            <a:xfrm>
              <a:off x="8048625" y="1389064"/>
              <a:ext cx="63500" cy="58737"/>
            </a:xfrm>
            <a:custGeom>
              <a:avLst/>
              <a:gdLst>
                <a:gd name="T0" fmla="*/ 63500 w 146"/>
                <a:gd name="T1" fmla="*/ 48948 h 30"/>
                <a:gd name="T2" fmla="*/ 60890 w 146"/>
                <a:gd name="T3" fmla="*/ 31326 h 30"/>
                <a:gd name="T4" fmla="*/ 59586 w 146"/>
                <a:gd name="T5" fmla="*/ 17621 h 30"/>
                <a:gd name="T6" fmla="*/ 57846 w 146"/>
                <a:gd name="T7" fmla="*/ 7832 h 30"/>
                <a:gd name="T8" fmla="*/ 55671 w 146"/>
                <a:gd name="T9" fmla="*/ 1958 h 30"/>
                <a:gd name="T10" fmla="*/ 54801 w 146"/>
                <a:gd name="T11" fmla="*/ 1958 h 30"/>
                <a:gd name="T12" fmla="*/ 53932 w 146"/>
                <a:gd name="T13" fmla="*/ 1958 h 30"/>
                <a:gd name="T14" fmla="*/ 52192 w 146"/>
                <a:gd name="T15" fmla="*/ 3916 h 30"/>
                <a:gd name="T16" fmla="*/ 51322 w 146"/>
                <a:gd name="T17" fmla="*/ 5874 h 30"/>
                <a:gd name="T18" fmla="*/ 49147 w 146"/>
                <a:gd name="T19" fmla="*/ 17621 h 30"/>
                <a:gd name="T20" fmla="*/ 45668 w 146"/>
                <a:gd name="T21" fmla="*/ 37200 h 30"/>
                <a:gd name="T22" fmla="*/ 31315 w 146"/>
                <a:gd name="T23" fmla="*/ 37200 h 30"/>
                <a:gd name="T24" fmla="*/ 27401 w 146"/>
                <a:gd name="T25" fmla="*/ 35242 h 30"/>
                <a:gd name="T26" fmla="*/ 23921 w 146"/>
                <a:gd name="T27" fmla="*/ 33284 h 30"/>
                <a:gd name="T28" fmla="*/ 20442 w 146"/>
                <a:gd name="T29" fmla="*/ 27411 h 30"/>
                <a:gd name="T30" fmla="*/ 17397 w 146"/>
                <a:gd name="T31" fmla="*/ 23495 h 30"/>
                <a:gd name="T32" fmla="*/ 12613 w 146"/>
                <a:gd name="T33" fmla="*/ 11747 h 30"/>
                <a:gd name="T34" fmla="*/ 8264 w 146"/>
                <a:gd name="T35" fmla="*/ 0 h 30"/>
                <a:gd name="T36" fmla="*/ 6089 w 146"/>
                <a:gd name="T37" fmla="*/ 17621 h 30"/>
                <a:gd name="T38" fmla="*/ 4349 w 146"/>
                <a:gd name="T39" fmla="*/ 29369 h 30"/>
                <a:gd name="T40" fmla="*/ 1740 w 146"/>
                <a:gd name="T41" fmla="*/ 39158 h 30"/>
                <a:gd name="T42" fmla="*/ 0 w 146"/>
                <a:gd name="T43" fmla="*/ 48948 h 30"/>
                <a:gd name="T44" fmla="*/ 14353 w 146"/>
                <a:gd name="T45" fmla="*/ 48948 h 30"/>
                <a:gd name="T46" fmla="*/ 24791 w 146"/>
                <a:gd name="T47" fmla="*/ 48948 h 30"/>
                <a:gd name="T48" fmla="*/ 33490 w 146"/>
                <a:gd name="T49" fmla="*/ 48948 h 30"/>
                <a:gd name="T50" fmla="*/ 43058 w 146"/>
                <a:gd name="T51" fmla="*/ 48948 h 30"/>
                <a:gd name="T52" fmla="*/ 47842 w 146"/>
                <a:gd name="T53" fmla="*/ 50905 h 30"/>
                <a:gd name="T54" fmla="*/ 53497 w 146"/>
                <a:gd name="T55" fmla="*/ 56779 h 30"/>
                <a:gd name="T56" fmla="*/ 55671 w 146"/>
                <a:gd name="T57" fmla="*/ 58737 h 30"/>
                <a:gd name="T58" fmla="*/ 58716 w 146"/>
                <a:gd name="T59" fmla="*/ 58737 h 30"/>
                <a:gd name="T60" fmla="*/ 60890 w 146"/>
                <a:gd name="T61" fmla="*/ 54821 h 30"/>
                <a:gd name="T62" fmla="*/ 63500 w 146"/>
                <a:gd name="T63" fmla="*/ 48948 h 3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6" name="Freeform 503">
              <a:extLst>
                <a:ext uri="{FF2B5EF4-FFF2-40B4-BE49-F238E27FC236}">
                  <a16:creationId xmlns:a16="http://schemas.microsoft.com/office/drawing/2014/main" id="{E0C13FB0-C914-408B-8866-40BD047878F5}"/>
                </a:ext>
              </a:extLst>
            </p:cNvPr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8027989" y="1385889"/>
              <a:ext cx="20637" cy="58737"/>
            </a:xfrm>
            <a:custGeom>
              <a:avLst/>
              <a:gdLst>
                <a:gd name="T0" fmla="*/ 0 w 53"/>
                <a:gd name="T1" fmla="*/ 58737 h 9"/>
                <a:gd name="T2" fmla="*/ 6619 w 53"/>
                <a:gd name="T3" fmla="*/ 58737 h 9"/>
                <a:gd name="T4" fmla="*/ 11292 w 53"/>
                <a:gd name="T5" fmla="*/ 58737 h 9"/>
                <a:gd name="T6" fmla="*/ 15575 w 53"/>
                <a:gd name="T7" fmla="*/ 58737 h 9"/>
                <a:gd name="T8" fmla="*/ 20637 w 53"/>
                <a:gd name="T9" fmla="*/ 58737 h 9"/>
                <a:gd name="T10" fmla="*/ 17911 w 53"/>
                <a:gd name="T11" fmla="*/ 39158 h 9"/>
                <a:gd name="T12" fmla="*/ 14796 w 53"/>
                <a:gd name="T13" fmla="*/ 19579 h 9"/>
                <a:gd name="T14" fmla="*/ 12071 w 53"/>
                <a:gd name="T15" fmla="*/ 6526 h 9"/>
                <a:gd name="T16" fmla="*/ 9734 w 53"/>
                <a:gd name="T17" fmla="*/ 0 h 9"/>
                <a:gd name="T18" fmla="*/ 7398 w 53"/>
                <a:gd name="T19" fmla="*/ 0 h 9"/>
                <a:gd name="T20" fmla="*/ 5451 w 53"/>
                <a:gd name="T21" fmla="*/ 0 h 9"/>
                <a:gd name="T22" fmla="*/ 3504 w 53"/>
                <a:gd name="T23" fmla="*/ 6526 h 9"/>
                <a:gd name="T24" fmla="*/ 2336 w 53"/>
                <a:gd name="T25" fmla="*/ 19579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7" name="Line 504">
              <a:extLst>
                <a:ext uri="{FF2B5EF4-FFF2-40B4-BE49-F238E27FC236}">
                  <a16:creationId xmlns:a16="http://schemas.microsoft.com/office/drawing/2014/main" id="{E8A02C03-C643-4163-A816-E4F1D3BD0F49}"/>
                </a:ext>
              </a:extLst>
            </p:cNvPr>
            <p:cNvSpPr>
              <a:spLocks noChangeShapeType="1"/>
            </p:cNvSpPr>
            <p:nvPr>
              <p:custDataLst>
                <p:tags r:id="rId342"/>
              </p:custDataLst>
            </p:nvPr>
          </p:nvSpPr>
          <p:spPr bwMode="auto">
            <a:xfrm flipV="1">
              <a:off x="8029575" y="1384300"/>
              <a:ext cx="0" cy="158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8" name="Freeform 505">
              <a:extLst>
                <a:ext uri="{FF2B5EF4-FFF2-40B4-BE49-F238E27FC236}">
                  <a16:creationId xmlns:a16="http://schemas.microsoft.com/office/drawing/2014/main" id="{B01861CC-EAFB-4E3D-B7A5-8C2A5141A488}"/>
                </a:ext>
              </a:extLst>
            </p:cNvPr>
            <p:cNvSpPr>
              <a:spLocks/>
            </p:cNvSpPr>
            <p:nvPr>
              <p:custDataLst>
                <p:tags r:id="rId343"/>
              </p:custDataLst>
            </p:nvPr>
          </p:nvSpPr>
          <p:spPr bwMode="auto">
            <a:xfrm>
              <a:off x="7199313" y="1312863"/>
              <a:ext cx="11112" cy="55562"/>
            </a:xfrm>
            <a:custGeom>
              <a:avLst/>
              <a:gdLst>
                <a:gd name="T0" fmla="*/ 0 w 26"/>
                <a:gd name="T1" fmla="*/ 55562 h 25"/>
                <a:gd name="T2" fmla="*/ 2137 w 26"/>
                <a:gd name="T3" fmla="*/ 37782 h 25"/>
                <a:gd name="T4" fmla="*/ 5556 w 26"/>
                <a:gd name="T5" fmla="*/ 17780 h 25"/>
                <a:gd name="T6" fmla="*/ 6838 w 26"/>
                <a:gd name="T7" fmla="*/ 11112 h 25"/>
                <a:gd name="T8" fmla="*/ 8548 w 26"/>
                <a:gd name="T9" fmla="*/ 4445 h 25"/>
                <a:gd name="T10" fmla="*/ 9830 w 26"/>
                <a:gd name="T11" fmla="*/ 2222 h 25"/>
                <a:gd name="T12" fmla="*/ 11112 w 26"/>
                <a:gd name="T13" fmla="*/ 0 h 25"/>
                <a:gd name="T14" fmla="*/ 11112 w 26"/>
                <a:gd name="T15" fmla="*/ 55562 h 25"/>
                <a:gd name="T16" fmla="*/ 8548 w 26"/>
                <a:gd name="T17" fmla="*/ 55562 h 25"/>
                <a:gd name="T18" fmla="*/ 5556 w 26"/>
                <a:gd name="T19" fmla="*/ 55562 h 25"/>
                <a:gd name="T20" fmla="*/ 0 w 26"/>
                <a:gd name="T21" fmla="*/ 55562 h 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9" name="Freeform 506">
              <a:extLst>
                <a:ext uri="{FF2B5EF4-FFF2-40B4-BE49-F238E27FC236}">
                  <a16:creationId xmlns:a16="http://schemas.microsoft.com/office/drawing/2014/main" id="{2FC9652C-26C0-46AB-9903-0D798A535BAF}"/>
                </a:ext>
              </a:extLst>
            </p:cNvPr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7948614" y="1384300"/>
              <a:ext cx="9525" cy="57150"/>
            </a:xfrm>
            <a:custGeom>
              <a:avLst/>
              <a:gdLst>
                <a:gd name="T0" fmla="*/ 9525 w 33"/>
                <a:gd name="T1" fmla="*/ 57150 h 25"/>
                <a:gd name="T2" fmla="*/ 9525 w 33"/>
                <a:gd name="T3" fmla="*/ 27432 h 25"/>
                <a:gd name="T4" fmla="*/ 9525 w 33"/>
                <a:gd name="T5" fmla="*/ 0 h 25"/>
                <a:gd name="T6" fmla="*/ 0 w 33"/>
                <a:gd name="T7" fmla="*/ 0 h 25"/>
                <a:gd name="T8" fmla="*/ 2598 w 33"/>
                <a:gd name="T9" fmla="*/ 20574 h 25"/>
                <a:gd name="T10" fmla="*/ 4618 w 33"/>
                <a:gd name="T11" fmla="*/ 38862 h 25"/>
                <a:gd name="T12" fmla="*/ 5773 w 33"/>
                <a:gd name="T13" fmla="*/ 45720 h 25"/>
                <a:gd name="T14" fmla="*/ 6927 w 33"/>
                <a:gd name="T15" fmla="*/ 52578 h 25"/>
                <a:gd name="T16" fmla="*/ 8082 w 33"/>
                <a:gd name="T17" fmla="*/ 54864 h 25"/>
                <a:gd name="T18" fmla="*/ 9525 w 33"/>
                <a:gd name="T19" fmla="*/ 57150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0" name="Freeform 507">
              <a:extLst>
                <a:ext uri="{FF2B5EF4-FFF2-40B4-BE49-F238E27FC236}">
                  <a16:creationId xmlns:a16="http://schemas.microsoft.com/office/drawing/2014/main" id="{25A99AE9-24C8-4F93-A185-1E6BB6220C24}"/>
                </a:ext>
              </a:extLst>
            </p:cNvPr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7902576" y="1347788"/>
              <a:ext cx="9525" cy="57150"/>
            </a:xfrm>
            <a:custGeom>
              <a:avLst/>
              <a:gdLst>
                <a:gd name="T0" fmla="*/ 0 w 20"/>
                <a:gd name="T1" fmla="*/ 0 h 18"/>
                <a:gd name="T2" fmla="*/ 6191 w 20"/>
                <a:gd name="T3" fmla="*/ 57150 h 18"/>
                <a:gd name="T4" fmla="*/ 7620 w 20"/>
                <a:gd name="T5" fmla="*/ 34925 h 18"/>
                <a:gd name="T6" fmla="*/ 9525 w 20"/>
                <a:gd name="T7" fmla="*/ 0 h 18"/>
                <a:gd name="T8" fmla="*/ 0 w 20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1" name="Freeform 508">
              <a:extLst>
                <a:ext uri="{FF2B5EF4-FFF2-40B4-BE49-F238E27FC236}">
                  <a16:creationId xmlns:a16="http://schemas.microsoft.com/office/drawing/2014/main" id="{AF6E10A9-EA7E-4E4F-8D97-6CA91C669A0A}"/>
                </a:ext>
              </a:extLst>
            </p:cNvPr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8402638" y="1917700"/>
              <a:ext cx="12700" cy="58738"/>
            </a:xfrm>
            <a:custGeom>
              <a:avLst/>
              <a:gdLst>
                <a:gd name="T0" fmla="*/ 0 w 33"/>
                <a:gd name="T1" fmla="*/ 58738 h 31"/>
                <a:gd name="T2" fmla="*/ 0 w 33"/>
                <a:gd name="T3" fmla="*/ 0 h 31"/>
                <a:gd name="T4" fmla="*/ 3464 w 33"/>
                <a:gd name="T5" fmla="*/ 0 h 31"/>
                <a:gd name="T6" fmla="*/ 6158 w 33"/>
                <a:gd name="T7" fmla="*/ 0 h 31"/>
                <a:gd name="T8" fmla="*/ 9236 w 33"/>
                <a:gd name="T9" fmla="*/ 0 h 31"/>
                <a:gd name="T10" fmla="*/ 12700 w 33"/>
                <a:gd name="T11" fmla="*/ 0 h 31"/>
                <a:gd name="T12" fmla="*/ 11545 w 33"/>
                <a:gd name="T13" fmla="*/ 3790 h 31"/>
                <a:gd name="T14" fmla="*/ 11161 w 33"/>
                <a:gd name="T15" fmla="*/ 9474 h 31"/>
                <a:gd name="T16" fmla="*/ 10776 w 33"/>
                <a:gd name="T17" fmla="*/ 17053 h 31"/>
                <a:gd name="T18" fmla="*/ 10776 w 33"/>
                <a:gd name="T19" fmla="*/ 24632 h 31"/>
                <a:gd name="T20" fmla="*/ 10776 w 33"/>
                <a:gd name="T21" fmla="*/ 32211 h 31"/>
                <a:gd name="T22" fmla="*/ 11161 w 33"/>
                <a:gd name="T23" fmla="*/ 39790 h 31"/>
                <a:gd name="T24" fmla="*/ 11545 w 33"/>
                <a:gd name="T25" fmla="*/ 49264 h 31"/>
                <a:gd name="T26" fmla="*/ 12700 w 33"/>
                <a:gd name="T27" fmla="*/ 58738 h 31"/>
                <a:gd name="T28" fmla="*/ 0 w 33"/>
                <a:gd name="T29" fmla="*/ 58738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2" name="Freeform 509">
              <a:extLst>
                <a:ext uri="{FF2B5EF4-FFF2-40B4-BE49-F238E27FC236}">
                  <a16:creationId xmlns:a16="http://schemas.microsoft.com/office/drawing/2014/main" id="{C7AF1779-12D0-44AB-BBC7-0F419A4EA45E}"/>
                </a:ext>
              </a:extLst>
            </p:cNvPr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8696326" y="1439864"/>
              <a:ext cx="55563" cy="58737"/>
            </a:xfrm>
            <a:custGeom>
              <a:avLst/>
              <a:gdLst>
                <a:gd name="T0" fmla="*/ 1292 w 129"/>
                <a:gd name="T1" fmla="*/ 46151 h 56"/>
                <a:gd name="T2" fmla="*/ 431 w 129"/>
                <a:gd name="T3" fmla="*/ 44053 h 56"/>
                <a:gd name="T4" fmla="*/ 431 w 129"/>
                <a:gd name="T5" fmla="*/ 41955 h 56"/>
                <a:gd name="T6" fmla="*/ 0 w 129"/>
                <a:gd name="T7" fmla="*/ 38808 h 56"/>
                <a:gd name="T8" fmla="*/ 431 w 129"/>
                <a:gd name="T9" fmla="*/ 34613 h 56"/>
                <a:gd name="T10" fmla="*/ 861 w 129"/>
                <a:gd name="T11" fmla="*/ 26222 h 56"/>
                <a:gd name="T12" fmla="*/ 1292 w 129"/>
                <a:gd name="T13" fmla="*/ 18880 h 56"/>
                <a:gd name="T14" fmla="*/ 3876 w 129"/>
                <a:gd name="T15" fmla="*/ 13635 h 56"/>
                <a:gd name="T16" fmla="*/ 6892 w 129"/>
                <a:gd name="T17" fmla="*/ 9440 h 56"/>
                <a:gd name="T18" fmla="*/ 9045 w 129"/>
                <a:gd name="T19" fmla="*/ 6293 h 56"/>
                <a:gd name="T20" fmla="*/ 11629 w 129"/>
                <a:gd name="T21" fmla="*/ 5244 h 56"/>
                <a:gd name="T22" fmla="*/ 16798 w 129"/>
                <a:gd name="T23" fmla="*/ 3147 h 56"/>
                <a:gd name="T24" fmla="*/ 24551 w 129"/>
                <a:gd name="T25" fmla="*/ 0 h 56"/>
                <a:gd name="T26" fmla="*/ 25843 w 129"/>
                <a:gd name="T27" fmla="*/ 5244 h 56"/>
                <a:gd name="T28" fmla="*/ 27566 w 129"/>
                <a:gd name="T29" fmla="*/ 8391 h 56"/>
                <a:gd name="T30" fmla="*/ 29720 w 129"/>
                <a:gd name="T31" fmla="*/ 11538 h 56"/>
                <a:gd name="T32" fmla="*/ 31443 w 129"/>
                <a:gd name="T33" fmla="*/ 14684 h 56"/>
                <a:gd name="T34" fmla="*/ 35750 w 129"/>
                <a:gd name="T35" fmla="*/ 18880 h 56"/>
                <a:gd name="T36" fmla="*/ 40057 w 129"/>
                <a:gd name="T37" fmla="*/ 22026 h 56"/>
                <a:gd name="T38" fmla="*/ 44364 w 129"/>
                <a:gd name="T39" fmla="*/ 26222 h 56"/>
                <a:gd name="T40" fmla="*/ 48671 w 129"/>
                <a:gd name="T41" fmla="*/ 30417 h 56"/>
                <a:gd name="T42" fmla="*/ 50394 w 129"/>
                <a:gd name="T43" fmla="*/ 33564 h 56"/>
                <a:gd name="T44" fmla="*/ 52117 w 129"/>
                <a:gd name="T45" fmla="*/ 36711 h 56"/>
                <a:gd name="T46" fmla="*/ 54271 w 129"/>
                <a:gd name="T47" fmla="*/ 39857 h 56"/>
                <a:gd name="T48" fmla="*/ 55563 w 129"/>
                <a:gd name="T49" fmla="*/ 46151 h 56"/>
                <a:gd name="T50" fmla="*/ 51256 w 129"/>
                <a:gd name="T51" fmla="*/ 50346 h 56"/>
                <a:gd name="T52" fmla="*/ 46949 w 129"/>
                <a:gd name="T53" fmla="*/ 53493 h 56"/>
                <a:gd name="T54" fmla="*/ 42641 w 129"/>
                <a:gd name="T55" fmla="*/ 55590 h 56"/>
                <a:gd name="T56" fmla="*/ 38765 w 129"/>
                <a:gd name="T57" fmla="*/ 56639 h 56"/>
                <a:gd name="T58" fmla="*/ 30150 w 129"/>
                <a:gd name="T59" fmla="*/ 58737 h 56"/>
                <a:gd name="T60" fmla="*/ 21105 w 129"/>
                <a:gd name="T61" fmla="*/ 58737 h 56"/>
                <a:gd name="T62" fmla="*/ 17229 w 129"/>
                <a:gd name="T63" fmla="*/ 57688 h 56"/>
                <a:gd name="T64" fmla="*/ 13352 w 129"/>
                <a:gd name="T65" fmla="*/ 56639 h 56"/>
                <a:gd name="T66" fmla="*/ 9907 w 129"/>
                <a:gd name="T67" fmla="*/ 54542 h 56"/>
                <a:gd name="T68" fmla="*/ 6892 w 129"/>
                <a:gd name="T69" fmla="*/ 52444 h 56"/>
                <a:gd name="T70" fmla="*/ 2584 w 129"/>
                <a:gd name="T71" fmla="*/ 48248 h 56"/>
                <a:gd name="T72" fmla="*/ 1292 w 129"/>
                <a:gd name="T73" fmla="*/ 46151 h 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3" name="Freeform 510">
              <a:extLst>
                <a:ext uri="{FF2B5EF4-FFF2-40B4-BE49-F238E27FC236}">
                  <a16:creationId xmlns:a16="http://schemas.microsoft.com/office/drawing/2014/main" id="{9F10B226-2FFA-45FF-9240-5708ADF587F4}"/>
                </a:ext>
              </a:extLst>
            </p:cNvPr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8832850" y="1792288"/>
              <a:ext cx="14288" cy="57150"/>
            </a:xfrm>
            <a:custGeom>
              <a:avLst/>
              <a:gdLst>
                <a:gd name="T0" fmla="*/ 7318 w 41"/>
                <a:gd name="T1" fmla="*/ 57150 h 42"/>
                <a:gd name="T2" fmla="*/ 0 w 41"/>
                <a:gd name="T3" fmla="*/ 40821 h 42"/>
                <a:gd name="T4" fmla="*/ 0 w 41"/>
                <a:gd name="T5" fmla="*/ 8164 h 42"/>
                <a:gd name="T6" fmla="*/ 2439 w 41"/>
                <a:gd name="T7" fmla="*/ 6804 h 42"/>
                <a:gd name="T8" fmla="*/ 4879 w 41"/>
                <a:gd name="T9" fmla="*/ 4082 h 42"/>
                <a:gd name="T10" fmla="*/ 8364 w 41"/>
                <a:gd name="T11" fmla="*/ 1361 h 42"/>
                <a:gd name="T12" fmla="*/ 11849 w 41"/>
                <a:gd name="T13" fmla="*/ 0 h 42"/>
                <a:gd name="T14" fmla="*/ 11849 w 41"/>
                <a:gd name="T15" fmla="*/ 24493 h 42"/>
                <a:gd name="T16" fmla="*/ 14288 w 41"/>
                <a:gd name="T17" fmla="*/ 24493 h 42"/>
                <a:gd name="T18" fmla="*/ 7318 w 41"/>
                <a:gd name="T19" fmla="*/ 57150 h 4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4" name="Freeform 511">
              <a:extLst>
                <a:ext uri="{FF2B5EF4-FFF2-40B4-BE49-F238E27FC236}">
                  <a16:creationId xmlns:a16="http://schemas.microsoft.com/office/drawing/2014/main" id="{E6E002DC-0036-45B6-ACF4-BE8BC2FA88EC}"/>
                </a:ext>
              </a:extLst>
            </p:cNvPr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8982076" y="1905001"/>
              <a:ext cx="42863" cy="60325"/>
            </a:xfrm>
            <a:custGeom>
              <a:avLst/>
              <a:gdLst>
                <a:gd name="T0" fmla="*/ 27654 w 93"/>
                <a:gd name="T1" fmla="*/ 13921 h 39"/>
                <a:gd name="T2" fmla="*/ 30880 w 93"/>
                <a:gd name="T3" fmla="*/ 27842 h 39"/>
                <a:gd name="T4" fmla="*/ 35489 w 93"/>
                <a:gd name="T5" fmla="*/ 43310 h 39"/>
                <a:gd name="T6" fmla="*/ 37332 w 93"/>
                <a:gd name="T7" fmla="*/ 51044 h 39"/>
                <a:gd name="T8" fmla="*/ 39637 w 93"/>
                <a:gd name="T9" fmla="*/ 55685 h 39"/>
                <a:gd name="T10" fmla="*/ 41480 w 93"/>
                <a:gd name="T11" fmla="*/ 58778 h 39"/>
                <a:gd name="T12" fmla="*/ 42863 w 93"/>
                <a:gd name="T13" fmla="*/ 60325 h 39"/>
                <a:gd name="T14" fmla="*/ 27654 w 93"/>
                <a:gd name="T15" fmla="*/ 60325 h 39"/>
                <a:gd name="T16" fmla="*/ 23045 w 93"/>
                <a:gd name="T17" fmla="*/ 55685 h 39"/>
                <a:gd name="T18" fmla="*/ 19818 w 93"/>
                <a:gd name="T19" fmla="*/ 49497 h 39"/>
                <a:gd name="T20" fmla="*/ 16592 w 93"/>
                <a:gd name="T21" fmla="*/ 43310 h 39"/>
                <a:gd name="T22" fmla="*/ 13827 w 93"/>
                <a:gd name="T23" fmla="*/ 35576 h 39"/>
                <a:gd name="T24" fmla="*/ 11061 w 93"/>
                <a:gd name="T25" fmla="*/ 27842 h 39"/>
                <a:gd name="T26" fmla="*/ 7374 w 93"/>
                <a:gd name="T27" fmla="*/ 20108 h 39"/>
                <a:gd name="T28" fmla="*/ 4148 w 93"/>
                <a:gd name="T29" fmla="*/ 10828 h 39"/>
                <a:gd name="T30" fmla="*/ 0 w 93"/>
                <a:gd name="T31" fmla="*/ 4640 h 39"/>
                <a:gd name="T32" fmla="*/ 5070 w 93"/>
                <a:gd name="T33" fmla="*/ 1547 h 39"/>
                <a:gd name="T34" fmla="*/ 9218 w 93"/>
                <a:gd name="T35" fmla="*/ 0 h 39"/>
                <a:gd name="T36" fmla="*/ 11983 w 93"/>
                <a:gd name="T37" fmla="*/ 0 h 39"/>
                <a:gd name="T38" fmla="*/ 15209 w 93"/>
                <a:gd name="T39" fmla="*/ 1547 h 39"/>
                <a:gd name="T40" fmla="*/ 20279 w 93"/>
                <a:gd name="T41" fmla="*/ 6187 h 39"/>
                <a:gd name="T42" fmla="*/ 27654 w 93"/>
                <a:gd name="T43" fmla="*/ 13921 h 3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5" name="Freeform 512">
              <a:extLst>
                <a:ext uri="{FF2B5EF4-FFF2-40B4-BE49-F238E27FC236}">
                  <a16:creationId xmlns:a16="http://schemas.microsoft.com/office/drawing/2014/main" id="{2F59FF21-CE82-4855-8B55-33081A8E6EA8}"/>
                </a:ext>
              </a:extLst>
            </p:cNvPr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9032875" y="1920875"/>
              <a:ext cx="19050" cy="58738"/>
            </a:xfrm>
            <a:custGeom>
              <a:avLst/>
              <a:gdLst>
                <a:gd name="T0" fmla="*/ 19050 w 39"/>
                <a:gd name="T1" fmla="*/ 58738 h 19"/>
                <a:gd name="T2" fmla="*/ 6350 w 39"/>
                <a:gd name="T3" fmla="*/ 58738 h 19"/>
                <a:gd name="T4" fmla="*/ 3908 w 39"/>
                <a:gd name="T5" fmla="*/ 58738 h 19"/>
                <a:gd name="T6" fmla="*/ 2442 w 39"/>
                <a:gd name="T7" fmla="*/ 52555 h 19"/>
                <a:gd name="T8" fmla="*/ 1465 w 39"/>
                <a:gd name="T9" fmla="*/ 43281 h 19"/>
                <a:gd name="T10" fmla="*/ 977 w 39"/>
                <a:gd name="T11" fmla="*/ 34006 h 19"/>
                <a:gd name="T12" fmla="*/ 0 w 39"/>
                <a:gd name="T13" fmla="*/ 15457 h 19"/>
                <a:gd name="T14" fmla="*/ 0 w 39"/>
                <a:gd name="T15" fmla="*/ 0 h 19"/>
                <a:gd name="T16" fmla="*/ 6350 w 39"/>
                <a:gd name="T17" fmla="*/ 12366 h 19"/>
                <a:gd name="T18" fmla="*/ 10746 w 39"/>
                <a:gd name="T19" fmla="*/ 27823 h 19"/>
                <a:gd name="T20" fmla="*/ 14654 w 39"/>
                <a:gd name="T21" fmla="*/ 43281 h 19"/>
                <a:gd name="T22" fmla="*/ 19050 w 39"/>
                <a:gd name="T23" fmla="*/ 58738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6" name="Freeform 513">
              <a:extLst>
                <a:ext uri="{FF2B5EF4-FFF2-40B4-BE49-F238E27FC236}">
                  <a16:creationId xmlns:a16="http://schemas.microsoft.com/office/drawing/2014/main" id="{67BDC0CE-1794-455D-8A46-996A9D0B8631}"/>
                </a:ext>
              </a:extLst>
            </p:cNvPr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8897939" y="2047875"/>
              <a:ext cx="14287" cy="57150"/>
            </a:xfrm>
            <a:custGeom>
              <a:avLst/>
              <a:gdLst>
                <a:gd name="T0" fmla="*/ 0 w 26"/>
                <a:gd name="T1" fmla="*/ 57150 h 36"/>
                <a:gd name="T2" fmla="*/ 1649 w 26"/>
                <a:gd name="T3" fmla="*/ 49213 h 36"/>
                <a:gd name="T4" fmla="*/ 5495 w 26"/>
                <a:gd name="T5" fmla="*/ 31750 h 36"/>
                <a:gd name="T6" fmla="*/ 9891 w 26"/>
                <a:gd name="T7" fmla="*/ 12700 h 36"/>
                <a:gd name="T8" fmla="*/ 14287 w 26"/>
                <a:gd name="T9" fmla="*/ 0 h 36"/>
                <a:gd name="T10" fmla="*/ 14287 w 26"/>
                <a:gd name="T11" fmla="*/ 14288 h 36"/>
                <a:gd name="T12" fmla="*/ 14287 w 26"/>
                <a:gd name="T13" fmla="*/ 28575 h 36"/>
                <a:gd name="T14" fmla="*/ 13738 w 26"/>
                <a:gd name="T15" fmla="*/ 34925 h 36"/>
                <a:gd name="T16" fmla="*/ 13188 w 26"/>
                <a:gd name="T17" fmla="*/ 41275 h 36"/>
                <a:gd name="T18" fmla="*/ 11540 w 26"/>
                <a:gd name="T19" fmla="*/ 46038 h 36"/>
                <a:gd name="T20" fmla="*/ 9342 w 26"/>
                <a:gd name="T21" fmla="*/ 50800 h 36"/>
                <a:gd name="T22" fmla="*/ 7693 w 26"/>
                <a:gd name="T23" fmla="*/ 53975 h 36"/>
                <a:gd name="T24" fmla="*/ 5495 w 26"/>
                <a:gd name="T25" fmla="*/ 55563 h 36"/>
                <a:gd name="T26" fmla="*/ 2198 w 26"/>
                <a:gd name="T27" fmla="*/ 57150 h 36"/>
                <a:gd name="T28" fmla="*/ 0 w 26"/>
                <a:gd name="T29" fmla="*/ 57150 h 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7" name="Freeform 514">
              <a:extLst>
                <a:ext uri="{FF2B5EF4-FFF2-40B4-BE49-F238E27FC236}">
                  <a16:creationId xmlns:a16="http://schemas.microsoft.com/office/drawing/2014/main" id="{2B40E59B-1EBD-4725-935B-B2CE9EAEAD83}"/>
                </a:ext>
              </a:extLst>
            </p:cNvPr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8909051" y="2076451"/>
              <a:ext cx="3175" cy="60325"/>
            </a:xfrm>
            <a:custGeom>
              <a:avLst/>
              <a:gdLst>
                <a:gd name="T0" fmla="*/ 0 w 6"/>
                <a:gd name="T1" fmla="*/ 60325 h 37"/>
                <a:gd name="T2" fmla="*/ 0 w 6"/>
                <a:gd name="T3" fmla="*/ 0 h 37"/>
                <a:gd name="T4" fmla="*/ 3175 w 6"/>
                <a:gd name="T5" fmla="*/ 0 h 37"/>
                <a:gd name="T6" fmla="*/ 3175 w 6"/>
                <a:gd name="T7" fmla="*/ 50543 h 37"/>
                <a:gd name="T8" fmla="*/ 0 w 6"/>
                <a:gd name="T9" fmla="*/ 60325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8" name="Freeform 515">
              <a:extLst>
                <a:ext uri="{FF2B5EF4-FFF2-40B4-BE49-F238E27FC236}">
                  <a16:creationId xmlns:a16="http://schemas.microsoft.com/office/drawing/2014/main" id="{F0C5D435-EF4A-44BE-888B-C54B0B1F301D}"/>
                </a:ext>
              </a:extLst>
            </p:cNvPr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8896351" y="2159001"/>
              <a:ext cx="9525" cy="55563"/>
            </a:xfrm>
            <a:custGeom>
              <a:avLst/>
              <a:gdLst>
                <a:gd name="T0" fmla="*/ 0 w 20"/>
                <a:gd name="T1" fmla="*/ 40057 h 43"/>
                <a:gd name="T2" fmla="*/ 0 w 20"/>
                <a:gd name="T3" fmla="*/ 32304 h 43"/>
                <a:gd name="T4" fmla="*/ 0 w 20"/>
                <a:gd name="T5" fmla="*/ 23259 h 43"/>
                <a:gd name="T6" fmla="*/ 953 w 20"/>
                <a:gd name="T7" fmla="*/ 11629 h 43"/>
                <a:gd name="T8" fmla="*/ 3334 w 20"/>
                <a:gd name="T9" fmla="*/ 0 h 43"/>
                <a:gd name="T10" fmla="*/ 5239 w 20"/>
                <a:gd name="T11" fmla="*/ 9045 h 43"/>
                <a:gd name="T12" fmla="*/ 7620 w 20"/>
                <a:gd name="T13" fmla="*/ 15506 h 43"/>
                <a:gd name="T14" fmla="*/ 8096 w 20"/>
                <a:gd name="T15" fmla="*/ 18090 h 43"/>
                <a:gd name="T16" fmla="*/ 9049 w 20"/>
                <a:gd name="T17" fmla="*/ 23259 h 43"/>
                <a:gd name="T18" fmla="*/ 9049 w 20"/>
                <a:gd name="T19" fmla="*/ 27135 h 43"/>
                <a:gd name="T20" fmla="*/ 9525 w 20"/>
                <a:gd name="T21" fmla="*/ 32304 h 43"/>
                <a:gd name="T22" fmla="*/ 9049 w 20"/>
                <a:gd name="T23" fmla="*/ 34888 h 43"/>
                <a:gd name="T24" fmla="*/ 8573 w 20"/>
                <a:gd name="T25" fmla="*/ 38765 h 43"/>
                <a:gd name="T26" fmla="*/ 7620 w 20"/>
                <a:gd name="T27" fmla="*/ 42641 h 43"/>
                <a:gd name="T28" fmla="*/ 5715 w 20"/>
                <a:gd name="T29" fmla="*/ 46518 h 43"/>
                <a:gd name="T30" fmla="*/ 4286 w 20"/>
                <a:gd name="T31" fmla="*/ 50394 h 43"/>
                <a:gd name="T32" fmla="*/ 2858 w 20"/>
                <a:gd name="T33" fmla="*/ 52979 h 43"/>
                <a:gd name="T34" fmla="*/ 953 w 20"/>
                <a:gd name="T35" fmla="*/ 54271 h 43"/>
                <a:gd name="T36" fmla="*/ 0 w 20"/>
                <a:gd name="T37" fmla="*/ 55563 h 43"/>
                <a:gd name="T38" fmla="*/ 0 w 20"/>
                <a:gd name="T39" fmla="*/ 40057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9" name="Freeform 516">
              <a:extLst>
                <a:ext uri="{FF2B5EF4-FFF2-40B4-BE49-F238E27FC236}">
                  <a16:creationId xmlns:a16="http://schemas.microsoft.com/office/drawing/2014/main" id="{C75FD0CA-EE43-4B84-AA1A-984F9D764354}"/>
                </a:ext>
              </a:extLst>
            </p:cNvPr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8874125" y="2193925"/>
              <a:ext cx="0" cy="58738"/>
            </a:xfrm>
            <a:custGeom>
              <a:avLst/>
              <a:gdLst>
                <a:gd name="T0" fmla="*/ 58738 h 30"/>
                <a:gd name="T1" fmla="*/ 48948 h 30"/>
                <a:gd name="T2" fmla="*/ 35243 h 30"/>
                <a:gd name="T3" fmla="*/ 17621 h 30"/>
                <a:gd name="T4" fmla="*/ 0 h 30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</a:gdLst>
              <a:ahLst/>
              <a:cxnLst>
                <a:cxn ang="T5">
                  <a:pos x="0" y="T0"/>
                </a:cxn>
                <a:cxn ang="T6">
                  <a:pos x="0" y="T1"/>
                </a:cxn>
                <a:cxn ang="T7">
                  <a:pos x="0" y="T2"/>
                </a:cxn>
                <a:cxn ang="T8">
                  <a:pos x="0" y="T3"/>
                </a:cxn>
                <a:cxn ang="T9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0" name="Freeform 517">
              <a:extLst>
                <a:ext uri="{FF2B5EF4-FFF2-40B4-BE49-F238E27FC236}">
                  <a16:creationId xmlns:a16="http://schemas.microsoft.com/office/drawing/2014/main" id="{FCF83646-5257-4D3B-AE5D-658AB2F7145C}"/>
                </a:ext>
              </a:extLst>
            </p:cNvPr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8874125" y="2193925"/>
              <a:ext cx="7938" cy="58738"/>
            </a:xfrm>
            <a:custGeom>
              <a:avLst/>
              <a:gdLst>
                <a:gd name="T0" fmla="*/ 0 w 20"/>
                <a:gd name="T1" fmla="*/ 0 h 24"/>
                <a:gd name="T2" fmla="*/ 7938 w 20"/>
                <a:gd name="T3" fmla="*/ 0 h 24"/>
                <a:gd name="T4" fmla="*/ 0 w 20"/>
                <a:gd name="T5" fmla="*/ 58738 h 24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1" name="Freeform 518">
              <a:extLst>
                <a:ext uri="{FF2B5EF4-FFF2-40B4-BE49-F238E27FC236}">
                  <a16:creationId xmlns:a16="http://schemas.microsoft.com/office/drawing/2014/main" id="{D2A89C95-D11E-4368-B3B8-528A3E9D2ED1}"/>
                </a:ext>
              </a:extLst>
            </p:cNvPr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8628063" y="1781176"/>
              <a:ext cx="17462" cy="60325"/>
            </a:xfrm>
            <a:custGeom>
              <a:avLst/>
              <a:gdLst>
                <a:gd name="T0" fmla="*/ 0 w 46"/>
                <a:gd name="T1" fmla="*/ 0 h 19"/>
                <a:gd name="T2" fmla="*/ 3416 w 46"/>
                <a:gd name="T3" fmla="*/ 9525 h 19"/>
                <a:gd name="T4" fmla="*/ 5315 w 46"/>
                <a:gd name="T5" fmla="*/ 15875 h 19"/>
                <a:gd name="T6" fmla="*/ 7213 w 46"/>
                <a:gd name="T7" fmla="*/ 25400 h 19"/>
                <a:gd name="T8" fmla="*/ 8731 w 46"/>
                <a:gd name="T9" fmla="*/ 31750 h 19"/>
                <a:gd name="T10" fmla="*/ 9870 w 46"/>
                <a:gd name="T11" fmla="*/ 38100 h 19"/>
                <a:gd name="T12" fmla="*/ 12147 w 46"/>
                <a:gd name="T13" fmla="*/ 44450 h 19"/>
                <a:gd name="T14" fmla="*/ 14046 w 46"/>
                <a:gd name="T15" fmla="*/ 53975 h 19"/>
                <a:gd name="T16" fmla="*/ 17462 w 46"/>
                <a:gd name="T17" fmla="*/ 60325 h 19"/>
                <a:gd name="T18" fmla="*/ 12527 w 46"/>
                <a:gd name="T19" fmla="*/ 60325 h 19"/>
                <a:gd name="T20" fmla="*/ 9111 w 46"/>
                <a:gd name="T21" fmla="*/ 60325 h 19"/>
                <a:gd name="T22" fmla="*/ 6833 w 46"/>
                <a:gd name="T23" fmla="*/ 57150 h 19"/>
                <a:gd name="T24" fmla="*/ 4935 w 46"/>
                <a:gd name="T25" fmla="*/ 53975 h 19"/>
                <a:gd name="T26" fmla="*/ 3796 w 46"/>
                <a:gd name="T27" fmla="*/ 44450 h 19"/>
                <a:gd name="T28" fmla="*/ 2657 w 46"/>
                <a:gd name="T29" fmla="*/ 34925 h 19"/>
                <a:gd name="T30" fmla="*/ 1518 w 46"/>
                <a:gd name="T31" fmla="*/ 22225 h 19"/>
                <a:gd name="T32" fmla="*/ 0 w 46"/>
                <a:gd name="T33" fmla="*/ 0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2" name="Freeform 519">
              <a:extLst>
                <a:ext uri="{FF2B5EF4-FFF2-40B4-BE49-F238E27FC236}">
                  <a16:creationId xmlns:a16="http://schemas.microsoft.com/office/drawing/2014/main" id="{A3E5B3D7-A7DA-4EF8-908F-B8553B22FDD0}"/>
                </a:ext>
              </a:extLst>
            </p:cNvPr>
            <p:cNvSpPr>
              <a:spLocks/>
            </p:cNvSpPr>
            <p:nvPr>
              <p:custDataLst>
                <p:tags r:id="rId357"/>
              </p:custDataLst>
            </p:nvPr>
          </p:nvSpPr>
          <p:spPr bwMode="auto">
            <a:xfrm>
              <a:off x="5943601" y="1920875"/>
              <a:ext cx="47625" cy="58738"/>
            </a:xfrm>
            <a:custGeom>
              <a:avLst/>
              <a:gdLst>
                <a:gd name="T0" fmla="*/ 15716 w 100"/>
                <a:gd name="T1" fmla="*/ 0 h 55"/>
                <a:gd name="T2" fmla="*/ 47625 w 100"/>
                <a:gd name="T3" fmla="*/ 12816 h 55"/>
                <a:gd name="T4" fmla="*/ 47625 w 100"/>
                <a:gd name="T5" fmla="*/ 58738 h 55"/>
                <a:gd name="T6" fmla="*/ 6191 w 100"/>
                <a:gd name="T7" fmla="*/ 58738 h 55"/>
                <a:gd name="T8" fmla="*/ 0 w 100"/>
                <a:gd name="T9" fmla="*/ 45922 h 55"/>
                <a:gd name="T10" fmla="*/ 476 w 100"/>
                <a:gd name="T11" fmla="*/ 40583 h 55"/>
                <a:gd name="T12" fmla="*/ 1905 w 100"/>
                <a:gd name="T13" fmla="*/ 34175 h 55"/>
                <a:gd name="T14" fmla="*/ 4763 w 100"/>
                <a:gd name="T15" fmla="*/ 26699 h 55"/>
                <a:gd name="T16" fmla="*/ 7620 w 100"/>
                <a:gd name="T17" fmla="*/ 19223 h 55"/>
                <a:gd name="T18" fmla="*/ 12859 w 100"/>
                <a:gd name="T19" fmla="*/ 5340 h 55"/>
                <a:gd name="T20" fmla="*/ 15716 w 100"/>
                <a:gd name="T21" fmla="*/ 0 h 5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3" name="Freeform 520">
              <a:extLst>
                <a:ext uri="{FF2B5EF4-FFF2-40B4-BE49-F238E27FC236}">
                  <a16:creationId xmlns:a16="http://schemas.microsoft.com/office/drawing/2014/main" id="{AC1265FF-E5A7-46EC-B4B1-4784F94CF86C}"/>
                </a:ext>
              </a:extLst>
            </p:cNvPr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6392863" y="1512889"/>
              <a:ext cx="42862" cy="58737"/>
            </a:xfrm>
            <a:custGeom>
              <a:avLst/>
              <a:gdLst>
                <a:gd name="T0" fmla="*/ 22946 w 99"/>
                <a:gd name="T1" fmla="*/ 2303 h 51"/>
                <a:gd name="T2" fmla="*/ 25111 w 99"/>
                <a:gd name="T3" fmla="*/ 1152 h 51"/>
                <a:gd name="T4" fmla="*/ 26843 w 99"/>
                <a:gd name="T5" fmla="*/ 0 h 51"/>
                <a:gd name="T6" fmla="*/ 28142 w 99"/>
                <a:gd name="T7" fmla="*/ 0 h 51"/>
                <a:gd name="T8" fmla="*/ 29874 w 99"/>
                <a:gd name="T9" fmla="*/ 1152 h 51"/>
                <a:gd name="T10" fmla="*/ 32038 w 99"/>
                <a:gd name="T11" fmla="*/ 5759 h 51"/>
                <a:gd name="T12" fmla="*/ 34203 w 99"/>
                <a:gd name="T13" fmla="*/ 12669 h 51"/>
                <a:gd name="T14" fmla="*/ 35935 w 99"/>
                <a:gd name="T15" fmla="*/ 20731 h 51"/>
                <a:gd name="T16" fmla="*/ 37667 w 99"/>
                <a:gd name="T17" fmla="*/ 28793 h 51"/>
                <a:gd name="T18" fmla="*/ 39398 w 99"/>
                <a:gd name="T19" fmla="*/ 32248 h 51"/>
                <a:gd name="T20" fmla="*/ 40264 w 99"/>
                <a:gd name="T21" fmla="*/ 34551 h 51"/>
                <a:gd name="T22" fmla="*/ 41563 w 99"/>
                <a:gd name="T23" fmla="*/ 36855 h 51"/>
                <a:gd name="T24" fmla="*/ 42862 w 99"/>
                <a:gd name="T25" fmla="*/ 39158 h 51"/>
                <a:gd name="T26" fmla="*/ 42862 w 99"/>
                <a:gd name="T27" fmla="*/ 42613 h 51"/>
                <a:gd name="T28" fmla="*/ 41996 w 99"/>
                <a:gd name="T29" fmla="*/ 46068 h 51"/>
                <a:gd name="T30" fmla="*/ 41130 w 99"/>
                <a:gd name="T31" fmla="*/ 49523 h 51"/>
                <a:gd name="T32" fmla="*/ 39398 w 99"/>
                <a:gd name="T33" fmla="*/ 51827 h 51"/>
                <a:gd name="T34" fmla="*/ 37234 w 99"/>
                <a:gd name="T35" fmla="*/ 54130 h 51"/>
                <a:gd name="T36" fmla="*/ 35069 w 99"/>
                <a:gd name="T37" fmla="*/ 55282 h 51"/>
                <a:gd name="T38" fmla="*/ 32038 w 99"/>
                <a:gd name="T39" fmla="*/ 57585 h 51"/>
                <a:gd name="T40" fmla="*/ 29441 w 99"/>
                <a:gd name="T41" fmla="*/ 57585 h 51"/>
                <a:gd name="T42" fmla="*/ 22513 w 99"/>
                <a:gd name="T43" fmla="*/ 58737 h 51"/>
                <a:gd name="T44" fmla="*/ 15586 w 99"/>
                <a:gd name="T45" fmla="*/ 56434 h 51"/>
                <a:gd name="T46" fmla="*/ 11690 w 99"/>
                <a:gd name="T47" fmla="*/ 55282 h 51"/>
                <a:gd name="T48" fmla="*/ 7793 w 99"/>
                <a:gd name="T49" fmla="*/ 51827 h 51"/>
                <a:gd name="T50" fmla="*/ 3897 w 99"/>
                <a:gd name="T51" fmla="*/ 49523 h 51"/>
                <a:gd name="T52" fmla="*/ 433 w 99"/>
                <a:gd name="T53" fmla="*/ 46068 h 51"/>
                <a:gd name="T54" fmla="*/ 0 w 99"/>
                <a:gd name="T55" fmla="*/ 44917 h 51"/>
                <a:gd name="T56" fmla="*/ 433 w 99"/>
                <a:gd name="T57" fmla="*/ 42613 h 51"/>
                <a:gd name="T58" fmla="*/ 1299 w 99"/>
                <a:gd name="T59" fmla="*/ 40310 h 51"/>
                <a:gd name="T60" fmla="*/ 2598 w 99"/>
                <a:gd name="T61" fmla="*/ 38006 h 51"/>
                <a:gd name="T62" fmla="*/ 6061 w 99"/>
                <a:gd name="T63" fmla="*/ 33399 h 51"/>
                <a:gd name="T64" fmla="*/ 10824 w 99"/>
                <a:gd name="T65" fmla="*/ 27641 h 51"/>
                <a:gd name="T66" fmla="*/ 15153 w 99"/>
                <a:gd name="T67" fmla="*/ 21882 h 51"/>
                <a:gd name="T68" fmla="*/ 19483 w 99"/>
                <a:gd name="T69" fmla="*/ 13820 h 51"/>
                <a:gd name="T70" fmla="*/ 20782 w 99"/>
                <a:gd name="T71" fmla="*/ 11517 h 51"/>
                <a:gd name="T72" fmla="*/ 22080 w 99"/>
                <a:gd name="T73" fmla="*/ 8062 h 51"/>
                <a:gd name="T74" fmla="*/ 22513 w 99"/>
                <a:gd name="T75" fmla="*/ 5759 h 51"/>
                <a:gd name="T76" fmla="*/ 22946 w 99"/>
                <a:gd name="T77" fmla="*/ 2303 h 5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4" name="Freeform 521">
              <a:extLst>
                <a:ext uri="{FF2B5EF4-FFF2-40B4-BE49-F238E27FC236}">
                  <a16:creationId xmlns:a16="http://schemas.microsoft.com/office/drawing/2014/main" id="{09D5BEFD-9180-4D7C-A2C6-117E1C759589}"/>
                </a:ext>
              </a:extLst>
            </p:cNvPr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6427788" y="1325563"/>
              <a:ext cx="228600" cy="163512"/>
            </a:xfrm>
            <a:custGeom>
              <a:avLst/>
              <a:gdLst>
                <a:gd name="T0" fmla="*/ 137160 w 525"/>
                <a:gd name="T1" fmla="*/ 14196 h 311"/>
                <a:gd name="T2" fmla="*/ 148917 w 525"/>
                <a:gd name="T3" fmla="*/ 11041 h 311"/>
                <a:gd name="T4" fmla="*/ 167640 w 525"/>
                <a:gd name="T5" fmla="*/ 10515 h 311"/>
                <a:gd name="T6" fmla="*/ 177655 w 525"/>
                <a:gd name="T7" fmla="*/ 8938 h 311"/>
                <a:gd name="T8" fmla="*/ 185928 w 525"/>
                <a:gd name="T9" fmla="*/ 3680 h 311"/>
                <a:gd name="T10" fmla="*/ 223810 w 525"/>
                <a:gd name="T11" fmla="*/ 3155 h 311"/>
                <a:gd name="T12" fmla="*/ 228600 w 525"/>
                <a:gd name="T13" fmla="*/ 9989 h 311"/>
                <a:gd name="T14" fmla="*/ 203781 w 525"/>
                <a:gd name="T15" fmla="*/ 24711 h 311"/>
                <a:gd name="T16" fmla="*/ 170688 w 525"/>
                <a:gd name="T17" fmla="*/ 38381 h 311"/>
                <a:gd name="T18" fmla="*/ 155013 w 525"/>
                <a:gd name="T19" fmla="*/ 42061 h 311"/>
                <a:gd name="T20" fmla="*/ 139773 w 525"/>
                <a:gd name="T21" fmla="*/ 43638 h 311"/>
                <a:gd name="T22" fmla="*/ 121485 w 525"/>
                <a:gd name="T23" fmla="*/ 53102 h 311"/>
                <a:gd name="T24" fmla="*/ 106245 w 525"/>
                <a:gd name="T25" fmla="*/ 63617 h 311"/>
                <a:gd name="T26" fmla="*/ 94923 w 525"/>
                <a:gd name="T27" fmla="*/ 67823 h 311"/>
                <a:gd name="T28" fmla="*/ 81425 w 525"/>
                <a:gd name="T29" fmla="*/ 64669 h 311"/>
                <a:gd name="T30" fmla="*/ 77506 w 525"/>
                <a:gd name="T31" fmla="*/ 72029 h 311"/>
                <a:gd name="T32" fmla="*/ 76200 w 525"/>
                <a:gd name="T33" fmla="*/ 76235 h 311"/>
                <a:gd name="T34" fmla="*/ 80554 w 525"/>
                <a:gd name="T35" fmla="*/ 77813 h 311"/>
                <a:gd name="T36" fmla="*/ 80119 w 525"/>
                <a:gd name="T37" fmla="*/ 82545 h 311"/>
                <a:gd name="T38" fmla="*/ 76635 w 525"/>
                <a:gd name="T39" fmla="*/ 87802 h 311"/>
                <a:gd name="T40" fmla="*/ 78377 w 525"/>
                <a:gd name="T41" fmla="*/ 94111 h 311"/>
                <a:gd name="T42" fmla="*/ 70539 w 525"/>
                <a:gd name="T43" fmla="*/ 101998 h 311"/>
                <a:gd name="T44" fmla="*/ 62702 w 525"/>
                <a:gd name="T45" fmla="*/ 107255 h 311"/>
                <a:gd name="T46" fmla="*/ 61395 w 525"/>
                <a:gd name="T47" fmla="*/ 111987 h 311"/>
                <a:gd name="T48" fmla="*/ 62702 w 525"/>
                <a:gd name="T49" fmla="*/ 119874 h 311"/>
                <a:gd name="T50" fmla="*/ 70975 w 525"/>
                <a:gd name="T51" fmla="*/ 129863 h 311"/>
                <a:gd name="T52" fmla="*/ 83167 w 525"/>
                <a:gd name="T53" fmla="*/ 140378 h 311"/>
                <a:gd name="T54" fmla="*/ 111470 w 525"/>
                <a:gd name="T55" fmla="*/ 157729 h 311"/>
                <a:gd name="T56" fmla="*/ 105809 w 525"/>
                <a:gd name="T57" fmla="*/ 163512 h 311"/>
                <a:gd name="T58" fmla="*/ 82296 w 525"/>
                <a:gd name="T59" fmla="*/ 162460 h 311"/>
                <a:gd name="T60" fmla="*/ 63137 w 525"/>
                <a:gd name="T61" fmla="*/ 161935 h 311"/>
                <a:gd name="T62" fmla="*/ 56170 w 525"/>
                <a:gd name="T63" fmla="*/ 159832 h 311"/>
                <a:gd name="T64" fmla="*/ 53558 w 525"/>
                <a:gd name="T65" fmla="*/ 156677 h 311"/>
                <a:gd name="T66" fmla="*/ 52251 w 525"/>
                <a:gd name="T67" fmla="*/ 148265 h 311"/>
                <a:gd name="T68" fmla="*/ 50510 w 525"/>
                <a:gd name="T69" fmla="*/ 146162 h 311"/>
                <a:gd name="T70" fmla="*/ 41366 w 525"/>
                <a:gd name="T71" fmla="*/ 145636 h 311"/>
                <a:gd name="T72" fmla="*/ 34834 w 525"/>
                <a:gd name="T73" fmla="*/ 155626 h 311"/>
                <a:gd name="T74" fmla="*/ 19159 w 525"/>
                <a:gd name="T75" fmla="*/ 148265 h 311"/>
                <a:gd name="T76" fmla="*/ 0 w 525"/>
                <a:gd name="T77" fmla="*/ 129337 h 311"/>
                <a:gd name="T78" fmla="*/ 7838 w 525"/>
                <a:gd name="T79" fmla="*/ 125657 h 311"/>
                <a:gd name="T80" fmla="*/ 14805 w 525"/>
                <a:gd name="T81" fmla="*/ 116719 h 311"/>
                <a:gd name="T82" fmla="*/ 12192 w 525"/>
                <a:gd name="T83" fmla="*/ 111987 h 311"/>
                <a:gd name="T84" fmla="*/ 14805 w 525"/>
                <a:gd name="T85" fmla="*/ 105152 h 311"/>
                <a:gd name="T86" fmla="*/ 17417 w 525"/>
                <a:gd name="T87" fmla="*/ 98843 h 311"/>
                <a:gd name="T88" fmla="*/ 14805 w 525"/>
                <a:gd name="T89" fmla="*/ 94111 h 311"/>
                <a:gd name="T90" fmla="*/ 58347 w 525"/>
                <a:gd name="T91" fmla="*/ 94111 h 311"/>
                <a:gd name="T92" fmla="*/ 57041 w 525"/>
                <a:gd name="T93" fmla="*/ 93060 h 311"/>
                <a:gd name="T94" fmla="*/ 39189 w 525"/>
                <a:gd name="T95" fmla="*/ 87277 h 311"/>
                <a:gd name="T96" fmla="*/ 23513 w 525"/>
                <a:gd name="T97" fmla="*/ 77813 h 311"/>
                <a:gd name="T98" fmla="*/ 36576 w 525"/>
                <a:gd name="T99" fmla="*/ 70452 h 311"/>
                <a:gd name="T100" fmla="*/ 52251 w 525"/>
                <a:gd name="T101" fmla="*/ 58360 h 311"/>
                <a:gd name="T102" fmla="*/ 48333 w 525"/>
                <a:gd name="T103" fmla="*/ 54153 h 311"/>
                <a:gd name="T104" fmla="*/ 43543 w 525"/>
                <a:gd name="T105" fmla="*/ 42061 h 311"/>
                <a:gd name="T106" fmla="*/ 55299 w 525"/>
                <a:gd name="T107" fmla="*/ 39958 h 311"/>
                <a:gd name="T108" fmla="*/ 80119 w 525"/>
                <a:gd name="T109" fmla="*/ 30494 h 311"/>
                <a:gd name="T110" fmla="*/ 110599 w 525"/>
                <a:gd name="T111" fmla="*/ 18402 h 31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5" name="Freeform 522">
              <a:extLst>
                <a:ext uri="{FF2B5EF4-FFF2-40B4-BE49-F238E27FC236}">
                  <a16:creationId xmlns:a16="http://schemas.microsoft.com/office/drawing/2014/main" id="{D0091717-AAB9-424D-B251-6E9980491D98}"/>
                </a:ext>
              </a:extLst>
            </p:cNvPr>
            <p:cNvSpPr>
              <a:spLocks/>
            </p:cNvSpPr>
            <p:nvPr>
              <p:custDataLst>
                <p:tags r:id="rId360"/>
              </p:custDataLst>
            </p:nvPr>
          </p:nvSpPr>
          <p:spPr bwMode="auto">
            <a:xfrm>
              <a:off x="6219825" y="1636713"/>
              <a:ext cx="31750" cy="55562"/>
            </a:xfrm>
            <a:custGeom>
              <a:avLst/>
              <a:gdLst>
                <a:gd name="T0" fmla="*/ 18487 w 79"/>
                <a:gd name="T1" fmla="*/ 0 h 38"/>
                <a:gd name="T2" fmla="*/ 21703 w 79"/>
                <a:gd name="T3" fmla="*/ 1462 h 38"/>
                <a:gd name="T4" fmla="*/ 24918 w 79"/>
                <a:gd name="T5" fmla="*/ 4386 h 38"/>
                <a:gd name="T6" fmla="*/ 27329 w 79"/>
                <a:gd name="T7" fmla="*/ 10235 h 38"/>
                <a:gd name="T8" fmla="*/ 28937 w 79"/>
                <a:gd name="T9" fmla="*/ 17546 h 38"/>
                <a:gd name="T10" fmla="*/ 30142 w 79"/>
                <a:gd name="T11" fmla="*/ 24857 h 38"/>
                <a:gd name="T12" fmla="*/ 30946 w 79"/>
                <a:gd name="T13" fmla="*/ 32167 h 38"/>
                <a:gd name="T14" fmla="*/ 31750 w 79"/>
                <a:gd name="T15" fmla="*/ 39478 h 38"/>
                <a:gd name="T16" fmla="*/ 31750 w 79"/>
                <a:gd name="T17" fmla="*/ 46789 h 38"/>
                <a:gd name="T18" fmla="*/ 30946 w 79"/>
                <a:gd name="T19" fmla="*/ 49713 h 38"/>
                <a:gd name="T20" fmla="*/ 30142 w 79"/>
                <a:gd name="T21" fmla="*/ 51176 h 38"/>
                <a:gd name="T22" fmla="*/ 28937 w 79"/>
                <a:gd name="T23" fmla="*/ 52638 h 38"/>
                <a:gd name="T24" fmla="*/ 27329 w 79"/>
                <a:gd name="T25" fmla="*/ 54100 h 38"/>
                <a:gd name="T26" fmla="*/ 22908 w 79"/>
                <a:gd name="T27" fmla="*/ 55562 h 38"/>
                <a:gd name="T28" fmla="*/ 18487 w 79"/>
                <a:gd name="T29" fmla="*/ 55562 h 38"/>
                <a:gd name="T30" fmla="*/ 15272 w 79"/>
                <a:gd name="T31" fmla="*/ 54100 h 38"/>
                <a:gd name="T32" fmla="*/ 12057 w 79"/>
                <a:gd name="T33" fmla="*/ 52638 h 38"/>
                <a:gd name="T34" fmla="*/ 8440 w 79"/>
                <a:gd name="T35" fmla="*/ 51176 h 38"/>
                <a:gd name="T36" fmla="*/ 6028 w 79"/>
                <a:gd name="T37" fmla="*/ 46789 h 38"/>
                <a:gd name="T38" fmla="*/ 3215 w 79"/>
                <a:gd name="T39" fmla="*/ 42403 h 38"/>
                <a:gd name="T40" fmla="*/ 1608 w 79"/>
                <a:gd name="T41" fmla="*/ 36554 h 38"/>
                <a:gd name="T42" fmla="*/ 804 w 79"/>
                <a:gd name="T43" fmla="*/ 32167 h 38"/>
                <a:gd name="T44" fmla="*/ 402 w 79"/>
                <a:gd name="T45" fmla="*/ 29243 h 38"/>
                <a:gd name="T46" fmla="*/ 0 w 79"/>
                <a:gd name="T47" fmla="*/ 24857 h 38"/>
                <a:gd name="T48" fmla="*/ 0 w 79"/>
                <a:gd name="T49" fmla="*/ 19008 h 38"/>
                <a:gd name="T50" fmla="*/ 402 w 79"/>
                <a:gd name="T51" fmla="*/ 16084 h 38"/>
                <a:gd name="T52" fmla="*/ 1608 w 79"/>
                <a:gd name="T53" fmla="*/ 13159 h 38"/>
                <a:gd name="T54" fmla="*/ 4019 w 79"/>
                <a:gd name="T55" fmla="*/ 8773 h 38"/>
                <a:gd name="T56" fmla="*/ 6832 w 79"/>
                <a:gd name="T57" fmla="*/ 5849 h 38"/>
                <a:gd name="T58" fmla="*/ 12861 w 79"/>
                <a:gd name="T59" fmla="*/ 1462 h 38"/>
                <a:gd name="T60" fmla="*/ 18487 w 79"/>
                <a:gd name="T61" fmla="*/ 0 h 3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6" name="Freeform 523">
              <a:extLst>
                <a:ext uri="{FF2B5EF4-FFF2-40B4-BE49-F238E27FC236}">
                  <a16:creationId xmlns:a16="http://schemas.microsoft.com/office/drawing/2014/main" id="{6845CC0A-75C6-4D24-B6D5-A0EEBCA4D213}"/>
                </a:ext>
              </a:extLst>
            </p:cNvPr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8524875" y="1933575"/>
              <a:ext cx="196850" cy="268288"/>
            </a:xfrm>
            <a:custGeom>
              <a:avLst/>
              <a:gdLst>
                <a:gd name="T0" fmla="*/ 11151 w 459"/>
                <a:gd name="T1" fmla="*/ 23626 h 511"/>
                <a:gd name="T2" fmla="*/ 5146 w 459"/>
                <a:gd name="T3" fmla="*/ 13126 h 511"/>
                <a:gd name="T4" fmla="*/ 0 w 459"/>
                <a:gd name="T5" fmla="*/ 0 h 511"/>
                <a:gd name="T6" fmla="*/ 9435 w 459"/>
                <a:gd name="T7" fmla="*/ 3675 h 511"/>
                <a:gd name="T8" fmla="*/ 14153 w 459"/>
                <a:gd name="T9" fmla="*/ 3150 h 511"/>
                <a:gd name="T10" fmla="*/ 40742 w 459"/>
                <a:gd name="T11" fmla="*/ 35177 h 511"/>
                <a:gd name="T12" fmla="*/ 62615 w 459"/>
                <a:gd name="T13" fmla="*/ 64578 h 511"/>
                <a:gd name="T14" fmla="*/ 92635 w 459"/>
                <a:gd name="T15" fmla="*/ 103955 h 511"/>
                <a:gd name="T16" fmla="*/ 110648 w 459"/>
                <a:gd name="T17" fmla="*/ 124431 h 511"/>
                <a:gd name="T18" fmla="*/ 129947 w 459"/>
                <a:gd name="T19" fmla="*/ 139657 h 511"/>
                <a:gd name="T20" fmla="*/ 159539 w 459"/>
                <a:gd name="T21" fmla="*/ 163283 h 511"/>
                <a:gd name="T22" fmla="*/ 170689 w 459"/>
                <a:gd name="T23" fmla="*/ 176409 h 511"/>
                <a:gd name="T24" fmla="*/ 156536 w 459"/>
                <a:gd name="T25" fmla="*/ 168008 h 511"/>
                <a:gd name="T26" fmla="*/ 138953 w 459"/>
                <a:gd name="T27" fmla="*/ 155408 h 511"/>
                <a:gd name="T28" fmla="*/ 134664 w 459"/>
                <a:gd name="T29" fmla="*/ 156458 h 511"/>
                <a:gd name="T30" fmla="*/ 134235 w 459"/>
                <a:gd name="T31" fmla="*/ 163283 h 511"/>
                <a:gd name="T32" fmla="*/ 135951 w 459"/>
                <a:gd name="T33" fmla="*/ 176934 h 511"/>
                <a:gd name="T34" fmla="*/ 139811 w 459"/>
                <a:gd name="T35" fmla="*/ 187959 h 511"/>
                <a:gd name="T36" fmla="*/ 149246 w 459"/>
                <a:gd name="T37" fmla="*/ 203185 h 511"/>
                <a:gd name="T38" fmla="*/ 168974 w 459"/>
                <a:gd name="T39" fmla="*/ 221036 h 511"/>
                <a:gd name="T40" fmla="*/ 188702 w 459"/>
                <a:gd name="T41" fmla="*/ 240462 h 511"/>
                <a:gd name="T42" fmla="*/ 192132 w 459"/>
                <a:gd name="T43" fmla="*/ 249912 h 511"/>
                <a:gd name="T44" fmla="*/ 183555 w 459"/>
                <a:gd name="T45" fmla="*/ 246237 h 511"/>
                <a:gd name="T46" fmla="*/ 168116 w 459"/>
                <a:gd name="T47" fmla="*/ 242562 h 511"/>
                <a:gd name="T48" fmla="*/ 168545 w 459"/>
                <a:gd name="T49" fmla="*/ 259363 h 511"/>
                <a:gd name="T50" fmla="*/ 170689 w 459"/>
                <a:gd name="T51" fmla="*/ 268288 h 511"/>
                <a:gd name="T52" fmla="*/ 166400 w 459"/>
                <a:gd name="T53" fmla="*/ 258313 h 511"/>
                <a:gd name="T54" fmla="*/ 155679 w 459"/>
                <a:gd name="T55" fmla="*/ 244662 h 511"/>
                <a:gd name="T56" fmla="*/ 147101 w 459"/>
                <a:gd name="T57" fmla="*/ 233636 h 511"/>
                <a:gd name="T58" fmla="*/ 145386 w 459"/>
                <a:gd name="T59" fmla="*/ 226286 h 511"/>
                <a:gd name="T60" fmla="*/ 140668 w 459"/>
                <a:gd name="T61" fmla="*/ 215785 h 511"/>
                <a:gd name="T62" fmla="*/ 132949 w 459"/>
                <a:gd name="T63" fmla="*/ 201610 h 511"/>
                <a:gd name="T64" fmla="*/ 127802 w 459"/>
                <a:gd name="T65" fmla="*/ 192684 h 511"/>
                <a:gd name="T66" fmla="*/ 120083 w 459"/>
                <a:gd name="T67" fmla="*/ 187959 h 511"/>
                <a:gd name="T68" fmla="*/ 113221 w 459"/>
                <a:gd name="T69" fmla="*/ 180084 h 511"/>
                <a:gd name="T70" fmla="*/ 106788 w 459"/>
                <a:gd name="T71" fmla="*/ 164858 h 511"/>
                <a:gd name="T72" fmla="*/ 105072 w 459"/>
                <a:gd name="T73" fmla="*/ 153832 h 511"/>
                <a:gd name="T74" fmla="*/ 100355 w 459"/>
                <a:gd name="T75" fmla="*/ 147532 h 511"/>
                <a:gd name="T76" fmla="*/ 83200 w 459"/>
                <a:gd name="T77" fmla="*/ 128106 h 511"/>
                <a:gd name="T78" fmla="*/ 73336 w 459"/>
                <a:gd name="T79" fmla="*/ 115506 h 511"/>
                <a:gd name="T80" fmla="*/ 69905 w 459"/>
                <a:gd name="T81" fmla="*/ 106580 h 511"/>
                <a:gd name="T82" fmla="*/ 66046 w 459"/>
                <a:gd name="T83" fmla="*/ 98180 h 511"/>
                <a:gd name="T84" fmla="*/ 49320 w 459"/>
                <a:gd name="T85" fmla="*/ 81379 h 511"/>
                <a:gd name="T86" fmla="*/ 30021 w 459"/>
                <a:gd name="T87" fmla="*/ 68253 h 511"/>
                <a:gd name="T88" fmla="*/ 20157 w 459"/>
                <a:gd name="T89" fmla="*/ 57753 h 511"/>
                <a:gd name="T90" fmla="*/ 16297 w 459"/>
                <a:gd name="T91" fmla="*/ 48827 h 511"/>
                <a:gd name="T92" fmla="*/ 14581 w 459"/>
                <a:gd name="T93" fmla="*/ 39377 h 51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367" name="Group 524">
              <a:extLst>
                <a:ext uri="{FF2B5EF4-FFF2-40B4-BE49-F238E27FC236}">
                  <a16:creationId xmlns:a16="http://schemas.microsoft.com/office/drawing/2014/main" id="{429B9B13-63E8-4A36-922C-127AE1038033}"/>
                </a:ext>
              </a:extLst>
            </p:cNvPr>
            <p:cNvGrpSpPr>
              <a:grpSpLocks/>
            </p:cNvGrpSpPr>
            <p:nvPr>
              <p:custDataLst>
                <p:tags r:id="rId362"/>
              </p:custDataLst>
            </p:nvPr>
          </p:nvGrpSpPr>
          <p:grpSpPr bwMode="auto">
            <a:xfrm>
              <a:off x="7315201" y="1889126"/>
              <a:ext cx="671513" cy="384175"/>
              <a:chOff x="4115" y="1551"/>
              <a:chExt cx="504" cy="244"/>
            </a:xfrm>
          </p:grpSpPr>
          <p:sp>
            <p:nvSpPr>
              <p:cNvPr id="392" name="Freeform 525">
                <a:extLst>
                  <a:ext uri="{FF2B5EF4-FFF2-40B4-BE49-F238E27FC236}">
                    <a16:creationId xmlns:a16="http://schemas.microsoft.com/office/drawing/2014/main" id="{56F6CC0E-19C4-41E0-8104-F2A0532DB7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4 w 240"/>
                  <a:gd name="T1" fmla="*/ 82 h 259"/>
                  <a:gd name="T2" fmla="*/ 26 w 240"/>
                  <a:gd name="T3" fmla="*/ 86 h 259"/>
                  <a:gd name="T4" fmla="*/ 40 w 240"/>
                  <a:gd name="T5" fmla="*/ 80 h 259"/>
                  <a:gd name="T6" fmla="*/ 44 w 240"/>
                  <a:gd name="T7" fmla="*/ 70 h 259"/>
                  <a:gd name="T8" fmla="*/ 63 w 240"/>
                  <a:gd name="T9" fmla="*/ 53 h 259"/>
                  <a:gd name="T10" fmla="*/ 70 w 240"/>
                  <a:gd name="T11" fmla="*/ 37 h 259"/>
                  <a:gd name="T12" fmla="*/ 79 w 240"/>
                  <a:gd name="T13" fmla="*/ 9 h 259"/>
                  <a:gd name="T14" fmla="*/ 70 w 240"/>
                  <a:gd name="T15" fmla="*/ 0 h 259"/>
                  <a:gd name="T16" fmla="*/ 68 w 240"/>
                  <a:gd name="T17" fmla="*/ 11 h 259"/>
                  <a:gd name="T18" fmla="*/ 66 w 240"/>
                  <a:gd name="T19" fmla="*/ 25 h 259"/>
                  <a:gd name="T20" fmla="*/ 55 w 240"/>
                  <a:gd name="T21" fmla="*/ 35 h 259"/>
                  <a:gd name="T22" fmla="*/ 44 w 240"/>
                  <a:gd name="T23" fmla="*/ 49 h 259"/>
                  <a:gd name="T24" fmla="*/ 37 w 240"/>
                  <a:gd name="T25" fmla="*/ 59 h 259"/>
                  <a:gd name="T26" fmla="*/ 31 w 240"/>
                  <a:gd name="T27" fmla="*/ 72 h 259"/>
                  <a:gd name="T28" fmla="*/ 7 w 240"/>
                  <a:gd name="T29" fmla="*/ 74 h 259"/>
                  <a:gd name="T30" fmla="*/ 0 w 240"/>
                  <a:gd name="T31" fmla="*/ 74 h 259"/>
                  <a:gd name="T32" fmla="*/ 4 w 240"/>
                  <a:gd name="T33" fmla="*/ 82 h 25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3" name="Freeform 526">
                <a:extLst>
                  <a:ext uri="{FF2B5EF4-FFF2-40B4-BE49-F238E27FC236}">
                    <a16:creationId xmlns:a16="http://schemas.microsoft.com/office/drawing/2014/main" id="{54E3466E-0F55-4689-A0FD-164D34E6A2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11 w 259"/>
                  <a:gd name="T1" fmla="*/ 34 h 104"/>
                  <a:gd name="T2" fmla="*/ 8 w 259"/>
                  <a:gd name="T3" fmla="*/ 28 h 104"/>
                  <a:gd name="T4" fmla="*/ 17 w 259"/>
                  <a:gd name="T5" fmla="*/ 20 h 104"/>
                  <a:gd name="T6" fmla="*/ 23 w 259"/>
                  <a:gd name="T7" fmla="*/ 16 h 104"/>
                  <a:gd name="T8" fmla="*/ 41 w 259"/>
                  <a:gd name="T9" fmla="*/ 14 h 104"/>
                  <a:gd name="T10" fmla="*/ 56 w 259"/>
                  <a:gd name="T11" fmla="*/ 14 h 104"/>
                  <a:gd name="T12" fmla="*/ 80 w 259"/>
                  <a:gd name="T13" fmla="*/ 10 h 104"/>
                  <a:gd name="T14" fmla="*/ 84 w 259"/>
                  <a:gd name="T15" fmla="*/ 2 h 104"/>
                  <a:gd name="T16" fmla="*/ 80 w 259"/>
                  <a:gd name="T17" fmla="*/ 0 h 104"/>
                  <a:gd name="T18" fmla="*/ 66 w 259"/>
                  <a:gd name="T19" fmla="*/ 4 h 104"/>
                  <a:gd name="T20" fmla="*/ 49 w 259"/>
                  <a:gd name="T21" fmla="*/ 2 h 104"/>
                  <a:gd name="T22" fmla="*/ 34 w 259"/>
                  <a:gd name="T23" fmla="*/ 4 h 104"/>
                  <a:gd name="T24" fmla="*/ 17 w 259"/>
                  <a:gd name="T25" fmla="*/ 6 h 104"/>
                  <a:gd name="T26" fmla="*/ 8 w 259"/>
                  <a:gd name="T27" fmla="*/ 14 h 104"/>
                  <a:gd name="T28" fmla="*/ 0 w 259"/>
                  <a:gd name="T29" fmla="*/ 22 h 104"/>
                  <a:gd name="T30" fmla="*/ 0 w 259"/>
                  <a:gd name="T31" fmla="*/ 34 h 104"/>
                  <a:gd name="T32" fmla="*/ 11 w 259"/>
                  <a:gd name="T33" fmla="*/ 34 h 10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368" name="Freeform 527">
              <a:extLst>
                <a:ext uri="{FF2B5EF4-FFF2-40B4-BE49-F238E27FC236}">
                  <a16:creationId xmlns:a16="http://schemas.microsoft.com/office/drawing/2014/main" id="{9C348FA6-38A3-43EF-B764-D47FE40D3F98}"/>
                </a:ext>
              </a:extLst>
            </p:cNvPr>
            <p:cNvSpPr>
              <a:spLocks/>
            </p:cNvSpPr>
            <p:nvPr>
              <p:custDataLst>
                <p:tags r:id="rId363"/>
              </p:custDataLst>
            </p:nvPr>
          </p:nvSpPr>
          <p:spPr bwMode="auto">
            <a:xfrm>
              <a:off x="6372226" y="2638426"/>
              <a:ext cx="530225" cy="511175"/>
            </a:xfrm>
            <a:custGeom>
              <a:avLst/>
              <a:gdLst>
                <a:gd name="T0" fmla="*/ 402746 w 1227"/>
                <a:gd name="T1" fmla="*/ 243317 h 979"/>
                <a:gd name="T2" fmla="*/ 402746 w 1227"/>
                <a:gd name="T3" fmla="*/ 230786 h 979"/>
                <a:gd name="T4" fmla="*/ 401882 w 1227"/>
                <a:gd name="T5" fmla="*/ 215122 h 979"/>
                <a:gd name="T6" fmla="*/ 392375 w 1227"/>
                <a:gd name="T7" fmla="*/ 201024 h 979"/>
                <a:gd name="T8" fmla="*/ 388486 w 1227"/>
                <a:gd name="T9" fmla="*/ 191625 h 979"/>
                <a:gd name="T10" fmla="*/ 353051 w 1227"/>
                <a:gd name="T11" fmla="*/ 162908 h 979"/>
                <a:gd name="T12" fmla="*/ 327988 w 1227"/>
                <a:gd name="T13" fmla="*/ 137323 h 979"/>
                <a:gd name="T14" fmla="*/ 324963 w 1227"/>
                <a:gd name="T15" fmla="*/ 119570 h 979"/>
                <a:gd name="T16" fmla="*/ 313727 w 1227"/>
                <a:gd name="T17" fmla="*/ 113827 h 979"/>
                <a:gd name="T18" fmla="*/ 300331 w 1227"/>
                <a:gd name="T19" fmla="*/ 108083 h 979"/>
                <a:gd name="T20" fmla="*/ 275700 w 1227"/>
                <a:gd name="T21" fmla="*/ 102339 h 979"/>
                <a:gd name="T22" fmla="*/ 257550 w 1227"/>
                <a:gd name="T23" fmla="*/ 104950 h 979"/>
                <a:gd name="T24" fmla="*/ 246315 w 1227"/>
                <a:gd name="T25" fmla="*/ 106517 h 979"/>
                <a:gd name="T26" fmla="*/ 229030 w 1227"/>
                <a:gd name="T27" fmla="*/ 101817 h 979"/>
                <a:gd name="T28" fmla="*/ 218226 w 1227"/>
                <a:gd name="T29" fmla="*/ 93463 h 979"/>
                <a:gd name="T30" fmla="*/ 208719 w 1227"/>
                <a:gd name="T31" fmla="*/ 66834 h 979"/>
                <a:gd name="T32" fmla="*/ 200941 w 1227"/>
                <a:gd name="T33" fmla="*/ 53780 h 979"/>
                <a:gd name="T34" fmla="*/ 186681 w 1227"/>
                <a:gd name="T35" fmla="*/ 42293 h 979"/>
                <a:gd name="T36" fmla="*/ 157728 w 1227"/>
                <a:gd name="T37" fmla="*/ 31851 h 979"/>
                <a:gd name="T38" fmla="*/ 130936 w 1227"/>
                <a:gd name="T39" fmla="*/ 16708 h 979"/>
                <a:gd name="T40" fmla="*/ 92476 w 1227"/>
                <a:gd name="T41" fmla="*/ 5221 h 979"/>
                <a:gd name="T42" fmla="*/ 71734 w 1227"/>
                <a:gd name="T43" fmla="*/ 19841 h 979"/>
                <a:gd name="T44" fmla="*/ 65252 w 1227"/>
                <a:gd name="T45" fmla="*/ 31851 h 979"/>
                <a:gd name="T46" fmla="*/ 66116 w 1227"/>
                <a:gd name="T47" fmla="*/ 46993 h 979"/>
                <a:gd name="T48" fmla="*/ 73030 w 1227"/>
                <a:gd name="T49" fmla="*/ 61613 h 979"/>
                <a:gd name="T50" fmla="*/ 65252 w 1227"/>
                <a:gd name="T51" fmla="*/ 78321 h 979"/>
                <a:gd name="T52" fmla="*/ 41052 w 1227"/>
                <a:gd name="T53" fmla="*/ 97118 h 979"/>
                <a:gd name="T54" fmla="*/ 23335 w 1227"/>
                <a:gd name="T55" fmla="*/ 99207 h 979"/>
                <a:gd name="T56" fmla="*/ 3889 w 1227"/>
                <a:gd name="T57" fmla="*/ 95552 h 979"/>
                <a:gd name="T58" fmla="*/ 0 w 1227"/>
                <a:gd name="T59" fmla="*/ 123225 h 979"/>
                <a:gd name="T60" fmla="*/ 3889 w 1227"/>
                <a:gd name="T61" fmla="*/ 140456 h 979"/>
                <a:gd name="T62" fmla="*/ 10803 w 1227"/>
                <a:gd name="T63" fmla="*/ 147243 h 979"/>
                <a:gd name="T64" fmla="*/ 17285 w 1227"/>
                <a:gd name="T65" fmla="*/ 160297 h 979"/>
                <a:gd name="T66" fmla="*/ 35867 w 1227"/>
                <a:gd name="T67" fmla="*/ 190059 h 979"/>
                <a:gd name="T68" fmla="*/ 44077 w 1227"/>
                <a:gd name="T69" fmla="*/ 216166 h 979"/>
                <a:gd name="T70" fmla="*/ 52288 w 1227"/>
                <a:gd name="T71" fmla="*/ 222954 h 979"/>
                <a:gd name="T72" fmla="*/ 57473 w 1227"/>
                <a:gd name="T73" fmla="*/ 228697 h 979"/>
                <a:gd name="T74" fmla="*/ 63955 w 1227"/>
                <a:gd name="T75" fmla="*/ 244884 h 979"/>
                <a:gd name="T76" fmla="*/ 96797 w 1227"/>
                <a:gd name="T77" fmla="*/ 285088 h 979"/>
                <a:gd name="T78" fmla="*/ 107601 w 1227"/>
                <a:gd name="T79" fmla="*/ 305452 h 979"/>
                <a:gd name="T80" fmla="*/ 110626 w 1227"/>
                <a:gd name="T81" fmla="*/ 325815 h 979"/>
                <a:gd name="T82" fmla="*/ 114947 w 1227"/>
                <a:gd name="T83" fmla="*/ 344090 h 979"/>
                <a:gd name="T84" fmla="*/ 129207 w 1227"/>
                <a:gd name="T85" fmla="*/ 366020 h 979"/>
                <a:gd name="T86" fmla="*/ 155999 w 1227"/>
                <a:gd name="T87" fmla="*/ 397348 h 979"/>
                <a:gd name="T88" fmla="*/ 167667 w 1227"/>
                <a:gd name="T89" fmla="*/ 425022 h 979"/>
                <a:gd name="T90" fmla="*/ 183656 w 1227"/>
                <a:gd name="T91" fmla="*/ 452695 h 979"/>
                <a:gd name="T92" fmla="*/ 208719 w 1227"/>
                <a:gd name="T93" fmla="*/ 489767 h 979"/>
                <a:gd name="T94" fmla="*/ 228165 w 1227"/>
                <a:gd name="T95" fmla="*/ 511175 h 979"/>
                <a:gd name="T96" fmla="*/ 234647 w 1227"/>
                <a:gd name="T97" fmla="*/ 497599 h 979"/>
                <a:gd name="T98" fmla="*/ 235944 w 1227"/>
                <a:gd name="T99" fmla="*/ 474625 h 979"/>
                <a:gd name="T100" fmla="*/ 246315 w 1227"/>
                <a:gd name="T101" fmla="*/ 467837 h 979"/>
                <a:gd name="T102" fmla="*/ 261439 w 1227"/>
                <a:gd name="T103" fmla="*/ 467315 h 979"/>
                <a:gd name="T104" fmla="*/ 285207 w 1227"/>
                <a:gd name="T105" fmla="*/ 474625 h 979"/>
                <a:gd name="T106" fmla="*/ 305949 w 1227"/>
                <a:gd name="T107" fmla="*/ 492378 h 979"/>
                <a:gd name="T108" fmla="*/ 340087 w 1227"/>
                <a:gd name="T109" fmla="*/ 437553 h 979"/>
                <a:gd name="T110" fmla="*/ 518125 w 1227"/>
                <a:gd name="T111" fmla="*/ 296053 h 979"/>
                <a:gd name="T112" fmla="*/ 406203 w 1227"/>
                <a:gd name="T113" fmla="*/ 244361 h 97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9" name="Freeform 528">
              <a:extLst>
                <a:ext uri="{FF2B5EF4-FFF2-40B4-BE49-F238E27FC236}">
                  <a16:creationId xmlns:a16="http://schemas.microsoft.com/office/drawing/2014/main" id="{8E5A9C6F-ABAC-4917-A96D-BEC14909C3A3}"/>
                </a:ext>
              </a:extLst>
            </p:cNvPr>
            <p:cNvSpPr>
              <a:spLocks/>
            </p:cNvSpPr>
            <p:nvPr>
              <p:custDataLst>
                <p:tags r:id="rId364"/>
              </p:custDataLst>
            </p:nvPr>
          </p:nvSpPr>
          <p:spPr bwMode="auto">
            <a:xfrm>
              <a:off x="5846763" y="2182813"/>
              <a:ext cx="57150" cy="57150"/>
            </a:xfrm>
            <a:custGeom>
              <a:avLst/>
              <a:gdLst>
                <a:gd name="T0" fmla="*/ 57150 w 146"/>
                <a:gd name="T1" fmla="*/ 12700 h 81"/>
                <a:gd name="T2" fmla="*/ 54018 w 146"/>
                <a:gd name="T3" fmla="*/ 16933 h 81"/>
                <a:gd name="T4" fmla="*/ 50887 w 146"/>
                <a:gd name="T5" fmla="*/ 20461 h 81"/>
                <a:gd name="T6" fmla="*/ 48147 w 146"/>
                <a:gd name="T7" fmla="*/ 24694 h 81"/>
                <a:gd name="T8" fmla="*/ 46190 w 146"/>
                <a:gd name="T9" fmla="*/ 28928 h 81"/>
                <a:gd name="T10" fmla="*/ 42275 w 146"/>
                <a:gd name="T11" fmla="*/ 37394 h 81"/>
                <a:gd name="T12" fmla="*/ 38361 w 146"/>
                <a:gd name="T13" fmla="*/ 45156 h 81"/>
                <a:gd name="T14" fmla="*/ 36404 w 146"/>
                <a:gd name="T15" fmla="*/ 48683 h 81"/>
                <a:gd name="T16" fmla="*/ 33272 w 146"/>
                <a:gd name="T17" fmla="*/ 51506 h 81"/>
                <a:gd name="T18" fmla="*/ 29749 w 146"/>
                <a:gd name="T19" fmla="*/ 54328 h 81"/>
                <a:gd name="T20" fmla="*/ 25835 w 146"/>
                <a:gd name="T21" fmla="*/ 56444 h 81"/>
                <a:gd name="T22" fmla="*/ 20746 w 146"/>
                <a:gd name="T23" fmla="*/ 57150 h 81"/>
                <a:gd name="T24" fmla="*/ 15266 w 146"/>
                <a:gd name="T25" fmla="*/ 56444 h 81"/>
                <a:gd name="T26" fmla="*/ 8220 w 146"/>
                <a:gd name="T27" fmla="*/ 54328 h 81"/>
                <a:gd name="T28" fmla="*/ 0 w 146"/>
                <a:gd name="T29" fmla="*/ 52211 h 81"/>
                <a:gd name="T30" fmla="*/ 0 w 146"/>
                <a:gd name="T31" fmla="*/ 43744 h 81"/>
                <a:gd name="T32" fmla="*/ 0 w 146"/>
                <a:gd name="T33" fmla="*/ 34572 h 81"/>
                <a:gd name="T34" fmla="*/ 0 w 146"/>
                <a:gd name="T35" fmla="*/ 23989 h 81"/>
                <a:gd name="T36" fmla="*/ 0 w 146"/>
                <a:gd name="T37" fmla="*/ 12700 h 81"/>
                <a:gd name="T38" fmla="*/ 5480 w 146"/>
                <a:gd name="T39" fmla="*/ 12700 h 81"/>
                <a:gd name="T40" fmla="*/ 8612 w 146"/>
                <a:gd name="T41" fmla="*/ 12700 h 81"/>
                <a:gd name="T42" fmla="*/ 12135 w 146"/>
                <a:gd name="T43" fmla="*/ 12700 h 81"/>
                <a:gd name="T44" fmla="*/ 15658 w 146"/>
                <a:gd name="T45" fmla="*/ 12700 h 81"/>
                <a:gd name="T46" fmla="*/ 20355 w 146"/>
                <a:gd name="T47" fmla="*/ 12700 h 81"/>
                <a:gd name="T48" fmla="*/ 24661 w 146"/>
                <a:gd name="T49" fmla="*/ 11289 h 81"/>
                <a:gd name="T50" fmla="*/ 28575 w 146"/>
                <a:gd name="T51" fmla="*/ 9878 h 81"/>
                <a:gd name="T52" fmla="*/ 32489 w 146"/>
                <a:gd name="T53" fmla="*/ 7761 h 81"/>
                <a:gd name="T54" fmla="*/ 39535 w 146"/>
                <a:gd name="T55" fmla="*/ 3528 h 81"/>
                <a:gd name="T56" fmla="*/ 46973 w 146"/>
                <a:gd name="T57" fmla="*/ 0 h 81"/>
                <a:gd name="T58" fmla="*/ 50496 w 146"/>
                <a:gd name="T59" fmla="*/ 2822 h 81"/>
                <a:gd name="T60" fmla="*/ 52844 w 146"/>
                <a:gd name="T61" fmla="*/ 6350 h 81"/>
                <a:gd name="T62" fmla="*/ 55193 w 146"/>
                <a:gd name="T63" fmla="*/ 9878 h 81"/>
                <a:gd name="T64" fmla="*/ 57150 w 146"/>
                <a:gd name="T65" fmla="*/ 12700 h 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0" name="Freeform 529">
              <a:extLst>
                <a:ext uri="{FF2B5EF4-FFF2-40B4-BE49-F238E27FC236}">
                  <a16:creationId xmlns:a16="http://schemas.microsoft.com/office/drawing/2014/main" id="{8E1D2B25-643A-40B1-AC35-EA8FEC69ADBA}"/>
                </a:ext>
              </a:extLst>
            </p:cNvPr>
            <p:cNvSpPr>
              <a:spLocks/>
            </p:cNvSpPr>
            <p:nvPr>
              <p:custDataLst>
                <p:tags r:id="rId365"/>
              </p:custDataLst>
            </p:nvPr>
          </p:nvSpPr>
          <p:spPr bwMode="auto">
            <a:xfrm>
              <a:off x="5586414" y="2395538"/>
              <a:ext cx="15875" cy="57150"/>
            </a:xfrm>
            <a:custGeom>
              <a:avLst/>
              <a:gdLst>
                <a:gd name="T0" fmla="*/ 15875 w 34"/>
                <a:gd name="T1" fmla="*/ 57150 h 49"/>
                <a:gd name="T2" fmla="*/ 15875 w 34"/>
                <a:gd name="T3" fmla="*/ 39655 h 49"/>
                <a:gd name="T4" fmla="*/ 15875 w 34"/>
                <a:gd name="T5" fmla="*/ 29158 h 49"/>
                <a:gd name="T6" fmla="*/ 15408 w 34"/>
                <a:gd name="T7" fmla="*/ 24493 h 49"/>
                <a:gd name="T8" fmla="*/ 15408 w 34"/>
                <a:gd name="T9" fmla="*/ 19828 h 49"/>
                <a:gd name="T10" fmla="*/ 14474 w 34"/>
                <a:gd name="T11" fmla="*/ 17495 h 49"/>
                <a:gd name="T12" fmla="*/ 14007 w 34"/>
                <a:gd name="T13" fmla="*/ 13996 h 49"/>
                <a:gd name="T14" fmla="*/ 11673 w 34"/>
                <a:gd name="T15" fmla="*/ 9331 h 49"/>
                <a:gd name="T16" fmla="*/ 9805 w 34"/>
                <a:gd name="T17" fmla="*/ 0 h 49"/>
                <a:gd name="T18" fmla="*/ 3735 w 34"/>
                <a:gd name="T19" fmla="*/ 0 h 49"/>
                <a:gd name="T20" fmla="*/ 0 w 34"/>
                <a:gd name="T21" fmla="*/ 0 h 49"/>
                <a:gd name="T22" fmla="*/ 1401 w 34"/>
                <a:gd name="T23" fmla="*/ 12830 h 49"/>
                <a:gd name="T24" fmla="*/ 3268 w 34"/>
                <a:gd name="T25" fmla="*/ 23327 h 49"/>
                <a:gd name="T26" fmla="*/ 4669 w 34"/>
                <a:gd name="T27" fmla="*/ 31491 h 49"/>
                <a:gd name="T28" fmla="*/ 6537 w 34"/>
                <a:gd name="T29" fmla="*/ 39655 h 49"/>
                <a:gd name="T30" fmla="*/ 8871 w 34"/>
                <a:gd name="T31" fmla="*/ 45487 h 49"/>
                <a:gd name="T32" fmla="*/ 11206 w 34"/>
                <a:gd name="T33" fmla="*/ 50152 h 49"/>
                <a:gd name="T34" fmla="*/ 13540 w 34"/>
                <a:gd name="T35" fmla="*/ 53651 h 49"/>
                <a:gd name="T36" fmla="*/ 15875 w 34"/>
                <a:gd name="T37" fmla="*/ 57150 h 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1" name="Freeform 530">
              <a:extLst>
                <a:ext uri="{FF2B5EF4-FFF2-40B4-BE49-F238E27FC236}">
                  <a16:creationId xmlns:a16="http://schemas.microsoft.com/office/drawing/2014/main" id="{1B69526E-161E-46A1-A2C5-E0168478851D}"/>
                </a:ext>
              </a:extLst>
            </p:cNvPr>
            <p:cNvSpPr>
              <a:spLocks/>
            </p:cNvSpPr>
            <p:nvPr>
              <p:custDataLst>
                <p:tags r:id="rId366"/>
              </p:custDataLst>
            </p:nvPr>
          </p:nvSpPr>
          <p:spPr bwMode="auto">
            <a:xfrm>
              <a:off x="5178426" y="2741613"/>
              <a:ext cx="28575" cy="57150"/>
            </a:xfrm>
            <a:custGeom>
              <a:avLst/>
              <a:gdLst>
                <a:gd name="T0" fmla="*/ 28575 w 60"/>
                <a:gd name="T1" fmla="*/ 0 h 74"/>
                <a:gd name="T2" fmla="*/ 26670 w 60"/>
                <a:gd name="T3" fmla="*/ 3089 h 74"/>
                <a:gd name="T4" fmla="*/ 24289 w 60"/>
                <a:gd name="T5" fmla="*/ 7723 h 74"/>
                <a:gd name="T6" fmla="*/ 22860 w 60"/>
                <a:gd name="T7" fmla="*/ 11584 h 74"/>
                <a:gd name="T8" fmla="*/ 21908 w 60"/>
                <a:gd name="T9" fmla="*/ 16218 h 74"/>
                <a:gd name="T10" fmla="*/ 19526 w 60"/>
                <a:gd name="T11" fmla="*/ 23941 h 74"/>
                <a:gd name="T12" fmla="*/ 17621 w 60"/>
                <a:gd name="T13" fmla="*/ 32436 h 74"/>
                <a:gd name="T14" fmla="*/ 16669 w 60"/>
                <a:gd name="T15" fmla="*/ 36298 h 74"/>
                <a:gd name="T16" fmla="*/ 15240 w 60"/>
                <a:gd name="T17" fmla="*/ 39387 h 74"/>
                <a:gd name="T18" fmla="*/ 13811 w 60"/>
                <a:gd name="T19" fmla="*/ 43249 h 74"/>
                <a:gd name="T20" fmla="*/ 11906 w 60"/>
                <a:gd name="T21" fmla="*/ 46338 h 74"/>
                <a:gd name="T22" fmla="*/ 9525 w 60"/>
                <a:gd name="T23" fmla="*/ 50199 h 74"/>
                <a:gd name="T24" fmla="*/ 7144 w 60"/>
                <a:gd name="T25" fmla="*/ 53289 h 74"/>
                <a:gd name="T26" fmla="*/ 3810 w 60"/>
                <a:gd name="T27" fmla="*/ 55605 h 74"/>
                <a:gd name="T28" fmla="*/ 0 w 60"/>
                <a:gd name="T29" fmla="*/ 57150 h 74"/>
                <a:gd name="T30" fmla="*/ 2381 w 60"/>
                <a:gd name="T31" fmla="*/ 46338 h 74"/>
                <a:gd name="T32" fmla="*/ 5715 w 60"/>
                <a:gd name="T33" fmla="*/ 36298 h 74"/>
                <a:gd name="T34" fmla="*/ 9049 w 60"/>
                <a:gd name="T35" fmla="*/ 26258 h 74"/>
                <a:gd name="T36" fmla="*/ 12859 w 60"/>
                <a:gd name="T37" fmla="*/ 17763 h 74"/>
                <a:gd name="T38" fmla="*/ 17145 w 60"/>
                <a:gd name="T39" fmla="*/ 10812 h 74"/>
                <a:gd name="T40" fmla="*/ 20479 w 60"/>
                <a:gd name="T41" fmla="*/ 4634 h 74"/>
                <a:gd name="T42" fmla="*/ 22860 w 60"/>
                <a:gd name="T43" fmla="*/ 2317 h 74"/>
                <a:gd name="T44" fmla="*/ 24765 w 60"/>
                <a:gd name="T45" fmla="*/ 772 h 74"/>
                <a:gd name="T46" fmla="*/ 26670 w 60"/>
                <a:gd name="T47" fmla="*/ 0 h 74"/>
                <a:gd name="T48" fmla="*/ 28575 w 60"/>
                <a:gd name="T49" fmla="*/ 0 h 7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2" name="Freeform 531">
              <a:extLst>
                <a:ext uri="{FF2B5EF4-FFF2-40B4-BE49-F238E27FC236}">
                  <a16:creationId xmlns:a16="http://schemas.microsoft.com/office/drawing/2014/main" id="{C55C233F-0E34-49A5-BE1E-2410D157ACF5}"/>
                </a:ext>
              </a:extLst>
            </p:cNvPr>
            <p:cNvSpPr>
              <a:spLocks/>
            </p:cNvSpPr>
            <p:nvPr>
              <p:custDataLst>
                <p:tags r:id="rId367"/>
              </p:custDataLst>
            </p:nvPr>
          </p:nvSpPr>
          <p:spPr bwMode="auto">
            <a:xfrm>
              <a:off x="5119688" y="2757489"/>
              <a:ext cx="23812" cy="60325"/>
            </a:xfrm>
            <a:custGeom>
              <a:avLst/>
              <a:gdLst>
                <a:gd name="T0" fmla="*/ 6586 w 47"/>
                <a:gd name="T1" fmla="*/ 10724 h 45"/>
                <a:gd name="T2" fmla="*/ 11146 w 47"/>
                <a:gd name="T3" fmla="*/ 10724 h 45"/>
                <a:gd name="T4" fmla="*/ 14186 w 47"/>
                <a:gd name="T5" fmla="*/ 8043 h 45"/>
                <a:gd name="T6" fmla="*/ 16212 w 47"/>
                <a:gd name="T7" fmla="*/ 6703 h 45"/>
                <a:gd name="T8" fmla="*/ 17732 w 47"/>
                <a:gd name="T9" fmla="*/ 4022 h 45"/>
                <a:gd name="T10" fmla="*/ 18746 w 47"/>
                <a:gd name="T11" fmla="*/ 1341 h 45"/>
                <a:gd name="T12" fmla="*/ 19759 w 47"/>
                <a:gd name="T13" fmla="*/ 0 h 45"/>
                <a:gd name="T14" fmla="*/ 21785 w 47"/>
                <a:gd name="T15" fmla="*/ 1341 h 45"/>
                <a:gd name="T16" fmla="*/ 23812 w 47"/>
                <a:gd name="T17" fmla="*/ 2681 h 45"/>
                <a:gd name="T18" fmla="*/ 23305 w 47"/>
                <a:gd name="T19" fmla="*/ 9384 h 45"/>
                <a:gd name="T20" fmla="*/ 23305 w 47"/>
                <a:gd name="T21" fmla="*/ 14746 h 45"/>
                <a:gd name="T22" fmla="*/ 22292 w 47"/>
                <a:gd name="T23" fmla="*/ 20108 h 45"/>
                <a:gd name="T24" fmla="*/ 21785 w 47"/>
                <a:gd name="T25" fmla="*/ 25471 h 45"/>
                <a:gd name="T26" fmla="*/ 18746 w 47"/>
                <a:gd name="T27" fmla="*/ 34854 h 45"/>
                <a:gd name="T28" fmla="*/ 15199 w 47"/>
                <a:gd name="T29" fmla="*/ 42898 h 45"/>
                <a:gd name="T30" fmla="*/ 12159 w 47"/>
                <a:gd name="T31" fmla="*/ 50941 h 45"/>
                <a:gd name="T32" fmla="*/ 8106 w 47"/>
                <a:gd name="T33" fmla="*/ 56303 h 45"/>
                <a:gd name="T34" fmla="*/ 3546 w 47"/>
                <a:gd name="T35" fmla="*/ 60325 h 45"/>
                <a:gd name="T36" fmla="*/ 0 w 47"/>
                <a:gd name="T37" fmla="*/ 60325 h 45"/>
                <a:gd name="T38" fmla="*/ 1013 w 47"/>
                <a:gd name="T39" fmla="*/ 50941 h 45"/>
                <a:gd name="T40" fmla="*/ 3040 w 47"/>
                <a:gd name="T41" fmla="*/ 34854 h 45"/>
                <a:gd name="T42" fmla="*/ 5573 w 47"/>
                <a:gd name="T43" fmla="*/ 20108 h 45"/>
                <a:gd name="T44" fmla="*/ 6586 w 47"/>
                <a:gd name="T45" fmla="*/ 10724 h 4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3" name="Freeform 532">
              <a:extLst>
                <a:ext uri="{FF2B5EF4-FFF2-40B4-BE49-F238E27FC236}">
                  <a16:creationId xmlns:a16="http://schemas.microsoft.com/office/drawing/2014/main" id="{FDB8F474-A44F-46B3-A636-8043D6437D81}"/>
                </a:ext>
              </a:extLst>
            </p:cNvPr>
            <p:cNvSpPr>
              <a:spLocks/>
            </p:cNvSpPr>
            <p:nvPr>
              <p:custDataLst>
                <p:tags r:id="rId368"/>
              </p:custDataLst>
            </p:nvPr>
          </p:nvSpPr>
          <p:spPr bwMode="auto">
            <a:xfrm>
              <a:off x="5094288" y="2751138"/>
              <a:ext cx="6350" cy="57150"/>
            </a:xfrm>
            <a:custGeom>
              <a:avLst/>
              <a:gdLst>
                <a:gd name="T0" fmla="*/ 1465 w 26"/>
                <a:gd name="T1" fmla="*/ 57150 h 36"/>
                <a:gd name="T2" fmla="*/ 1221 w 26"/>
                <a:gd name="T3" fmla="*/ 47625 h 36"/>
                <a:gd name="T4" fmla="*/ 733 w 26"/>
                <a:gd name="T5" fmla="*/ 31750 h 36"/>
                <a:gd name="T6" fmla="*/ 244 w 26"/>
                <a:gd name="T7" fmla="*/ 15875 h 36"/>
                <a:gd name="T8" fmla="*/ 0 w 26"/>
                <a:gd name="T9" fmla="*/ 0 h 36"/>
                <a:gd name="T10" fmla="*/ 6350 w 26"/>
                <a:gd name="T11" fmla="*/ 0 h 36"/>
                <a:gd name="T12" fmla="*/ 6106 w 26"/>
                <a:gd name="T13" fmla="*/ 19050 h 36"/>
                <a:gd name="T14" fmla="*/ 5862 w 26"/>
                <a:gd name="T15" fmla="*/ 36513 h 36"/>
                <a:gd name="T16" fmla="*/ 5617 w 26"/>
                <a:gd name="T17" fmla="*/ 42863 h 36"/>
                <a:gd name="T18" fmla="*/ 5617 w 26"/>
                <a:gd name="T19" fmla="*/ 49213 h 36"/>
                <a:gd name="T20" fmla="*/ 5862 w 26"/>
                <a:gd name="T21" fmla="*/ 53975 h 36"/>
                <a:gd name="T22" fmla="*/ 6350 w 26"/>
                <a:gd name="T23" fmla="*/ 57150 h 36"/>
                <a:gd name="T24" fmla="*/ 1465 w 26"/>
                <a:gd name="T25" fmla="*/ 57150 h 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4" name="Freeform 533">
              <a:extLst>
                <a:ext uri="{FF2B5EF4-FFF2-40B4-BE49-F238E27FC236}">
                  <a16:creationId xmlns:a16="http://schemas.microsoft.com/office/drawing/2014/main" id="{1E2CD49A-22AF-4FBE-BB6F-68EABD4D41C3}"/>
                </a:ext>
              </a:extLst>
            </p:cNvPr>
            <p:cNvSpPr>
              <a:spLocks/>
            </p:cNvSpPr>
            <p:nvPr>
              <p:custDataLst>
                <p:tags r:id="rId369"/>
              </p:custDataLst>
            </p:nvPr>
          </p:nvSpPr>
          <p:spPr bwMode="auto">
            <a:xfrm>
              <a:off x="6365876" y="2479675"/>
              <a:ext cx="174625" cy="158750"/>
            </a:xfrm>
            <a:custGeom>
              <a:avLst/>
              <a:gdLst>
                <a:gd name="T0" fmla="*/ 11210 w 405"/>
                <a:gd name="T1" fmla="*/ 85157 h 302"/>
                <a:gd name="T2" fmla="*/ 12073 w 405"/>
                <a:gd name="T3" fmla="*/ 82003 h 302"/>
                <a:gd name="T4" fmla="*/ 12935 w 405"/>
                <a:gd name="T5" fmla="*/ 80952 h 302"/>
                <a:gd name="T6" fmla="*/ 12073 w 405"/>
                <a:gd name="T7" fmla="*/ 79375 h 302"/>
                <a:gd name="T8" fmla="*/ 7761 w 405"/>
                <a:gd name="T9" fmla="*/ 75170 h 302"/>
                <a:gd name="T10" fmla="*/ 2587 w 405"/>
                <a:gd name="T11" fmla="*/ 66759 h 302"/>
                <a:gd name="T12" fmla="*/ 862 w 405"/>
                <a:gd name="T13" fmla="*/ 60977 h 302"/>
                <a:gd name="T14" fmla="*/ 2156 w 405"/>
                <a:gd name="T15" fmla="*/ 58874 h 302"/>
                <a:gd name="T16" fmla="*/ 2587 w 405"/>
                <a:gd name="T17" fmla="*/ 54669 h 302"/>
                <a:gd name="T18" fmla="*/ 7330 w 405"/>
                <a:gd name="T19" fmla="*/ 50989 h 302"/>
                <a:gd name="T20" fmla="*/ 14660 w 405"/>
                <a:gd name="T21" fmla="*/ 48887 h 302"/>
                <a:gd name="T22" fmla="*/ 20265 w 405"/>
                <a:gd name="T23" fmla="*/ 46258 h 302"/>
                <a:gd name="T24" fmla="*/ 24577 w 405"/>
                <a:gd name="T25" fmla="*/ 43104 h 302"/>
                <a:gd name="T26" fmla="*/ 28889 w 405"/>
                <a:gd name="T27" fmla="*/ 36796 h 302"/>
                <a:gd name="T28" fmla="*/ 32338 w 405"/>
                <a:gd name="T29" fmla="*/ 27334 h 302"/>
                <a:gd name="T30" fmla="*/ 36219 w 405"/>
                <a:gd name="T31" fmla="*/ 24706 h 302"/>
                <a:gd name="T32" fmla="*/ 40961 w 405"/>
                <a:gd name="T33" fmla="*/ 27334 h 302"/>
                <a:gd name="T34" fmla="*/ 50447 w 405"/>
                <a:gd name="T35" fmla="*/ 28386 h 302"/>
                <a:gd name="T36" fmla="*/ 72868 w 405"/>
                <a:gd name="T37" fmla="*/ 24180 h 302"/>
                <a:gd name="T38" fmla="*/ 91409 w 405"/>
                <a:gd name="T39" fmla="*/ 22603 h 302"/>
                <a:gd name="T40" fmla="*/ 100894 w 405"/>
                <a:gd name="T41" fmla="*/ 21552 h 302"/>
                <a:gd name="T42" fmla="*/ 113830 w 405"/>
                <a:gd name="T43" fmla="*/ 18398 h 302"/>
                <a:gd name="T44" fmla="*/ 137113 w 405"/>
                <a:gd name="T45" fmla="*/ 8936 h 302"/>
                <a:gd name="T46" fmla="*/ 154791 w 405"/>
                <a:gd name="T47" fmla="*/ 2103 h 302"/>
                <a:gd name="T48" fmla="*/ 160396 w 405"/>
                <a:gd name="T49" fmla="*/ 1577 h 302"/>
                <a:gd name="T50" fmla="*/ 166002 w 405"/>
                <a:gd name="T51" fmla="*/ 1577 h 302"/>
                <a:gd name="T52" fmla="*/ 171607 w 405"/>
                <a:gd name="T53" fmla="*/ 526 h 302"/>
                <a:gd name="T54" fmla="*/ 170313 w 405"/>
                <a:gd name="T55" fmla="*/ 4205 h 302"/>
                <a:gd name="T56" fmla="*/ 155222 w 405"/>
                <a:gd name="T57" fmla="*/ 21552 h 302"/>
                <a:gd name="T58" fmla="*/ 148323 w 405"/>
                <a:gd name="T59" fmla="*/ 29963 h 302"/>
                <a:gd name="T60" fmla="*/ 146168 w 405"/>
                <a:gd name="T61" fmla="*/ 33642 h 302"/>
                <a:gd name="T62" fmla="*/ 146168 w 405"/>
                <a:gd name="T63" fmla="*/ 50464 h 302"/>
                <a:gd name="T64" fmla="*/ 145305 w 405"/>
                <a:gd name="T65" fmla="*/ 78324 h 302"/>
                <a:gd name="T66" fmla="*/ 144443 w 405"/>
                <a:gd name="T67" fmla="*/ 94619 h 302"/>
                <a:gd name="T68" fmla="*/ 140562 w 405"/>
                <a:gd name="T69" fmla="*/ 104081 h 302"/>
                <a:gd name="T70" fmla="*/ 131508 w 405"/>
                <a:gd name="T71" fmla="*/ 110389 h 302"/>
                <a:gd name="T72" fmla="*/ 114261 w 405"/>
                <a:gd name="T73" fmla="*/ 119325 h 302"/>
                <a:gd name="T74" fmla="*/ 45704 w 405"/>
                <a:gd name="T75" fmla="*/ 158750 h 302"/>
                <a:gd name="T76" fmla="*/ 24577 w 405"/>
                <a:gd name="T77" fmla="*/ 136672 h 302"/>
                <a:gd name="T78" fmla="*/ 30182 w 405"/>
                <a:gd name="T79" fmla="*/ 119851 h 302"/>
                <a:gd name="T80" fmla="*/ 34925 w 405"/>
                <a:gd name="T81" fmla="*/ 109863 h 302"/>
                <a:gd name="T82" fmla="*/ 37081 w 405"/>
                <a:gd name="T83" fmla="*/ 90414 h 302"/>
                <a:gd name="T84" fmla="*/ 30613 w 405"/>
                <a:gd name="T85" fmla="*/ 90940 h 302"/>
                <a:gd name="T86" fmla="*/ 24577 w 405"/>
                <a:gd name="T87" fmla="*/ 88837 h 302"/>
                <a:gd name="T88" fmla="*/ 17678 w 405"/>
                <a:gd name="T89" fmla="*/ 86734 h 302"/>
                <a:gd name="T90" fmla="*/ 11210 w 405"/>
                <a:gd name="T91" fmla="*/ 87260 h 3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5" name="Freeform 534">
              <a:extLst>
                <a:ext uri="{FF2B5EF4-FFF2-40B4-BE49-F238E27FC236}">
                  <a16:creationId xmlns:a16="http://schemas.microsoft.com/office/drawing/2014/main" id="{5215158A-AE4A-462C-9E9B-A8E71D2771AA}"/>
                </a:ext>
              </a:extLst>
            </p:cNvPr>
            <p:cNvSpPr>
              <a:spLocks/>
            </p:cNvSpPr>
            <p:nvPr>
              <p:custDataLst>
                <p:tags r:id="rId370"/>
              </p:custDataLst>
            </p:nvPr>
          </p:nvSpPr>
          <p:spPr bwMode="auto">
            <a:xfrm>
              <a:off x="8459788" y="2860676"/>
              <a:ext cx="42862" cy="79375"/>
            </a:xfrm>
            <a:custGeom>
              <a:avLst/>
              <a:gdLst>
                <a:gd name="T0" fmla="*/ 42862 w 100"/>
                <a:gd name="T1" fmla="*/ 512 h 155"/>
                <a:gd name="T2" fmla="*/ 42862 w 100"/>
                <a:gd name="T3" fmla="*/ 15363 h 155"/>
                <a:gd name="T4" fmla="*/ 42862 w 100"/>
                <a:gd name="T5" fmla="*/ 28165 h 155"/>
                <a:gd name="T6" fmla="*/ 42862 w 100"/>
                <a:gd name="T7" fmla="*/ 39944 h 155"/>
                <a:gd name="T8" fmla="*/ 42862 w 100"/>
                <a:gd name="T9" fmla="*/ 50698 h 155"/>
                <a:gd name="T10" fmla="*/ 42005 w 100"/>
                <a:gd name="T11" fmla="*/ 55819 h 155"/>
                <a:gd name="T12" fmla="*/ 40290 w 100"/>
                <a:gd name="T13" fmla="*/ 60427 h 155"/>
                <a:gd name="T14" fmla="*/ 38147 w 100"/>
                <a:gd name="T15" fmla="*/ 65548 h 155"/>
                <a:gd name="T16" fmla="*/ 35147 w 100"/>
                <a:gd name="T17" fmla="*/ 70157 h 155"/>
                <a:gd name="T18" fmla="*/ 31289 w 100"/>
                <a:gd name="T19" fmla="*/ 73742 h 155"/>
                <a:gd name="T20" fmla="*/ 26574 w 100"/>
                <a:gd name="T21" fmla="*/ 76815 h 155"/>
                <a:gd name="T22" fmla="*/ 24431 w 100"/>
                <a:gd name="T23" fmla="*/ 77839 h 155"/>
                <a:gd name="T24" fmla="*/ 21860 w 100"/>
                <a:gd name="T25" fmla="*/ 78863 h 155"/>
                <a:gd name="T26" fmla="*/ 19717 w 100"/>
                <a:gd name="T27" fmla="*/ 79375 h 155"/>
                <a:gd name="T28" fmla="*/ 16716 w 100"/>
                <a:gd name="T29" fmla="*/ 79375 h 155"/>
                <a:gd name="T30" fmla="*/ 15002 w 100"/>
                <a:gd name="T31" fmla="*/ 78863 h 155"/>
                <a:gd name="T32" fmla="*/ 12859 w 100"/>
                <a:gd name="T33" fmla="*/ 78351 h 155"/>
                <a:gd name="T34" fmla="*/ 11144 w 100"/>
                <a:gd name="T35" fmla="*/ 77327 h 155"/>
                <a:gd name="T36" fmla="*/ 9430 w 100"/>
                <a:gd name="T37" fmla="*/ 76302 h 155"/>
                <a:gd name="T38" fmla="*/ 6429 w 100"/>
                <a:gd name="T39" fmla="*/ 72718 h 155"/>
                <a:gd name="T40" fmla="*/ 3858 w 100"/>
                <a:gd name="T41" fmla="*/ 68621 h 155"/>
                <a:gd name="T42" fmla="*/ 2143 w 100"/>
                <a:gd name="T43" fmla="*/ 63500 h 155"/>
                <a:gd name="T44" fmla="*/ 857 w 100"/>
                <a:gd name="T45" fmla="*/ 57867 h 155"/>
                <a:gd name="T46" fmla="*/ 0 w 100"/>
                <a:gd name="T47" fmla="*/ 52746 h 155"/>
                <a:gd name="T48" fmla="*/ 0 w 100"/>
                <a:gd name="T49" fmla="*/ 47625 h 155"/>
                <a:gd name="T50" fmla="*/ 0 w 100"/>
                <a:gd name="T51" fmla="*/ 39431 h 155"/>
                <a:gd name="T52" fmla="*/ 0 w 100"/>
                <a:gd name="T53" fmla="*/ 33286 h 155"/>
                <a:gd name="T54" fmla="*/ 0 w 100"/>
                <a:gd name="T55" fmla="*/ 28677 h 155"/>
                <a:gd name="T56" fmla="*/ 0 w 100"/>
                <a:gd name="T57" fmla="*/ 25605 h 155"/>
                <a:gd name="T58" fmla="*/ 6429 w 100"/>
                <a:gd name="T59" fmla="*/ 25605 h 155"/>
                <a:gd name="T60" fmla="*/ 11144 w 100"/>
                <a:gd name="T61" fmla="*/ 25605 h 155"/>
                <a:gd name="T62" fmla="*/ 11144 w 100"/>
                <a:gd name="T63" fmla="*/ 20484 h 155"/>
                <a:gd name="T64" fmla="*/ 11573 w 100"/>
                <a:gd name="T65" fmla="*/ 15875 h 155"/>
                <a:gd name="T66" fmla="*/ 12430 w 100"/>
                <a:gd name="T67" fmla="*/ 11778 h 155"/>
                <a:gd name="T68" fmla="*/ 13287 w 100"/>
                <a:gd name="T69" fmla="*/ 8706 h 155"/>
                <a:gd name="T70" fmla="*/ 15002 w 100"/>
                <a:gd name="T71" fmla="*/ 6145 h 155"/>
                <a:gd name="T72" fmla="*/ 16716 w 100"/>
                <a:gd name="T73" fmla="*/ 3585 h 155"/>
                <a:gd name="T74" fmla="*/ 18002 w 100"/>
                <a:gd name="T75" fmla="*/ 2048 h 155"/>
                <a:gd name="T76" fmla="*/ 20574 w 100"/>
                <a:gd name="T77" fmla="*/ 1024 h 155"/>
                <a:gd name="T78" fmla="*/ 25289 w 100"/>
                <a:gd name="T79" fmla="*/ 0 h 155"/>
                <a:gd name="T80" fmla="*/ 30432 w 100"/>
                <a:gd name="T81" fmla="*/ 0 h 155"/>
                <a:gd name="T82" fmla="*/ 36004 w 100"/>
                <a:gd name="T83" fmla="*/ 0 h 155"/>
                <a:gd name="T84" fmla="*/ 42862 w 100"/>
                <a:gd name="T85" fmla="*/ 512 h 1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376" name="Group 535">
              <a:extLst>
                <a:ext uri="{FF2B5EF4-FFF2-40B4-BE49-F238E27FC236}">
                  <a16:creationId xmlns:a16="http://schemas.microsoft.com/office/drawing/2014/main" id="{6FA4B9B7-E2D1-4239-B0D7-9856CC312F20}"/>
                </a:ext>
              </a:extLst>
            </p:cNvPr>
            <p:cNvGrpSpPr>
              <a:grpSpLocks/>
            </p:cNvGrpSpPr>
            <p:nvPr>
              <p:custDataLst>
                <p:tags r:id="rId371"/>
              </p:custDataLst>
            </p:nvPr>
          </p:nvGrpSpPr>
          <p:grpSpPr bwMode="auto">
            <a:xfrm>
              <a:off x="6107113" y="2328863"/>
              <a:ext cx="482600" cy="201612"/>
              <a:chOff x="3289" y="1830"/>
              <a:chExt cx="363" cy="128"/>
            </a:xfrm>
          </p:grpSpPr>
          <p:sp>
            <p:nvSpPr>
              <p:cNvPr id="387" name="Freeform 536">
                <a:extLst>
                  <a:ext uri="{FF2B5EF4-FFF2-40B4-BE49-F238E27FC236}">
                    <a16:creationId xmlns:a16="http://schemas.microsoft.com/office/drawing/2014/main" id="{3E8CA3DE-8B9A-495D-84AE-DAE98437B6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4 w 13"/>
                  <a:gd name="T1" fmla="*/ 0 h 7"/>
                  <a:gd name="T2" fmla="*/ 4 w 13"/>
                  <a:gd name="T3" fmla="*/ 0 h 7"/>
                  <a:gd name="T4" fmla="*/ 3 w 13"/>
                  <a:gd name="T5" fmla="*/ 1 h 7"/>
                  <a:gd name="T6" fmla="*/ 1 w 13"/>
                  <a:gd name="T7" fmla="*/ 2 h 7"/>
                  <a:gd name="T8" fmla="*/ 0 w 13"/>
                  <a:gd name="T9" fmla="*/ 3 h 7"/>
                  <a:gd name="T10" fmla="*/ 2 w 13"/>
                  <a:gd name="T11" fmla="*/ 1 h 7"/>
                  <a:gd name="T12" fmla="*/ 4 w 13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8" name="Freeform 537">
                <a:extLst>
                  <a:ext uri="{FF2B5EF4-FFF2-40B4-BE49-F238E27FC236}">
                    <a16:creationId xmlns:a16="http://schemas.microsoft.com/office/drawing/2014/main" id="{1B595D16-42D2-4A58-B870-8A8C81F0BC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2 h 8"/>
                  <a:gd name="T2" fmla="*/ 2 w 34"/>
                  <a:gd name="T3" fmla="*/ 2 h 8"/>
                  <a:gd name="T4" fmla="*/ 4 w 34"/>
                  <a:gd name="T5" fmla="*/ 1 h 8"/>
                  <a:gd name="T6" fmla="*/ 7 w 34"/>
                  <a:gd name="T7" fmla="*/ 0 h 8"/>
                  <a:gd name="T8" fmla="*/ 10 w 34"/>
                  <a:gd name="T9" fmla="*/ 0 h 8"/>
                  <a:gd name="T10" fmla="*/ 9 w 34"/>
                  <a:gd name="T11" fmla="*/ 1 h 8"/>
                  <a:gd name="T12" fmla="*/ 8 w 34"/>
                  <a:gd name="T13" fmla="*/ 2 h 8"/>
                  <a:gd name="T14" fmla="*/ 6 w 34"/>
                  <a:gd name="T15" fmla="*/ 2 h 8"/>
                  <a:gd name="T16" fmla="*/ 5 w 34"/>
                  <a:gd name="T17" fmla="*/ 3 h 8"/>
                  <a:gd name="T18" fmla="*/ 4 w 34"/>
                  <a:gd name="T19" fmla="*/ 3 h 8"/>
                  <a:gd name="T20" fmla="*/ 2 w 34"/>
                  <a:gd name="T21" fmla="*/ 3 h 8"/>
                  <a:gd name="T22" fmla="*/ 1 w 34"/>
                  <a:gd name="T23" fmla="*/ 3 h 8"/>
                  <a:gd name="T24" fmla="*/ 0 w 34"/>
                  <a:gd name="T25" fmla="*/ 2 h 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9" name="Freeform 538">
                <a:extLst>
                  <a:ext uri="{FF2B5EF4-FFF2-40B4-BE49-F238E27FC236}">
                    <a16:creationId xmlns:a16="http://schemas.microsoft.com/office/drawing/2014/main" id="{FC7AE967-322E-4D95-877B-C6699D2921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8 h 24"/>
                  <a:gd name="T2" fmla="*/ 0 w 13"/>
                  <a:gd name="T3" fmla="*/ 0 h 24"/>
                  <a:gd name="T4" fmla="*/ 4 w 13"/>
                  <a:gd name="T5" fmla="*/ 4 h 24"/>
                  <a:gd name="T6" fmla="*/ 0 w 13"/>
                  <a:gd name="T7" fmla="*/ 8 h 2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0" name="Freeform 539">
                <a:extLst>
                  <a:ext uri="{FF2B5EF4-FFF2-40B4-BE49-F238E27FC236}">
                    <a16:creationId xmlns:a16="http://schemas.microsoft.com/office/drawing/2014/main" id="{168D2977-B9C7-4868-9BBF-4BA4A52291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4 h 69"/>
                  <a:gd name="T2" fmla="*/ 0 w 107"/>
                  <a:gd name="T3" fmla="*/ 9 h 69"/>
                  <a:gd name="T4" fmla="*/ 0 w 107"/>
                  <a:gd name="T5" fmla="*/ 15 h 69"/>
                  <a:gd name="T6" fmla="*/ 0 w 107"/>
                  <a:gd name="T7" fmla="*/ 21 h 69"/>
                  <a:gd name="T8" fmla="*/ 0 w 107"/>
                  <a:gd name="T9" fmla="*/ 23 h 69"/>
                  <a:gd name="T10" fmla="*/ 5 w 107"/>
                  <a:gd name="T11" fmla="*/ 22 h 69"/>
                  <a:gd name="T12" fmla="*/ 16 w 107"/>
                  <a:gd name="T13" fmla="*/ 19 h 69"/>
                  <a:gd name="T14" fmla="*/ 27 w 107"/>
                  <a:gd name="T15" fmla="*/ 17 h 69"/>
                  <a:gd name="T16" fmla="*/ 34 w 107"/>
                  <a:gd name="T17" fmla="*/ 15 h 69"/>
                  <a:gd name="T18" fmla="*/ 32 w 107"/>
                  <a:gd name="T19" fmla="*/ 13 h 69"/>
                  <a:gd name="T20" fmla="*/ 30 w 107"/>
                  <a:gd name="T21" fmla="*/ 11 h 69"/>
                  <a:gd name="T22" fmla="*/ 27 w 107"/>
                  <a:gd name="T23" fmla="*/ 10 h 69"/>
                  <a:gd name="T24" fmla="*/ 25 w 107"/>
                  <a:gd name="T25" fmla="*/ 9 h 69"/>
                  <a:gd name="T26" fmla="*/ 23 w 107"/>
                  <a:gd name="T27" fmla="*/ 8 h 69"/>
                  <a:gd name="T28" fmla="*/ 21 w 107"/>
                  <a:gd name="T29" fmla="*/ 6 h 69"/>
                  <a:gd name="T30" fmla="*/ 20 w 107"/>
                  <a:gd name="T31" fmla="*/ 5 h 69"/>
                  <a:gd name="T32" fmla="*/ 20 w 107"/>
                  <a:gd name="T33" fmla="*/ 4 h 69"/>
                  <a:gd name="T34" fmla="*/ 19 w 107"/>
                  <a:gd name="T35" fmla="*/ 2 h 69"/>
                  <a:gd name="T36" fmla="*/ 19 w 107"/>
                  <a:gd name="T37" fmla="*/ 0 h 69"/>
                  <a:gd name="T38" fmla="*/ 17 w 107"/>
                  <a:gd name="T39" fmla="*/ 0 h 69"/>
                  <a:gd name="T40" fmla="*/ 12 w 107"/>
                  <a:gd name="T41" fmla="*/ 1 h 69"/>
                  <a:gd name="T42" fmla="*/ 6 w 107"/>
                  <a:gd name="T43" fmla="*/ 3 h 69"/>
                  <a:gd name="T44" fmla="*/ 0 w 107"/>
                  <a:gd name="T45" fmla="*/ 4 h 6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1" name="Freeform 540">
                <a:extLst>
                  <a:ext uri="{FF2B5EF4-FFF2-40B4-BE49-F238E27FC236}">
                    <a16:creationId xmlns:a16="http://schemas.microsoft.com/office/drawing/2014/main" id="{F265AD00-3F46-4BF9-8B4F-958BBCBF56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324 w 1070"/>
                  <a:gd name="T1" fmla="*/ 42 h 382"/>
                  <a:gd name="T2" fmla="*/ 317 w 1070"/>
                  <a:gd name="T3" fmla="*/ 35 h 382"/>
                  <a:gd name="T4" fmla="*/ 315 w 1070"/>
                  <a:gd name="T5" fmla="*/ 19 h 382"/>
                  <a:gd name="T6" fmla="*/ 306 w 1070"/>
                  <a:gd name="T7" fmla="*/ 12 h 382"/>
                  <a:gd name="T8" fmla="*/ 267 w 1070"/>
                  <a:gd name="T9" fmla="*/ 6 h 382"/>
                  <a:gd name="T10" fmla="*/ 237 w 1070"/>
                  <a:gd name="T11" fmla="*/ 19 h 382"/>
                  <a:gd name="T12" fmla="*/ 222 w 1070"/>
                  <a:gd name="T13" fmla="*/ 22 h 382"/>
                  <a:gd name="T14" fmla="*/ 207 w 1070"/>
                  <a:gd name="T15" fmla="*/ 22 h 382"/>
                  <a:gd name="T16" fmla="*/ 200 w 1070"/>
                  <a:gd name="T17" fmla="*/ 15 h 382"/>
                  <a:gd name="T18" fmla="*/ 183 w 1070"/>
                  <a:gd name="T19" fmla="*/ 12 h 382"/>
                  <a:gd name="T20" fmla="*/ 172 w 1070"/>
                  <a:gd name="T21" fmla="*/ 6 h 382"/>
                  <a:gd name="T22" fmla="*/ 158 w 1070"/>
                  <a:gd name="T23" fmla="*/ 7 h 382"/>
                  <a:gd name="T24" fmla="*/ 152 w 1070"/>
                  <a:gd name="T25" fmla="*/ 0 h 382"/>
                  <a:gd name="T26" fmla="*/ 128 w 1070"/>
                  <a:gd name="T27" fmla="*/ 5 h 382"/>
                  <a:gd name="T28" fmla="*/ 98 w 1070"/>
                  <a:gd name="T29" fmla="*/ 9 h 382"/>
                  <a:gd name="T30" fmla="*/ 84 w 1070"/>
                  <a:gd name="T31" fmla="*/ 15 h 382"/>
                  <a:gd name="T32" fmla="*/ 45 w 1070"/>
                  <a:gd name="T33" fmla="*/ 20 h 382"/>
                  <a:gd name="T34" fmla="*/ 57 w 1070"/>
                  <a:gd name="T35" fmla="*/ 25 h 382"/>
                  <a:gd name="T36" fmla="*/ 54 w 1070"/>
                  <a:gd name="T37" fmla="*/ 30 h 382"/>
                  <a:gd name="T38" fmla="*/ 37 w 1070"/>
                  <a:gd name="T39" fmla="*/ 31 h 382"/>
                  <a:gd name="T40" fmla="*/ 14 w 1070"/>
                  <a:gd name="T41" fmla="*/ 31 h 382"/>
                  <a:gd name="T42" fmla="*/ 3 w 1070"/>
                  <a:gd name="T43" fmla="*/ 37 h 382"/>
                  <a:gd name="T44" fmla="*/ 0 w 1070"/>
                  <a:gd name="T45" fmla="*/ 49 h 382"/>
                  <a:gd name="T46" fmla="*/ 5 w 1070"/>
                  <a:gd name="T47" fmla="*/ 56 h 382"/>
                  <a:gd name="T48" fmla="*/ 7 w 1070"/>
                  <a:gd name="T49" fmla="*/ 65 h 382"/>
                  <a:gd name="T50" fmla="*/ 7 w 1070"/>
                  <a:gd name="T51" fmla="*/ 70 h 382"/>
                  <a:gd name="T52" fmla="*/ 16 w 1070"/>
                  <a:gd name="T53" fmla="*/ 79 h 382"/>
                  <a:gd name="T54" fmla="*/ 18 w 1070"/>
                  <a:gd name="T55" fmla="*/ 87 h 382"/>
                  <a:gd name="T56" fmla="*/ 24 w 1070"/>
                  <a:gd name="T57" fmla="*/ 91 h 382"/>
                  <a:gd name="T58" fmla="*/ 31 w 1070"/>
                  <a:gd name="T59" fmla="*/ 97 h 382"/>
                  <a:gd name="T60" fmla="*/ 67 w 1070"/>
                  <a:gd name="T61" fmla="*/ 118 h 382"/>
                  <a:gd name="T62" fmla="*/ 83 w 1070"/>
                  <a:gd name="T63" fmla="*/ 124 h 382"/>
                  <a:gd name="T64" fmla="*/ 87 w 1070"/>
                  <a:gd name="T65" fmla="*/ 120 h 382"/>
                  <a:gd name="T66" fmla="*/ 91 w 1070"/>
                  <a:gd name="T67" fmla="*/ 113 h 382"/>
                  <a:gd name="T68" fmla="*/ 97 w 1070"/>
                  <a:gd name="T69" fmla="*/ 106 h 382"/>
                  <a:gd name="T70" fmla="*/ 109 w 1070"/>
                  <a:gd name="T71" fmla="*/ 108 h 382"/>
                  <a:gd name="T72" fmla="*/ 118 w 1070"/>
                  <a:gd name="T73" fmla="*/ 120 h 382"/>
                  <a:gd name="T74" fmla="*/ 131 w 1070"/>
                  <a:gd name="T75" fmla="*/ 124 h 382"/>
                  <a:gd name="T76" fmla="*/ 146 w 1070"/>
                  <a:gd name="T77" fmla="*/ 120 h 382"/>
                  <a:gd name="T78" fmla="*/ 161 w 1070"/>
                  <a:gd name="T79" fmla="*/ 112 h 382"/>
                  <a:gd name="T80" fmla="*/ 172 w 1070"/>
                  <a:gd name="T81" fmla="*/ 110 h 382"/>
                  <a:gd name="T82" fmla="*/ 184 w 1070"/>
                  <a:gd name="T83" fmla="*/ 109 h 382"/>
                  <a:gd name="T84" fmla="*/ 185 w 1070"/>
                  <a:gd name="T85" fmla="*/ 123 h 382"/>
                  <a:gd name="T86" fmla="*/ 193 w 1070"/>
                  <a:gd name="T87" fmla="*/ 126 h 382"/>
                  <a:gd name="T88" fmla="*/ 201 w 1070"/>
                  <a:gd name="T89" fmla="*/ 121 h 382"/>
                  <a:gd name="T90" fmla="*/ 212 w 1070"/>
                  <a:gd name="T91" fmla="*/ 113 h 382"/>
                  <a:gd name="T92" fmla="*/ 246 w 1070"/>
                  <a:gd name="T93" fmla="*/ 110 h 382"/>
                  <a:gd name="T94" fmla="*/ 272 w 1070"/>
                  <a:gd name="T95" fmla="*/ 106 h 382"/>
                  <a:gd name="T96" fmla="*/ 300 w 1070"/>
                  <a:gd name="T97" fmla="*/ 95 h 382"/>
                  <a:gd name="T98" fmla="*/ 316 w 1070"/>
                  <a:gd name="T99" fmla="*/ 96 h 382"/>
                  <a:gd name="T100" fmla="*/ 329 w 1070"/>
                  <a:gd name="T101" fmla="*/ 98 h 382"/>
                  <a:gd name="T102" fmla="*/ 345 w 1070"/>
                  <a:gd name="T103" fmla="*/ 103 h 382"/>
                  <a:gd name="T104" fmla="*/ 345 w 1070"/>
                  <a:gd name="T105" fmla="*/ 90 h 382"/>
                  <a:gd name="T106" fmla="*/ 336 w 1070"/>
                  <a:gd name="T107" fmla="*/ 73 h 382"/>
                  <a:gd name="T108" fmla="*/ 333 w 1070"/>
                  <a:gd name="T109" fmla="*/ 56 h 38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377" name="Freeform 541">
              <a:extLst>
                <a:ext uri="{FF2B5EF4-FFF2-40B4-BE49-F238E27FC236}">
                  <a16:creationId xmlns:a16="http://schemas.microsoft.com/office/drawing/2014/main" id="{2A9170A4-A7A0-49FC-BB67-702A6BB34F6A}"/>
                </a:ext>
              </a:extLst>
            </p:cNvPr>
            <p:cNvSpPr>
              <a:spLocks/>
            </p:cNvSpPr>
            <p:nvPr>
              <p:custDataLst>
                <p:tags r:id="rId372"/>
              </p:custDataLst>
            </p:nvPr>
          </p:nvSpPr>
          <p:spPr bwMode="auto">
            <a:xfrm>
              <a:off x="4095751" y="3481389"/>
              <a:ext cx="100013" cy="122237"/>
            </a:xfrm>
            <a:custGeom>
              <a:avLst/>
              <a:gdLst>
                <a:gd name="T0" fmla="*/ 27880 w 226"/>
                <a:gd name="T1" fmla="*/ 121721 h 237"/>
                <a:gd name="T2" fmla="*/ 30092 w 226"/>
                <a:gd name="T3" fmla="*/ 122237 h 237"/>
                <a:gd name="T4" fmla="*/ 33190 w 226"/>
                <a:gd name="T5" fmla="*/ 121205 h 237"/>
                <a:gd name="T6" fmla="*/ 36730 w 226"/>
                <a:gd name="T7" fmla="*/ 120690 h 237"/>
                <a:gd name="T8" fmla="*/ 39386 w 226"/>
                <a:gd name="T9" fmla="*/ 118627 h 237"/>
                <a:gd name="T10" fmla="*/ 42483 w 226"/>
                <a:gd name="T11" fmla="*/ 115016 h 237"/>
                <a:gd name="T12" fmla="*/ 43811 w 226"/>
                <a:gd name="T13" fmla="*/ 110374 h 237"/>
                <a:gd name="T14" fmla="*/ 54432 w 226"/>
                <a:gd name="T15" fmla="*/ 107795 h 237"/>
                <a:gd name="T16" fmla="*/ 73461 w 226"/>
                <a:gd name="T17" fmla="*/ 105732 h 237"/>
                <a:gd name="T18" fmla="*/ 86294 w 226"/>
                <a:gd name="T19" fmla="*/ 102122 h 237"/>
                <a:gd name="T20" fmla="*/ 92490 w 226"/>
                <a:gd name="T21" fmla="*/ 98512 h 237"/>
                <a:gd name="T22" fmla="*/ 97358 w 226"/>
                <a:gd name="T23" fmla="*/ 93354 h 237"/>
                <a:gd name="T24" fmla="*/ 99570 w 226"/>
                <a:gd name="T25" fmla="*/ 86649 h 237"/>
                <a:gd name="T26" fmla="*/ 100013 w 226"/>
                <a:gd name="T27" fmla="*/ 78912 h 237"/>
                <a:gd name="T28" fmla="*/ 98685 w 226"/>
                <a:gd name="T29" fmla="*/ 72208 h 237"/>
                <a:gd name="T30" fmla="*/ 95145 w 226"/>
                <a:gd name="T31" fmla="*/ 63439 h 237"/>
                <a:gd name="T32" fmla="*/ 89835 w 226"/>
                <a:gd name="T33" fmla="*/ 51577 h 237"/>
                <a:gd name="T34" fmla="*/ 86737 w 226"/>
                <a:gd name="T35" fmla="*/ 43325 h 237"/>
                <a:gd name="T36" fmla="*/ 85409 w 226"/>
                <a:gd name="T37" fmla="*/ 38167 h 237"/>
                <a:gd name="T38" fmla="*/ 86294 w 226"/>
                <a:gd name="T39" fmla="*/ 30430 h 237"/>
                <a:gd name="T40" fmla="*/ 88507 w 226"/>
                <a:gd name="T41" fmla="*/ 22178 h 237"/>
                <a:gd name="T42" fmla="*/ 94260 w 226"/>
                <a:gd name="T43" fmla="*/ 12894 h 237"/>
                <a:gd name="T44" fmla="*/ 94260 w 226"/>
                <a:gd name="T45" fmla="*/ 7221 h 237"/>
                <a:gd name="T46" fmla="*/ 84524 w 226"/>
                <a:gd name="T47" fmla="*/ 3610 h 237"/>
                <a:gd name="T48" fmla="*/ 68150 w 226"/>
                <a:gd name="T49" fmla="*/ 1032 h 237"/>
                <a:gd name="T50" fmla="*/ 8851 w 226"/>
                <a:gd name="T51" fmla="*/ 3095 h 237"/>
                <a:gd name="T52" fmla="*/ 7966 w 226"/>
                <a:gd name="T53" fmla="*/ 15989 h 237"/>
                <a:gd name="T54" fmla="*/ 4425 w 226"/>
                <a:gd name="T55" fmla="*/ 27851 h 237"/>
                <a:gd name="T56" fmla="*/ 1328 w 226"/>
                <a:gd name="T57" fmla="*/ 40746 h 237"/>
                <a:gd name="T58" fmla="*/ 0 w 226"/>
                <a:gd name="T59" fmla="*/ 57250 h 237"/>
                <a:gd name="T60" fmla="*/ 1328 w 226"/>
                <a:gd name="T61" fmla="*/ 67050 h 237"/>
                <a:gd name="T62" fmla="*/ 4425 w 226"/>
                <a:gd name="T63" fmla="*/ 75302 h 237"/>
                <a:gd name="T64" fmla="*/ 13276 w 226"/>
                <a:gd name="T65" fmla="*/ 89228 h 237"/>
                <a:gd name="T66" fmla="*/ 22569 w 226"/>
                <a:gd name="T67" fmla="*/ 102638 h 237"/>
                <a:gd name="T68" fmla="*/ 25225 w 226"/>
                <a:gd name="T69" fmla="*/ 111406 h 237"/>
                <a:gd name="T70" fmla="*/ 26995 w 226"/>
                <a:gd name="T71" fmla="*/ 120690 h 23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8" name="Freeform 542">
              <a:extLst>
                <a:ext uri="{FF2B5EF4-FFF2-40B4-BE49-F238E27FC236}">
                  <a16:creationId xmlns:a16="http://schemas.microsoft.com/office/drawing/2014/main" id="{E19ACEA1-2EEC-41F2-B037-C6832420EEA3}"/>
                </a:ext>
              </a:extLst>
            </p:cNvPr>
            <p:cNvSpPr>
              <a:spLocks/>
            </p:cNvSpPr>
            <p:nvPr>
              <p:custDataLst>
                <p:tags r:id="rId373"/>
              </p:custDataLst>
            </p:nvPr>
          </p:nvSpPr>
          <p:spPr bwMode="auto">
            <a:xfrm>
              <a:off x="8040688" y="2917825"/>
              <a:ext cx="207962" cy="458788"/>
            </a:xfrm>
            <a:custGeom>
              <a:avLst/>
              <a:gdLst>
                <a:gd name="T0" fmla="*/ 124864 w 478"/>
                <a:gd name="T1" fmla="*/ 57152 h 875"/>
                <a:gd name="T2" fmla="*/ 108767 w 478"/>
                <a:gd name="T3" fmla="*/ 72357 h 875"/>
                <a:gd name="T4" fmla="*/ 86578 w 478"/>
                <a:gd name="T5" fmla="*/ 103293 h 875"/>
                <a:gd name="T6" fmla="*/ 86143 w 478"/>
                <a:gd name="T7" fmla="*/ 111682 h 875"/>
                <a:gd name="T8" fmla="*/ 89624 w 478"/>
                <a:gd name="T9" fmla="*/ 125315 h 875"/>
                <a:gd name="T10" fmla="*/ 96150 w 478"/>
                <a:gd name="T11" fmla="*/ 138947 h 875"/>
                <a:gd name="T12" fmla="*/ 104416 w 478"/>
                <a:gd name="T13" fmla="*/ 151007 h 875"/>
                <a:gd name="T14" fmla="*/ 112682 w 478"/>
                <a:gd name="T15" fmla="*/ 157823 h 875"/>
                <a:gd name="T16" fmla="*/ 121384 w 478"/>
                <a:gd name="T17" fmla="*/ 172504 h 875"/>
                <a:gd name="T18" fmla="*/ 128345 w 478"/>
                <a:gd name="T19" fmla="*/ 189283 h 875"/>
                <a:gd name="T20" fmla="*/ 132695 w 478"/>
                <a:gd name="T21" fmla="*/ 193477 h 875"/>
                <a:gd name="T22" fmla="*/ 190559 w 478"/>
                <a:gd name="T23" fmla="*/ 261640 h 875"/>
                <a:gd name="T24" fmla="*/ 204917 w 478"/>
                <a:gd name="T25" fmla="*/ 308830 h 875"/>
                <a:gd name="T26" fmla="*/ 207962 w 478"/>
                <a:gd name="T27" fmla="*/ 339241 h 875"/>
                <a:gd name="T28" fmla="*/ 207092 w 478"/>
                <a:gd name="T29" fmla="*/ 360214 h 875"/>
                <a:gd name="T30" fmla="*/ 207962 w 478"/>
                <a:gd name="T31" fmla="*/ 371225 h 875"/>
                <a:gd name="T32" fmla="*/ 194475 w 478"/>
                <a:gd name="T33" fmla="*/ 376468 h 875"/>
                <a:gd name="T34" fmla="*/ 182728 w 478"/>
                <a:gd name="T35" fmla="*/ 384333 h 875"/>
                <a:gd name="T36" fmla="*/ 170111 w 478"/>
                <a:gd name="T37" fmla="*/ 396393 h 875"/>
                <a:gd name="T38" fmla="*/ 158799 w 478"/>
                <a:gd name="T39" fmla="*/ 413696 h 875"/>
                <a:gd name="T40" fmla="*/ 151403 w 478"/>
                <a:gd name="T41" fmla="*/ 411598 h 875"/>
                <a:gd name="T42" fmla="*/ 138786 w 478"/>
                <a:gd name="T43" fmla="*/ 413696 h 875"/>
                <a:gd name="T44" fmla="*/ 136176 w 478"/>
                <a:gd name="T45" fmla="*/ 421561 h 875"/>
                <a:gd name="T46" fmla="*/ 125734 w 478"/>
                <a:gd name="T47" fmla="*/ 439388 h 875"/>
                <a:gd name="T48" fmla="*/ 111377 w 478"/>
                <a:gd name="T49" fmla="*/ 455118 h 875"/>
                <a:gd name="T50" fmla="*/ 103981 w 478"/>
                <a:gd name="T51" fmla="*/ 458788 h 875"/>
                <a:gd name="T52" fmla="*/ 100936 w 478"/>
                <a:gd name="T53" fmla="*/ 455118 h 875"/>
                <a:gd name="T54" fmla="*/ 97890 w 478"/>
                <a:gd name="T55" fmla="*/ 442534 h 875"/>
                <a:gd name="T56" fmla="*/ 100500 w 478"/>
                <a:gd name="T57" fmla="*/ 419463 h 875"/>
                <a:gd name="T58" fmla="*/ 110072 w 478"/>
                <a:gd name="T59" fmla="*/ 406355 h 875"/>
                <a:gd name="T60" fmla="*/ 120514 w 478"/>
                <a:gd name="T61" fmla="*/ 398490 h 875"/>
                <a:gd name="T62" fmla="*/ 128345 w 478"/>
                <a:gd name="T63" fmla="*/ 394820 h 875"/>
                <a:gd name="T64" fmla="*/ 132695 w 478"/>
                <a:gd name="T65" fmla="*/ 389577 h 875"/>
                <a:gd name="T66" fmla="*/ 136611 w 478"/>
                <a:gd name="T67" fmla="*/ 374371 h 875"/>
                <a:gd name="T68" fmla="*/ 143572 w 478"/>
                <a:gd name="T69" fmla="*/ 359690 h 875"/>
                <a:gd name="T70" fmla="*/ 158799 w 478"/>
                <a:gd name="T71" fmla="*/ 337144 h 875"/>
                <a:gd name="T72" fmla="*/ 161410 w 478"/>
                <a:gd name="T73" fmla="*/ 281040 h 875"/>
                <a:gd name="T74" fmla="*/ 158364 w 478"/>
                <a:gd name="T75" fmla="*/ 249056 h 875"/>
                <a:gd name="T76" fmla="*/ 148358 w 478"/>
                <a:gd name="T77" fmla="*/ 223889 h 875"/>
                <a:gd name="T78" fmla="*/ 129215 w 478"/>
                <a:gd name="T79" fmla="*/ 197672 h 875"/>
                <a:gd name="T80" fmla="*/ 95280 w 478"/>
                <a:gd name="T81" fmla="*/ 161493 h 875"/>
                <a:gd name="T82" fmla="*/ 70046 w 478"/>
                <a:gd name="T83" fmla="*/ 133704 h 875"/>
                <a:gd name="T84" fmla="*/ 46987 w 478"/>
                <a:gd name="T85" fmla="*/ 103817 h 875"/>
                <a:gd name="T86" fmla="*/ 31325 w 478"/>
                <a:gd name="T87" fmla="*/ 76552 h 875"/>
                <a:gd name="T88" fmla="*/ 18273 w 478"/>
                <a:gd name="T89" fmla="*/ 54530 h 875"/>
                <a:gd name="T90" fmla="*/ 20013 w 478"/>
                <a:gd name="T91" fmla="*/ 21497 h 875"/>
                <a:gd name="T92" fmla="*/ 56124 w 478"/>
                <a:gd name="T93" fmla="*/ 9962 h 875"/>
                <a:gd name="T94" fmla="*/ 64390 w 478"/>
                <a:gd name="T95" fmla="*/ 2622 h 875"/>
                <a:gd name="T96" fmla="*/ 76137 w 478"/>
                <a:gd name="T97" fmla="*/ 8389 h 875"/>
                <a:gd name="T98" fmla="*/ 96150 w 478"/>
                <a:gd name="T99" fmla="*/ 18352 h 875"/>
                <a:gd name="T100" fmla="*/ 117033 w 478"/>
                <a:gd name="T101" fmla="*/ 35130 h 87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9" name="Freeform 543">
              <a:extLst>
                <a:ext uri="{FF2B5EF4-FFF2-40B4-BE49-F238E27FC236}">
                  <a16:creationId xmlns:a16="http://schemas.microsoft.com/office/drawing/2014/main" id="{7C4AED2C-7D87-419C-B036-0BCBDF63B4E8}"/>
                </a:ext>
              </a:extLst>
            </p:cNvPr>
            <p:cNvSpPr>
              <a:spLocks/>
            </p:cNvSpPr>
            <p:nvPr>
              <p:custDataLst>
                <p:tags r:id="rId374"/>
              </p:custDataLst>
            </p:nvPr>
          </p:nvSpPr>
          <p:spPr bwMode="auto">
            <a:xfrm>
              <a:off x="8128000" y="3603625"/>
              <a:ext cx="25400" cy="57150"/>
            </a:xfrm>
            <a:custGeom>
              <a:avLst/>
              <a:gdLst>
                <a:gd name="T0" fmla="*/ 25400 w 59"/>
                <a:gd name="T1" fmla="*/ 11061 h 31"/>
                <a:gd name="T2" fmla="*/ 24539 w 59"/>
                <a:gd name="T3" fmla="*/ 20279 h 31"/>
                <a:gd name="T4" fmla="*/ 22817 w 59"/>
                <a:gd name="T5" fmla="*/ 27653 h 31"/>
                <a:gd name="T6" fmla="*/ 21095 w 59"/>
                <a:gd name="T7" fmla="*/ 35027 h 31"/>
                <a:gd name="T8" fmla="*/ 19373 w 59"/>
                <a:gd name="T9" fmla="*/ 44245 h 31"/>
                <a:gd name="T10" fmla="*/ 17220 w 59"/>
                <a:gd name="T11" fmla="*/ 49776 h 31"/>
                <a:gd name="T12" fmla="*/ 15498 w 59"/>
                <a:gd name="T13" fmla="*/ 53463 h 31"/>
                <a:gd name="T14" fmla="*/ 12915 w 59"/>
                <a:gd name="T15" fmla="*/ 57150 h 31"/>
                <a:gd name="T16" fmla="*/ 11193 w 59"/>
                <a:gd name="T17" fmla="*/ 57150 h 31"/>
                <a:gd name="T18" fmla="*/ 9041 w 59"/>
                <a:gd name="T19" fmla="*/ 57150 h 31"/>
                <a:gd name="T20" fmla="*/ 7319 w 59"/>
                <a:gd name="T21" fmla="*/ 55306 h 31"/>
                <a:gd name="T22" fmla="*/ 6027 w 59"/>
                <a:gd name="T23" fmla="*/ 53463 h 31"/>
                <a:gd name="T24" fmla="*/ 4736 w 59"/>
                <a:gd name="T25" fmla="*/ 49776 h 31"/>
                <a:gd name="T26" fmla="*/ 1722 w 59"/>
                <a:gd name="T27" fmla="*/ 36871 h 31"/>
                <a:gd name="T28" fmla="*/ 0 w 59"/>
                <a:gd name="T29" fmla="*/ 22123 h 31"/>
                <a:gd name="T30" fmla="*/ 431 w 59"/>
                <a:gd name="T31" fmla="*/ 16592 h 31"/>
                <a:gd name="T32" fmla="*/ 1292 w 59"/>
                <a:gd name="T33" fmla="*/ 11061 h 31"/>
                <a:gd name="T34" fmla="*/ 2153 w 59"/>
                <a:gd name="T35" fmla="*/ 7374 h 31"/>
                <a:gd name="T36" fmla="*/ 3444 w 59"/>
                <a:gd name="T37" fmla="*/ 5531 h 31"/>
                <a:gd name="T38" fmla="*/ 6888 w 59"/>
                <a:gd name="T39" fmla="*/ 1844 h 31"/>
                <a:gd name="T40" fmla="*/ 10332 w 59"/>
                <a:gd name="T41" fmla="*/ 0 h 31"/>
                <a:gd name="T42" fmla="*/ 14637 w 59"/>
                <a:gd name="T43" fmla="*/ 0 h 31"/>
                <a:gd name="T44" fmla="*/ 18081 w 59"/>
                <a:gd name="T45" fmla="*/ 3687 h 31"/>
                <a:gd name="T46" fmla="*/ 21956 w 59"/>
                <a:gd name="T47" fmla="*/ 7374 h 31"/>
                <a:gd name="T48" fmla="*/ 25400 w 59"/>
                <a:gd name="T49" fmla="*/ 11061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0" name="Freeform 544">
              <a:extLst>
                <a:ext uri="{FF2B5EF4-FFF2-40B4-BE49-F238E27FC236}">
                  <a16:creationId xmlns:a16="http://schemas.microsoft.com/office/drawing/2014/main" id="{D79529B0-C1C2-4789-B6C8-A1349FF714E8}"/>
                </a:ext>
              </a:extLst>
            </p:cNvPr>
            <p:cNvSpPr>
              <a:spLocks/>
            </p:cNvSpPr>
            <p:nvPr>
              <p:custDataLst>
                <p:tags r:id="rId375"/>
              </p:custDataLst>
            </p:nvPr>
          </p:nvSpPr>
          <p:spPr bwMode="auto">
            <a:xfrm>
              <a:off x="6819901" y="2862263"/>
              <a:ext cx="174625" cy="271462"/>
            </a:xfrm>
            <a:custGeom>
              <a:avLst/>
              <a:gdLst>
                <a:gd name="T0" fmla="*/ 87531 w 399"/>
                <a:gd name="T1" fmla="*/ 4192 h 518"/>
                <a:gd name="T2" fmla="*/ 88407 w 399"/>
                <a:gd name="T3" fmla="*/ 11529 h 518"/>
                <a:gd name="T4" fmla="*/ 91033 w 399"/>
                <a:gd name="T5" fmla="*/ 18866 h 518"/>
                <a:gd name="T6" fmla="*/ 93659 w 399"/>
                <a:gd name="T7" fmla="*/ 25679 h 518"/>
                <a:gd name="T8" fmla="*/ 98035 w 399"/>
                <a:gd name="T9" fmla="*/ 33016 h 518"/>
                <a:gd name="T10" fmla="*/ 102849 w 399"/>
                <a:gd name="T11" fmla="*/ 39304 h 518"/>
                <a:gd name="T12" fmla="*/ 108977 w 399"/>
                <a:gd name="T13" fmla="*/ 45069 h 518"/>
                <a:gd name="T14" fmla="*/ 115541 w 399"/>
                <a:gd name="T15" fmla="*/ 49786 h 518"/>
                <a:gd name="T16" fmla="*/ 138299 w 399"/>
                <a:gd name="T17" fmla="*/ 55550 h 518"/>
                <a:gd name="T18" fmla="*/ 159745 w 399"/>
                <a:gd name="T19" fmla="*/ 62363 h 518"/>
                <a:gd name="T20" fmla="*/ 166310 w 399"/>
                <a:gd name="T21" fmla="*/ 66555 h 518"/>
                <a:gd name="T22" fmla="*/ 171561 w 399"/>
                <a:gd name="T23" fmla="*/ 71796 h 518"/>
                <a:gd name="T24" fmla="*/ 174187 w 399"/>
                <a:gd name="T25" fmla="*/ 79133 h 518"/>
                <a:gd name="T26" fmla="*/ 174187 w 399"/>
                <a:gd name="T27" fmla="*/ 91186 h 518"/>
                <a:gd name="T28" fmla="*/ 170686 w 399"/>
                <a:gd name="T29" fmla="*/ 104812 h 518"/>
                <a:gd name="T30" fmla="*/ 161495 w 399"/>
                <a:gd name="T31" fmla="*/ 125250 h 518"/>
                <a:gd name="T32" fmla="*/ 150554 w 399"/>
                <a:gd name="T33" fmla="*/ 144640 h 518"/>
                <a:gd name="T34" fmla="*/ 143551 w 399"/>
                <a:gd name="T35" fmla="*/ 158790 h 518"/>
                <a:gd name="T36" fmla="*/ 137424 w 399"/>
                <a:gd name="T37" fmla="*/ 172939 h 518"/>
                <a:gd name="T38" fmla="*/ 134361 w 399"/>
                <a:gd name="T39" fmla="*/ 188661 h 518"/>
                <a:gd name="T40" fmla="*/ 129984 w 399"/>
                <a:gd name="T41" fmla="*/ 197570 h 518"/>
                <a:gd name="T42" fmla="*/ 117292 w 399"/>
                <a:gd name="T43" fmla="*/ 202810 h 518"/>
                <a:gd name="T44" fmla="*/ 107664 w 399"/>
                <a:gd name="T45" fmla="*/ 209099 h 518"/>
                <a:gd name="T46" fmla="*/ 102849 w 399"/>
                <a:gd name="T47" fmla="*/ 213816 h 518"/>
                <a:gd name="T48" fmla="*/ 99348 w 399"/>
                <a:gd name="T49" fmla="*/ 218532 h 518"/>
                <a:gd name="T50" fmla="*/ 98035 w 399"/>
                <a:gd name="T51" fmla="*/ 223773 h 518"/>
                <a:gd name="T52" fmla="*/ 93221 w 399"/>
                <a:gd name="T53" fmla="*/ 229537 h 518"/>
                <a:gd name="T54" fmla="*/ 82279 w 399"/>
                <a:gd name="T55" fmla="*/ 235826 h 518"/>
                <a:gd name="T56" fmla="*/ 75715 w 399"/>
                <a:gd name="T57" fmla="*/ 238970 h 518"/>
                <a:gd name="T58" fmla="*/ 72651 w 399"/>
                <a:gd name="T59" fmla="*/ 244735 h 518"/>
                <a:gd name="T60" fmla="*/ 69150 w 399"/>
                <a:gd name="T61" fmla="*/ 252072 h 518"/>
                <a:gd name="T62" fmla="*/ 63898 w 399"/>
                <a:gd name="T63" fmla="*/ 256788 h 518"/>
                <a:gd name="T64" fmla="*/ 57333 w 399"/>
                <a:gd name="T65" fmla="*/ 258885 h 518"/>
                <a:gd name="T66" fmla="*/ 44641 w 399"/>
                <a:gd name="T67" fmla="*/ 260981 h 518"/>
                <a:gd name="T68" fmla="*/ 31949 w 399"/>
                <a:gd name="T69" fmla="*/ 264125 h 518"/>
                <a:gd name="T70" fmla="*/ 24071 w 399"/>
                <a:gd name="T71" fmla="*/ 268318 h 518"/>
                <a:gd name="T72" fmla="*/ 20132 w 399"/>
                <a:gd name="T73" fmla="*/ 269366 h 518"/>
                <a:gd name="T74" fmla="*/ 18819 w 399"/>
                <a:gd name="T75" fmla="*/ 265173 h 518"/>
                <a:gd name="T76" fmla="*/ 16631 w 399"/>
                <a:gd name="T77" fmla="*/ 260457 h 518"/>
                <a:gd name="T78" fmla="*/ 14880 w 399"/>
                <a:gd name="T79" fmla="*/ 255216 h 518"/>
                <a:gd name="T80" fmla="*/ 14443 w 399"/>
                <a:gd name="T81" fmla="*/ 245259 h 518"/>
                <a:gd name="T82" fmla="*/ 12692 w 399"/>
                <a:gd name="T83" fmla="*/ 233206 h 518"/>
                <a:gd name="T84" fmla="*/ 7440 w 399"/>
                <a:gd name="T85" fmla="*/ 219056 h 518"/>
                <a:gd name="T86" fmla="*/ 0 w 399"/>
                <a:gd name="T87" fmla="*/ 187613 h 518"/>
                <a:gd name="T88" fmla="*/ 84905 w 399"/>
                <a:gd name="T89" fmla="*/ 96951 h 518"/>
                <a:gd name="T90" fmla="*/ 87531 w 399"/>
                <a:gd name="T91" fmla="*/ 0 h 51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81" name="Freeform 545">
              <a:extLst>
                <a:ext uri="{FF2B5EF4-FFF2-40B4-BE49-F238E27FC236}">
                  <a16:creationId xmlns:a16="http://schemas.microsoft.com/office/drawing/2014/main" id="{9C1C24F7-427B-446A-B6E5-0E3407E38940}"/>
                </a:ext>
              </a:extLst>
            </p:cNvPr>
            <p:cNvSpPr>
              <a:spLocks/>
            </p:cNvSpPr>
            <p:nvPr>
              <p:custDataLst>
                <p:tags r:id="rId376"/>
              </p:custDataLst>
            </p:nvPr>
          </p:nvSpPr>
          <p:spPr bwMode="auto">
            <a:xfrm>
              <a:off x="5546725" y="2916238"/>
              <a:ext cx="376238" cy="385762"/>
            </a:xfrm>
            <a:custGeom>
              <a:avLst/>
              <a:gdLst>
                <a:gd name="T0" fmla="*/ 100359 w 866"/>
                <a:gd name="T1" fmla="*/ 140751 h 740"/>
                <a:gd name="T2" fmla="*/ 106441 w 866"/>
                <a:gd name="T3" fmla="*/ 137623 h 740"/>
                <a:gd name="T4" fmla="*/ 118172 w 866"/>
                <a:gd name="T5" fmla="*/ 141794 h 740"/>
                <a:gd name="T6" fmla="*/ 284134 w 866"/>
                <a:gd name="T7" fmla="*/ 521 h 740"/>
                <a:gd name="T8" fmla="*/ 294995 w 866"/>
                <a:gd name="T9" fmla="*/ 3128 h 740"/>
                <a:gd name="T10" fmla="*/ 308897 w 866"/>
                <a:gd name="T11" fmla="*/ 10947 h 740"/>
                <a:gd name="T12" fmla="*/ 317152 w 866"/>
                <a:gd name="T13" fmla="*/ 18246 h 740"/>
                <a:gd name="T14" fmla="*/ 330186 w 866"/>
                <a:gd name="T15" fmla="*/ 29714 h 740"/>
                <a:gd name="T16" fmla="*/ 343654 w 866"/>
                <a:gd name="T17" fmla="*/ 30757 h 740"/>
                <a:gd name="T18" fmla="*/ 361032 w 866"/>
                <a:gd name="T19" fmla="*/ 22416 h 740"/>
                <a:gd name="T20" fmla="*/ 371025 w 866"/>
                <a:gd name="T21" fmla="*/ 86536 h 740"/>
                <a:gd name="T22" fmla="*/ 376238 w 866"/>
                <a:gd name="T23" fmla="*/ 106866 h 740"/>
                <a:gd name="T24" fmla="*/ 369287 w 866"/>
                <a:gd name="T25" fmla="*/ 156911 h 740"/>
                <a:gd name="T26" fmla="*/ 368418 w 866"/>
                <a:gd name="T27" fmla="*/ 196009 h 740"/>
                <a:gd name="T28" fmla="*/ 362335 w 866"/>
                <a:gd name="T29" fmla="*/ 219467 h 740"/>
                <a:gd name="T30" fmla="*/ 348433 w 866"/>
                <a:gd name="T31" fmla="*/ 243447 h 740"/>
                <a:gd name="T32" fmla="*/ 337572 w 866"/>
                <a:gd name="T33" fmla="*/ 260129 h 740"/>
                <a:gd name="T34" fmla="*/ 329317 w 866"/>
                <a:gd name="T35" fmla="*/ 295577 h 740"/>
                <a:gd name="T36" fmla="*/ 308897 w 866"/>
                <a:gd name="T37" fmla="*/ 327898 h 740"/>
                <a:gd name="T38" fmla="*/ 295429 w 866"/>
                <a:gd name="T39" fmla="*/ 336760 h 740"/>
                <a:gd name="T40" fmla="*/ 279789 w 866"/>
                <a:gd name="T41" fmla="*/ 332589 h 740"/>
                <a:gd name="T42" fmla="*/ 265452 w 866"/>
                <a:gd name="T43" fmla="*/ 325813 h 740"/>
                <a:gd name="T44" fmla="*/ 245902 w 866"/>
                <a:gd name="T45" fmla="*/ 329983 h 740"/>
                <a:gd name="T46" fmla="*/ 230261 w 866"/>
                <a:gd name="T47" fmla="*/ 343537 h 740"/>
                <a:gd name="T48" fmla="*/ 222006 w 866"/>
                <a:gd name="T49" fmla="*/ 354484 h 740"/>
                <a:gd name="T50" fmla="*/ 213317 w 866"/>
                <a:gd name="T51" fmla="*/ 356569 h 740"/>
                <a:gd name="T52" fmla="*/ 204194 w 866"/>
                <a:gd name="T53" fmla="*/ 348228 h 740"/>
                <a:gd name="T54" fmla="*/ 193767 w 866"/>
                <a:gd name="T55" fmla="*/ 333111 h 740"/>
                <a:gd name="T56" fmla="*/ 182906 w 866"/>
                <a:gd name="T57" fmla="*/ 331026 h 740"/>
                <a:gd name="T58" fmla="*/ 175954 w 866"/>
                <a:gd name="T59" fmla="*/ 337281 h 740"/>
                <a:gd name="T60" fmla="*/ 166831 w 866"/>
                <a:gd name="T61" fmla="*/ 339888 h 740"/>
                <a:gd name="T62" fmla="*/ 152059 w 866"/>
                <a:gd name="T63" fmla="*/ 332589 h 740"/>
                <a:gd name="T64" fmla="*/ 132943 w 866"/>
                <a:gd name="T65" fmla="*/ 316950 h 740"/>
                <a:gd name="T66" fmla="*/ 117737 w 866"/>
                <a:gd name="T67" fmla="*/ 314865 h 740"/>
                <a:gd name="T68" fmla="*/ 102966 w 866"/>
                <a:gd name="T69" fmla="*/ 323206 h 740"/>
                <a:gd name="T70" fmla="*/ 90801 w 866"/>
                <a:gd name="T71" fmla="*/ 340409 h 740"/>
                <a:gd name="T72" fmla="*/ 82546 w 866"/>
                <a:gd name="T73" fmla="*/ 360740 h 740"/>
                <a:gd name="T74" fmla="*/ 77333 w 866"/>
                <a:gd name="T75" fmla="*/ 374815 h 740"/>
                <a:gd name="T76" fmla="*/ 64734 w 866"/>
                <a:gd name="T77" fmla="*/ 365953 h 740"/>
                <a:gd name="T78" fmla="*/ 43445 w 866"/>
                <a:gd name="T79" fmla="*/ 385762 h 740"/>
                <a:gd name="T80" fmla="*/ 28674 w 866"/>
                <a:gd name="T81" fmla="*/ 364389 h 740"/>
                <a:gd name="T82" fmla="*/ 27805 w 866"/>
                <a:gd name="T83" fmla="*/ 335717 h 740"/>
                <a:gd name="T84" fmla="*/ 21723 w 866"/>
                <a:gd name="T85" fmla="*/ 319557 h 740"/>
                <a:gd name="T86" fmla="*/ 8689 w 866"/>
                <a:gd name="T87" fmla="*/ 306003 h 740"/>
                <a:gd name="T88" fmla="*/ 2172 w 866"/>
                <a:gd name="T89" fmla="*/ 290885 h 740"/>
                <a:gd name="T90" fmla="*/ 23026 w 866"/>
                <a:gd name="T91" fmla="*/ 276289 h 740"/>
                <a:gd name="T92" fmla="*/ 33019 w 866"/>
                <a:gd name="T93" fmla="*/ 270033 h 740"/>
                <a:gd name="T94" fmla="*/ 60389 w 866"/>
                <a:gd name="T95" fmla="*/ 265863 h 740"/>
                <a:gd name="T96" fmla="*/ 79071 w 866"/>
                <a:gd name="T97" fmla="*/ 260650 h 740"/>
                <a:gd name="T98" fmla="*/ 87325 w 866"/>
                <a:gd name="T99" fmla="*/ 247617 h 740"/>
                <a:gd name="T100" fmla="*/ 95146 w 866"/>
                <a:gd name="T101" fmla="*/ 221031 h 740"/>
                <a:gd name="T102" fmla="*/ 97318 w 866"/>
                <a:gd name="T103" fmla="*/ 191317 h 740"/>
                <a:gd name="T104" fmla="*/ 95146 w 866"/>
                <a:gd name="T105" fmla="*/ 166816 h 7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2" name="Freeform 546">
              <a:extLst>
                <a:ext uri="{FF2B5EF4-FFF2-40B4-BE49-F238E27FC236}">
                  <a16:creationId xmlns:a16="http://schemas.microsoft.com/office/drawing/2014/main" id="{A85D6B82-B004-4183-9E9C-51820531F9F7}"/>
                </a:ext>
              </a:extLst>
            </p:cNvPr>
            <p:cNvSpPr>
              <a:spLocks/>
            </p:cNvSpPr>
            <p:nvPr>
              <p:custDataLst>
                <p:tags r:id="rId377"/>
              </p:custDataLst>
            </p:nvPr>
          </p:nvSpPr>
          <p:spPr bwMode="auto">
            <a:xfrm>
              <a:off x="5216525" y="2533650"/>
              <a:ext cx="300038" cy="260350"/>
            </a:xfrm>
            <a:custGeom>
              <a:avLst/>
              <a:gdLst>
                <a:gd name="T0" fmla="*/ 278945 w 697"/>
                <a:gd name="T1" fmla="*/ 27597 h 500"/>
                <a:gd name="T2" fmla="*/ 282819 w 697"/>
                <a:gd name="T3" fmla="*/ 83833 h 500"/>
                <a:gd name="T4" fmla="*/ 284541 w 697"/>
                <a:gd name="T5" fmla="*/ 86957 h 500"/>
                <a:gd name="T6" fmla="*/ 291429 w 697"/>
                <a:gd name="T7" fmla="*/ 92164 h 500"/>
                <a:gd name="T8" fmla="*/ 298747 w 697"/>
                <a:gd name="T9" fmla="*/ 98412 h 500"/>
                <a:gd name="T10" fmla="*/ 300038 w 697"/>
                <a:gd name="T11" fmla="*/ 103099 h 500"/>
                <a:gd name="T12" fmla="*/ 298747 w 697"/>
                <a:gd name="T13" fmla="*/ 109868 h 500"/>
                <a:gd name="T14" fmla="*/ 294872 w 697"/>
                <a:gd name="T15" fmla="*/ 112992 h 500"/>
                <a:gd name="T16" fmla="*/ 281958 w 697"/>
                <a:gd name="T17" fmla="*/ 113513 h 500"/>
                <a:gd name="T18" fmla="*/ 260435 w 697"/>
                <a:gd name="T19" fmla="*/ 118720 h 500"/>
                <a:gd name="T20" fmla="*/ 244077 w 697"/>
                <a:gd name="T21" fmla="*/ 130175 h 500"/>
                <a:gd name="T22" fmla="*/ 236328 w 697"/>
                <a:gd name="T23" fmla="*/ 139027 h 500"/>
                <a:gd name="T24" fmla="*/ 232024 w 697"/>
                <a:gd name="T25" fmla="*/ 149962 h 500"/>
                <a:gd name="T26" fmla="*/ 224275 w 697"/>
                <a:gd name="T27" fmla="*/ 157251 h 500"/>
                <a:gd name="T28" fmla="*/ 211361 w 697"/>
                <a:gd name="T29" fmla="*/ 168707 h 500"/>
                <a:gd name="T30" fmla="*/ 195864 w 697"/>
                <a:gd name="T31" fmla="*/ 183286 h 500"/>
                <a:gd name="T32" fmla="*/ 180798 w 697"/>
                <a:gd name="T33" fmla="*/ 192659 h 500"/>
                <a:gd name="T34" fmla="*/ 160135 w 697"/>
                <a:gd name="T35" fmla="*/ 196304 h 500"/>
                <a:gd name="T36" fmla="*/ 148082 w 697"/>
                <a:gd name="T37" fmla="*/ 197866 h 500"/>
                <a:gd name="T38" fmla="*/ 136029 w 697"/>
                <a:gd name="T39" fmla="*/ 206197 h 500"/>
                <a:gd name="T40" fmla="*/ 124836 w 697"/>
                <a:gd name="T41" fmla="*/ 217132 h 500"/>
                <a:gd name="T42" fmla="*/ 114075 w 697"/>
                <a:gd name="T43" fmla="*/ 221818 h 500"/>
                <a:gd name="T44" fmla="*/ 2152 w 697"/>
                <a:gd name="T45" fmla="*/ 258267 h 500"/>
                <a:gd name="T46" fmla="*/ 13775 w 697"/>
                <a:gd name="T47" fmla="*/ 253581 h 500"/>
                <a:gd name="T48" fmla="*/ 36590 w 697"/>
                <a:gd name="T49" fmla="*/ 246291 h 500"/>
                <a:gd name="T50" fmla="*/ 40034 w 697"/>
                <a:gd name="T51" fmla="*/ 239001 h 500"/>
                <a:gd name="T52" fmla="*/ 42617 w 697"/>
                <a:gd name="T53" fmla="*/ 228067 h 500"/>
                <a:gd name="T54" fmla="*/ 51226 w 697"/>
                <a:gd name="T55" fmla="*/ 219735 h 500"/>
                <a:gd name="T56" fmla="*/ 68875 w 697"/>
                <a:gd name="T57" fmla="*/ 207759 h 500"/>
                <a:gd name="T58" fmla="*/ 77915 w 697"/>
                <a:gd name="T59" fmla="*/ 198907 h 500"/>
                <a:gd name="T60" fmla="*/ 82650 w 697"/>
                <a:gd name="T61" fmla="*/ 185890 h 500"/>
                <a:gd name="T62" fmla="*/ 83081 w 697"/>
                <a:gd name="T63" fmla="*/ 164541 h 500"/>
                <a:gd name="T64" fmla="*/ 83942 w 697"/>
                <a:gd name="T65" fmla="*/ 132258 h 500"/>
                <a:gd name="T66" fmla="*/ 82650 w 697"/>
                <a:gd name="T67" fmla="*/ 99974 h 500"/>
                <a:gd name="T68" fmla="*/ 92121 w 697"/>
                <a:gd name="T69" fmla="*/ 98412 h 500"/>
                <a:gd name="T70" fmla="*/ 98147 w 697"/>
                <a:gd name="T71" fmla="*/ 93205 h 500"/>
                <a:gd name="T72" fmla="*/ 103743 w 697"/>
                <a:gd name="T73" fmla="*/ 85916 h 500"/>
                <a:gd name="T74" fmla="*/ 108479 w 697"/>
                <a:gd name="T75" fmla="*/ 79146 h 500"/>
                <a:gd name="T76" fmla="*/ 120962 w 697"/>
                <a:gd name="T77" fmla="*/ 76022 h 500"/>
                <a:gd name="T78" fmla="*/ 135168 w 697"/>
                <a:gd name="T79" fmla="*/ 74460 h 500"/>
                <a:gd name="T80" fmla="*/ 146360 w 697"/>
                <a:gd name="T81" fmla="*/ 68212 h 500"/>
                <a:gd name="T82" fmla="*/ 154969 w 697"/>
                <a:gd name="T83" fmla="*/ 56236 h 500"/>
                <a:gd name="T84" fmla="*/ 167023 w 697"/>
                <a:gd name="T85" fmla="*/ 24994 h 500"/>
                <a:gd name="T86" fmla="*/ 175202 w 697"/>
                <a:gd name="T87" fmla="*/ 6248 h 500"/>
                <a:gd name="T88" fmla="*/ 183380 w 697"/>
                <a:gd name="T89" fmla="*/ 4166 h 500"/>
                <a:gd name="T90" fmla="*/ 193281 w 697"/>
                <a:gd name="T91" fmla="*/ 10414 h 500"/>
                <a:gd name="T92" fmla="*/ 220401 w 697"/>
                <a:gd name="T93" fmla="*/ 9373 h 500"/>
                <a:gd name="T94" fmla="*/ 253978 w 697"/>
                <a:gd name="T95" fmla="*/ 6769 h 500"/>
                <a:gd name="T96" fmla="*/ 256991 w 697"/>
                <a:gd name="T97" fmla="*/ 8852 h 500"/>
                <a:gd name="T98" fmla="*/ 260435 w 697"/>
                <a:gd name="T99" fmla="*/ 18745 h 500"/>
                <a:gd name="T100" fmla="*/ 263018 w 697"/>
                <a:gd name="T101" fmla="*/ 26556 h 500"/>
                <a:gd name="T102" fmla="*/ 266031 w 697"/>
                <a:gd name="T103" fmla="*/ 26035 h 5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83" name="Freeform 547">
              <a:extLst>
                <a:ext uri="{FF2B5EF4-FFF2-40B4-BE49-F238E27FC236}">
                  <a16:creationId xmlns:a16="http://schemas.microsoft.com/office/drawing/2014/main" id="{9D7FE293-9C53-4E74-B126-30D4A82E387A}"/>
                </a:ext>
              </a:extLst>
            </p:cNvPr>
            <p:cNvSpPr>
              <a:spLocks/>
            </p:cNvSpPr>
            <p:nvPr>
              <p:custDataLst>
                <p:tags r:id="rId378"/>
              </p:custDataLst>
            </p:nvPr>
          </p:nvSpPr>
          <p:spPr bwMode="auto">
            <a:xfrm>
              <a:off x="5916614" y="1463676"/>
              <a:ext cx="236537" cy="92075"/>
            </a:xfrm>
            <a:custGeom>
              <a:avLst/>
              <a:gdLst>
                <a:gd name="T0" fmla="*/ 32058 w 546"/>
                <a:gd name="T1" fmla="*/ 10112 h 173"/>
                <a:gd name="T2" fmla="*/ 40722 w 546"/>
                <a:gd name="T3" fmla="*/ 18096 h 173"/>
                <a:gd name="T4" fmla="*/ 47654 w 546"/>
                <a:gd name="T5" fmla="*/ 14370 h 173"/>
                <a:gd name="T6" fmla="*/ 57185 w 546"/>
                <a:gd name="T7" fmla="*/ 14370 h 173"/>
                <a:gd name="T8" fmla="*/ 69748 w 546"/>
                <a:gd name="T9" fmla="*/ 23418 h 173"/>
                <a:gd name="T10" fmla="*/ 90543 w 546"/>
                <a:gd name="T11" fmla="*/ 10112 h 173"/>
                <a:gd name="T12" fmla="*/ 105272 w 546"/>
                <a:gd name="T13" fmla="*/ 10112 h 173"/>
                <a:gd name="T14" fmla="*/ 112637 w 546"/>
                <a:gd name="T15" fmla="*/ 8516 h 173"/>
                <a:gd name="T16" fmla="*/ 116536 w 546"/>
                <a:gd name="T17" fmla="*/ 7451 h 173"/>
                <a:gd name="T18" fmla="*/ 120868 w 546"/>
                <a:gd name="T19" fmla="*/ 5854 h 173"/>
                <a:gd name="T20" fmla="*/ 123900 w 546"/>
                <a:gd name="T21" fmla="*/ 1597 h 173"/>
                <a:gd name="T22" fmla="*/ 139063 w 546"/>
                <a:gd name="T23" fmla="*/ 2661 h 173"/>
                <a:gd name="T24" fmla="*/ 144262 w 546"/>
                <a:gd name="T25" fmla="*/ 6387 h 173"/>
                <a:gd name="T26" fmla="*/ 150760 w 546"/>
                <a:gd name="T27" fmla="*/ 3726 h 173"/>
                <a:gd name="T28" fmla="*/ 152926 w 546"/>
                <a:gd name="T29" fmla="*/ 0 h 173"/>
                <a:gd name="T30" fmla="*/ 158991 w 546"/>
                <a:gd name="T31" fmla="*/ 3726 h 173"/>
                <a:gd name="T32" fmla="*/ 168522 w 546"/>
                <a:gd name="T33" fmla="*/ 3726 h 173"/>
                <a:gd name="T34" fmla="*/ 188883 w 546"/>
                <a:gd name="T35" fmla="*/ 532 h 173"/>
                <a:gd name="T36" fmla="*/ 208811 w 546"/>
                <a:gd name="T37" fmla="*/ 3193 h 173"/>
                <a:gd name="T38" fmla="*/ 228739 w 546"/>
                <a:gd name="T39" fmla="*/ 6387 h 173"/>
                <a:gd name="T40" fmla="*/ 236104 w 546"/>
                <a:gd name="T41" fmla="*/ 26079 h 173"/>
                <a:gd name="T42" fmla="*/ 232638 w 546"/>
                <a:gd name="T43" fmla="*/ 31934 h 173"/>
                <a:gd name="T44" fmla="*/ 222241 w 546"/>
                <a:gd name="T45" fmla="*/ 32998 h 173"/>
                <a:gd name="T46" fmla="*/ 209244 w 546"/>
                <a:gd name="T47" fmla="*/ 28740 h 173"/>
                <a:gd name="T48" fmla="*/ 178919 w 546"/>
                <a:gd name="T49" fmla="*/ 23418 h 173"/>
                <a:gd name="T50" fmla="*/ 189749 w 546"/>
                <a:gd name="T51" fmla="*/ 43110 h 173"/>
                <a:gd name="T52" fmla="*/ 204046 w 546"/>
                <a:gd name="T53" fmla="*/ 54287 h 173"/>
                <a:gd name="T54" fmla="*/ 213576 w 546"/>
                <a:gd name="T55" fmla="*/ 63335 h 173"/>
                <a:gd name="T56" fmla="*/ 205779 w 546"/>
                <a:gd name="T57" fmla="*/ 72383 h 173"/>
                <a:gd name="T58" fmla="*/ 194515 w 546"/>
                <a:gd name="T59" fmla="*/ 75576 h 173"/>
                <a:gd name="T60" fmla="*/ 184551 w 546"/>
                <a:gd name="T61" fmla="*/ 75044 h 173"/>
                <a:gd name="T62" fmla="*/ 178486 w 546"/>
                <a:gd name="T63" fmla="*/ 71318 h 173"/>
                <a:gd name="T64" fmla="*/ 172854 w 546"/>
                <a:gd name="T65" fmla="*/ 69189 h 173"/>
                <a:gd name="T66" fmla="*/ 166789 w 546"/>
                <a:gd name="T67" fmla="*/ 64399 h 173"/>
                <a:gd name="T68" fmla="*/ 162457 w 546"/>
                <a:gd name="T69" fmla="*/ 55351 h 173"/>
                <a:gd name="T70" fmla="*/ 158125 w 546"/>
                <a:gd name="T71" fmla="*/ 48965 h 173"/>
                <a:gd name="T72" fmla="*/ 149027 w 546"/>
                <a:gd name="T73" fmla="*/ 44707 h 173"/>
                <a:gd name="T74" fmla="*/ 140796 w 546"/>
                <a:gd name="T75" fmla="*/ 40449 h 173"/>
                <a:gd name="T76" fmla="*/ 131265 w 546"/>
                <a:gd name="T77" fmla="*/ 46304 h 173"/>
                <a:gd name="T78" fmla="*/ 111770 w 546"/>
                <a:gd name="T79" fmla="*/ 71318 h 173"/>
                <a:gd name="T80" fmla="*/ 102239 w 546"/>
                <a:gd name="T81" fmla="*/ 86753 h 173"/>
                <a:gd name="T82" fmla="*/ 95308 w 546"/>
                <a:gd name="T83" fmla="*/ 91543 h 173"/>
                <a:gd name="T84" fmla="*/ 81445 w 546"/>
                <a:gd name="T85" fmla="*/ 88882 h 173"/>
                <a:gd name="T86" fmla="*/ 71481 w 546"/>
                <a:gd name="T87" fmla="*/ 82495 h 173"/>
                <a:gd name="T88" fmla="*/ 48954 w 546"/>
                <a:gd name="T89" fmla="*/ 55884 h 173"/>
                <a:gd name="T90" fmla="*/ 41156 w 546"/>
                <a:gd name="T91" fmla="*/ 48433 h 173"/>
                <a:gd name="T92" fmla="*/ 25993 w 546"/>
                <a:gd name="T93" fmla="*/ 40449 h 173"/>
                <a:gd name="T94" fmla="*/ 6931 w 546"/>
                <a:gd name="T95" fmla="*/ 30869 h 173"/>
                <a:gd name="T96" fmla="*/ 4765 w 546"/>
                <a:gd name="T97" fmla="*/ 18096 h 173"/>
                <a:gd name="T98" fmla="*/ 12130 w 546"/>
                <a:gd name="T99" fmla="*/ 10112 h 173"/>
                <a:gd name="T100" fmla="*/ 20361 w 546"/>
                <a:gd name="T101" fmla="*/ 638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384" name="Freeform 548">
              <a:extLst>
                <a:ext uri="{FF2B5EF4-FFF2-40B4-BE49-F238E27FC236}">
                  <a16:creationId xmlns:a16="http://schemas.microsoft.com/office/drawing/2014/main" id="{CEB95F0A-2E8F-4E30-9914-B47FBF1182D0}"/>
                </a:ext>
              </a:extLst>
            </p:cNvPr>
            <p:cNvSpPr>
              <a:spLocks/>
            </p:cNvSpPr>
            <p:nvPr>
              <p:custDataLst>
                <p:tags r:id="rId379"/>
              </p:custDataLst>
            </p:nvPr>
          </p:nvSpPr>
          <p:spPr bwMode="auto">
            <a:xfrm>
              <a:off x="6427788" y="1447801"/>
              <a:ext cx="107950" cy="60325"/>
            </a:xfrm>
            <a:custGeom>
              <a:avLst/>
              <a:gdLst>
                <a:gd name="T0" fmla="*/ 11848 w 246"/>
                <a:gd name="T1" fmla="*/ 51707 h 42"/>
                <a:gd name="T2" fmla="*/ 15798 w 246"/>
                <a:gd name="T3" fmla="*/ 51707 h 42"/>
                <a:gd name="T4" fmla="*/ 19747 w 246"/>
                <a:gd name="T5" fmla="*/ 50271 h 42"/>
                <a:gd name="T6" fmla="*/ 23258 w 246"/>
                <a:gd name="T7" fmla="*/ 47398 h 42"/>
                <a:gd name="T8" fmla="*/ 25890 w 246"/>
                <a:gd name="T9" fmla="*/ 44526 h 42"/>
                <a:gd name="T10" fmla="*/ 28962 w 246"/>
                <a:gd name="T11" fmla="*/ 43089 h 42"/>
                <a:gd name="T12" fmla="*/ 31595 w 246"/>
                <a:gd name="T13" fmla="*/ 41653 h 42"/>
                <a:gd name="T14" fmla="*/ 35106 w 246"/>
                <a:gd name="T15" fmla="*/ 41653 h 42"/>
                <a:gd name="T16" fmla="*/ 38177 w 246"/>
                <a:gd name="T17" fmla="*/ 43089 h 42"/>
                <a:gd name="T18" fmla="*/ 38177 w 246"/>
                <a:gd name="T19" fmla="*/ 60325 h 42"/>
                <a:gd name="T20" fmla="*/ 67578 w 246"/>
                <a:gd name="T21" fmla="*/ 60325 h 42"/>
                <a:gd name="T22" fmla="*/ 67578 w 246"/>
                <a:gd name="T23" fmla="*/ 56016 h 42"/>
                <a:gd name="T24" fmla="*/ 68456 w 246"/>
                <a:gd name="T25" fmla="*/ 51707 h 42"/>
                <a:gd name="T26" fmla="*/ 69773 w 246"/>
                <a:gd name="T27" fmla="*/ 47398 h 42"/>
                <a:gd name="T28" fmla="*/ 71528 w 246"/>
                <a:gd name="T29" fmla="*/ 44526 h 42"/>
                <a:gd name="T30" fmla="*/ 76794 w 246"/>
                <a:gd name="T31" fmla="*/ 37344 h 42"/>
                <a:gd name="T32" fmla="*/ 83376 w 246"/>
                <a:gd name="T33" fmla="*/ 33035 h 42"/>
                <a:gd name="T34" fmla="*/ 96979 w 246"/>
                <a:gd name="T35" fmla="*/ 24417 h 42"/>
                <a:gd name="T36" fmla="*/ 107950 w 246"/>
                <a:gd name="T37" fmla="*/ 17236 h 42"/>
                <a:gd name="T38" fmla="*/ 93030 w 246"/>
                <a:gd name="T39" fmla="*/ 18672 h 42"/>
                <a:gd name="T40" fmla="*/ 81621 w 246"/>
                <a:gd name="T41" fmla="*/ 20108 h 42"/>
                <a:gd name="T42" fmla="*/ 78110 w 246"/>
                <a:gd name="T43" fmla="*/ 21545 h 42"/>
                <a:gd name="T44" fmla="*/ 75038 w 246"/>
                <a:gd name="T45" fmla="*/ 21545 h 42"/>
                <a:gd name="T46" fmla="*/ 73722 w 246"/>
                <a:gd name="T47" fmla="*/ 20108 h 42"/>
                <a:gd name="T48" fmla="*/ 73283 w 246"/>
                <a:gd name="T49" fmla="*/ 17236 h 42"/>
                <a:gd name="T50" fmla="*/ 69773 w 246"/>
                <a:gd name="T51" fmla="*/ 22981 h 42"/>
                <a:gd name="T52" fmla="*/ 66701 w 246"/>
                <a:gd name="T53" fmla="*/ 24417 h 42"/>
                <a:gd name="T54" fmla="*/ 64507 w 246"/>
                <a:gd name="T55" fmla="*/ 24417 h 42"/>
                <a:gd name="T56" fmla="*/ 61874 w 246"/>
                <a:gd name="T57" fmla="*/ 21545 h 42"/>
                <a:gd name="T58" fmla="*/ 60118 w 246"/>
                <a:gd name="T59" fmla="*/ 17236 h 42"/>
                <a:gd name="T60" fmla="*/ 58363 w 246"/>
                <a:gd name="T61" fmla="*/ 12927 h 42"/>
                <a:gd name="T62" fmla="*/ 56608 w 246"/>
                <a:gd name="T63" fmla="*/ 7182 h 42"/>
                <a:gd name="T64" fmla="*/ 55291 w 246"/>
                <a:gd name="T65" fmla="*/ 0 h 42"/>
                <a:gd name="T66" fmla="*/ 53097 w 246"/>
                <a:gd name="T67" fmla="*/ 2873 h 42"/>
                <a:gd name="T68" fmla="*/ 49587 w 246"/>
                <a:gd name="T69" fmla="*/ 5745 h 42"/>
                <a:gd name="T70" fmla="*/ 45199 w 246"/>
                <a:gd name="T71" fmla="*/ 7182 h 42"/>
                <a:gd name="T72" fmla="*/ 40810 w 246"/>
                <a:gd name="T73" fmla="*/ 7182 h 42"/>
                <a:gd name="T74" fmla="*/ 32473 w 246"/>
                <a:gd name="T75" fmla="*/ 8618 h 42"/>
                <a:gd name="T76" fmla="*/ 26329 w 246"/>
                <a:gd name="T77" fmla="*/ 8618 h 42"/>
                <a:gd name="T78" fmla="*/ 25452 w 246"/>
                <a:gd name="T79" fmla="*/ 12927 h 42"/>
                <a:gd name="T80" fmla="*/ 24574 w 246"/>
                <a:gd name="T81" fmla="*/ 17236 h 42"/>
                <a:gd name="T82" fmla="*/ 23696 w 246"/>
                <a:gd name="T83" fmla="*/ 21545 h 42"/>
                <a:gd name="T84" fmla="*/ 21941 w 246"/>
                <a:gd name="T85" fmla="*/ 24417 h 42"/>
                <a:gd name="T86" fmla="*/ 18430 w 246"/>
                <a:gd name="T87" fmla="*/ 28726 h 42"/>
                <a:gd name="T88" fmla="*/ 14481 w 246"/>
                <a:gd name="T89" fmla="*/ 31599 h 42"/>
                <a:gd name="T90" fmla="*/ 6143 w 246"/>
                <a:gd name="T91" fmla="*/ 34471 h 42"/>
                <a:gd name="T92" fmla="*/ 0 w 246"/>
                <a:gd name="T93" fmla="*/ 34471 h 42"/>
                <a:gd name="T94" fmla="*/ 439 w 246"/>
                <a:gd name="T95" fmla="*/ 38780 h 42"/>
                <a:gd name="T96" fmla="*/ 1316 w 246"/>
                <a:gd name="T97" fmla="*/ 41653 h 42"/>
                <a:gd name="T98" fmla="*/ 2194 w 246"/>
                <a:gd name="T99" fmla="*/ 44526 h 42"/>
                <a:gd name="T100" fmla="*/ 3949 w 246"/>
                <a:gd name="T101" fmla="*/ 47398 h 42"/>
                <a:gd name="T102" fmla="*/ 7460 w 246"/>
                <a:gd name="T103" fmla="*/ 50271 h 42"/>
                <a:gd name="T104" fmla="*/ 11848 w 246"/>
                <a:gd name="T105" fmla="*/ 5170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85" name="Freeform 549">
              <a:extLst>
                <a:ext uri="{FF2B5EF4-FFF2-40B4-BE49-F238E27FC236}">
                  <a16:creationId xmlns:a16="http://schemas.microsoft.com/office/drawing/2014/main" id="{31BD2DE5-CD29-46F4-BA80-A5AFA5D81CCC}"/>
                </a:ext>
              </a:extLst>
            </p:cNvPr>
            <p:cNvSpPr>
              <a:spLocks/>
            </p:cNvSpPr>
            <p:nvPr>
              <p:custDataLst>
                <p:tags r:id="rId380"/>
              </p:custDataLst>
            </p:nvPr>
          </p:nvSpPr>
          <p:spPr bwMode="auto">
            <a:xfrm>
              <a:off x="6570663" y="1430338"/>
              <a:ext cx="63500" cy="57150"/>
            </a:xfrm>
            <a:custGeom>
              <a:avLst/>
              <a:gdLst>
                <a:gd name="T0" fmla="*/ 43896 w 149"/>
                <a:gd name="T1" fmla="*/ 0 h 61"/>
                <a:gd name="T2" fmla="*/ 50289 w 149"/>
                <a:gd name="T3" fmla="*/ 937 h 61"/>
                <a:gd name="T4" fmla="*/ 57107 w 149"/>
                <a:gd name="T5" fmla="*/ 2811 h 61"/>
                <a:gd name="T6" fmla="*/ 61795 w 149"/>
                <a:gd name="T7" fmla="*/ 4684 h 61"/>
                <a:gd name="T8" fmla="*/ 63500 w 149"/>
                <a:gd name="T9" fmla="*/ 5621 h 61"/>
                <a:gd name="T10" fmla="*/ 63500 w 149"/>
                <a:gd name="T11" fmla="*/ 7495 h 61"/>
                <a:gd name="T12" fmla="*/ 62648 w 149"/>
                <a:gd name="T13" fmla="*/ 9369 h 61"/>
                <a:gd name="T14" fmla="*/ 61795 w 149"/>
                <a:gd name="T15" fmla="*/ 11243 h 61"/>
                <a:gd name="T16" fmla="*/ 60091 w 149"/>
                <a:gd name="T17" fmla="*/ 12180 h 61"/>
                <a:gd name="T18" fmla="*/ 58386 w 149"/>
                <a:gd name="T19" fmla="*/ 13116 h 61"/>
                <a:gd name="T20" fmla="*/ 56255 w 149"/>
                <a:gd name="T21" fmla="*/ 13116 h 61"/>
                <a:gd name="T22" fmla="*/ 54124 w 149"/>
                <a:gd name="T23" fmla="*/ 13116 h 61"/>
                <a:gd name="T24" fmla="*/ 52419 w 149"/>
                <a:gd name="T25" fmla="*/ 11243 h 61"/>
                <a:gd name="T26" fmla="*/ 52419 w 149"/>
                <a:gd name="T27" fmla="*/ 21548 h 61"/>
                <a:gd name="T28" fmla="*/ 52419 w 149"/>
                <a:gd name="T29" fmla="*/ 30917 h 61"/>
                <a:gd name="T30" fmla="*/ 52419 w 149"/>
                <a:gd name="T31" fmla="*/ 38412 h 61"/>
                <a:gd name="T32" fmla="*/ 52419 w 149"/>
                <a:gd name="T33" fmla="*/ 45907 h 61"/>
                <a:gd name="T34" fmla="*/ 49436 w 149"/>
                <a:gd name="T35" fmla="*/ 46844 h 61"/>
                <a:gd name="T36" fmla="*/ 46453 w 149"/>
                <a:gd name="T37" fmla="*/ 47781 h 61"/>
                <a:gd name="T38" fmla="*/ 44322 w 149"/>
                <a:gd name="T39" fmla="*/ 49655 h 61"/>
                <a:gd name="T40" fmla="*/ 42617 w 149"/>
                <a:gd name="T41" fmla="*/ 51529 h 61"/>
                <a:gd name="T42" fmla="*/ 40060 w 149"/>
                <a:gd name="T43" fmla="*/ 53402 h 61"/>
                <a:gd name="T44" fmla="*/ 37930 w 149"/>
                <a:gd name="T45" fmla="*/ 55276 h 61"/>
                <a:gd name="T46" fmla="*/ 35372 w 149"/>
                <a:gd name="T47" fmla="*/ 57150 h 61"/>
                <a:gd name="T48" fmla="*/ 32389 w 149"/>
                <a:gd name="T49" fmla="*/ 57150 h 61"/>
                <a:gd name="T50" fmla="*/ 28554 w 149"/>
                <a:gd name="T51" fmla="*/ 56213 h 61"/>
                <a:gd name="T52" fmla="*/ 22587 w 149"/>
                <a:gd name="T53" fmla="*/ 53402 h 61"/>
                <a:gd name="T54" fmla="*/ 16621 w 149"/>
                <a:gd name="T55" fmla="*/ 50592 h 61"/>
                <a:gd name="T56" fmla="*/ 10654 w 149"/>
                <a:gd name="T57" fmla="*/ 45907 h 61"/>
                <a:gd name="T58" fmla="*/ 5114 w 149"/>
                <a:gd name="T59" fmla="*/ 42160 h 61"/>
                <a:gd name="T60" fmla="*/ 1279 w 149"/>
                <a:gd name="T61" fmla="*/ 38412 h 61"/>
                <a:gd name="T62" fmla="*/ 426 w 149"/>
                <a:gd name="T63" fmla="*/ 36539 h 61"/>
                <a:gd name="T64" fmla="*/ 0 w 149"/>
                <a:gd name="T65" fmla="*/ 35602 h 61"/>
                <a:gd name="T66" fmla="*/ 0 w 149"/>
                <a:gd name="T67" fmla="*/ 34665 h 61"/>
                <a:gd name="T68" fmla="*/ 1279 w 149"/>
                <a:gd name="T69" fmla="*/ 34665 h 61"/>
                <a:gd name="T70" fmla="*/ 8097 w 149"/>
                <a:gd name="T71" fmla="*/ 33728 h 61"/>
                <a:gd name="T72" fmla="*/ 14916 w 149"/>
                <a:gd name="T73" fmla="*/ 32791 h 61"/>
                <a:gd name="T74" fmla="*/ 20456 w 149"/>
                <a:gd name="T75" fmla="*/ 29980 h 61"/>
                <a:gd name="T76" fmla="*/ 25570 w 149"/>
                <a:gd name="T77" fmla="*/ 25296 h 61"/>
                <a:gd name="T78" fmla="*/ 30685 w 149"/>
                <a:gd name="T79" fmla="*/ 20611 h 61"/>
                <a:gd name="T80" fmla="*/ 34946 w 149"/>
                <a:gd name="T81" fmla="*/ 14990 h 61"/>
                <a:gd name="T82" fmla="*/ 39634 w 149"/>
                <a:gd name="T83" fmla="*/ 7495 h 61"/>
                <a:gd name="T84" fmla="*/ 43896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86" name="Freeform 550">
              <a:extLst>
                <a:ext uri="{FF2B5EF4-FFF2-40B4-BE49-F238E27FC236}">
                  <a16:creationId xmlns:a16="http://schemas.microsoft.com/office/drawing/2014/main" id="{05C958F1-0F61-44DE-933D-172B8E37693F}"/>
                </a:ext>
              </a:extLst>
            </p:cNvPr>
            <p:cNvSpPr>
              <a:spLocks/>
            </p:cNvSpPr>
            <p:nvPr>
              <p:custDataLst>
                <p:tags r:id="rId381"/>
              </p:custDataLst>
            </p:nvPr>
          </p:nvSpPr>
          <p:spPr bwMode="auto">
            <a:xfrm>
              <a:off x="6607176" y="1438275"/>
              <a:ext cx="130175" cy="57150"/>
            </a:xfrm>
            <a:custGeom>
              <a:avLst/>
              <a:gdLst>
                <a:gd name="T0" fmla="*/ 57904 w 299"/>
                <a:gd name="T1" fmla="*/ 55605 h 74"/>
                <a:gd name="T2" fmla="*/ 67047 w 299"/>
                <a:gd name="T3" fmla="*/ 50199 h 74"/>
                <a:gd name="T4" fmla="*/ 77495 w 299"/>
                <a:gd name="T5" fmla="*/ 41704 h 74"/>
                <a:gd name="T6" fmla="*/ 86638 w 299"/>
                <a:gd name="T7" fmla="*/ 32436 h 74"/>
                <a:gd name="T8" fmla="*/ 90121 w 299"/>
                <a:gd name="T9" fmla="*/ 30892 h 74"/>
                <a:gd name="T10" fmla="*/ 91863 w 299"/>
                <a:gd name="T11" fmla="*/ 35526 h 74"/>
                <a:gd name="T12" fmla="*/ 95781 w 299"/>
                <a:gd name="T13" fmla="*/ 39387 h 74"/>
                <a:gd name="T14" fmla="*/ 105794 w 299"/>
                <a:gd name="T15" fmla="*/ 42476 h 74"/>
                <a:gd name="T16" fmla="*/ 117114 w 299"/>
                <a:gd name="T17" fmla="*/ 42476 h 74"/>
                <a:gd name="T18" fmla="*/ 124515 w 299"/>
                <a:gd name="T19" fmla="*/ 42476 h 74"/>
                <a:gd name="T20" fmla="*/ 127563 w 299"/>
                <a:gd name="T21" fmla="*/ 35526 h 74"/>
                <a:gd name="T22" fmla="*/ 129740 w 299"/>
                <a:gd name="T23" fmla="*/ 23941 h 74"/>
                <a:gd name="T24" fmla="*/ 121468 w 299"/>
                <a:gd name="T25" fmla="*/ 19307 h 74"/>
                <a:gd name="T26" fmla="*/ 106230 w 299"/>
                <a:gd name="T27" fmla="*/ 19307 h 74"/>
                <a:gd name="T28" fmla="*/ 97958 w 299"/>
                <a:gd name="T29" fmla="*/ 19307 h 74"/>
                <a:gd name="T30" fmla="*/ 93169 w 299"/>
                <a:gd name="T31" fmla="*/ 20852 h 74"/>
                <a:gd name="T32" fmla="*/ 88815 w 299"/>
                <a:gd name="T33" fmla="*/ 25486 h 74"/>
                <a:gd name="T34" fmla="*/ 74883 w 299"/>
                <a:gd name="T35" fmla="*/ 28575 h 74"/>
                <a:gd name="T36" fmla="*/ 76625 w 299"/>
                <a:gd name="T37" fmla="*/ 21624 h 74"/>
                <a:gd name="T38" fmla="*/ 78366 w 299"/>
                <a:gd name="T39" fmla="*/ 16218 h 74"/>
                <a:gd name="T40" fmla="*/ 84461 w 299"/>
                <a:gd name="T41" fmla="*/ 10040 h 74"/>
                <a:gd name="T42" fmla="*/ 91427 w 299"/>
                <a:gd name="T43" fmla="*/ 6951 h 74"/>
                <a:gd name="T44" fmla="*/ 97958 w 299"/>
                <a:gd name="T45" fmla="*/ 0 h 74"/>
                <a:gd name="T46" fmla="*/ 80543 w 299"/>
                <a:gd name="T47" fmla="*/ 2317 h 74"/>
                <a:gd name="T48" fmla="*/ 68353 w 299"/>
                <a:gd name="T49" fmla="*/ 8495 h 74"/>
                <a:gd name="T50" fmla="*/ 58339 w 299"/>
                <a:gd name="T51" fmla="*/ 19307 h 74"/>
                <a:gd name="T52" fmla="*/ 49632 w 299"/>
                <a:gd name="T53" fmla="*/ 30892 h 74"/>
                <a:gd name="T54" fmla="*/ 43537 w 299"/>
                <a:gd name="T55" fmla="*/ 40932 h 74"/>
                <a:gd name="T56" fmla="*/ 37877 w 299"/>
                <a:gd name="T57" fmla="*/ 45566 h 74"/>
                <a:gd name="T58" fmla="*/ 27864 w 299"/>
                <a:gd name="T59" fmla="*/ 48655 h 74"/>
                <a:gd name="T60" fmla="*/ 13932 w 299"/>
                <a:gd name="T61" fmla="*/ 49427 h 74"/>
                <a:gd name="T62" fmla="*/ 5224 w 299"/>
                <a:gd name="T63" fmla="*/ 51744 h 74"/>
                <a:gd name="T64" fmla="*/ 871 w 299"/>
                <a:gd name="T65" fmla="*/ 54061 h 74"/>
                <a:gd name="T66" fmla="*/ 16979 w 299"/>
                <a:gd name="T67" fmla="*/ 57150 h 74"/>
                <a:gd name="T68" fmla="*/ 44408 w 299"/>
                <a:gd name="T69" fmla="*/ 57150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553" name="Rectangle 552">
            <a:extLst>
              <a:ext uri="{FF2B5EF4-FFF2-40B4-BE49-F238E27FC236}">
                <a16:creationId xmlns:a16="http://schemas.microsoft.com/office/drawing/2014/main" id="{67CF7066-F09B-4F32-8800-98257FA9C495}"/>
              </a:ext>
            </a:extLst>
          </p:cNvPr>
          <p:cNvSpPr/>
          <p:nvPr/>
        </p:nvSpPr>
        <p:spPr>
          <a:xfrm>
            <a:off x="1181878" y="1598645"/>
            <a:ext cx="7831493" cy="4649755"/>
          </a:xfrm>
          <a:prstGeom prst="rect">
            <a:avLst/>
          </a:prstGeom>
          <a:solidFill>
            <a:schemeClr val="lt1">
              <a:alpha val="75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54" name="Diagram 553">
            <a:extLst>
              <a:ext uri="{FF2B5EF4-FFF2-40B4-BE49-F238E27FC236}">
                <a16:creationId xmlns:a16="http://schemas.microsoft.com/office/drawing/2014/main" id="{6467B003-9960-46E7-B271-AB2CC86D8D5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570872"/>
              </p:ext>
            </p:extLst>
          </p:nvPr>
        </p:nvGraphicFramePr>
        <p:xfrm>
          <a:off x="928687" y="1221968"/>
          <a:ext cx="7779181" cy="50404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84" r:lo="rId385" r:qs="rId386" r:cs="rId387"/>
          </a:graphicData>
        </a:graphic>
      </p:graphicFrame>
      <p:sp>
        <p:nvSpPr>
          <p:cNvPr id="555" name="TextBox 554">
            <a:extLst>
              <a:ext uri="{FF2B5EF4-FFF2-40B4-BE49-F238E27FC236}">
                <a16:creationId xmlns:a16="http://schemas.microsoft.com/office/drawing/2014/main" id="{99F75D84-A987-4CEC-8030-E67EB5879FEB}"/>
              </a:ext>
            </a:extLst>
          </p:cNvPr>
          <p:cNvSpPr txBox="1"/>
          <p:nvPr/>
        </p:nvSpPr>
        <p:spPr>
          <a:xfrm flipH="1">
            <a:off x="433824" y="1662384"/>
            <a:ext cx="257274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i="1" dirty="0"/>
              <a:t>Being inclusive </a:t>
            </a:r>
            <a:r>
              <a:rPr lang="en-US" dirty="0"/>
              <a:t>of both traditional and non traditional </a:t>
            </a:r>
            <a:r>
              <a:rPr lang="en-US" b="1" dirty="0"/>
              <a:t>providers</a:t>
            </a:r>
          </a:p>
        </p:txBody>
      </p:sp>
      <p:sp>
        <p:nvSpPr>
          <p:cNvPr id="556" name="TextBox 555">
            <a:extLst>
              <a:ext uri="{FF2B5EF4-FFF2-40B4-BE49-F238E27FC236}">
                <a16:creationId xmlns:a16="http://schemas.microsoft.com/office/drawing/2014/main" id="{5153E1A9-E14B-4A84-809B-1850EB3F33FB}"/>
              </a:ext>
            </a:extLst>
          </p:cNvPr>
          <p:cNvSpPr txBox="1"/>
          <p:nvPr/>
        </p:nvSpPr>
        <p:spPr>
          <a:xfrm flipH="1">
            <a:off x="88428" y="4575425"/>
            <a:ext cx="287117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i="1" dirty="0"/>
              <a:t>Keeping in step </a:t>
            </a:r>
            <a:r>
              <a:rPr lang="en-US" dirty="0"/>
              <a:t>of how </a:t>
            </a:r>
            <a:r>
              <a:rPr lang="en-US" b="1" dirty="0"/>
              <a:t>awards</a:t>
            </a:r>
            <a:r>
              <a:rPr lang="en-US" dirty="0"/>
              <a:t> are provided: paper, digital, blockchain</a:t>
            </a:r>
          </a:p>
        </p:txBody>
      </p:sp>
      <p:sp>
        <p:nvSpPr>
          <p:cNvPr id="557" name="TextBox 556">
            <a:extLst>
              <a:ext uri="{FF2B5EF4-FFF2-40B4-BE49-F238E27FC236}">
                <a16:creationId xmlns:a16="http://schemas.microsoft.com/office/drawing/2014/main" id="{97EBB068-60F0-491B-95ED-4C9603503F63}"/>
              </a:ext>
            </a:extLst>
          </p:cNvPr>
          <p:cNvSpPr txBox="1"/>
          <p:nvPr/>
        </p:nvSpPr>
        <p:spPr>
          <a:xfrm flipH="1">
            <a:off x="6678436" y="5074246"/>
            <a:ext cx="335504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i="1" dirty="0"/>
              <a:t>Convening</a:t>
            </a:r>
            <a:r>
              <a:rPr lang="en-US" dirty="0"/>
              <a:t> global qualification verification networks to </a:t>
            </a:r>
            <a:r>
              <a:rPr lang="en-US" b="1" dirty="0"/>
              <a:t>quality assure </a:t>
            </a:r>
            <a:r>
              <a:rPr lang="en-US" dirty="0"/>
              <a:t>credentials</a:t>
            </a:r>
          </a:p>
        </p:txBody>
      </p:sp>
      <p:sp>
        <p:nvSpPr>
          <p:cNvPr id="558" name="TextBox 557">
            <a:extLst>
              <a:ext uri="{FF2B5EF4-FFF2-40B4-BE49-F238E27FC236}">
                <a16:creationId xmlns:a16="http://schemas.microsoft.com/office/drawing/2014/main" id="{5A57F40F-04DA-4E0A-92D9-8CB29A3C08AE}"/>
              </a:ext>
            </a:extLst>
          </p:cNvPr>
          <p:cNvSpPr txBox="1"/>
          <p:nvPr/>
        </p:nvSpPr>
        <p:spPr>
          <a:xfrm flipH="1">
            <a:off x="7458088" y="3009769"/>
            <a:ext cx="335504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Convening</a:t>
            </a:r>
            <a:r>
              <a:rPr lang="en-US" dirty="0"/>
              <a:t> global credential </a:t>
            </a:r>
            <a:r>
              <a:rPr lang="en-US" b="1" dirty="0"/>
              <a:t>evaluators</a:t>
            </a:r>
            <a:r>
              <a:rPr lang="en-US" dirty="0"/>
              <a:t> to ensure cross country comparability</a:t>
            </a:r>
          </a:p>
        </p:txBody>
      </p:sp>
      <p:sp>
        <p:nvSpPr>
          <p:cNvPr id="559" name="TextBox 558">
            <a:extLst>
              <a:ext uri="{FF2B5EF4-FFF2-40B4-BE49-F238E27FC236}">
                <a16:creationId xmlns:a16="http://schemas.microsoft.com/office/drawing/2014/main" id="{2EF00E34-ABF8-40D6-A7ED-5BB7527E51E7}"/>
              </a:ext>
            </a:extLst>
          </p:cNvPr>
          <p:cNvSpPr txBox="1"/>
          <p:nvPr/>
        </p:nvSpPr>
        <p:spPr>
          <a:xfrm flipH="1">
            <a:off x="5556400" y="999714"/>
            <a:ext cx="458127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i="1" dirty="0"/>
              <a:t>Convening</a:t>
            </a:r>
            <a:r>
              <a:rPr lang="en-US" dirty="0"/>
              <a:t> global depositories, standards bodies and authorized representatives enabling </a:t>
            </a:r>
            <a:r>
              <a:rPr lang="en-US" b="1" dirty="0"/>
              <a:t>digital verification</a:t>
            </a:r>
            <a:r>
              <a:rPr lang="en-US" dirty="0"/>
              <a:t> </a:t>
            </a:r>
            <a:r>
              <a:rPr lang="en-US" b="1" dirty="0"/>
              <a:t>eco-systems</a:t>
            </a:r>
          </a:p>
        </p:txBody>
      </p:sp>
      <p:pic>
        <p:nvPicPr>
          <p:cNvPr id="560" name="Picture 559">
            <a:extLst>
              <a:ext uri="{FF2B5EF4-FFF2-40B4-BE49-F238E27FC236}">
                <a16:creationId xmlns:a16="http://schemas.microsoft.com/office/drawing/2014/main" id="{49C20095-5CCD-484C-BE33-D7E380E96E11}"/>
              </a:ext>
            </a:extLst>
          </p:cNvPr>
          <p:cNvPicPr>
            <a:picLocks noChangeAspect="1"/>
          </p:cNvPicPr>
          <p:nvPr/>
        </p:nvPicPr>
        <p:blipFill>
          <a:blip r:embed="rId389"/>
          <a:stretch>
            <a:fillRect/>
          </a:stretch>
        </p:blipFill>
        <p:spPr>
          <a:xfrm>
            <a:off x="615821" y="6283466"/>
            <a:ext cx="1959429" cy="40667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55ADECA5-3AE6-4F3B-A516-1E7DE8C6DBCF}"/>
              </a:ext>
            </a:extLst>
          </p:cNvPr>
          <p:cNvSpPr/>
          <p:nvPr/>
        </p:nvSpPr>
        <p:spPr>
          <a:xfrm>
            <a:off x="3672196" y="2759309"/>
            <a:ext cx="2334375" cy="1978279"/>
          </a:xfrm>
          <a:prstGeom prst="rect">
            <a:avLst/>
          </a:prstGeom>
          <a:noFill/>
        </p:spPr>
        <p:txBody>
          <a:bodyPr wrap="none" lIns="91440" tIns="45720" rIns="91440" bIns="45720">
            <a:prstTxWarp prst="textArchUp">
              <a:avLst>
                <a:gd name="adj" fmla="val 10805748"/>
              </a:avLst>
            </a:prstTxWarp>
            <a:spAutoFit/>
          </a:bodyPr>
          <a:lstStyle/>
          <a:p>
            <a:pPr algn="ctr"/>
            <a:r>
              <a:rPr lang="en-US" sz="5400" b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</a:rPr>
              <a:t>Interoperability and standards</a:t>
            </a:r>
          </a:p>
        </p:txBody>
      </p:sp>
      <p:sp>
        <p:nvSpPr>
          <p:cNvPr id="561" name="Rectangle 560">
            <a:extLst>
              <a:ext uri="{FF2B5EF4-FFF2-40B4-BE49-F238E27FC236}">
                <a16:creationId xmlns:a16="http://schemas.microsoft.com/office/drawing/2014/main" id="{F2095775-E5AB-4B1F-A151-A6A26A35E77C}"/>
              </a:ext>
            </a:extLst>
          </p:cNvPr>
          <p:cNvSpPr/>
          <p:nvPr/>
        </p:nvSpPr>
        <p:spPr>
          <a:xfrm>
            <a:off x="3676012" y="3159339"/>
            <a:ext cx="2334375" cy="1978279"/>
          </a:xfrm>
          <a:prstGeom prst="rect">
            <a:avLst/>
          </a:prstGeom>
          <a:noFill/>
        </p:spPr>
        <p:txBody>
          <a:bodyPr wrap="none" lIns="91440" tIns="45720" rIns="91440" bIns="45720">
            <a:prstTxWarp prst="textArchDown">
              <a:avLst/>
            </a:prstTxWarp>
            <a:spAutoFit/>
          </a:bodyPr>
          <a:lstStyle/>
          <a:p>
            <a:pPr algn="ctr"/>
            <a:r>
              <a:rPr lang="en-US" sz="9600" b="1" dirty="0">
                <a:ln w="9525">
                  <a:solidFill>
                    <a:schemeClr val="bg1"/>
                  </a:solidFill>
                  <a:prstDash val="solid"/>
                </a:ln>
              </a:rPr>
              <a:t>Evolving</a:t>
            </a:r>
            <a:r>
              <a:rPr lang="en-US" sz="9600" b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1"/>
                </a:solidFill>
              </a:rPr>
              <a:t> technologies and Privacy</a:t>
            </a:r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>
          <a:xfrm>
            <a:off x="2740969" y="6384124"/>
            <a:ext cx="6893344" cy="365125"/>
          </a:xfrm>
        </p:spPr>
        <p:txBody>
          <a:bodyPr/>
          <a:lstStyle/>
          <a:p>
            <a:r>
              <a:rPr lang="en-US" dirty="0"/>
              <a:t>An international public benefit foundation, registered with the Dutch Chamber of Commerce  #67518613 and the European Transparency Register #238535130318-52. Office contact details: </a:t>
            </a:r>
            <a:r>
              <a:rPr lang="en-US" dirty="0" err="1"/>
              <a:t>Nolenslaan</a:t>
            </a:r>
            <a:r>
              <a:rPr lang="en-US" dirty="0"/>
              <a:t> 13, 9722 NK Groningen, The Netherlands</a:t>
            </a:r>
          </a:p>
          <a:p>
            <a:r>
              <a:rPr lang="en-US" dirty="0">
                <a:hlinkClick r:id="rId390"/>
              </a:rPr>
              <a:t>ed@groningendeclaration.org</a:t>
            </a:r>
            <a:r>
              <a:rPr lang="en-US" dirty="0"/>
              <a:t>, +316 1505 5422, </a:t>
            </a:r>
            <a:r>
              <a:rPr lang="en-US" dirty="0">
                <a:hlinkClick r:id="rId391"/>
              </a:rPr>
              <a:t>www.groningendeclaration.org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034040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595853" y="301782"/>
            <a:ext cx="8596668" cy="685046"/>
          </a:xfrm>
        </p:spPr>
        <p:txBody>
          <a:bodyPr/>
          <a:lstStyle/>
          <a:p>
            <a:r>
              <a:rPr lang="nl-NL" dirty="0" err="1"/>
              <a:t>Inspired</a:t>
            </a:r>
            <a:r>
              <a:rPr lang="nl-NL" dirty="0"/>
              <a:t> </a:t>
            </a:r>
            <a:r>
              <a:rPr lang="nl-NL" dirty="0" err="1"/>
              <a:t>DigiRec</a:t>
            </a:r>
            <a:r>
              <a:rPr lang="nl-NL" dirty="0"/>
              <a:t> </a:t>
            </a:r>
            <a:r>
              <a:rPr lang="nl-NL" dirty="0" err="1"/>
              <a:t>initiative</a:t>
            </a:r>
            <a:endParaRPr lang="nl-NL" dirty="0"/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n international public benefit foundation, registered with the Dutch Chamber of Commerce - 67518613 and the European Transparency Register - 238535130318-52. Office contact details: Nolenslaan 13, NL-9722 NK Groningen/ed@groningendeclaration.org</a:t>
            </a:r>
            <a:endParaRPr lang="en-US" dirty="0"/>
          </a:p>
        </p:txBody>
      </p:sp>
      <p:pic>
        <p:nvPicPr>
          <p:cNvPr id="307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422" y="1391044"/>
            <a:ext cx="7699280" cy="44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512479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5" name="Group 554">
            <a:extLst>
              <a:ext uri="{FF2B5EF4-FFF2-40B4-BE49-F238E27FC236}">
                <a16:creationId xmlns:a16="http://schemas.microsoft.com/office/drawing/2014/main" id="{FBEE93A6-64EB-4E06-A6ED-C96726997A40}"/>
              </a:ext>
            </a:extLst>
          </p:cNvPr>
          <p:cNvGrpSpPr/>
          <p:nvPr/>
        </p:nvGrpSpPr>
        <p:grpSpPr>
          <a:xfrm>
            <a:off x="8235819" y="304800"/>
            <a:ext cx="3744761" cy="1840517"/>
            <a:chOff x="2201864" y="1196976"/>
            <a:chExt cx="7500937" cy="4260849"/>
          </a:xfrm>
        </p:grpSpPr>
        <p:sp>
          <p:nvSpPr>
            <p:cNvPr id="556" name="Freeform 4">
              <a:extLst>
                <a:ext uri="{FF2B5EF4-FFF2-40B4-BE49-F238E27FC236}">
                  <a16:creationId xmlns:a16="http://schemas.microsoft.com/office/drawing/2014/main" id="{6A5C642B-069E-415A-BFBD-080D6005ADE0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4043364" y="5394325"/>
              <a:ext cx="33337" cy="57150"/>
            </a:xfrm>
            <a:custGeom>
              <a:avLst/>
              <a:gdLst>
                <a:gd name="T0" fmla="*/ 0 w 73"/>
                <a:gd name="T1" fmla="*/ 0 h 20"/>
                <a:gd name="T2" fmla="*/ 457 w 73"/>
                <a:gd name="T3" fmla="*/ 14288 h 20"/>
                <a:gd name="T4" fmla="*/ 1827 w 73"/>
                <a:gd name="T5" fmla="*/ 28575 h 20"/>
                <a:gd name="T6" fmla="*/ 3653 w 73"/>
                <a:gd name="T7" fmla="*/ 40005 h 20"/>
                <a:gd name="T8" fmla="*/ 5937 w 73"/>
                <a:gd name="T9" fmla="*/ 57150 h 20"/>
                <a:gd name="T10" fmla="*/ 7307 w 73"/>
                <a:gd name="T11" fmla="*/ 48578 h 20"/>
                <a:gd name="T12" fmla="*/ 8677 w 73"/>
                <a:gd name="T13" fmla="*/ 37148 h 20"/>
                <a:gd name="T14" fmla="*/ 10503 w 73"/>
                <a:gd name="T15" fmla="*/ 31433 h 20"/>
                <a:gd name="T16" fmla="*/ 12330 w 73"/>
                <a:gd name="T17" fmla="*/ 28575 h 20"/>
                <a:gd name="T18" fmla="*/ 16440 w 73"/>
                <a:gd name="T19" fmla="*/ 22860 h 20"/>
                <a:gd name="T20" fmla="*/ 21007 w 73"/>
                <a:gd name="T21" fmla="*/ 20003 h 20"/>
                <a:gd name="T22" fmla="*/ 24660 w 73"/>
                <a:gd name="T23" fmla="*/ 20003 h 20"/>
                <a:gd name="T24" fmla="*/ 28770 w 73"/>
                <a:gd name="T25" fmla="*/ 17145 h 20"/>
                <a:gd name="T26" fmla="*/ 30140 w 73"/>
                <a:gd name="T27" fmla="*/ 14288 h 20"/>
                <a:gd name="T28" fmla="*/ 31510 w 73"/>
                <a:gd name="T29" fmla="*/ 11430 h 20"/>
                <a:gd name="T30" fmla="*/ 32424 w 73"/>
                <a:gd name="T31" fmla="*/ 5715 h 20"/>
                <a:gd name="T32" fmla="*/ 33337 w 73"/>
                <a:gd name="T33" fmla="*/ 0 h 20"/>
                <a:gd name="T34" fmla="*/ 0 w 73"/>
                <a:gd name="T35" fmla="*/ 0 h 2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57" name="Freeform 5">
              <a:extLst>
                <a:ext uri="{FF2B5EF4-FFF2-40B4-BE49-F238E27FC236}">
                  <a16:creationId xmlns:a16="http://schemas.microsoft.com/office/drawing/2014/main" id="{7B7756F1-622D-4B8B-B10D-C821FC52B5D9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2201864" y="1495425"/>
              <a:ext cx="784225" cy="446088"/>
            </a:xfrm>
            <a:custGeom>
              <a:avLst/>
              <a:gdLst>
                <a:gd name="T0" fmla="*/ 605085 w 1808"/>
                <a:gd name="T1" fmla="*/ 423521 h 850"/>
                <a:gd name="T2" fmla="*/ 604651 w 1808"/>
                <a:gd name="T3" fmla="*/ 395181 h 850"/>
                <a:gd name="T4" fmla="*/ 595543 w 1808"/>
                <a:gd name="T5" fmla="*/ 340076 h 850"/>
                <a:gd name="T6" fmla="*/ 573855 w 1808"/>
                <a:gd name="T7" fmla="*/ 336403 h 850"/>
                <a:gd name="T8" fmla="*/ 548263 w 1808"/>
                <a:gd name="T9" fmla="*/ 335353 h 850"/>
                <a:gd name="T10" fmla="*/ 491876 w 1808"/>
                <a:gd name="T11" fmla="*/ 305439 h 850"/>
                <a:gd name="T12" fmla="*/ 422041 w 1808"/>
                <a:gd name="T13" fmla="*/ 281823 h 850"/>
                <a:gd name="T14" fmla="*/ 409029 w 1808"/>
                <a:gd name="T15" fmla="*/ 264504 h 850"/>
                <a:gd name="T16" fmla="*/ 390811 w 1808"/>
                <a:gd name="T17" fmla="*/ 270802 h 850"/>
                <a:gd name="T18" fmla="*/ 368256 w 1808"/>
                <a:gd name="T19" fmla="*/ 299141 h 850"/>
                <a:gd name="T20" fmla="*/ 292783 w 1808"/>
                <a:gd name="T21" fmla="*/ 324857 h 850"/>
                <a:gd name="T22" fmla="*/ 294084 w 1808"/>
                <a:gd name="T23" fmla="*/ 303340 h 850"/>
                <a:gd name="T24" fmla="*/ 312736 w 1808"/>
                <a:gd name="T25" fmla="*/ 287596 h 850"/>
                <a:gd name="T26" fmla="*/ 340930 w 1808"/>
                <a:gd name="T27" fmla="*/ 286021 h 850"/>
                <a:gd name="T28" fmla="*/ 314037 w 1808"/>
                <a:gd name="T29" fmla="*/ 277099 h 850"/>
                <a:gd name="T30" fmla="*/ 250709 w 1808"/>
                <a:gd name="T31" fmla="*/ 309113 h 850"/>
                <a:gd name="T32" fmla="*/ 237263 w 1808"/>
                <a:gd name="T33" fmla="*/ 328006 h 850"/>
                <a:gd name="T34" fmla="*/ 228154 w 1808"/>
                <a:gd name="T35" fmla="*/ 341126 h 850"/>
                <a:gd name="T36" fmla="*/ 196056 w 1808"/>
                <a:gd name="T37" fmla="*/ 343225 h 850"/>
                <a:gd name="T38" fmla="*/ 166127 w 1808"/>
                <a:gd name="T39" fmla="*/ 368416 h 850"/>
                <a:gd name="T40" fmla="*/ 109306 w 1808"/>
                <a:gd name="T41" fmla="*/ 393607 h 850"/>
                <a:gd name="T42" fmla="*/ 45544 w 1808"/>
                <a:gd name="T43" fmla="*/ 423521 h 850"/>
                <a:gd name="T44" fmla="*/ 1735 w 1808"/>
                <a:gd name="T45" fmla="*/ 426670 h 850"/>
                <a:gd name="T46" fmla="*/ 6073 w 1808"/>
                <a:gd name="T47" fmla="*/ 414075 h 850"/>
                <a:gd name="T48" fmla="*/ 55087 w 1808"/>
                <a:gd name="T49" fmla="*/ 399380 h 850"/>
                <a:gd name="T50" fmla="*/ 114944 w 1808"/>
                <a:gd name="T51" fmla="*/ 365267 h 850"/>
                <a:gd name="T52" fmla="*/ 130126 w 1808"/>
                <a:gd name="T53" fmla="*/ 328531 h 850"/>
                <a:gd name="T54" fmla="*/ 109739 w 1808"/>
                <a:gd name="T55" fmla="*/ 344800 h 850"/>
                <a:gd name="T56" fmla="*/ 65063 w 1808"/>
                <a:gd name="T57" fmla="*/ 337452 h 850"/>
                <a:gd name="T58" fmla="*/ 74605 w 1808"/>
                <a:gd name="T59" fmla="*/ 320134 h 850"/>
                <a:gd name="T60" fmla="*/ 104101 w 1808"/>
                <a:gd name="T61" fmla="*/ 287071 h 850"/>
                <a:gd name="T62" fmla="*/ 65930 w 1808"/>
                <a:gd name="T63" fmla="*/ 301765 h 850"/>
                <a:gd name="T64" fmla="*/ 62027 w 1808"/>
                <a:gd name="T65" fmla="*/ 281298 h 850"/>
                <a:gd name="T66" fmla="*/ 150078 w 1808"/>
                <a:gd name="T67" fmla="*/ 199428 h 850"/>
                <a:gd name="T68" fmla="*/ 192586 w 1808"/>
                <a:gd name="T69" fmla="*/ 200477 h 850"/>
                <a:gd name="T70" fmla="*/ 246805 w 1808"/>
                <a:gd name="T71" fmla="*/ 183158 h 850"/>
                <a:gd name="T72" fmla="*/ 256782 w 1808"/>
                <a:gd name="T73" fmla="*/ 160592 h 850"/>
                <a:gd name="T74" fmla="*/ 219479 w 1808"/>
                <a:gd name="T75" fmla="*/ 173712 h 850"/>
                <a:gd name="T76" fmla="*/ 189984 w 1808"/>
                <a:gd name="T77" fmla="*/ 166889 h 850"/>
                <a:gd name="T78" fmla="*/ 204731 w 1808"/>
                <a:gd name="T79" fmla="*/ 150620 h 850"/>
                <a:gd name="T80" fmla="*/ 308398 w 1808"/>
                <a:gd name="T81" fmla="*/ 124905 h 850"/>
                <a:gd name="T82" fmla="*/ 324881 w 1808"/>
                <a:gd name="T83" fmla="*/ 110210 h 850"/>
                <a:gd name="T84" fmla="*/ 296687 w 1808"/>
                <a:gd name="T85" fmla="*/ 92366 h 850"/>
                <a:gd name="T86" fmla="*/ 320543 w 1808"/>
                <a:gd name="T87" fmla="*/ 57204 h 850"/>
                <a:gd name="T88" fmla="*/ 428548 w 1808"/>
                <a:gd name="T89" fmla="*/ 14170 h 850"/>
                <a:gd name="T90" fmla="*/ 501852 w 1808"/>
                <a:gd name="T91" fmla="*/ 4723 h 850"/>
                <a:gd name="T92" fmla="*/ 553902 w 1808"/>
                <a:gd name="T93" fmla="*/ 1050 h 850"/>
                <a:gd name="T94" fmla="*/ 587301 w 1808"/>
                <a:gd name="T95" fmla="*/ 5248 h 850"/>
                <a:gd name="T96" fmla="*/ 657569 w 1808"/>
                <a:gd name="T97" fmla="*/ 17844 h 850"/>
                <a:gd name="T98" fmla="*/ 763839 w 1808"/>
                <a:gd name="T99" fmla="*/ 21517 h 850"/>
                <a:gd name="T100" fmla="*/ 558240 w 1808"/>
                <a:gd name="T101" fmla="*/ 283397 h 850"/>
                <a:gd name="T102" fmla="*/ 572987 w 1808"/>
                <a:gd name="T103" fmla="*/ 299666 h 850"/>
                <a:gd name="T104" fmla="*/ 575590 w 1808"/>
                <a:gd name="T105" fmla="*/ 315410 h 850"/>
                <a:gd name="T106" fmla="*/ 599446 w 1808"/>
                <a:gd name="T107" fmla="*/ 314361 h 850"/>
                <a:gd name="T108" fmla="*/ 619833 w 1808"/>
                <a:gd name="T109" fmla="*/ 302815 h 850"/>
                <a:gd name="T110" fmla="*/ 639785 w 1808"/>
                <a:gd name="T111" fmla="*/ 350048 h 850"/>
                <a:gd name="T112" fmla="*/ 634147 w 1808"/>
                <a:gd name="T113" fmla="*/ 370515 h 850"/>
                <a:gd name="T114" fmla="*/ 628508 w 1808"/>
                <a:gd name="T115" fmla="*/ 389409 h 850"/>
                <a:gd name="T116" fmla="*/ 640653 w 1808"/>
                <a:gd name="T117" fmla="*/ 410926 h 850"/>
                <a:gd name="T118" fmla="*/ 640653 w 1808"/>
                <a:gd name="T119" fmla="*/ 425620 h 850"/>
                <a:gd name="T120" fmla="*/ 618531 w 1808"/>
                <a:gd name="T121" fmla="*/ 445038 h 85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58" name="Freeform 6">
              <a:extLst>
                <a:ext uri="{FF2B5EF4-FFF2-40B4-BE49-F238E27FC236}">
                  <a16:creationId xmlns:a16="http://schemas.microsoft.com/office/drawing/2014/main" id="{5C2654C4-10A6-4891-8205-B3AEEF85943F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662239" y="2111375"/>
              <a:ext cx="1381125" cy="769938"/>
            </a:xfrm>
            <a:custGeom>
              <a:avLst/>
              <a:gdLst>
                <a:gd name="T0" fmla="*/ 1273680 w 3175"/>
                <a:gd name="T1" fmla="*/ 184639 h 1472"/>
                <a:gd name="T2" fmla="*/ 1259760 w 3175"/>
                <a:gd name="T3" fmla="*/ 230145 h 1472"/>
                <a:gd name="T4" fmla="*/ 1236705 w 3175"/>
                <a:gd name="T5" fmla="*/ 241652 h 1472"/>
                <a:gd name="T6" fmla="*/ 1160145 w 3175"/>
                <a:gd name="T7" fmla="*/ 296050 h 1472"/>
                <a:gd name="T8" fmla="*/ 1128825 w 3175"/>
                <a:gd name="T9" fmla="*/ 305988 h 1472"/>
                <a:gd name="T10" fmla="*/ 1117950 w 3175"/>
                <a:gd name="T11" fmla="*/ 354109 h 1472"/>
                <a:gd name="T12" fmla="*/ 1093590 w 3175"/>
                <a:gd name="T13" fmla="*/ 324818 h 1472"/>
                <a:gd name="T14" fmla="*/ 1087065 w 3175"/>
                <a:gd name="T15" fmla="*/ 360908 h 1472"/>
                <a:gd name="T16" fmla="*/ 1072275 w 3175"/>
                <a:gd name="T17" fmla="*/ 389153 h 1472"/>
                <a:gd name="T18" fmla="*/ 1074885 w 3175"/>
                <a:gd name="T19" fmla="*/ 430475 h 1472"/>
                <a:gd name="T20" fmla="*/ 1014420 w 3175"/>
                <a:gd name="T21" fmla="*/ 485396 h 1472"/>
                <a:gd name="T22" fmla="*/ 941775 w 3175"/>
                <a:gd name="T23" fmla="*/ 546593 h 1472"/>
                <a:gd name="T24" fmla="*/ 918720 w 3175"/>
                <a:gd name="T25" fmla="*/ 625052 h 1472"/>
                <a:gd name="T26" fmla="*/ 914805 w 3175"/>
                <a:gd name="T27" fmla="*/ 762092 h 1472"/>
                <a:gd name="T28" fmla="*/ 881310 w 3175"/>
                <a:gd name="T29" fmla="*/ 739601 h 1472"/>
                <a:gd name="T30" fmla="*/ 866955 w 3175"/>
                <a:gd name="T31" fmla="*/ 693572 h 1472"/>
                <a:gd name="T32" fmla="*/ 852165 w 3175"/>
                <a:gd name="T33" fmla="*/ 619298 h 1472"/>
                <a:gd name="T34" fmla="*/ 796920 w 3175"/>
                <a:gd name="T35" fmla="*/ 610929 h 1472"/>
                <a:gd name="T36" fmla="*/ 719055 w 3175"/>
                <a:gd name="T37" fmla="*/ 597853 h 1472"/>
                <a:gd name="T38" fmla="*/ 702960 w 3175"/>
                <a:gd name="T39" fmla="*/ 620344 h 1472"/>
                <a:gd name="T40" fmla="*/ 673380 w 3175"/>
                <a:gd name="T41" fmla="*/ 647543 h 1472"/>
                <a:gd name="T42" fmla="*/ 624660 w 3175"/>
                <a:gd name="T43" fmla="*/ 623482 h 1472"/>
                <a:gd name="T44" fmla="*/ 535485 w 3175"/>
                <a:gd name="T45" fmla="*/ 665327 h 1472"/>
                <a:gd name="T46" fmla="*/ 504600 w 3175"/>
                <a:gd name="T47" fmla="*/ 728094 h 1472"/>
                <a:gd name="T48" fmla="*/ 469800 w 3175"/>
                <a:gd name="T49" fmla="*/ 722863 h 1472"/>
                <a:gd name="T50" fmla="*/ 451095 w 3175"/>
                <a:gd name="T51" fmla="*/ 641789 h 1472"/>
                <a:gd name="T52" fmla="*/ 408900 w 3175"/>
                <a:gd name="T53" fmla="*/ 622436 h 1472"/>
                <a:gd name="T54" fmla="*/ 377145 w 3175"/>
                <a:gd name="T55" fmla="*/ 637605 h 1472"/>
                <a:gd name="T56" fmla="*/ 340170 w 3175"/>
                <a:gd name="T57" fmla="*/ 568562 h 1472"/>
                <a:gd name="T58" fmla="*/ 291450 w 3175"/>
                <a:gd name="T59" fmla="*/ 557054 h 1472"/>
                <a:gd name="T60" fmla="*/ 200970 w 3175"/>
                <a:gd name="T61" fmla="*/ 557054 h 1472"/>
                <a:gd name="T62" fmla="*/ 95700 w 3175"/>
                <a:gd name="T63" fmla="*/ 531425 h 1472"/>
                <a:gd name="T64" fmla="*/ 38280 w 3175"/>
                <a:gd name="T65" fmla="*/ 481211 h 1472"/>
                <a:gd name="T66" fmla="*/ 16965 w 3175"/>
                <a:gd name="T67" fmla="*/ 443551 h 1472"/>
                <a:gd name="T68" fmla="*/ 12615 w 3175"/>
                <a:gd name="T69" fmla="*/ 346263 h 1472"/>
                <a:gd name="T70" fmla="*/ 0 w 3175"/>
                <a:gd name="T71" fmla="*/ 315926 h 1472"/>
                <a:gd name="T72" fmla="*/ 61335 w 3175"/>
                <a:gd name="T73" fmla="*/ 175747 h 1472"/>
                <a:gd name="T74" fmla="*/ 107445 w 3175"/>
                <a:gd name="T75" fmla="*/ 92058 h 1472"/>
                <a:gd name="T76" fmla="*/ 154425 w 3175"/>
                <a:gd name="T77" fmla="*/ 53352 h 1472"/>
                <a:gd name="T78" fmla="*/ 163560 w 3175"/>
                <a:gd name="T79" fmla="*/ 62767 h 1472"/>
                <a:gd name="T80" fmla="*/ 794745 w 3175"/>
                <a:gd name="T81" fmla="*/ 0 h 1472"/>
                <a:gd name="T82" fmla="*/ 837810 w 3175"/>
                <a:gd name="T83" fmla="*/ 28768 h 1472"/>
                <a:gd name="T84" fmla="*/ 876525 w 3175"/>
                <a:gd name="T85" fmla="*/ 36091 h 1472"/>
                <a:gd name="T86" fmla="*/ 839115 w 3175"/>
                <a:gd name="T87" fmla="*/ 66951 h 1472"/>
                <a:gd name="T88" fmla="*/ 859995 w 3175"/>
                <a:gd name="T89" fmla="*/ 86827 h 1472"/>
                <a:gd name="T90" fmla="*/ 910890 w 3175"/>
                <a:gd name="T91" fmla="*/ 81074 h 1472"/>
                <a:gd name="T92" fmla="*/ 993540 w 3175"/>
                <a:gd name="T93" fmla="*/ 100950 h 1472"/>
                <a:gd name="T94" fmla="*/ 964395 w 3175"/>
                <a:gd name="T95" fmla="*/ 106703 h 1472"/>
                <a:gd name="T96" fmla="*/ 907845 w 3175"/>
                <a:gd name="T97" fmla="*/ 138087 h 1472"/>
                <a:gd name="T98" fmla="*/ 879135 w 3175"/>
                <a:gd name="T99" fmla="*/ 185685 h 1472"/>
                <a:gd name="T100" fmla="*/ 875220 w 3175"/>
                <a:gd name="T101" fmla="*/ 235898 h 1472"/>
                <a:gd name="T102" fmla="*/ 903060 w 3175"/>
                <a:gd name="T103" fmla="*/ 218114 h 1472"/>
                <a:gd name="T104" fmla="*/ 959175 w 3175"/>
                <a:gd name="T105" fmla="*/ 131810 h 1472"/>
                <a:gd name="T106" fmla="*/ 986145 w 3175"/>
                <a:gd name="T107" fmla="*/ 158486 h 1472"/>
                <a:gd name="T108" fmla="*/ 1000065 w 3175"/>
                <a:gd name="T109" fmla="*/ 206084 h 1472"/>
                <a:gd name="T110" fmla="*/ 959610 w 3175"/>
                <a:gd name="T111" fmla="*/ 237467 h 1472"/>
                <a:gd name="T112" fmla="*/ 1007895 w 3175"/>
                <a:gd name="T113" fmla="*/ 239036 h 1472"/>
                <a:gd name="T114" fmla="*/ 1117950 w 3175"/>
                <a:gd name="T115" fmla="*/ 195100 h 1472"/>
                <a:gd name="T116" fmla="*/ 1187550 w 3175"/>
                <a:gd name="T117" fmla="*/ 131810 h 1472"/>
                <a:gd name="T118" fmla="*/ 1311960 w 3175"/>
                <a:gd name="T119" fmla="*/ 106180 h 1472"/>
                <a:gd name="T120" fmla="*/ 1364160 w 3175"/>
                <a:gd name="T121" fmla="*/ 61721 h 1472"/>
                <a:gd name="T122" fmla="*/ 1369815 w 3175"/>
                <a:gd name="T123" fmla="*/ 96242 h 14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59" name="Freeform 7">
              <a:extLst>
                <a:ext uri="{FF2B5EF4-FFF2-40B4-BE49-F238E27FC236}">
                  <a16:creationId xmlns:a16="http://schemas.microsoft.com/office/drawing/2014/main" id="{D918B696-D9E8-4749-8BE8-D8D5B4E4A465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495676" y="3662363"/>
              <a:ext cx="339725" cy="590550"/>
            </a:xfrm>
            <a:custGeom>
              <a:avLst/>
              <a:gdLst>
                <a:gd name="T0" fmla="*/ 252627 w 784"/>
                <a:gd name="T1" fmla="*/ 145020 h 1128"/>
                <a:gd name="T2" fmla="*/ 237894 w 784"/>
                <a:gd name="T3" fmla="*/ 154443 h 1128"/>
                <a:gd name="T4" fmla="*/ 209728 w 784"/>
                <a:gd name="T5" fmla="*/ 202609 h 1128"/>
                <a:gd name="T6" fmla="*/ 201495 w 784"/>
                <a:gd name="T7" fmla="*/ 239257 h 1128"/>
                <a:gd name="T8" fmla="*/ 208428 w 784"/>
                <a:gd name="T9" fmla="*/ 273286 h 1128"/>
                <a:gd name="T10" fmla="*/ 229661 w 784"/>
                <a:gd name="T11" fmla="*/ 309411 h 1128"/>
                <a:gd name="T12" fmla="*/ 250894 w 784"/>
                <a:gd name="T13" fmla="*/ 322499 h 1128"/>
                <a:gd name="T14" fmla="*/ 270827 w 784"/>
                <a:gd name="T15" fmla="*/ 314122 h 1128"/>
                <a:gd name="T16" fmla="*/ 283393 w 784"/>
                <a:gd name="T17" fmla="*/ 341870 h 1128"/>
                <a:gd name="T18" fmla="*/ 291193 w 784"/>
                <a:gd name="T19" fmla="*/ 357576 h 1128"/>
                <a:gd name="T20" fmla="*/ 309392 w 784"/>
                <a:gd name="T21" fmla="*/ 359670 h 1128"/>
                <a:gd name="T22" fmla="*/ 324559 w 784"/>
                <a:gd name="T23" fmla="*/ 372759 h 1128"/>
                <a:gd name="T24" fmla="*/ 333658 w 784"/>
                <a:gd name="T25" fmla="*/ 395794 h 1128"/>
                <a:gd name="T26" fmla="*/ 329759 w 784"/>
                <a:gd name="T27" fmla="*/ 413594 h 1128"/>
                <a:gd name="T28" fmla="*/ 329325 w 784"/>
                <a:gd name="T29" fmla="*/ 431918 h 1128"/>
                <a:gd name="T30" fmla="*/ 334525 w 784"/>
                <a:gd name="T31" fmla="*/ 461760 h 1128"/>
                <a:gd name="T32" fmla="*/ 328459 w 784"/>
                <a:gd name="T33" fmla="*/ 487937 h 1128"/>
                <a:gd name="T34" fmla="*/ 333658 w 784"/>
                <a:gd name="T35" fmla="*/ 520396 h 1128"/>
                <a:gd name="T36" fmla="*/ 330625 w 784"/>
                <a:gd name="T37" fmla="*/ 551808 h 1128"/>
                <a:gd name="T38" fmla="*/ 299426 w 784"/>
                <a:gd name="T39" fmla="*/ 587409 h 1128"/>
                <a:gd name="T40" fmla="*/ 280793 w 784"/>
                <a:gd name="T41" fmla="*/ 577462 h 1128"/>
                <a:gd name="T42" fmla="*/ 260860 w 784"/>
                <a:gd name="T43" fmla="*/ 552855 h 1128"/>
                <a:gd name="T44" fmla="*/ 200628 w 784"/>
                <a:gd name="T45" fmla="*/ 522490 h 1128"/>
                <a:gd name="T46" fmla="*/ 184162 w 784"/>
                <a:gd name="T47" fmla="*/ 506261 h 1128"/>
                <a:gd name="T48" fmla="*/ 143430 w 784"/>
                <a:gd name="T49" fmla="*/ 468042 h 1128"/>
                <a:gd name="T50" fmla="*/ 137797 w 784"/>
                <a:gd name="T51" fmla="*/ 453907 h 1128"/>
                <a:gd name="T52" fmla="*/ 142130 w 784"/>
                <a:gd name="T53" fmla="*/ 426683 h 1128"/>
                <a:gd name="T54" fmla="*/ 125664 w 784"/>
                <a:gd name="T55" fmla="*/ 407312 h 1128"/>
                <a:gd name="T56" fmla="*/ 112231 w 784"/>
                <a:gd name="T57" fmla="*/ 390035 h 1128"/>
                <a:gd name="T58" fmla="*/ 105297 w 784"/>
                <a:gd name="T59" fmla="*/ 360717 h 1128"/>
                <a:gd name="T60" fmla="*/ 66298 w 784"/>
                <a:gd name="T61" fmla="*/ 277475 h 1128"/>
                <a:gd name="T62" fmla="*/ 51999 w 784"/>
                <a:gd name="T63" fmla="*/ 254963 h 1128"/>
                <a:gd name="T64" fmla="*/ 38999 w 784"/>
                <a:gd name="T65" fmla="*/ 226168 h 1128"/>
                <a:gd name="T66" fmla="*/ 9533 w 784"/>
                <a:gd name="T67" fmla="*/ 207844 h 1128"/>
                <a:gd name="T68" fmla="*/ 0 w 784"/>
                <a:gd name="T69" fmla="*/ 190044 h 1128"/>
                <a:gd name="T70" fmla="*/ 5633 w 784"/>
                <a:gd name="T71" fmla="*/ 144496 h 1128"/>
                <a:gd name="T72" fmla="*/ 12133 w 784"/>
                <a:gd name="T73" fmla="*/ 128790 h 1128"/>
                <a:gd name="T74" fmla="*/ 31199 w 784"/>
                <a:gd name="T75" fmla="*/ 116225 h 1128"/>
                <a:gd name="T76" fmla="*/ 41166 w 784"/>
                <a:gd name="T77" fmla="*/ 142402 h 1128"/>
                <a:gd name="T78" fmla="*/ 68465 w 784"/>
                <a:gd name="T79" fmla="*/ 160726 h 1128"/>
                <a:gd name="T80" fmla="*/ 79731 w 784"/>
                <a:gd name="T81" fmla="*/ 141879 h 1128"/>
                <a:gd name="T82" fmla="*/ 87098 w 784"/>
                <a:gd name="T83" fmla="*/ 117796 h 1128"/>
                <a:gd name="T84" fmla="*/ 116997 w 784"/>
                <a:gd name="T85" fmla="*/ 89001 h 1128"/>
                <a:gd name="T86" fmla="*/ 149063 w 784"/>
                <a:gd name="T87" fmla="*/ 62824 h 1128"/>
                <a:gd name="T88" fmla="*/ 154696 w 784"/>
                <a:gd name="T89" fmla="*/ 36648 h 1128"/>
                <a:gd name="T90" fmla="*/ 150363 w 784"/>
                <a:gd name="T91" fmla="*/ 2618 h 1128"/>
                <a:gd name="T92" fmla="*/ 182862 w 784"/>
                <a:gd name="T93" fmla="*/ 27747 h 1128"/>
                <a:gd name="T94" fmla="*/ 202362 w 784"/>
                <a:gd name="T95" fmla="*/ 56018 h 1128"/>
                <a:gd name="T96" fmla="*/ 219261 w 784"/>
                <a:gd name="T97" fmla="*/ 80625 h 1128"/>
                <a:gd name="T98" fmla="*/ 243094 w 784"/>
                <a:gd name="T99" fmla="*/ 82195 h 1128"/>
                <a:gd name="T100" fmla="*/ 267360 w 784"/>
                <a:gd name="T101" fmla="*/ 78007 h 1128"/>
                <a:gd name="T102" fmla="*/ 277327 w 784"/>
                <a:gd name="T103" fmla="*/ 81672 h 1128"/>
                <a:gd name="T104" fmla="*/ 283393 w 784"/>
                <a:gd name="T105" fmla="*/ 101043 h 1128"/>
                <a:gd name="T106" fmla="*/ 271693 w 784"/>
                <a:gd name="T107" fmla="*/ 109943 h 1128"/>
                <a:gd name="T108" fmla="*/ 271693 w 784"/>
                <a:gd name="T109" fmla="*/ 125649 h 112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60" name="Freeform 8">
              <a:extLst>
                <a:ext uri="{FF2B5EF4-FFF2-40B4-BE49-F238E27FC236}">
                  <a16:creationId xmlns:a16="http://schemas.microsoft.com/office/drawing/2014/main" id="{45B81787-40E3-4D74-A195-16EB64617B9C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795714" y="4225925"/>
              <a:ext cx="261937" cy="1130300"/>
            </a:xfrm>
            <a:custGeom>
              <a:avLst/>
              <a:gdLst>
                <a:gd name="T0" fmla="*/ 183093 w 598"/>
                <a:gd name="T1" fmla="*/ 1058543 h 2158"/>
                <a:gd name="T2" fmla="*/ 149803 w 598"/>
                <a:gd name="T3" fmla="*/ 1023974 h 2158"/>
                <a:gd name="T4" fmla="*/ 148489 w 598"/>
                <a:gd name="T5" fmla="*/ 991500 h 2158"/>
                <a:gd name="T6" fmla="*/ 151118 w 598"/>
                <a:gd name="T7" fmla="*/ 965312 h 2158"/>
                <a:gd name="T8" fmla="*/ 158564 w 598"/>
                <a:gd name="T9" fmla="*/ 938076 h 2158"/>
                <a:gd name="T10" fmla="*/ 155060 w 598"/>
                <a:gd name="T11" fmla="*/ 911363 h 2158"/>
                <a:gd name="T12" fmla="*/ 145423 w 598"/>
                <a:gd name="T13" fmla="*/ 881508 h 2158"/>
                <a:gd name="T14" fmla="*/ 132721 w 598"/>
                <a:gd name="T15" fmla="*/ 828084 h 2158"/>
                <a:gd name="T16" fmla="*/ 98993 w 598"/>
                <a:gd name="T17" fmla="*/ 764707 h 2158"/>
                <a:gd name="T18" fmla="*/ 90232 w 598"/>
                <a:gd name="T19" fmla="*/ 723329 h 2158"/>
                <a:gd name="T20" fmla="*/ 95051 w 598"/>
                <a:gd name="T21" fmla="*/ 680380 h 2158"/>
                <a:gd name="T22" fmla="*/ 91109 w 598"/>
                <a:gd name="T23" fmla="*/ 646858 h 2158"/>
                <a:gd name="T24" fmla="*/ 81034 w 598"/>
                <a:gd name="T25" fmla="*/ 610194 h 2158"/>
                <a:gd name="T26" fmla="*/ 92423 w 598"/>
                <a:gd name="T27" fmla="*/ 588196 h 2158"/>
                <a:gd name="T28" fmla="*/ 85414 w 598"/>
                <a:gd name="T29" fmla="*/ 566721 h 2158"/>
                <a:gd name="T30" fmla="*/ 92423 w 598"/>
                <a:gd name="T31" fmla="*/ 536866 h 2158"/>
                <a:gd name="T32" fmla="*/ 91985 w 598"/>
                <a:gd name="T33" fmla="*/ 520106 h 2158"/>
                <a:gd name="T34" fmla="*/ 81910 w 598"/>
                <a:gd name="T35" fmla="*/ 485537 h 2158"/>
                <a:gd name="T36" fmla="*/ 59571 w 598"/>
                <a:gd name="T37" fmla="*/ 446254 h 2158"/>
                <a:gd name="T38" fmla="*/ 58695 w 598"/>
                <a:gd name="T39" fmla="*/ 359308 h 2158"/>
                <a:gd name="T40" fmla="*/ 80158 w 598"/>
                <a:gd name="T41" fmla="*/ 305883 h 2158"/>
                <a:gd name="T42" fmla="*/ 82786 w 598"/>
                <a:gd name="T43" fmla="*/ 273409 h 2158"/>
                <a:gd name="T44" fmla="*/ 70083 w 598"/>
                <a:gd name="T45" fmla="*/ 240411 h 2158"/>
                <a:gd name="T46" fmla="*/ 79720 w 598"/>
                <a:gd name="T47" fmla="*/ 212651 h 2158"/>
                <a:gd name="T48" fmla="*/ 100307 w 598"/>
                <a:gd name="T49" fmla="*/ 181225 h 2158"/>
                <a:gd name="T50" fmla="*/ 87604 w 598"/>
                <a:gd name="T51" fmla="*/ 161322 h 2158"/>
                <a:gd name="T52" fmla="*/ 64827 w 598"/>
                <a:gd name="T53" fmla="*/ 116277 h 2158"/>
                <a:gd name="T54" fmla="*/ 56505 w 598"/>
                <a:gd name="T55" fmla="*/ 65472 h 2158"/>
                <a:gd name="T56" fmla="*/ 39860 w 598"/>
                <a:gd name="T57" fmla="*/ 19380 h 2158"/>
                <a:gd name="T58" fmla="*/ 0 w 598"/>
                <a:gd name="T59" fmla="*/ 23046 h 2158"/>
                <a:gd name="T60" fmla="*/ 13579 w 598"/>
                <a:gd name="T61" fmla="*/ 104754 h 2158"/>
                <a:gd name="T62" fmla="*/ 18397 w 598"/>
                <a:gd name="T63" fmla="*/ 159227 h 2158"/>
                <a:gd name="T64" fmla="*/ 11827 w 598"/>
                <a:gd name="T65" fmla="*/ 195891 h 2158"/>
                <a:gd name="T66" fmla="*/ 22777 w 598"/>
                <a:gd name="T67" fmla="*/ 274457 h 2158"/>
                <a:gd name="T68" fmla="*/ 20149 w 598"/>
                <a:gd name="T69" fmla="*/ 339928 h 2158"/>
                <a:gd name="T70" fmla="*/ 15769 w 598"/>
                <a:gd name="T71" fmla="*/ 376068 h 2158"/>
                <a:gd name="T72" fmla="*/ 22777 w 598"/>
                <a:gd name="T73" fmla="*/ 401733 h 2158"/>
                <a:gd name="T74" fmla="*/ 28033 w 598"/>
                <a:gd name="T75" fmla="*/ 456205 h 2158"/>
                <a:gd name="T76" fmla="*/ 35480 w 598"/>
                <a:gd name="T77" fmla="*/ 478204 h 2158"/>
                <a:gd name="T78" fmla="*/ 31976 w 598"/>
                <a:gd name="T79" fmla="*/ 547342 h 2158"/>
                <a:gd name="T80" fmla="*/ 27595 w 598"/>
                <a:gd name="T81" fmla="*/ 603385 h 2158"/>
                <a:gd name="T82" fmla="*/ 17521 w 598"/>
                <a:gd name="T83" fmla="*/ 622241 h 2158"/>
                <a:gd name="T84" fmla="*/ 26281 w 598"/>
                <a:gd name="T85" fmla="*/ 658905 h 2158"/>
                <a:gd name="T86" fmla="*/ 46430 w 598"/>
                <a:gd name="T87" fmla="*/ 703426 h 2158"/>
                <a:gd name="T88" fmla="*/ 40736 w 598"/>
                <a:gd name="T89" fmla="*/ 731186 h 2158"/>
                <a:gd name="T90" fmla="*/ 46430 w 598"/>
                <a:gd name="T91" fmla="*/ 758946 h 2158"/>
                <a:gd name="T92" fmla="*/ 71836 w 598"/>
                <a:gd name="T93" fmla="*/ 768374 h 2158"/>
                <a:gd name="T94" fmla="*/ 91547 w 598"/>
                <a:gd name="T95" fmla="*/ 849034 h 2158"/>
                <a:gd name="T96" fmla="*/ 99431 w 598"/>
                <a:gd name="T97" fmla="*/ 895126 h 2158"/>
                <a:gd name="T98" fmla="*/ 66141 w 598"/>
                <a:gd name="T99" fmla="*/ 916077 h 2158"/>
                <a:gd name="T100" fmla="*/ 90671 w 598"/>
                <a:gd name="T101" fmla="*/ 930219 h 2158"/>
                <a:gd name="T102" fmla="*/ 109505 w 598"/>
                <a:gd name="T103" fmla="*/ 953265 h 2158"/>
                <a:gd name="T104" fmla="*/ 120456 w 598"/>
                <a:gd name="T105" fmla="*/ 979977 h 2158"/>
                <a:gd name="T106" fmla="*/ 134911 w 598"/>
                <a:gd name="T107" fmla="*/ 1027117 h 2158"/>
                <a:gd name="T108" fmla="*/ 157250 w 598"/>
                <a:gd name="T109" fmla="*/ 1054353 h 2158"/>
                <a:gd name="T110" fmla="*/ 172143 w 598"/>
                <a:gd name="T111" fmla="*/ 1072685 h 2158"/>
                <a:gd name="T112" fmla="*/ 185721 w 598"/>
                <a:gd name="T113" fmla="*/ 1086303 h 2158"/>
                <a:gd name="T114" fmla="*/ 203680 w 598"/>
                <a:gd name="T115" fmla="*/ 1105159 h 2158"/>
                <a:gd name="T116" fmla="*/ 227333 w 598"/>
                <a:gd name="T117" fmla="*/ 1120872 h 2158"/>
                <a:gd name="T118" fmla="*/ 235656 w 598"/>
                <a:gd name="T119" fmla="*/ 1126634 h 2158"/>
                <a:gd name="T120" fmla="*/ 256681 w 598"/>
                <a:gd name="T121" fmla="*/ 1098874 h 2158"/>
                <a:gd name="T122" fmla="*/ 258871 w 598"/>
                <a:gd name="T123" fmla="*/ 1084732 h 215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61" name="Freeform 9">
              <a:extLst>
                <a:ext uri="{FF2B5EF4-FFF2-40B4-BE49-F238E27FC236}">
                  <a16:creationId xmlns:a16="http://schemas.microsoft.com/office/drawing/2014/main" id="{E11D5B82-77EC-446F-B15B-56F411CF10C2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700464" y="3508376"/>
              <a:ext cx="966787" cy="1203325"/>
            </a:xfrm>
            <a:custGeom>
              <a:avLst/>
              <a:gdLst>
                <a:gd name="T0" fmla="*/ 191099 w 2226"/>
                <a:gd name="T1" fmla="*/ 470410 h 2292"/>
                <a:gd name="T2" fmla="*/ 219329 w 2226"/>
                <a:gd name="T3" fmla="*/ 517136 h 2292"/>
                <a:gd name="T4" fmla="*/ 248429 w 2226"/>
                <a:gd name="T5" fmla="*/ 553361 h 2292"/>
                <a:gd name="T6" fmla="*/ 310970 w 2226"/>
                <a:gd name="T7" fmla="*/ 576462 h 2292"/>
                <a:gd name="T8" fmla="*/ 346584 w 2226"/>
                <a:gd name="T9" fmla="*/ 632113 h 2292"/>
                <a:gd name="T10" fmla="*/ 367431 w 2226"/>
                <a:gd name="T11" fmla="*/ 678314 h 2292"/>
                <a:gd name="T12" fmla="*/ 407823 w 2226"/>
                <a:gd name="T13" fmla="*/ 711390 h 2292"/>
                <a:gd name="T14" fmla="*/ 415640 w 2226"/>
                <a:gd name="T15" fmla="*/ 769666 h 2292"/>
                <a:gd name="T16" fmla="*/ 423892 w 2226"/>
                <a:gd name="T17" fmla="*/ 809042 h 2292"/>
                <a:gd name="T18" fmla="*/ 430841 w 2226"/>
                <a:gd name="T19" fmla="*/ 856818 h 2292"/>
                <a:gd name="T20" fmla="*/ 491211 w 2226"/>
                <a:gd name="T21" fmla="*/ 891469 h 2292"/>
                <a:gd name="T22" fmla="*/ 518139 w 2226"/>
                <a:gd name="T23" fmla="*/ 947645 h 2292"/>
                <a:gd name="T24" fmla="*/ 539855 w 2226"/>
                <a:gd name="T25" fmla="*/ 978620 h 2292"/>
                <a:gd name="T26" fmla="*/ 513796 w 2226"/>
                <a:gd name="T27" fmla="*/ 1051597 h 2292"/>
                <a:gd name="T28" fmla="*/ 470798 w 2226"/>
                <a:gd name="T29" fmla="*/ 1117223 h 2292"/>
                <a:gd name="T30" fmla="*/ 512493 w 2226"/>
                <a:gd name="T31" fmla="*/ 1134549 h 2292"/>
                <a:gd name="T32" fmla="*/ 562873 w 2226"/>
                <a:gd name="T33" fmla="*/ 1172874 h 2292"/>
                <a:gd name="T34" fmla="*/ 616294 w 2226"/>
                <a:gd name="T35" fmla="*/ 1153974 h 2292"/>
                <a:gd name="T36" fmla="*/ 659291 w 2226"/>
                <a:gd name="T37" fmla="*/ 1068922 h 2292"/>
                <a:gd name="T38" fmla="*/ 656686 w 2226"/>
                <a:gd name="T39" fmla="*/ 1006971 h 2292"/>
                <a:gd name="T40" fmla="*/ 677967 w 2226"/>
                <a:gd name="T41" fmla="*/ 941345 h 2292"/>
                <a:gd name="T42" fmla="*/ 740943 w 2226"/>
                <a:gd name="T43" fmla="*/ 906694 h 2292"/>
                <a:gd name="T44" fmla="*/ 780900 w 2226"/>
                <a:gd name="T45" fmla="*/ 882543 h 2292"/>
                <a:gd name="T46" fmla="*/ 823897 w 2226"/>
                <a:gd name="T47" fmla="*/ 861543 h 2292"/>
                <a:gd name="T48" fmla="*/ 860814 w 2226"/>
                <a:gd name="T49" fmla="*/ 735015 h 2292"/>
                <a:gd name="T50" fmla="*/ 874712 w 2226"/>
                <a:gd name="T51" fmla="*/ 676214 h 2292"/>
                <a:gd name="T52" fmla="*/ 869500 w 2226"/>
                <a:gd name="T53" fmla="*/ 572262 h 2292"/>
                <a:gd name="T54" fmla="*/ 900337 w 2226"/>
                <a:gd name="T55" fmla="*/ 529736 h 2292"/>
                <a:gd name="T56" fmla="*/ 951152 w 2226"/>
                <a:gd name="T57" fmla="*/ 460435 h 2292"/>
                <a:gd name="T58" fmla="*/ 965050 w 2226"/>
                <a:gd name="T59" fmla="*/ 384308 h 2292"/>
                <a:gd name="T60" fmla="*/ 936819 w 2226"/>
                <a:gd name="T61" fmla="*/ 314482 h 2292"/>
                <a:gd name="T62" fmla="*/ 894256 w 2226"/>
                <a:gd name="T63" fmla="*/ 295581 h 2292"/>
                <a:gd name="T64" fmla="*/ 834321 w 2226"/>
                <a:gd name="T65" fmla="*/ 242555 h 2292"/>
                <a:gd name="T66" fmla="*/ 756578 w 2226"/>
                <a:gd name="T67" fmla="*/ 236255 h 2292"/>
                <a:gd name="T68" fmla="*/ 725307 w 2226"/>
                <a:gd name="T69" fmla="*/ 234680 h 2292"/>
                <a:gd name="T70" fmla="*/ 710541 w 2226"/>
                <a:gd name="T71" fmla="*/ 206854 h 2292"/>
                <a:gd name="T72" fmla="*/ 656686 w 2226"/>
                <a:gd name="T73" fmla="*/ 182704 h 2292"/>
                <a:gd name="T74" fmla="*/ 612820 w 2226"/>
                <a:gd name="T75" fmla="*/ 214729 h 2292"/>
                <a:gd name="T76" fmla="*/ 581115 w 2226"/>
                <a:gd name="T77" fmla="*/ 212629 h 2292"/>
                <a:gd name="T78" fmla="*/ 541592 w 2226"/>
                <a:gd name="T79" fmla="*/ 201604 h 2292"/>
                <a:gd name="T80" fmla="*/ 571994 w 2226"/>
                <a:gd name="T81" fmla="*/ 140703 h 2292"/>
                <a:gd name="T82" fmla="*/ 581115 w 2226"/>
                <a:gd name="T83" fmla="*/ 96602 h 2292"/>
                <a:gd name="T84" fmla="*/ 560702 w 2226"/>
                <a:gd name="T85" fmla="*/ 35701 h 2292"/>
                <a:gd name="T86" fmla="*/ 488171 w 2226"/>
                <a:gd name="T87" fmla="*/ 70876 h 2292"/>
                <a:gd name="T88" fmla="*/ 435619 w 2226"/>
                <a:gd name="T89" fmla="*/ 89252 h 2292"/>
                <a:gd name="T90" fmla="*/ 416943 w 2226"/>
                <a:gd name="T91" fmla="*/ 98177 h 2292"/>
                <a:gd name="T92" fmla="*/ 352664 w 2226"/>
                <a:gd name="T93" fmla="*/ 92402 h 2292"/>
                <a:gd name="T94" fmla="*/ 352230 w 2226"/>
                <a:gd name="T95" fmla="*/ 35176 h 2292"/>
                <a:gd name="T96" fmla="*/ 323565 w 2226"/>
                <a:gd name="T97" fmla="*/ 0 h 2292"/>
                <a:gd name="T98" fmla="*/ 304021 w 2226"/>
                <a:gd name="T99" fmla="*/ 16275 h 2292"/>
                <a:gd name="T100" fmla="*/ 255812 w 2226"/>
                <a:gd name="T101" fmla="*/ 36751 h 2292"/>
                <a:gd name="T102" fmla="*/ 243217 w 2226"/>
                <a:gd name="T103" fmla="*/ 103952 h 2292"/>
                <a:gd name="T104" fmla="*/ 196745 w 2226"/>
                <a:gd name="T105" fmla="*/ 135453 h 2292"/>
                <a:gd name="T106" fmla="*/ 124214 w 2226"/>
                <a:gd name="T107" fmla="*/ 103427 h 2292"/>
                <a:gd name="T108" fmla="*/ 109882 w 2226"/>
                <a:gd name="T109" fmla="*/ 126003 h 2292"/>
                <a:gd name="T110" fmla="*/ 85995 w 2226"/>
                <a:gd name="T111" fmla="*/ 163278 h 2292"/>
                <a:gd name="T112" fmla="*/ 106842 w 2226"/>
                <a:gd name="T113" fmla="*/ 203704 h 2292"/>
                <a:gd name="T114" fmla="*/ 84257 w 2226"/>
                <a:gd name="T115" fmla="*/ 294006 h 2292"/>
                <a:gd name="T116" fmla="*/ 43432 w 2226"/>
                <a:gd name="T117" fmla="*/ 297681 h 2292"/>
                <a:gd name="T118" fmla="*/ 6949 w 2226"/>
                <a:gd name="T119" fmla="*/ 360682 h 2292"/>
                <a:gd name="T120" fmla="*/ 9555 w 2226"/>
                <a:gd name="T121" fmla="*/ 432609 h 2292"/>
                <a:gd name="T122" fmla="*/ 52118 w 2226"/>
                <a:gd name="T123" fmla="*/ 475135 h 2292"/>
                <a:gd name="T124" fmla="*/ 82954 w 2226"/>
                <a:gd name="T125" fmla="*/ 498235 h 22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62" name="Freeform 10">
              <a:extLst>
                <a:ext uri="{FF2B5EF4-FFF2-40B4-BE49-F238E27FC236}">
                  <a16:creationId xmlns:a16="http://schemas.microsoft.com/office/drawing/2014/main" id="{7E05E7A8-29C6-4046-9EE3-6950C62C628A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5813425" y="2454276"/>
              <a:ext cx="69850" cy="49213"/>
            </a:xfrm>
            <a:custGeom>
              <a:avLst/>
              <a:gdLst>
                <a:gd name="T0" fmla="*/ 40782 w 161"/>
                <a:gd name="T1" fmla="*/ 0 h 93"/>
                <a:gd name="T2" fmla="*/ 46422 w 161"/>
                <a:gd name="T3" fmla="*/ 9525 h 93"/>
                <a:gd name="T4" fmla="*/ 48591 w 161"/>
                <a:gd name="T5" fmla="*/ 6350 h 93"/>
                <a:gd name="T6" fmla="*/ 50761 w 161"/>
                <a:gd name="T7" fmla="*/ 4233 h 93"/>
                <a:gd name="T8" fmla="*/ 52930 w 161"/>
                <a:gd name="T9" fmla="*/ 2646 h 93"/>
                <a:gd name="T10" fmla="*/ 55099 w 161"/>
                <a:gd name="T11" fmla="*/ 1588 h 93"/>
                <a:gd name="T12" fmla="*/ 59438 w 161"/>
                <a:gd name="T13" fmla="*/ 529 h 93"/>
                <a:gd name="T14" fmla="*/ 64210 w 161"/>
                <a:gd name="T15" fmla="*/ 0 h 93"/>
                <a:gd name="T16" fmla="*/ 65511 w 161"/>
                <a:gd name="T17" fmla="*/ 0 h 93"/>
                <a:gd name="T18" fmla="*/ 69850 w 161"/>
                <a:gd name="T19" fmla="*/ 0 h 93"/>
                <a:gd name="T20" fmla="*/ 69850 w 161"/>
                <a:gd name="T21" fmla="*/ 48684 h 93"/>
                <a:gd name="T22" fmla="*/ 67247 w 161"/>
                <a:gd name="T23" fmla="*/ 49213 h 93"/>
                <a:gd name="T24" fmla="*/ 65078 w 161"/>
                <a:gd name="T25" fmla="*/ 49213 h 93"/>
                <a:gd name="T26" fmla="*/ 62908 w 161"/>
                <a:gd name="T27" fmla="*/ 48684 h 93"/>
                <a:gd name="T28" fmla="*/ 60739 w 161"/>
                <a:gd name="T29" fmla="*/ 48155 h 93"/>
                <a:gd name="T30" fmla="*/ 55967 w 161"/>
                <a:gd name="T31" fmla="*/ 46567 h 93"/>
                <a:gd name="T32" fmla="*/ 52062 w 161"/>
                <a:gd name="T33" fmla="*/ 43392 h 93"/>
                <a:gd name="T34" fmla="*/ 48157 w 161"/>
                <a:gd name="T35" fmla="*/ 39688 h 93"/>
                <a:gd name="T36" fmla="*/ 45120 w 161"/>
                <a:gd name="T37" fmla="*/ 35455 h 93"/>
                <a:gd name="T38" fmla="*/ 42084 w 161"/>
                <a:gd name="T39" fmla="*/ 31221 h 93"/>
                <a:gd name="T40" fmla="*/ 40782 w 161"/>
                <a:gd name="T41" fmla="*/ 25929 h 93"/>
                <a:gd name="T42" fmla="*/ 39914 w 161"/>
                <a:gd name="T43" fmla="*/ 26459 h 93"/>
                <a:gd name="T44" fmla="*/ 38613 w 161"/>
                <a:gd name="T45" fmla="*/ 26988 h 93"/>
                <a:gd name="T46" fmla="*/ 37311 w 161"/>
                <a:gd name="T47" fmla="*/ 26988 h 93"/>
                <a:gd name="T48" fmla="*/ 36443 w 161"/>
                <a:gd name="T49" fmla="*/ 26988 h 93"/>
                <a:gd name="T50" fmla="*/ 33840 w 161"/>
                <a:gd name="T51" fmla="*/ 26459 h 93"/>
                <a:gd name="T52" fmla="*/ 32105 w 161"/>
                <a:gd name="T53" fmla="*/ 25929 h 93"/>
                <a:gd name="T54" fmla="*/ 28200 w 161"/>
                <a:gd name="T55" fmla="*/ 25400 h 93"/>
                <a:gd name="T56" fmla="*/ 23862 w 161"/>
                <a:gd name="T57" fmla="*/ 23813 h 93"/>
                <a:gd name="T58" fmla="*/ 19089 w 161"/>
                <a:gd name="T59" fmla="*/ 21167 h 93"/>
                <a:gd name="T60" fmla="*/ 13883 w 161"/>
                <a:gd name="T61" fmla="*/ 17992 h 93"/>
                <a:gd name="T62" fmla="*/ 9111 w 161"/>
                <a:gd name="T63" fmla="*/ 13758 h 93"/>
                <a:gd name="T64" fmla="*/ 5206 w 161"/>
                <a:gd name="T65" fmla="*/ 9525 h 93"/>
                <a:gd name="T66" fmla="*/ 3471 w 161"/>
                <a:gd name="T67" fmla="*/ 7408 h 93"/>
                <a:gd name="T68" fmla="*/ 2169 w 161"/>
                <a:gd name="T69" fmla="*/ 4763 h 93"/>
                <a:gd name="T70" fmla="*/ 1302 w 161"/>
                <a:gd name="T71" fmla="*/ 2646 h 93"/>
                <a:gd name="T72" fmla="*/ 0 w 161"/>
                <a:gd name="T73" fmla="*/ 0 h 93"/>
                <a:gd name="T74" fmla="*/ 40782 w 161"/>
                <a:gd name="T75" fmla="*/ 0 h 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63" name="Freeform 11">
              <a:extLst>
                <a:ext uri="{FF2B5EF4-FFF2-40B4-BE49-F238E27FC236}">
                  <a16:creationId xmlns:a16="http://schemas.microsoft.com/office/drawing/2014/main" id="{F9CBD699-3840-4ED6-B726-213C8923B11F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5311775" y="2328864"/>
              <a:ext cx="82550" cy="160337"/>
            </a:xfrm>
            <a:custGeom>
              <a:avLst/>
              <a:gdLst>
                <a:gd name="T0" fmla="*/ 16338 w 192"/>
                <a:gd name="T1" fmla="*/ 1567 h 307"/>
                <a:gd name="T2" fmla="*/ 15908 w 192"/>
                <a:gd name="T3" fmla="*/ 0 h 307"/>
                <a:gd name="T4" fmla="*/ 24507 w 192"/>
                <a:gd name="T5" fmla="*/ 1567 h 307"/>
                <a:gd name="T6" fmla="*/ 47294 w 192"/>
                <a:gd name="T7" fmla="*/ 7312 h 307"/>
                <a:gd name="T8" fmla="*/ 66642 w 192"/>
                <a:gd name="T9" fmla="*/ 13057 h 307"/>
                <a:gd name="T10" fmla="*/ 77821 w 192"/>
                <a:gd name="T11" fmla="*/ 14624 h 307"/>
                <a:gd name="T12" fmla="*/ 82550 w 192"/>
                <a:gd name="T13" fmla="*/ 18279 h 307"/>
                <a:gd name="T14" fmla="*/ 80830 w 192"/>
                <a:gd name="T15" fmla="*/ 24547 h 307"/>
                <a:gd name="T16" fmla="*/ 75241 w 192"/>
                <a:gd name="T17" fmla="*/ 42826 h 307"/>
                <a:gd name="T18" fmla="*/ 67932 w 192"/>
                <a:gd name="T19" fmla="*/ 66328 h 307"/>
                <a:gd name="T20" fmla="*/ 63202 w 192"/>
                <a:gd name="T21" fmla="*/ 86175 h 307"/>
                <a:gd name="T22" fmla="*/ 62772 w 192"/>
                <a:gd name="T23" fmla="*/ 108110 h 307"/>
                <a:gd name="T24" fmla="*/ 61913 w 192"/>
                <a:gd name="T25" fmla="*/ 130045 h 307"/>
                <a:gd name="T26" fmla="*/ 57613 w 192"/>
                <a:gd name="T27" fmla="*/ 144669 h 307"/>
                <a:gd name="T28" fmla="*/ 45574 w 192"/>
                <a:gd name="T29" fmla="*/ 154592 h 307"/>
                <a:gd name="T30" fmla="*/ 35686 w 192"/>
                <a:gd name="T31" fmla="*/ 158248 h 307"/>
                <a:gd name="T32" fmla="*/ 30956 w 192"/>
                <a:gd name="T33" fmla="*/ 160337 h 307"/>
                <a:gd name="T34" fmla="*/ 22357 w 192"/>
                <a:gd name="T35" fmla="*/ 159292 h 307"/>
                <a:gd name="T36" fmla="*/ 13758 w 192"/>
                <a:gd name="T37" fmla="*/ 151981 h 307"/>
                <a:gd name="T38" fmla="*/ 12898 w 192"/>
                <a:gd name="T39" fmla="*/ 144669 h 307"/>
                <a:gd name="T40" fmla="*/ 9459 w 192"/>
                <a:gd name="T41" fmla="*/ 134223 h 307"/>
                <a:gd name="T42" fmla="*/ 4299 w 192"/>
                <a:gd name="T43" fmla="*/ 120644 h 307"/>
                <a:gd name="T44" fmla="*/ 860 w 192"/>
                <a:gd name="T45" fmla="*/ 110199 h 307"/>
                <a:gd name="T46" fmla="*/ 0 w 192"/>
                <a:gd name="T47" fmla="*/ 102887 h 307"/>
                <a:gd name="T48" fmla="*/ 0 w 192"/>
                <a:gd name="T49" fmla="*/ 94009 h 307"/>
                <a:gd name="T50" fmla="*/ 860 w 192"/>
                <a:gd name="T51" fmla="*/ 86175 h 307"/>
                <a:gd name="T52" fmla="*/ 4729 w 192"/>
                <a:gd name="T53" fmla="*/ 75729 h 307"/>
                <a:gd name="T54" fmla="*/ 14188 w 192"/>
                <a:gd name="T55" fmla="*/ 56927 h 307"/>
                <a:gd name="T56" fmla="*/ 20638 w 192"/>
                <a:gd name="T57" fmla="*/ 42304 h 307"/>
                <a:gd name="T58" fmla="*/ 22357 w 192"/>
                <a:gd name="T59" fmla="*/ 32381 h 307"/>
                <a:gd name="T60" fmla="*/ 22787 w 192"/>
                <a:gd name="T61" fmla="*/ 21413 h 307"/>
                <a:gd name="T62" fmla="*/ 23647 w 192"/>
                <a:gd name="T63" fmla="*/ 15668 h 307"/>
                <a:gd name="T64" fmla="*/ 24507 w 192"/>
                <a:gd name="T65" fmla="*/ 13579 h 307"/>
                <a:gd name="T66" fmla="*/ 25797 w 192"/>
                <a:gd name="T67" fmla="*/ 11490 h 307"/>
                <a:gd name="T68" fmla="*/ 18918 w 192"/>
                <a:gd name="T69" fmla="*/ 3656 h 30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64" name="Freeform 12">
              <a:extLst>
                <a:ext uri="{FF2B5EF4-FFF2-40B4-BE49-F238E27FC236}">
                  <a16:creationId xmlns:a16="http://schemas.microsoft.com/office/drawing/2014/main" id="{EE8ABD35-F262-4E4F-9130-C0AF12E46F84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5392738" y="1814514"/>
              <a:ext cx="171450" cy="269875"/>
            </a:xfrm>
            <a:custGeom>
              <a:avLst/>
              <a:gdLst>
                <a:gd name="T0" fmla="*/ 11200 w 398"/>
                <a:gd name="T1" fmla="*/ 1042 h 518"/>
                <a:gd name="T2" fmla="*/ 40924 w 398"/>
                <a:gd name="T3" fmla="*/ 6773 h 518"/>
                <a:gd name="T4" fmla="*/ 49970 w 398"/>
                <a:gd name="T5" fmla="*/ 11983 h 518"/>
                <a:gd name="T6" fmla="*/ 34462 w 398"/>
                <a:gd name="T7" fmla="*/ 24487 h 518"/>
                <a:gd name="T8" fmla="*/ 27570 w 398"/>
                <a:gd name="T9" fmla="*/ 32302 h 518"/>
                <a:gd name="T10" fmla="*/ 33170 w 398"/>
                <a:gd name="T11" fmla="*/ 35949 h 518"/>
                <a:gd name="T12" fmla="*/ 71940 w 398"/>
                <a:gd name="T13" fmla="*/ 41159 h 518"/>
                <a:gd name="T14" fmla="*/ 90464 w 398"/>
                <a:gd name="T15" fmla="*/ 56788 h 518"/>
                <a:gd name="T16" fmla="*/ 66340 w 398"/>
                <a:gd name="T17" fmla="*/ 66166 h 518"/>
                <a:gd name="T18" fmla="*/ 63324 w 398"/>
                <a:gd name="T19" fmla="*/ 71897 h 518"/>
                <a:gd name="T20" fmla="*/ 82279 w 398"/>
                <a:gd name="T21" fmla="*/ 74502 h 518"/>
                <a:gd name="T22" fmla="*/ 90894 w 398"/>
                <a:gd name="T23" fmla="*/ 81275 h 518"/>
                <a:gd name="T24" fmla="*/ 104679 w 398"/>
                <a:gd name="T25" fmla="*/ 99510 h 518"/>
                <a:gd name="T26" fmla="*/ 111141 w 398"/>
                <a:gd name="T27" fmla="*/ 110451 h 518"/>
                <a:gd name="T28" fmla="*/ 112003 w 398"/>
                <a:gd name="T29" fmla="*/ 123476 h 518"/>
                <a:gd name="T30" fmla="*/ 117172 w 398"/>
                <a:gd name="T31" fmla="*/ 132333 h 518"/>
                <a:gd name="T32" fmla="*/ 123203 w 398"/>
                <a:gd name="T33" fmla="*/ 145357 h 518"/>
                <a:gd name="T34" fmla="*/ 131818 w 398"/>
                <a:gd name="T35" fmla="*/ 154735 h 518"/>
                <a:gd name="T36" fmla="*/ 140865 w 398"/>
                <a:gd name="T37" fmla="*/ 166718 h 518"/>
                <a:gd name="T38" fmla="*/ 149049 w 398"/>
                <a:gd name="T39" fmla="*/ 175575 h 518"/>
                <a:gd name="T40" fmla="*/ 159388 w 398"/>
                <a:gd name="T41" fmla="*/ 177659 h 518"/>
                <a:gd name="T42" fmla="*/ 170588 w 398"/>
                <a:gd name="T43" fmla="*/ 190163 h 518"/>
                <a:gd name="T44" fmla="*/ 170158 w 398"/>
                <a:gd name="T45" fmla="*/ 205793 h 518"/>
                <a:gd name="T46" fmla="*/ 164558 w 398"/>
                <a:gd name="T47" fmla="*/ 210482 h 518"/>
                <a:gd name="T48" fmla="*/ 158096 w 398"/>
                <a:gd name="T49" fmla="*/ 216213 h 518"/>
                <a:gd name="T50" fmla="*/ 158527 w 398"/>
                <a:gd name="T51" fmla="*/ 221944 h 518"/>
                <a:gd name="T52" fmla="*/ 161973 w 398"/>
                <a:gd name="T53" fmla="*/ 230800 h 518"/>
                <a:gd name="T54" fmla="*/ 154650 w 398"/>
                <a:gd name="T55" fmla="*/ 241220 h 518"/>
                <a:gd name="T56" fmla="*/ 62894 w 398"/>
                <a:gd name="T57" fmla="*/ 260497 h 518"/>
                <a:gd name="T58" fmla="*/ 29293 w 398"/>
                <a:gd name="T59" fmla="*/ 264665 h 518"/>
                <a:gd name="T60" fmla="*/ 22831 w 398"/>
                <a:gd name="T61" fmla="*/ 269875 h 518"/>
                <a:gd name="T62" fmla="*/ 24985 w 398"/>
                <a:gd name="T63" fmla="*/ 256850 h 518"/>
                <a:gd name="T64" fmla="*/ 30585 w 398"/>
                <a:gd name="T65" fmla="*/ 247993 h 518"/>
                <a:gd name="T66" fmla="*/ 49109 w 398"/>
                <a:gd name="T67" fmla="*/ 238615 h 518"/>
                <a:gd name="T68" fmla="*/ 74094 w 398"/>
                <a:gd name="T69" fmla="*/ 228716 h 518"/>
                <a:gd name="T70" fmla="*/ 77109 w 398"/>
                <a:gd name="T71" fmla="*/ 221944 h 518"/>
                <a:gd name="T72" fmla="*/ 73663 w 398"/>
                <a:gd name="T73" fmla="*/ 226111 h 518"/>
                <a:gd name="T74" fmla="*/ 47816 w 398"/>
                <a:gd name="T75" fmla="*/ 225069 h 518"/>
                <a:gd name="T76" fmla="*/ 32739 w 398"/>
                <a:gd name="T77" fmla="*/ 218818 h 518"/>
                <a:gd name="T78" fmla="*/ 33170 w 398"/>
                <a:gd name="T79" fmla="*/ 209440 h 518"/>
                <a:gd name="T80" fmla="*/ 40924 w 398"/>
                <a:gd name="T81" fmla="*/ 203709 h 518"/>
                <a:gd name="T82" fmla="*/ 37478 w 398"/>
                <a:gd name="T83" fmla="*/ 183390 h 518"/>
                <a:gd name="T84" fmla="*/ 45232 w 398"/>
                <a:gd name="T85" fmla="*/ 171407 h 518"/>
                <a:gd name="T86" fmla="*/ 66340 w 398"/>
                <a:gd name="T87" fmla="*/ 160987 h 518"/>
                <a:gd name="T88" fmla="*/ 74094 w 398"/>
                <a:gd name="T89" fmla="*/ 151609 h 518"/>
                <a:gd name="T90" fmla="*/ 63755 w 398"/>
                <a:gd name="T91" fmla="*/ 141189 h 518"/>
                <a:gd name="T92" fmla="*/ 59878 w 398"/>
                <a:gd name="T93" fmla="*/ 128686 h 518"/>
                <a:gd name="T94" fmla="*/ 40493 w 398"/>
                <a:gd name="T95" fmla="*/ 124518 h 518"/>
                <a:gd name="T96" fmla="*/ 34462 w 398"/>
                <a:gd name="T97" fmla="*/ 112535 h 518"/>
                <a:gd name="T98" fmla="*/ 38770 w 398"/>
                <a:gd name="T99" fmla="*/ 100031 h 518"/>
                <a:gd name="T100" fmla="*/ 43078 w 398"/>
                <a:gd name="T101" fmla="*/ 87527 h 518"/>
                <a:gd name="T102" fmla="*/ 31447 w 398"/>
                <a:gd name="T103" fmla="*/ 96905 h 518"/>
                <a:gd name="T104" fmla="*/ 9477 w 398"/>
                <a:gd name="T105" fmla="*/ 84401 h 518"/>
                <a:gd name="T106" fmla="*/ 8616 w 398"/>
                <a:gd name="T107" fmla="*/ 73981 h 518"/>
                <a:gd name="T108" fmla="*/ 6031 w 398"/>
                <a:gd name="T109" fmla="*/ 68250 h 518"/>
                <a:gd name="T110" fmla="*/ 8616 w 398"/>
                <a:gd name="T111" fmla="*/ 32823 h 518"/>
                <a:gd name="T112" fmla="*/ 8185 w 398"/>
                <a:gd name="T113" fmla="*/ 25529 h 518"/>
                <a:gd name="T114" fmla="*/ 1723 w 398"/>
                <a:gd name="T115" fmla="*/ 20840 h 518"/>
                <a:gd name="T116" fmla="*/ 8616 w 398"/>
                <a:gd name="T117" fmla="*/ 9899 h 518"/>
                <a:gd name="T118" fmla="*/ 1292 w 398"/>
                <a:gd name="T119" fmla="*/ 4689 h 5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65" name="Freeform 13">
              <a:extLst>
                <a:ext uri="{FF2B5EF4-FFF2-40B4-BE49-F238E27FC236}">
                  <a16:creationId xmlns:a16="http://schemas.microsoft.com/office/drawing/2014/main" id="{1623775D-FFA6-4AAD-8AA5-28103E316C94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5751513" y="2117725"/>
              <a:ext cx="169862" cy="76200"/>
            </a:xfrm>
            <a:custGeom>
              <a:avLst/>
              <a:gdLst>
                <a:gd name="T0" fmla="*/ 84486 w 382"/>
                <a:gd name="T1" fmla="*/ 10812 h 148"/>
                <a:gd name="T2" fmla="*/ 78706 w 382"/>
                <a:gd name="T3" fmla="*/ 15961 h 148"/>
                <a:gd name="T4" fmla="*/ 77372 w 382"/>
                <a:gd name="T5" fmla="*/ 23169 h 148"/>
                <a:gd name="T6" fmla="*/ 74704 w 382"/>
                <a:gd name="T7" fmla="*/ 27288 h 148"/>
                <a:gd name="T8" fmla="*/ 73814 w 382"/>
                <a:gd name="T9" fmla="*/ 31407 h 148"/>
                <a:gd name="T10" fmla="*/ 78706 w 382"/>
                <a:gd name="T11" fmla="*/ 38100 h 148"/>
                <a:gd name="T12" fmla="*/ 68923 w 382"/>
                <a:gd name="T13" fmla="*/ 44278 h 148"/>
                <a:gd name="T14" fmla="*/ 48024 w 382"/>
                <a:gd name="T15" fmla="*/ 49427 h 148"/>
                <a:gd name="T16" fmla="*/ 34239 w 382"/>
                <a:gd name="T17" fmla="*/ 49942 h 148"/>
                <a:gd name="T18" fmla="*/ 23123 w 382"/>
                <a:gd name="T19" fmla="*/ 48912 h 148"/>
                <a:gd name="T20" fmla="*/ 1779 w 382"/>
                <a:gd name="T21" fmla="*/ 57150 h 148"/>
                <a:gd name="T22" fmla="*/ 0 w 382"/>
                <a:gd name="T23" fmla="*/ 66418 h 148"/>
                <a:gd name="T24" fmla="*/ 1779 w 382"/>
                <a:gd name="T25" fmla="*/ 67447 h 148"/>
                <a:gd name="T26" fmla="*/ 5336 w 382"/>
                <a:gd name="T27" fmla="*/ 67447 h 148"/>
                <a:gd name="T28" fmla="*/ 22678 w 382"/>
                <a:gd name="T29" fmla="*/ 66418 h 148"/>
                <a:gd name="T30" fmla="*/ 50692 w 382"/>
                <a:gd name="T31" fmla="*/ 65388 h 148"/>
                <a:gd name="T32" fmla="*/ 54694 w 382"/>
                <a:gd name="T33" fmla="*/ 68992 h 148"/>
                <a:gd name="T34" fmla="*/ 60919 w 382"/>
                <a:gd name="T35" fmla="*/ 72596 h 148"/>
                <a:gd name="T36" fmla="*/ 70702 w 382"/>
                <a:gd name="T37" fmla="*/ 75685 h 148"/>
                <a:gd name="T38" fmla="*/ 82263 w 382"/>
                <a:gd name="T39" fmla="*/ 76200 h 148"/>
                <a:gd name="T40" fmla="*/ 93380 w 382"/>
                <a:gd name="T41" fmla="*/ 76200 h 148"/>
                <a:gd name="T42" fmla="*/ 103607 w 382"/>
                <a:gd name="T43" fmla="*/ 76200 h 148"/>
                <a:gd name="T44" fmla="*/ 113390 w 382"/>
                <a:gd name="T45" fmla="*/ 76200 h 148"/>
                <a:gd name="T46" fmla="*/ 122283 w 382"/>
                <a:gd name="T47" fmla="*/ 73626 h 148"/>
                <a:gd name="T48" fmla="*/ 133844 w 382"/>
                <a:gd name="T49" fmla="*/ 68992 h 148"/>
                <a:gd name="T50" fmla="*/ 148518 w 382"/>
                <a:gd name="T51" fmla="*/ 62299 h 148"/>
                <a:gd name="T52" fmla="*/ 156967 w 382"/>
                <a:gd name="T53" fmla="*/ 53031 h 148"/>
                <a:gd name="T54" fmla="*/ 165415 w 382"/>
                <a:gd name="T55" fmla="*/ 37070 h 148"/>
                <a:gd name="T56" fmla="*/ 167194 w 382"/>
                <a:gd name="T57" fmla="*/ 26773 h 148"/>
                <a:gd name="T58" fmla="*/ 161413 w 382"/>
                <a:gd name="T59" fmla="*/ 22654 h 148"/>
                <a:gd name="T60" fmla="*/ 158745 w 382"/>
                <a:gd name="T61" fmla="*/ 16476 h 148"/>
                <a:gd name="T62" fmla="*/ 154299 w 382"/>
                <a:gd name="T63" fmla="*/ 11327 h 148"/>
                <a:gd name="T64" fmla="*/ 148518 w 382"/>
                <a:gd name="T65" fmla="*/ 8753 h 148"/>
                <a:gd name="T66" fmla="*/ 141848 w 382"/>
                <a:gd name="T67" fmla="*/ 4119 h 148"/>
                <a:gd name="T68" fmla="*/ 90267 w 382"/>
                <a:gd name="T69" fmla="*/ 9268 h 14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66" name="Freeform 14">
              <a:extLst>
                <a:ext uri="{FF2B5EF4-FFF2-40B4-BE49-F238E27FC236}">
                  <a16:creationId xmlns:a16="http://schemas.microsoft.com/office/drawing/2014/main" id="{80ACB1EE-E41E-4A02-8A42-25D6167B086B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7243763" y="1966914"/>
              <a:ext cx="1281112" cy="1038225"/>
            </a:xfrm>
            <a:custGeom>
              <a:avLst/>
              <a:gdLst>
                <a:gd name="T0" fmla="*/ 162757 w 2936"/>
                <a:gd name="T1" fmla="*/ 560736 h 1983"/>
                <a:gd name="T2" fmla="*/ 167993 w 2936"/>
                <a:gd name="T3" fmla="*/ 618851 h 1983"/>
                <a:gd name="T4" fmla="*/ 208573 w 2936"/>
                <a:gd name="T5" fmla="*/ 710998 h 1983"/>
                <a:gd name="T6" fmla="*/ 335114 w 2936"/>
                <a:gd name="T7" fmla="*/ 781156 h 1983"/>
                <a:gd name="T8" fmla="*/ 452055 w 2936"/>
                <a:gd name="T9" fmla="*/ 812569 h 1983"/>
                <a:gd name="T10" fmla="*/ 490453 w 2936"/>
                <a:gd name="T11" fmla="*/ 800527 h 1983"/>
                <a:gd name="T12" fmla="*/ 611321 w 2936"/>
                <a:gd name="T13" fmla="*/ 758119 h 1983"/>
                <a:gd name="T14" fmla="*/ 675027 w 2936"/>
                <a:gd name="T15" fmla="*/ 807334 h 1983"/>
                <a:gd name="T16" fmla="*/ 688118 w 2936"/>
                <a:gd name="T17" fmla="*/ 888486 h 1983"/>
                <a:gd name="T18" fmla="*/ 701208 w 2936"/>
                <a:gd name="T19" fmla="*/ 928277 h 1983"/>
                <a:gd name="T20" fmla="*/ 744406 w 2936"/>
                <a:gd name="T21" fmla="*/ 1001052 h 1983"/>
                <a:gd name="T22" fmla="*/ 803749 w 2936"/>
                <a:gd name="T23" fmla="*/ 973303 h 1983"/>
                <a:gd name="T24" fmla="*/ 904109 w 2936"/>
                <a:gd name="T25" fmla="*/ 970685 h 1983"/>
                <a:gd name="T26" fmla="*/ 988324 w 2936"/>
                <a:gd name="T27" fmla="*/ 1038225 h 1983"/>
                <a:gd name="T28" fmla="*/ 1028468 w 2936"/>
                <a:gd name="T29" fmla="*/ 1000005 h 1983"/>
                <a:gd name="T30" fmla="*/ 1072102 w 2936"/>
                <a:gd name="T31" fmla="*/ 976968 h 1983"/>
                <a:gd name="T32" fmla="*/ 1110937 w 2936"/>
                <a:gd name="T33" fmla="*/ 956026 h 1983"/>
                <a:gd name="T34" fmla="*/ 1170716 w 2936"/>
                <a:gd name="T35" fmla="*/ 906811 h 1983"/>
                <a:gd name="T36" fmla="*/ 1186425 w 2936"/>
                <a:gd name="T37" fmla="*/ 846077 h 1983"/>
                <a:gd name="T38" fmla="*/ 1219151 w 2936"/>
                <a:gd name="T39" fmla="*/ 743459 h 1983"/>
                <a:gd name="T40" fmla="*/ 1180316 w 2936"/>
                <a:gd name="T41" fmla="*/ 719899 h 1983"/>
                <a:gd name="T42" fmla="*/ 1151954 w 2936"/>
                <a:gd name="T43" fmla="*/ 666495 h 1983"/>
                <a:gd name="T44" fmla="*/ 1164608 w 2936"/>
                <a:gd name="T45" fmla="*/ 642412 h 1983"/>
                <a:gd name="T46" fmla="*/ 1104828 w 2936"/>
                <a:gd name="T47" fmla="*/ 555500 h 1983"/>
                <a:gd name="T48" fmla="*/ 1127082 w 2936"/>
                <a:gd name="T49" fmla="*/ 519898 h 1983"/>
                <a:gd name="T50" fmla="*/ 1070357 w 2936"/>
                <a:gd name="T51" fmla="*/ 503667 h 1983"/>
                <a:gd name="T52" fmla="*/ 1017995 w 2936"/>
                <a:gd name="T53" fmla="*/ 464400 h 1983"/>
                <a:gd name="T54" fmla="*/ 1033267 w 2936"/>
                <a:gd name="T55" fmla="*/ 437698 h 1983"/>
                <a:gd name="T56" fmla="*/ 1065993 w 2936"/>
                <a:gd name="T57" fmla="*/ 395813 h 1983"/>
                <a:gd name="T58" fmla="*/ 1089120 w 2936"/>
                <a:gd name="T59" fmla="*/ 408379 h 1983"/>
                <a:gd name="T60" fmla="*/ 1104828 w 2936"/>
                <a:gd name="T61" fmla="*/ 446599 h 1983"/>
                <a:gd name="T62" fmla="*/ 1173335 w 2936"/>
                <a:gd name="T63" fmla="*/ 399478 h 1983"/>
                <a:gd name="T64" fmla="*/ 1233987 w 2936"/>
                <a:gd name="T65" fmla="*/ 352358 h 1983"/>
                <a:gd name="T66" fmla="*/ 1259295 w 2936"/>
                <a:gd name="T67" fmla="*/ 295289 h 1983"/>
                <a:gd name="T68" fmla="*/ 1277621 w 2936"/>
                <a:gd name="T69" fmla="*/ 258640 h 1983"/>
                <a:gd name="T70" fmla="*/ 1262349 w 2936"/>
                <a:gd name="T71" fmla="*/ 160734 h 1983"/>
                <a:gd name="T72" fmla="*/ 1187734 w 2936"/>
                <a:gd name="T73" fmla="*/ 178535 h 1983"/>
                <a:gd name="T74" fmla="*/ 1073848 w 2936"/>
                <a:gd name="T75" fmla="*/ 107330 h 1983"/>
                <a:gd name="T76" fmla="*/ 1003596 w 2936"/>
                <a:gd name="T77" fmla="*/ 46597 h 1983"/>
                <a:gd name="T78" fmla="*/ 863965 w 2936"/>
                <a:gd name="T79" fmla="*/ 27749 h 1983"/>
                <a:gd name="T80" fmla="*/ 875747 w 2936"/>
                <a:gd name="T81" fmla="*/ 81152 h 1983"/>
                <a:gd name="T82" fmla="*/ 851747 w 2936"/>
                <a:gd name="T83" fmla="*/ 118849 h 1983"/>
                <a:gd name="T84" fmla="*/ 883601 w 2936"/>
                <a:gd name="T85" fmla="*/ 183247 h 1983"/>
                <a:gd name="T86" fmla="*/ 936399 w 2936"/>
                <a:gd name="T87" fmla="*/ 193718 h 1983"/>
                <a:gd name="T88" fmla="*/ 890582 w 2936"/>
                <a:gd name="T89" fmla="*/ 238221 h 1983"/>
                <a:gd name="T90" fmla="*/ 825130 w 2936"/>
                <a:gd name="T91" fmla="*/ 298431 h 1983"/>
                <a:gd name="T92" fmla="*/ 711244 w 2936"/>
                <a:gd name="T93" fmla="*/ 373300 h 1983"/>
                <a:gd name="T94" fmla="*/ 535833 w 2936"/>
                <a:gd name="T95" fmla="*/ 345028 h 1983"/>
                <a:gd name="T96" fmla="*/ 452055 w 2936"/>
                <a:gd name="T97" fmla="*/ 293195 h 1983"/>
                <a:gd name="T98" fmla="*/ 328132 w 2936"/>
                <a:gd name="T99" fmla="*/ 259164 h 1983"/>
                <a:gd name="T100" fmla="*/ 299333 w 2936"/>
                <a:gd name="T101" fmla="*/ 198430 h 1983"/>
                <a:gd name="T102" fmla="*/ 223409 w 2936"/>
                <a:gd name="T103" fmla="*/ 156545 h 1983"/>
                <a:gd name="T104" fmla="*/ 187629 w 2936"/>
                <a:gd name="T105" fmla="*/ 162828 h 1983"/>
                <a:gd name="T106" fmla="*/ 184574 w 2936"/>
                <a:gd name="T107" fmla="*/ 203142 h 1983"/>
                <a:gd name="T108" fmla="*/ 133086 w 2936"/>
                <a:gd name="T109" fmla="*/ 200001 h 1983"/>
                <a:gd name="T110" fmla="*/ 99051 w 2936"/>
                <a:gd name="T111" fmla="*/ 265446 h 1983"/>
                <a:gd name="T112" fmla="*/ 113450 w 2936"/>
                <a:gd name="T113" fmla="*/ 311520 h 1983"/>
                <a:gd name="T114" fmla="*/ 109959 w 2936"/>
                <a:gd name="T115" fmla="*/ 374871 h 1983"/>
                <a:gd name="T116" fmla="*/ 51489 w 2936"/>
                <a:gd name="T117" fmla="*/ 408903 h 1983"/>
                <a:gd name="T118" fmla="*/ 17454 w 2936"/>
                <a:gd name="T119" fmla="*/ 468065 h 198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67" name="Freeform 15">
              <a:extLst>
                <a:ext uri="{FF2B5EF4-FFF2-40B4-BE49-F238E27FC236}">
                  <a16:creationId xmlns:a16="http://schemas.microsoft.com/office/drawing/2014/main" id="{B169B075-463F-4CF7-AC16-DBF4E60C1286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5935663" y="1508125"/>
              <a:ext cx="220662" cy="273050"/>
            </a:xfrm>
            <a:custGeom>
              <a:avLst/>
              <a:gdLst>
                <a:gd name="T0" fmla="*/ 151048 w 504"/>
                <a:gd name="T1" fmla="*/ 256896 h 524"/>
                <a:gd name="T2" fmla="*/ 112082 w 504"/>
                <a:gd name="T3" fmla="*/ 263149 h 524"/>
                <a:gd name="T4" fmla="*/ 102888 w 504"/>
                <a:gd name="T5" fmla="*/ 269402 h 524"/>
                <a:gd name="T6" fmla="*/ 91943 w 504"/>
                <a:gd name="T7" fmla="*/ 272008 h 524"/>
                <a:gd name="T8" fmla="*/ 67862 w 504"/>
                <a:gd name="T9" fmla="*/ 273050 h 524"/>
                <a:gd name="T10" fmla="*/ 46409 w 504"/>
                <a:gd name="T11" fmla="*/ 272008 h 524"/>
                <a:gd name="T12" fmla="*/ 41155 w 504"/>
                <a:gd name="T13" fmla="*/ 268881 h 524"/>
                <a:gd name="T14" fmla="*/ 31085 w 504"/>
                <a:gd name="T15" fmla="*/ 265234 h 524"/>
                <a:gd name="T16" fmla="*/ 15762 w 504"/>
                <a:gd name="T17" fmla="*/ 258460 h 524"/>
                <a:gd name="T18" fmla="*/ 9632 w 504"/>
                <a:gd name="T19" fmla="*/ 253249 h 524"/>
                <a:gd name="T20" fmla="*/ 8756 w 504"/>
                <a:gd name="T21" fmla="*/ 248559 h 524"/>
                <a:gd name="T22" fmla="*/ 11821 w 504"/>
                <a:gd name="T23" fmla="*/ 241264 h 524"/>
                <a:gd name="T24" fmla="*/ 14010 w 504"/>
                <a:gd name="T25" fmla="*/ 231884 h 524"/>
                <a:gd name="T26" fmla="*/ 12259 w 504"/>
                <a:gd name="T27" fmla="*/ 225110 h 524"/>
                <a:gd name="T28" fmla="*/ 4378 w 504"/>
                <a:gd name="T29" fmla="*/ 217294 h 524"/>
                <a:gd name="T30" fmla="*/ 438 w 504"/>
                <a:gd name="T31" fmla="*/ 212083 h 524"/>
                <a:gd name="T32" fmla="*/ 438 w 504"/>
                <a:gd name="T33" fmla="*/ 203745 h 524"/>
                <a:gd name="T34" fmla="*/ 7443 w 504"/>
                <a:gd name="T35" fmla="*/ 187592 h 524"/>
                <a:gd name="T36" fmla="*/ 21015 w 504"/>
                <a:gd name="T37" fmla="*/ 170917 h 524"/>
                <a:gd name="T38" fmla="*/ 37653 w 504"/>
                <a:gd name="T39" fmla="*/ 155805 h 524"/>
                <a:gd name="T40" fmla="*/ 54290 w 504"/>
                <a:gd name="T41" fmla="*/ 145383 h 524"/>
                <a:gd name="T42" fmla="*/ 70051 w 504"/>
                <a:gd name="T43" fmla="*/ 141736 h 524"/>
                <a:gd name="T44" fmla="*/ 67862 w 504"/>
                <a:gd name="T45" fmla="*/ 137567 h 524"/>
                <a:gd name="T46" fmla="*/ 62171 w 504"/>
                <a:gd name="T47" fmla="*/ 134962 h 524"/>
                <a:gd name="T48" fmla="*/ 58230 w 504"/>
                <a:gd name="T49" fmla="*/ 130793 h 524"/>
                <a:gd name="T50" fmla="*/ 55603 w 504"/>
                <a:gd name="T51" fmla="*/ 119329 h 524"/>
                <a:gd name="T52" fmla="*/ 54290 w 504"/>
                <a:gd name="T53" fmla="*/ 101612 h 524"/>
                <a:gd name="T54" fmla="*/ 50349 w 504"/>
                <a:gd name="T55" fmla="*/ 83895 h 524"/>
                <a:gd name="T56" fmla="*/ 43782 w 504"/>
                <a:gd name="T57" fmla="*/ 69826 h 524"/>
                <a:gd name="T58" fmla="*/ 29772 w 504"/>
                <a:gd name="T59" fmla="*/ 46898 h 524"/>
                <a:gd name="T60" fmla="*/ 37653 w 504"/>
                <a:gd name="T61" fmla="*/ 31265 h 524"/>
                <a:gd name="T62" fmla="*/ 46409 w 504"/>
                <a:gd name="T63" fmla="*/ 29181 h 524"/>
                <a:gd name="T64" fmla="*/ 56917 w 504"/>
                <a:gd name="T65" fmla="*/ 30223 h 524"/>
                <a:gd name="T66" fmla="*/ 60857 w 504"/>
                <a:gd name="T67" fmla="*/ 31786 h 524"/>
                <a:gd name="T68" fmla="*/ 70051 w 504"/>
                <a:gd name="T69" fmla="*/ 29181 h 524"/>
                <a:gd name="T70" fmla="*/ 71803 w 504"/>
                <a:gd name="T71" fmla="*/ 17196 h 524"/>
                <a:gd name="T72" fmla="*/ 74867 w 504"/>
                <a:gd name="T73" fmla="*/ 6774 h 524"/>
                <a:gd name="T74" fmla="*/ 81873 w 504"/>
                <a:gd name="T75" fmla="*/ 0 h 524"/>
                <a:gd name="T76" fmla="*/ 98510 w 504"/>
                <a:gd name="T77" fmla="*/ 0 h 524"/>
                <a:gd name="T78" fmla="*/ 111207 w 504"/>
                <a:gd name="T79" fmla="*/ 4169 h 524"/>
                <a:gd name="T80" fmla="*/ 122590 w 504"/>
                <a:gd name="T81" fmla="*/ 10943 h 524"/>
                <a:gd name="T82" fmla="*/ 122152 w 504"/>
                <a:gd name="T83" fmla="*/ 32307 h 524"/>
                <a:gd name="T84" fmla="*/ 127844 w 504"/>
                <a:gd name="T85" fmla="*/ 40124 h 524"/>
                <a:gd name="T86" fmla="*/ 139665 w 504"/>
                <a:gd name="T87" fmla="*/ 48982 h 524"/>
                <a:gd name="T88" fmla="*/ 155864 w 504"/>
                <a:gd name="T89" fmla="*/ 62009 h 524"/>
                <a:gd name="T90" fmla="*/ 151486 w 504"/>
                <a:gd name="T91" fmla="*/ 70347 h 524"/>
                <a:gd name="T92" fmla="*/ 148859 w 504"/>
                <a:gd name="T93" fmla="*/ 79726 h 524"/>
                <a:gd name="T94" fmla="*/ 150611 w 504"/>
                <a:gd name="T95" fmla="*/ 91711 h 524"/>
                <a:gd name="T96" fmla="*/ 158929 w 504"/>
                <a:gd name="T97" fmla="*/ 104218 h 524"/>
                <a:gd name="T98" fmla="*/ 165497 w 504"/>
                <a:gd name="T99" fmla="*/ 109428 h 524"/>
                <a:gd name="T100" fmla="*/ 168999 w 504"/>
                <a:gd name="T101" fmla="*/ 133398 h 524"/>
                <a:gd name="T102" fmla="*/ 176880 w 504"/>
                <a:gd name="T103" fmla="*/ 150594 h 524"/>
                <a:gd name="T104" fmla="*/ 189139 w 504"/>
                <a:gd name="T105" fmla="*/ 164143 h 524"/>
                <a:gd name="T106" fmla="*/ 202711 w 504"/>
                <a:gd name="T107" fmla="*/ 174564 h 524"/>
                <a:gd name="T108" fmla="*/ 204025 w 504"/>
                <a:gd name="T109" fmla="*/ 203224 h 524"/>
                <a:gd name="T110" fmla="*/ 173815 w 504"/>
                <a:gd name="T111" fmla="*/ 238137 h 5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68" name="Freeform 16">
              <a:extLst>
                <a:ext uri="{FF2B5EF4-FFF2-40B4-BE49-F238E27FC236}">
                  <a16:creationId xmlns:a16="http://schemas.microsoft.com/office/drawing/2014/main" id="{D25CEE76-5FD3-4386-AE7B-B88D2187380E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5672138" y="1925639"/>
              <a:ext cx="182562" cy="238125"/>
            </a:xfrm>
            <a:custGeom>
              <a:avLst/>
              <a:gdLst>
                <a:gd name="T0" fmla="*/ 177560 w 438"/>
                <a:gd name="T1" fmla="*/ 100319 h 451"/>
                <a:gd name="T2" fmla="*/ 170058 w 438"/>
                <a:gd name="T3" fmla="*/ 67583 h 451"/>
                <a:gd name="T4" fmla="*/ 161305 w 438"/>
                <a:gd name="T5" fmla="*/ 44879 h 451"/>
                <a:gd name="T6" fmla="*/ 152969 w 438"/>
                <a:gd name="T7" fmla="*/ 32736 h 451"/>
                <a:gd name="T8" fmla="*/ 148384 w 438"/>
                <a:gd name="T9" fmla="*/ 30624 h 451"/>
                <a:gd name="T10" fmla="*/ 139631 w 438"/>
                <a:gd name="T11" fmla="*/ 23760 h 451"/>
                <a:gd name="T12" fmla="*/ 130878 w 438"/>
                <a:gd name="T13" fmla="*/ 20064 h 451"/>
                <a:gd name="T14" fmla="*/ 122125 w 438"/>
                <a:gd name="T15" fmla="*/ 20064 h 451"/>
                <a:gd name="T16" fmla="*/ 115039 w 438"/>
                <a:gd name="T17" fmla="*/ 22176 h 451"/>
                <a:gd name="T18" fmla="*/ 104619 w 438"/>
                <a:gd name="T19" fmla="*/ 30624 h 451"/>
                <a:gd name="T20" fmla="*/ 97950 w 438"/>
                <a:gd name="T21" fmla="*/ 35376 h 451"/>
                <a:gd name="T22" fmla="*/ 90447 w 438"/>
                <a:gd name="T23" fmla="*/ 34848 h 451"/>
                <a:gd name="T24" fmla="*/ 72525 w 438"/>
                <a:gd name="T25" fmla="*/ 19536 h 451"/>
                <a:gd name="T26" fmla="*/ 47099 w 438"/>
                <a:gd name="T27" fmla="*/ 0 h 451"/>
                <a:gd name="T28" fmla="*/ 39597 w 438"/>
                <a:gd name="T29" fmla="*/ 12144 h 451"/>
                <a:gd name="T30" fmla="*/ 38763 w 438"/>
                <a:gd name="T31" fmla="*/ 22704 h 451"/>
                <a:gd name="T32" fmla="*/ 40847 w 438"/>
                <a:gd name="T33" fmla="*/ 27456 h 451"/>
                <a:gd name="T34" fmla="*/ 49600 w 438"/>
                <a:gd name="T35" fmla="*/ 36432 h 451"/>
                <a:gd name="T36" fmla="*/ 41264 w 438"/>
                <a:gd name="T37" fmla="*/ 38544 h 451"/>
                <a:gd name="T38" fmla="*/ 27509 w 438"/>
                <a:gd name="T39" fmla="*/ 49103 h 451"/>
                <a:gd name="T40" fmla="*/ 24175 w 438"/>
                <a:gd name="T41" fmla="*/ 62831 h 451"/>
                <a:gd name="T42" fmla="*/ 18756 w 438"/>
                <a:gd name="T43" fmla="*/ 72863 h 451"/>
                <a:gd name="T44" fmla="*/ 14588 w 438"/>
                <a:gd name="T45" fmla="*/ 82367 h 451"/>
                <a:gd name="T46" fmla="*/ 13755 w 438"/>
                <a:gd name="T47" fmla="*/ 94511 h 451"/>
                <a:gd name="T48" fmla="*/ 2918 w 438"/>
                <a:gd name="T49" fmla="*/ 125662 h 451"/>
                <a:gd name="T50" fmla="*/ 6252 w 438"/>
                <a:gd name="T51" fmla="*/ 129886 h 451"/>
                <a:gd name="T52" fmla="*/ 10837 w 438"/>
                <a:gd name="T53" fmla="*/ 130414 h 451"/>
                <a:gd name="T54" fmla="*/ 13755 w 438"/>
                <a:gd name="T55" fmla="*/ 182686 h 451"/>
                <a:gd name="T56" fmla="*/ 38763 w 438"/>
                <a:gd name="T57" fmla="*/ 186382 h 451"/>
                <a:gd name="T58" fmla="*/ 43348 w 438"/>
                <a:gd name="T59" fmla="*/ 198525 h 451"/>
                <a:gd name="T60" fmla="*/ 37096 w 438"/>
                <a:gd name="T61" fmla="*/ 224397 h 451"/>
                <a:gd name="T62" fmla="*/ 45432 w 438"/>
                <a:gd name="T63" fmla="*/ 236013 h 451"/>
                <a:gd name="T64" fmla="*/ 63355 w 438"/>
                <a:gd name="T65" fmla="*/ 236013 h 451"/>
                <a:gd name="T66" fmla="*/ 85446 w 438"/>
                <a:gd name="T67" fmla="*/ 234429 h 451"/>
                <a:gd name="T68" fmla="*/ 115039 w 438"/>
                <a:gd name="T69" fmla="*/ 235485 h 451"/>
                <a:gd name="T70" fmla="*/ 142965 w 438"/>
                <a:gd name="T71" fmla="*/ 233373 h 451"/>
                <a:gd name="T72" fmla="*/ 155053 w 438"/>
                <a:gd name="T73" fmla="*/ 228093 h 451"/>
                <a:gd name="T74" fmla="*/ 149634 w 438"/>
                <a:gd name="T75" fmla="*/ 218061 h 451"/>
                <a:gd name="T76" fmla="*/ 153802 w 438"/>
                <a:gd name="T77" fmla="*/ 212781 h 451"/>
                <a:gd name="T78" fmla="*/ 155053 w 438"/>
                <a:gd name="T79" fmla="*/ 201693 h 451"/>
                <a:gd name="T80" fmla="*/ 158387 w 438"/>
                <a:gd name="T81" fmla="*/ 193774 h 451"/>
                <a:gd name="T82" fmla="*/ 142965 w 438"/>
                <a:gd name="T83" fmla="*/ 181630 h 451"/>
                <a:gd name="T84" fmla="*/ 135463 w 438"/>
                <a:gd name="T85" fmla="*/ 170542 h 451"/>
                <a:gd name="T86" fmla="*/ 129627 w 438"/>
                <a:gd name="T87" fmla="*/ 155230 h 451"/>
                <a:gd name="T88" fmla="*/ 122542 w 438"/>
                <a:gd name="T89" fmla="*/ 146254 h 451"/>
                <a:gd name="T90" fmla="*/ 130878 w 438"/>
                <a:gd name="T91" fmla="*/ 145198 h 451"/>
                <a:gd name="T92" fmla="*/ 144216 w 438"/>
                <a:gd name="T93" fmla="*/ 143086 h 451"/>
                <a:gd name="T94" fmla="*/ 153802 w 438"/>
                <a:gd name="T95" fmla="*/ 137278 h 451"/>
                <a:gd name="T96" fmla="*/ 169641 w 438"/>
                <a:gd name="T97" fmla="*/ 126718 h 451"/>
                <a:gd name="T98" fmla="*/ 182562 w 438"/>
                <a:gd name="T99" fmla="*/ 124078 h 45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69" name="Freeform 17">
              <a:extLst>
                <a:ext uri="{FF2B5EF4-FFF2-40B4-BE49-F238E27FC236}">
                  <a16:creationId xmlns:a16="http://schemas.microsoft.com/office/drawing/2014/main" id="{FD2A0535-F9A8-42E0-A883-AB8DDD0F07FF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5697539" y="2182814"/>
              <a:ext cx="250825" cy="274637"/>
            </a:xfrm>
            <a:custGeom>
              <a:avLst/>
              <a:gdLst>
                <a:gd name="T0" fmla="*/ 141903 w 578"/>
                <a:gd name="T1" fmla="*/ 46122 h 524"/>
                <a:gd name="T2" fmla="*/ 135393 w 578"/>
                <a:gd name="T3" fmla="*/ 44550 h 524"/>
                <a:gd name="T4" fmla="*/ 130620 w 578"/>
                <a:gd name="T5" fmla="*/ 41405 h 524"/>
                <a:gd name="T6" fmla="*/ 119337 w 578"/>
                <a:gd name="T7" fmla="*/ 34592 h 524"/>
                <a:gd name="T8" fmla="*/ 108922 w 578"/>
                <a:gd name="T9" fmla="*/ 40881 h 524"/>
                <a:gd name="T10" fmla="*/ 106753 w 578"/>
                <a:gd name="T11" fmla="*/ 55032 h 524"/>
                <a:gd name="T12" fmla="*/ 109790 w 578"/>
                <a:gd name="T13" fmla="*/ 80190 h 524"/>
                <a:gd name="T14" fmla="*/ 117167 w 578"/>
                <a:gd name="T15" fmla="*/ 90148 h 524"/>
                <a:gd name="T16" fmla="*/ 124545 w 578"/>
                <a:gd name="T17" fmla="*/ 93293 h 524"/>
                <a:gd name="T18" fmla="*/ 129318 w 578"/>
                <a:gd name="T19" fmla="*/ 100106 h 524"/>
                <a:gd name="T20" fmla="*/ 152318 w 578"/>
                <a:gd name="T21" fmla="*/ 117926 h 524"/>
                <a:gd name="T22" fmla="*/ 194845 w 578"/>
                <a:gd name="T23" fmla="*/ 161952 h 524"/>
                <a:gd name="T24" fmla="*/ 206996 w 578"/>
                <a:gd name="T25" fmla="*/ 168765 h 524"/>
                <a:gd name="T26" fmla="*/ 218712 w 578"/>
                <a:gd name="T27" fmla="*/ 171910 h 524"/>
                <a:gd name="T28" fmla="*/ 232599 w 578"/>
                <a:gd name="T29" fmla="*/ 186585 h 524"/>
                <a:gd name="T30" fmla="*/ 250825 w 578"/>
                <a:gd name="T31" fmla="*/ 197068 h 524"/>
                <a:gd name="T32" fmla="*/ 245184 w 578"/>
                <a:gd name="T33" fmla="*/ 213315 h 524"/>
                <a:gd name="T34" fmla="*/ 228259 w 578"/>
                <a:gd name="T35" fmla="*/ 200737 h 524"/>
                <a:gd name="T36" fmla="*/ 220448 w 578"/>
                <a:gd name="T37" fmla="*/ 197068 h 524"/>
                <a:gd name="T38" fmla="*/ 216109 w 578"/>
                <a:gd name="T39" fmla="*/ 208074 h 524"/>
                <a:gd name="T40" fmla="*/ 219580 w 578"/>
                <a:gd name="T41" fmla="*/ 223274 h 524"/>
                <a:gd name="T42" fmla="*/ 223052 w 578"/>
                <a:gd name="T43" fmla="*/ 231659 h 524"/>
                <a:gd name="T44" fmla="*/ 216977 w 578"/>
                <a:gd name="T45" fmla="*/ 245286 h 524"/>
                <a:gd name="T46" fmla="*/ 209599 w 578"/>
                <a:gd name="T47" fmla="*/ 264679 h 524"/>
                <a:gd name="T48" fmla="*/ 201788 w 578"/>
                <a:gd name="T49" fmla="*/ 273589 h 524"/>
                <a:gd name="T50" fmla="*/ 189204 w 578"/>
                <a:gd name="T51" fmla="*/ 264679 h 524"/>
                <a:gd name="T52" fmla="*/ 197883 w 578"/>
                <a:gd name="T53" fmla="*/ 253672 h 524"/>
                <a:gd name="T54" fmla="*/ 201788 w 578"/>
                <a:gd name="T55" fmla="*/ 244762 h 524"/>
                <a:gd name="T56" fmla="*/ 200052 w 578"/>
                <a:gd name="T57" fmla="*/ 231135 h 524"/>
                <a:gd name="T58" fmla="*/ 185298 w 578"/>
                <a:gd name="T59" fmla="*/ 207026 h 524"/>
                <a:gd name="T60" fmla="*/ 167072 w 578"/>
                <a:gd name="T61" fmla="*/ 193399 h 524"/>
                <a:gd name="T62" fmla="*/ 154053 w 578"/>
                <a:gd name="T63" fmla="*/ 186585 h 524"/>
                <a:gd name="T64" fmla="*/ 137997 w 578"/>
                <a:gd name="T65" fmla="*/ 172958 h 524"/>
                <a:gd name="T66" fmla="*/ 116299 w 578"/>
                <a:gd name="T67" fmla="*/ 165097 h 524"/>
                <a:gd name="T68" fmla="*/ 94602 w 578"/>
                <a:gd name="T69" fmla="*/ 149373 h 524"/>
                <a:gd name="T70" fmla="*/ 70300 w 578"/>
                <a:gd name="T71" fmla="*/ 120023 h 524"/>
                <a:gd name="T72" fmla="*/ 54678 w 578"/>
                <a:gd name="T73" fmla="*/ 88052 h 524"/>
                <a:gd name="T74" fmla="*/ 33414 w 578"/>
                <a:gd name="T75" fmla="*/ 80714 h 524"/>
                <a:gd name="T76" fmla="*/ 22132 w 578"/>
                <a:gd name="T77" fmla="*/ 82286 h 524"/>
                <a:gd name="T78" fmla="*/ 6509 w 578"/>
                <a:gd name="T79" fmla="*/ 86479 h 524"/>
                <a:gd name="T80" fmla="*/ 1302 w 578"/>
                <a:gd name="T81" fmla="*/ 69707 h 524"/>
                <a:gd name="T82" fmla="*/ 434 w 578"/>
                <a:gd name="T83" fmla="*/ 48743 h 524"/>
                <a:gd name="T84" fmla="*/ 2604 w 578"/>
                <a:gd name="T85" fmla="*/ 25682 h 524"/>
                <a:gd name="T86" fmla="*/ 19528 w 578"/>
                <a:gd name="T87" fmla="*/ 21489 h 524"/>
                <a:gd name="T88" fmla="*/ 29509 w 578"/>
                <a:gd name="T89" fmla="*/ 17296 h 524"/>
                <a:gd name="T90" fmla="*/ 36018 w 578"/>
                <a:gd name="T91" fmla="*/ 25158 h 524"/>
                <a:gd name="T92" fmla="*/ 45131 w 578"/>
                <a:gd name="T93" fmla="*/ 23061 h 524"/>
                <a:gd name="T94" fmla="*/ 64659 w 578"/>
                <a:gd name="T95" fmla="*/ 8386 h 524"/>
                <a:gd name="T96" fmla="*/ 103715 w 578"/>
                <a:gd name="T97" fmla="*/ 0 h 524"/>
                <a:gd name="T98" fmla="*/ 111526 w 578"/>
                <a:gd name="T99" fmla="*/ 6814 h 524"/>
                <a:gd name="T100" fmla="*/ 144072 w 578"/>
                <a:gd name="T101" fmla="*/ 9958 h 524"/>
                <a:gd name="T102" fmla="*/ 139733 w 578"/>
                <a:gd name="T103" fmla="*/ 34068 h 524"/>
                <a:gd name="T104" fmla="*/ 141035 w 578"/>
                <a:gd name="T105" fmla="*/ 47170 h 52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70" name="Freeform 18">
              <a:extLst>
                <a:ext uri="{FF2B5EF4-FFF2-40B4-BE49-F238E27FC236}">
                  <a16:creationId xmlns:a16="http://schemas.microsoft.com/office/drawing/2014/main" id="{B9F31CC7-EB29-4D39-8AE4-D4DDF70B0C74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5715000" y="2351088"/>
              <a:ext cx="33338" cy="82550"/>
            </a:xfrm>
            <a:custGeom>
              <a:avLst/>
              <a:gdLst>
                <a:gd name="T0" fmla="*/ 0 w 79"/>
                <a:gd name="T1" fmla="*/ 19090 h 160"/>
                <a:gd name="T2" fmla="*/ 2532 w 79"/>
                <a:gd name="T3" fmla="*/ 19090 h 160"/>
                <a:gd name="T4" fmla="*/ 4642 w 79"/>
                <a:gd name="T5" fmla="*/ 18574 h 160"/>
                <a:gd name="T6" fmla="*/ 6752 w 79"/>
                <a:gd name="T7" fmla="*/ 18058 h 160"/>
                <a:gd name="T8" fmla="*/ 8018 w 79"/>
                <a:gd name="T9" fmla="*/ 17026 h 160"/>
                <a:gd name="T10" fmla="*/ 10972 w 79"/>
                <a:gd name="T11" fmla="*/ 14446 h 160"/>
                <a:gd name="T12" fmla="*/ 13082 w 79"/>
                <a:gd name="T13" fmla="*/ 11351 h 160"/>
                <a:gd name="T14" fmla="*/ 15614 w 79"/>
                <a:gd name="T15" fmla="*/ 8255 h 160"/>
                <a:gd name="T16" fmla="*/ 17302 w 79"/>
                <a:gd name="T17" fmla="*/ 5159 h 160"/>
                <a:gd name="T18" fmla="*/ 19412 w 79"/>
                <a:gd name="T19" fmla="*/ 2580 h 160"/>
                <a:gd name="T20" fmla="*/ 22366 w 79"/>
                <a:gd name="T21" fmla="*/ 0 h 160"/>
                <a:gd name="T22" fmla="*/ 24054 w 79"/>
                <a:gd name="T23" fmla="*/ 1548 h 160"/>
                <a:gd name="T24" fmla="*/ 26164 w 79"/>
                <a:gd name="T25" fmla="*/ 3612 h 160"/>
                <a:gd name="T26" fmla="*/ 27008 w 79"/>
                <a:gd name="T27" fmla="*/ 5159 h 160"/>
                <a:gd name="T28" fmla="*/ 27852 w 79"/>
                <a:gd name="T29" fmla="*/ 7223 h 160"/>
                <a:gd name="T30" fmla="*/ 29118 w 79"/>
                <a:gd name="T31" fmla="*/ 11351 h 160"/>
                <a:gd name="T32" fmla="*/ 30384 w 79"/>
                <a:gd name="T33" fmla="*/ 16510 h 160"/>
                <a:gd name="T34" fmla="*/ 30806 w 79"/>
                <a:gd name="T35" fmla="*/ 20638 h 160"/>
                <a:gd name="T36" fmla="*/ 31228 w 79"/>
                <a:gd name="T37" fmla="*/ 25281 h 160"/>
                <a:gd name="T38" fmla="*/ 32072 w 79"/>
                <a:gd name="T39" fmla="*/ 29924 h 160"/>
                <a:gd name="T40" fmla="*/ 33338 w 79"/>
                <a:gd name="T41" fmla="*/ 34568 h 160"/>
                <a:gd name="T42" fmla="*/ 33338 w 79"/>
                <a:gd name="T43" fmla="*/ 50562 h 160"/>
                <a:gd name="T44" fmla="*/ 28696 w 79"/>
                <a:gd name="T45" fmla="*/ 59333 h 160"/>
                <a:gd name="T46" fmla="*/ 24898 w 79"/>
                <a:gd name="T47" fmla="*/ 66556 h 160"/>
                <a:gd name="T48" fmla="*/ 22366 w 79"/>
                <a:gd name="T49" fmla="*/ 70168 h 160"/>
                <a:gd name="T50" fmla="*/ 21100 w 79"/>
                <a:gd name="T51" fmla="*/ 74295 h 160"/>
                <a:gd name="T52" fmla="*/ 20256 w 79"/>
                <a:gd name="T53" fmla="*/ 77907 h 160"/>
                <a:gd name="T54" fmla="*/ 19412 w 79"/>
                <a:gd name="T55" fmla="*/ 82550 h 160"/>
                <a:gd name="T56" fmla="*/ 16880 w 79"/>
                <a:gd name="T57" fmla="*/ 79970 h 160"/>
                <a:gd name="T58" fmla="*/ 13926 w 79"/>
                <a:gd name="T59" fmla="*/ 77391 h 160"/>
                <a:gd name="T60" fmla="*/ 11816 w 79"/>
                <a:gd name="T61" fmla="*/ 74295 h 160"/>
                <a:gd name="T62" fmla="*/ 9284 w 79"/>
                <a:gd name="T63" fmla="*/ 70683 h 160"/>
                <a:gd name="T64" fmla="*/ 7596 w 79"/>
                <a:gd name="T65" fmla="*/ 67072 h 160"/>
                <a:gd name="T66" fmla="*/ 6330 w 79"/>
                <a:gd name="T67" fmla="*/ 63460 h 160"/>
                <a:gd name="T68" fmla="*/ 4642 w 79"/>
                <a:gd name="T69" fmla="*/ 59333 h 160"/>
                <a:gd name="T70" fmla="*/ 3376 w 79"/>
                <a:gd name="T71" fmla="*/ 55721 h 160"/>
                <a:gd name="T72" fmla="*/ 1688 w 79"/>
                <a:gd name="T73" fmla="*/ 46950 h 160"/>
                <a:gd name="T74" fmla="*/ 422 w 79"/>
                <a:gd name="T75" fmla="*/ 37663 h 160"/>
                <a:gd name="T76" fmla="*/ 0 w 79"/>
                <a:gd name="T77" fmla="*/ 28377 h 160"/>
                <a:gd name="T78" fmla="*/ 0 w 79"/>
                <a:gd name="T79" fmla="*/ 19090 h 16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571" name="Group 19">
              <a:extLst>
                <a:ext uri="{FF2B5EF4-FFF2-40B4-BE49-F238E27FC236}">
                  <a16:creationId xmlns:a16="http://schemas.microsoft.com/office/drawing/2014/main" id="{1DBE2A65-69B5-4615-A0A0-4EB841CAB5D4}"/>
                </a:ext>
              </a:extLst>
            </p:cNvPr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8034339" y="3411539"/>
              <a:ext cx="473075" cy="212725"/>
              <a:chOff x="4488" y="2394"/>
              <a:chExt cx="358" cy="124"/>
            </a:xfrm>
          </p:grpSpPr>
          <p:sp>
            <p:nvSpPr>
              <p:cNvPr id="1101" name="Freeform 20">
                <a:extLst>
                  <a:ext uri="{FF2B5EF4-FFF2-40B4-BE49-F238E27FC236}">
                    <a16:creationId xmlns:a16="http://schemas.microsoft.com/office/drawing/2014/main" id="{5624D8F9-FA30-478F-94DE-C31D6635D9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142 w 512"/>
                  <a:gd name="T1" fmla="*/ 60 h 408"/>
                  <a:gd name="T2" fmla="*/ 129 w 512"/>
                  <a:gd name="T3" fmla="*/ 59 h 408"/>
                  <a:gd name="T4" fmla="*/ 123 w 512"/>
                  <a:gd name="T5" fmla="*/ 62 h 408"/>
                  <a:gd name="T6" fmla="*/ 118 w 512"/>
                  <a:gd name="T7" fmla="*/ 66 h 408"/>
                  <a:gd name="T8" fmla="*/ 116 w 512"/>
                  <a:gd name="T9" fmla="*/ 77 h 408"/>
                  <a:gd name="T10" fmla="*/ 109 w 512"/>
                  <a:gd name="T11" fmla="*/ 93 h 408"/>
                  <a:gd name="T12" fmla="*/ 102 w 512"/>
                  <a:gd name="T13" fmla="*/ 102 h 408"/>
                  <a:gd name="T14" fmla="*/ 97 w 512"/>
                  <a:gd name="T15" fmla="*/ 106 h 408"/>
                  <a:gd name="T16" fmla="*/ 91 w 512"/>
                  <a:gd name="T17" fmla="*/ 109 h 408"/>
                  <a:gd name="T18" fmla="*/ 86 w 512"/>
                  <a:gd name="T19" fmla="*/ 112 h 408"/>
                  <a:gd name="T20" fmla="*/ 84 w 512"/>
                  <a:gd name="T21" fmla="*/ 114 h 408"/>
                  <a:gd name="T22" fmla="*/ 72 w 512"/>
                  <a:gd name="T23" fmla="*/ 112 h 408"/>
                  <a:gd name="T24" fmla="*/ 61 w 512"/>
                  <a:gd name="T25" fmla="*/ 112 h 408"/>
                  <a:gd name="T26" fmla="*/ 52 w 512"/>
                  <a:gd name="T27" fmla="*/ 113 h 408"/>
                  <a:gd name="T28" fmla="*/ 46 w 512"/>
                  <a:gd name="T29" fmla="*/ 118 h 408"/>
                  <a:gd name="T30" fmla="*/ 32 w 512"/>
                  <a:gd name="T31" fmla="*/ 123 h 408"/>
                  <a:gd name="T32" fmla="*/ 21 w 512"/>
                  <a:gd name="T33" fmla="*/ 124 h 408"/>
                  <a:gd name="T34" fmla="*/ 15 w 512"/>
                  <a:gd name="T35" fmla="*/ 122 h 408"/>
                  <a:gd name="T36" fmla="*/ 5 w 512"/>
                  <a:gd name="T37" fmla="*/ 112 h 408"/>
                  <a:gd name="T38" fmla="*/ 1 w 512"/>
                  <a:gd name="T39" fmla="*/ 105 h 408"/>
                  <a:gd name="T40" fmla="*/ 3 w 512"/>
                  <a:gd name="T41" fmla="*/ 102 h 408"/>
                  <a:gd name="T42" fmla="*/ 11 w 512"/>
                  <a:gd name="T43" fmla="*/ 105 h 408"/>
                  <a:gd name="T44" fmla="*/ 18 w 512"/>
                  <a:gd name="T45" fmla="*/ 102 h 408"/>
                  <a:gd name="T46" fmla="*/ 19 w 512"/>
                  <a:gd name="T47" fmla="*/ 95 h 408"/>
                  <a:gd name="T48" fmla="*/ 24 w 512"/>
                  <a:gd name="T49" fmla="*/ 91 h 408"/>
                  <a:gd name="T50" fmla="*/ 27 w 512"/>
                  <a:gd name="T51" fmla="*/ 87 h 408"/>
                  <a:gd name="T52" fmla="*/ 30 w 512"/>
                  <a:gd name="T53" fmla="*/ 83 h 408"/>
                  <a:gd name="T54" fmla="*/ 34 w 512"/>
                  <a:gd name="T55" fmla="*/ 80 h 408"/>
                  <a:gd name="T56" fmla="*/ 46 w 512"/>
                  <a:gd name="T57" fmla="*/ 75 h 408"/>
                  <a:gd name="T58" fmla="*/ 58 w 512"/>
                  <a:gd name="T59" fmla="*/ 71 h 408"/>
                  <a:gd name="T60" fmla="*/ 67 w 512"/>
                  <a:gd name="T61" fmla="*/ 66 h 408"/>
                  <a:gd name="T62" fmla="*/ 71 w 512"/>
                  <a:gd name="T63" fmla="*/ 62 h 408"/>
                  <a:gd name="T64" fmla="*/ 73 w 512"/>
                  <a:gd name="T65" fmla="*/ 58 h 408"/>
                  <a:gd name="T66" fmla="*/ 76 w 512"/>
                  <a:gd name="T67" fmla="*/ 49 h 408"/>
                  <a:gd name="T68" fmla="*/ 76 w 512"/>
                  <a:gd name="T69" fmla="*/ 45 h 408"/>
                  <a:gd name="T70" fmla="*/ 77 w 512"/>
                  <a:gd name="T71" fmla="*/ 46 h 408"/>
                  <a:gd name="T72" fmla="*/ 80 w 512"/>
                  <a:gd name="T73" fmla="*/ 43 h 408"/>
                  <a:gd name="T74" fmla="*/ 79 w 512"/>
                  <a:gd name="T75" fmla="*/ 47 h 408"/>
                  <a:gd name="T76" fmla="*/ 80 w 512"/>
                  <a:gd name="T77" fmla="*/ 53 h 408"/>
                  <a:gd name="T78" fmla="*/ 84 w 512"/>
                  <a:gd name="T79" fmla="*/ 59 h 408"/>
                  <a:gd name="T80" fmla="*/ 91 w 512"/>
                  <a:gd name="T81" fmla="*/ 62 h 408"/>
                  <a:gd name="T82" fmla="*/ 102 w 512"/>
                  <a:gd name="T83" fmla="*/ 62 h 408"/>
                  <a:gd name="T84" fmla="*/ 107 w 512"/>
                  <a:gd name="T85" fmla="*/ 62 h 408"/>
                  <a:gd name="T86" fmla="*/ 109 w 512"/>
                  <a:gd name="T87" fmla="*/ 60 h 408"/>
                  <a:gd name="T88" fmla="*/ 108 w 512"/>
                  <a:gd name="T89" fmla="*/ 53 h 408"/>
                  <a:gd name="T90" fmla="*/ 100 w 512"/>
                  <a:gd name="T91" fmla="*/ 40 h 408"/>
                  <a:gd name="T92" fmla="*/ 107 w 512"/>
                  <a:gd name="T93" fmla="*/ 33 h 408"/>
                  <a:gd name="T94" fmla="*/ 115 w 512"/>
                  <a:gd name="T95" fmla="*/ 20 h 408"/>
                  <a:gd name="T96" fmla="*/ 125 w 512"/>
                  <a:gd name="T97" fmla="*/ 7 h 408"/>
                  <a:gd name="T98" fmla="*/ 133 w 512"/>
                  <a:gd name="T99" fmla="*/ 0 h 408"/>
                  <a:gd name="T100" fmla="*/ 134 w 512"/>
                  <a:gd name="T101" fmla="*/ 7 h 408"/>
                  <a:gd name="T102" fmla="*/ 138 w 512"/>
                  <a:gd name="T103" fmla="*/ 15 h 408"/>
                  <a:gd name="T104" fmla="*/ 147 w 512"/>
                  <a:gd name="T105" fmla="*/ 23 h 408"/>
                  <a:gd name="T106" fmla="*/ 162 w 512"/>
                  <a:gd name="T107" fmla="*/ 32 h 408"/>
                  <a:gd name="T108" fmla="*/ 170 w 512"/>
                  <a:gd name="T109" fmla="*/ 40 h 408"/>
                  <a:gd name="T110" fmla="*/ 167 w 512"/>
                  <a:gd name="T111" fmla="*/ 45 h 408"/>
                  <a:gd name="T112" fmla="*/ 160 w 512"/>
                  <a:gd name="T113" fmla="*/ 46 h 408"/>
                  <a:gd name="T114" fmla="*/ 153 w 512"/>
                  <a:gd name="T115" fmla="*/ 55 h 40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02" name="Freeform 21">
                <a:extLst>
                  <a:ext uri="{FF2B5EF4-FFF2-40B4-BE49-F238E27FC236}">
                    <a16:creationId xmlns:a16="http://schemas.microsoft.com/office/drawing/2014/main" id="{9AC444EE-DC1A-45D7-8E28-567CA53C5D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50 w 232"/>
                  <a:gd name="T1" fmla="*/ 7 h 289"/>
                  <a:gd name="T2" fmla="*/ 55 w 232"/>
                  <a:gd name="T3" fmla="*/ 15 h 289"/>
                  <a:gd name="T4" fmla="*/ 58 w 232"/>
                  <a:gd name="T5" fmla="*/ 17 h 289"/>
                  <a:gd name="T6" fmla="*/ 60 w 232"/>
                  <a:gd name="T7" fmla="*/ 18 h 289"/>
                  <a:gd name="T8" fmla="*/ 62 w 232"/>
                  <a:gd name="T9" fmla="*/ 51 h 289"/>
                  <a:gd name="T10" fmla="*/ 63 w 232"/>
                  <a:gd name="T11" fmla="*/ 60 h 289"/>
                  <a:gd name="T12" fmla="*/ 64 w 232"/>
                  <a:gd name="T13" fmla="*/ 64 h 289"/>
                  <a:gd name="T14" fmla="*/ 66 w 232"/>
                  <a:gd name="T15" fmla="*/ 67 h 289"/>
                  <a:gd name="T16" fmla="*/ 77 w 232"/>
                  <a:gd name="T17" fmla="*/ 76 h 289"/>
                  <a:gd name="T18" fmla="*/ 73 w 232"/>
                  <a:gd name="T19" fmla="*/ 89 h 289"/>
                  <a:gd name="T20" fmla="*/ 62 w 232"/>
                  <a:gd name="T21" fmla="*/ 87 h 289"/>
                  <a:gd name="T22" fmla="*/ 50 w 232"/>
                  <a:gd name="T23" fmla="*/ 81 h 289"/>
                  <a:gd name="T24" fmla="*/ 38 w 232"/>
                  <a:gd name="T25" fmla="*/ 72 h 289"/>
                  <a:gd name="T26" fmla="*/ 27 w 232"/>
                  <a:gd name="T27" fmla="*/ 64 h 289"/>
                  <a:gd name="T28" fmla="*/ 19 w 232"/>
                  <a:gd name="T29" fmla="*/ 54 h 289"/>
                  <a:gd name="T30" fmla="*/ 10 w 232"/>
                  <a:gd name="T31" fmla="*/ 45 h 289"/>
                  <a:gd name="T32" fmla="*/ 3 w 232"/>
                  <a:gd name="T33" fmla="*/ 39 h 289"/>
                  <a:gd name="T34" fmla="*/ 1 w 232"/>
                  <a:gd name="T35" fmla="*/ 36 h 289"/>
                  <a:gd name="T36" fmla="*/ 0 w 232"/>
                  <a:gd name="T37" fmla="*/ 34 h 289"/>
                  <a:gd name="T38" fmla="*/ 0 w 232"/>
                  <a:gd name="T39" fmla="*/ 31 h 289"/>
                  <a:gd name="T40" fmla="*/ 1 w 232"/>
                  <a:gd name="T41" fmla="*/ 28 h 289"/>
                  <a:gd name="T42" fmla="*/ 4 w 232"/>
                  <a:gd name="T43" fmla="*/ 24 h 289"/>
                  <a:gd name="T44" fmla="*/ 4 w 232"/>
                  <a:gd name="T45" fmla="*/ 16 h 289"/>
                  <a:gd name="T46" fmla="*/ 2 w 232"/>
                  <a:gd name="T47" fmla="*/ 5 h 289"/>
                  <a:gd name="T48" fmla="*/ 4 w 232"/>
                  <a:gd name="T49" fmla="*/ 0 h 289"/>
                  <a:gd name="T50" fmla="*/ 9 w 232"/>
                  <a:gd name="T51" fmla="*/ 1 h 289"/>
                  <a:gd name="T52" fmla="*/ 14 w 232"/>
                  <a:gd name="T53" fmla="*/ 3 h 289"/>
                  <a:gd name="T54" fmla="*/ 20 w 232"/>
                  <a:gd name="T55" fmla="*/ 6 h 289"/>
                  <a:gd name="T56" fmla="*/ 24 w 232"/>
                  <a:gd name="T57" fmla="*/ 9 h 289"/>
                  <a:gd name="T58" fmla="*/ 27 w 232"/>
                  <a:gd name="T59" fmla="*/ 10 h 289"/>
                  <a:gd name="T60" fmla="*/ 30 w 232"/>
                  <a:gd name="T61" fmla="*/ 10 h 289"/>
                  <a:gd name="T62" fmla="*/ 35 w 232"/>
                  <a:gd name="T63" fmla="*/ 8 h 289"/>
                  <a:gd name="T64" fmla="*/ 40 w 232"/>
                  <a:gd name="T65" fmla="*/ 6 h 289"/>
                  <a:gd name="T66" fmla="*/ 44 w 232"/>
                  <a:gd name="T67" fmla="*/ 3 h 28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572" name="Freeform 22">
              <a:extLst>
                <a:ext uri="{FF2B5EF4-FFF2-40B4-BE49-F238E27FC236}">
                  <a16:creationId xmlns:a16="http://schemas.microsoft.com/office/drawing/2014/main" id="{6C0A44D4-2559-4371-ADCC-81DFE628D090}"/>
                </a:ext>
              </a:extLst>
            </p:cNvPr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6056313" y="1287464"/>
              <a:ext cx="3065462" cy="1074737"/>
            </a:xfrm>
            <a:custGeom>
              <a:avLst/>
              <a:gdLst>
                <a:gd name="T0" fmla="*/ 315287 w 7049"/>
                <a:gd name="T1" fmla="*/ 909433 h 2048"/>
                <a:gd name="T2" fmla="*/ 465321 w 7049"/>
                <a:gd name="T3" fmla="*/ 1016487 h 2048"/>
                <a:gd name="T4" fmla="*/ 527073 w 7049"/>
                <a:gd name="T5" fmla="*/ 951940 h 2048"/>
                <a:gd name="T6" fmla="*/ 727987 w 7049"/>
                <a:gd name="T7" fmla="*/ 770893 h 2048"/>
                <a:gd name="T8" fmla="*/ 1138513 w 7049"/>
                <a:gd name="T9" fmla="*/ 690078 h 2048"/>
                <a:gd name="T10" fmla="*/ 1456845 w 7049"/>
                <a:gd name="T11" fmla="*/ 784012 h 2048"/>
                <a:gd name="T12" fmla="*/ 1598615 w 7049"/>
                <a:gd name="T13" fmla="*/ 754625 h 2048"/>
                <a:gd name="T14" fmla="*/ 1798660 w 7049"/>
                <a:gd name="T15" fmla="*/ 782963 h 2048"/>
                <a:gd name="T16" fmla="*/ 1990441 w 7049"/>
                <a:gd name="T17" fmla="*/ 791884 h 2048"/>
                <a:gd name="T18" fmla="*/ 2069589 w 7049"/>
                <a:gd name="T19" fmla="*/ 719990 h 2048"/>
                <a:gd name="T20" fmla="*/ 2242236 w 7049"/>
                <a:gd name="T21" fmla="*/ 774566 h 2048"/>
                <a:gd name="T22" fmla="*/ 2441411 w 7049"/>
                <a:gd name="T23" fmla="*/ 838589 h 2048"/>
                <a:gd name="T24" fmla="*/ 2437062 w 7049"/>
                <a:gd name="T25" fmla="*/ 967683 h 2048"/>
                <a:gd name="T26" fmla="*/ 2545347 w 7049"/>
                <a:gd name="T27" fmla="*/ 845936 h 2048"/>
                <a:gd name="T28" fmla="*/ 2422276 w 7049"/>
                <a:gd name="T29" fmla="*/ 659116 h 2048"/>
                <a:gd name="T30" fmla="*/ 2318340 w 7049"/>
                <a:gd name="T31" fmla="*/ 601916 h 2048"/>
                <a:gd name="T32" fmla="*/ 2547086 w 7049"/>
                <a:gd name="T33" fmla="*/ 515328 h 2048"/>
                <a:gd name="T34" fmla="*/ 2597967 w 7049"/>
                <a:gd name="T35" fmla="*/ 431364 h 2048"/>
                <a:gd name="T36" fmla="*/ 2666678 w 7049"/>
                <a:gd name="T37" fmla="*/ 399353 h 2048"/>
                <a:gd name="T38" fmla="*/ 2694075 w 7049"/>
                <a:gd name="T39" fmla="*/ 511130 h 2048"/>
                <a:gd name="T40" fmla="*/ 2762351 w 7049"/>
                <a:gd name="T41" fmla="*/ 656492 h 2048"/>
                <a:gd name="T42" fmla="*/ 2859329 w 7049"/>
                <a:gd name="T43" fmla="*/ 739931 h 2048"/>
                <a:gd name="T44" fmla="*/ 2855415 w 7049"/>
                <a:gd name="T45" fmla="*/ 637076 h 2048"/>
                <a:gd name="T46" fmla="*/ 2771484 w 7049"/>
                <a:gd name="T47" fmla="*/ 544191 h 2048"/>
                <a:gd name="T48" fmla="*/ 2847153 w 7049"/>
                <a:gd name="T49" fmla="*/ 464425 h 2048"/>
                <a:gd name="T50" fmla="*/ 2957612 w 7049"/>
                <a:gd name="T51" fmla="*/ 411423 h 2048"/>
                <a:gd name="T52" fmla="*/ 2882378 w 7049"/>
                <a:gd name="T53" fmla="*/ 324310 h 2048"/>
                <a:gd name="T54" fmla="*/ 2956742 w 7049"/>
                <a:gd name="T55" fmla="*/ 333756 h 2048"/>
                <a:gd name="T56" fmla="*/ 2983705 w 7049"/>
                <a:gd name="T57" fmla="*/ 284952 h 2048"/>
                <a:gd name="T58" fmla="*/ 2826713 w 7049"/>
                <a:gd name="T59" fmla="*/ 242446 h 2048"/>
                <a:gd name="T60" fmla="*/ 2540998 w 7049"/>
                <a:gd name="T61" fmla="*/ 215157 h 2048"/>
                <a:gd name="T62" fmla="*/ 2475766 w 7049"/>
                <a:gd name="T63" fmla="*/ 217781 h 2048"/>
                <a:gd name="T64" fmla="*/ 2170481 w 7049"/>
                <a:gd name="T65" fmla="*/ 184196 h 2048"/>
                <a:gd name="T66" fmla="*/ 2056108 w 7049"/>
                <a:gd name="T67" fmla="*/ 152184 h 2048"/>
                <a:gd name="T68" fmla="*/ 1918686 w 7049"/>
                <a:gd name="T69" fmla="*/ 152184 h 2048"/>
                <a:gd name="T70" fmla="*/ 1743430 w 7049"/>
                <a:gd name="T71" fmla="*/ 166878 h 2048"/>
                <a:gd name="T72" fmla="*/ 1554258 w 7049"/>
                <a:gd name="T73" fmla="*/ 136966 h 2048"/>
                <a:gd name="T74" fmla="*/ 1430752 w 7049"/>
                <a:gd name="T75" fmla="*/ 128045 h 2048"/>
                <a:gd name="T76" fmla="*/ 1308116 w 7049"/>
                <a:gd name="T77" fmla="*/ 123322 h 2048"/>
                <a:gd name="T78" fmla="*/ 1184610 w 7049"/>
                <a:gd name="T79" fmla="*/ 30437 h 2048"/>
                <a:gd name="T80" fmla="*/ 1138078 w 7049"/>
                <a:gd name="T81" fmla="*/ 73468 h 2048"/>
                <a:gd name="T82" fmla="*/ 928032 w 7049"/>
                <a:gd name="T83" fmla="*/ 87637 h 2048"/>
                <a:gd name="T84" fmla="*/ 938904 w 7049"/>
                <a:gd name="T85" fmla="*/ 104955 h 2048"/>
                <a:gd name="T86" fmla="*/ 955864 w 7049"/>
                <a:gd name="T87" fmla="*/ 179473 h 2048"/>
                <a:gd name="T88" fmla="*/ 840621 w 7049"/>
                <a:gd name="T89" fmla="*/ 134342 h 2048"/>
                <a:gd name="T90" fmla="*/ 777129 w 7049"/>
                <a:gd name="T91" fmla="*/ 143263 h 2048"/>
                <a:gd name="T92" fmla="*/ 833663 w 7049"/>
                <a:gd name="T93" fmla="*/ 234049 h 2048"/>
                <a:gd name="T94" fmla="*/ 902809 w 7049"/>
                <a:gd name="T95" fmla="*/ 277605 h 2048"/>
                <a:gd name="T96" fmla="*/ 818877 w 7049"/>
                <a:gd name="T97" fmla="*/ 311191 h 2048"/>
                <a:gd name="T98" fmla="*/ 796698 w 7049"/>
                <a:gd name="T99" fmla="*/ 243495 h 2048"/>
                <a:gd name="T100" fmla="*/ 704939 w 7049"/>
                <a:gd name="T101" fmla="*/ 121223 h 2048"/>
                <a:gd name="T102" fmla="*/ 705809 w 7049"/>
                <a:gd name="T103" fmla="*/ 236673 h 2048"/>
                <a:gd name="T104" fmla="*/ 538380 w 7049"/>
                <a:gd name="T105" fmla="*/ 208335 h 2048"/>
                <a:gd name="T106" fmla="*/ 520985 w 7049"/>
                <a:gd name="T107" fmla="*/ 250317 h 2048"/>
                <a:gd name="T108" fmla="*/ 394870 w 7049"/>
                <a:gd name="T109" fmla="*/ 262387 h 2048"/>
                <a:gd name="T110" fmla="*/ 300936 w 7049"/>
                <a:gd name="T111" fmla="*/ 253466 h 2048"/>
                <a:gd name="T112" fmla="*/ 261797 w 7049"/>
                <a:gd name="T113" fmla="*/ 306993 h 2048"/>
                <a:gd name="T114" fmla="*/ 176996 w 7049"/>
                <a:gd name="T115" fmla="*/ 387808 h 2048"/>
                <a:gd name="T116" fmla="*/ 169603 w 7049"/>
                <a:gd name="T117" fmla="*/ 321162 h 2048"/>
                <a:gd name="T118" fmla="*/ 65232 w 7049"/>
                <a:gd name="T119" fmla="*/ 230901 h 2048"/>
                <a:gd name="T120" fmla="*/ 30876 w 7049"/>
                <a:gd name="T121" fmla="*/ 317488 h 2048"/>
                <a:gd name="T122" fmla="*/ 48706 w 7049"/>
                <a:gd name="T123" fmla="*/ 502733 h 204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73" name="Freeform 23">
              <a:extLst>
                <a:ext uri="{FF2B5EF4-FFF2-40B4-BE49-F238E27FC236}">
                  <a16:creationId xmlns:a16="http://schemas.microsoft.com/office/drawing/2014/main" id="{D18D71E4-3D87-4F0E-8FB1-ECBFCDB6D84A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5319714" y="2274888"/>
              <a:ext cx="280987" cy="247650"/>
            </a:xfrm>
            <a:custGeom>
              <a:avLst/>
              <a:gdLst>
                <a:gd name="T0" fmla="*/ 176323 w 647"/>
                <a:gd name="T1" fmla="*/ 14227 h 470"/>
                <a:gd name="T2" fmla="*/ 185877 w 647"/>
                <a:gd name="T3" fmla="*/ 23711 h 470"/>
                <a:gd name="T4" fmla="*/ 198906 w 647"/>
                <a:gd name="T5" fmla="*/ 31615 h 470"/>
                <a:gd name="T6" fmla="*/ 222358 w 647"/>
                <a:gd name="T7" fmla="*/ 41099 h 470"/>
                <a:gd name="T8" fmla="*/ 233649 w 647"/>
                <a:gd name="T9" fmla="*/ 42680 h 470"/>
                <a:gd name="T10" fmla="*/ 244072 w 647"/>
                <a:gd name="T11" fmla="*/ 52165 h 470"/>
                <a:gd name="T12" fmla="*/ 246244 w 647"/>
                <a:gd name="T13" fmla="*/ 51111 h 470"/>
                <a:gd name="T14" fmla="*/ 249718 w 647"/>
                <a:gd name="T15" fmla="*/ 44788 h 470"/>
                <a:gd name="T16" fmla="*/ 253192 w 647"/>
                <a:gd name="T17" fmla="*/ 41099 h 470"/>
                <a:gd name="T18" fmla="*/ 261878 w 647"/>
                <a:gd name="T19" fmla="*/ 42153 h 470"/>
                <a:gd name="T20" fmla="*/ 270998 w 647"/>
                <a:gd name="T21" fmla="*/ 41626 h 470"/>
                <a:gd name="T22" fmla="*/ 277947 w 647"/>
                <a:gd name="T23" fmla="*/ 44261 h 470"/>
                <a:gd name="T24" fmla="*/ 280553 w 647"/>
                <a:gd name="T25" fmla="*/ 54272 h 470"/>
                <a:gd name="T26" fmla="*/ 280553 w 647"/>
                <a:gd name="T27" fmla="*/ 64811 h 470"/>
                <a:gd name="T28" fmla="*/ 268393 w 647"/>
                <a:gd name="T29" fmla="*/ 69026 h 470"/>
                <a:gd name="T30" fmla="*/ 254495 w 647"/>
                <a:gd name="T31" fmla="*/ 76930 h 470"/>
                <a:gd name="T32" fmla="*/ 243204 w 647"/>
                <a:gd name="T33" fmla="*/ 86941 h 470"/>
                <a:gd name="T34" fmla="*/ 218883 w 647"/>
                <a:gd name="T35" fmla="*/ 112760 h 470"/>
                <a:gd name="T36" fmla="*/ 212369 w 647"/>
                <a:gd name="T37" fmla="*/ 119610 h 470"/>
                <a:gd name="T38" fmla="*/ 205854 w 647"/>
                <a:gd name="T39" fmla="*/ 133836 h 470"/>
                <a:gd name="T40" fmla="*/ 205420 w 647"/>
                <a:gd name="T41" fmla="*/ 148590 h 470"/>
                <a:gd name="T42" fmla="*/ 205420 w 647"/>
                <a:gd name="T43" fmla="*/ 163871 h 470"/>
                <a:gd name="T44" fmla="*/ 201077 w 647"/>
                <a:gd name="T45" fmla="*/ 179151 h 470"/>
                <a:gd name="T46" fmla="*/ 195431 w 647"/>
                <a:gd name="T47" fmla="*/ 186528 h 470"/>
                <a:gd name="T48" fmla="*/ 178494 w 647"/>
                <a:gd name="T49" fmla="*/ 202335 h 470"/>
                <a:gd name="T50" fmla="*/ 166334 w 647"/>
                <a:gd name="T51" fmla="*/ 216562 h 470"/>
                <a:gd name="T52" fmla="*/ 162425 w 647"/>
                <a:gd name="T53" fmla="*/ 223939 h 470"/>
                <a:gd name="T54" fmla="*/ 160254 w 647"/>
                <a:gd name="T55" fmla="*/ 227627 h 470"/>
                <a:gd name="T56" fmla="*/ 134631 w 647"/>
                <a:gd name="T57" fmla="*/ 226046 h 470"/>
                <a:gd name="T58" fmla="*/ 111613 w 647"/>
                <a:gd name="T59" fmla="*/ 228681 h 470"/>
                <a:gd name="T60" fmla="*/ 97281 w 647"/>
                <a:gd name="T61" fmla="*/ 235004 h 470"/>
                <a:gd name="T62" fmla="*/ 83818 w 647"/>
                <a:gd name="T63" fmla="*/ 246069 h 470"/>
                <a:gd name="T64" fmla="*/ 77738 w 647"/>
                <a:gd name="T65" fmla="*/ 247123 h 470"/>
                <a:gd name="T66" fmla="*/ 73395 w 647"/>
                <a:gd name="T67" fmla="*/ 242908 h 470"/>
                <a:gd name="T68" fmla="*/ 66447 w 647"/>
                <a:gd name="T69" fmla="*/ 227627 h 470"/>
                <a:gd name="T70" fmla="*/ 60801 w 647"/>
                <a:gd name="T71" fmla="*/ 218143 h 470"/>
                <a:gd name="T72" fmla="*/ 52984 w 647"/>
                <a:gd name="T73" fmla="*/ 210766 h 470"/>
                <a:gd name="T74" fmla="*/ 49509 w 647"/>
                <a:gd name="T75" fmla="*/ 199701 h 470"/>
                <a:gd name="T76" fmla="*/ 54721 w 647"/>
                <a:gd name="T77" fmla="*/ 177043 h 470"/>
                <a:gd name="T78" fmla="*/ 55155 w 647"/>
                <a:gd name="T79" fmla="*/ 140686 h 470"/>
                <a:gd name="T80" fmla="*/ 63841 w 647"/>
                <a:gd name="T81" fmla="*/ 108544 h 470"/>
                <a:gd name="T82" fmla="*/ 72961 w 647"/>
                <a:gd name="T83" fmla="*/ 78510 h 470"/>
                <a:gd name="T84" fmla="*/ 74698 w 647"/>
                <a:gd name="T85" fmla="*/ 69026 h 470"/>
                <a:gd name="T86" fmla="*/ 50378 w 647"/>
                <a:gd name="T87" fmla="*/ 64811 h 470"/>
                <a:gd name="T88" fmla="*/ 26926 w 647"/>
                <a:gd name="T89" fmla="*/ 57434 h 470"/>
                <a:gd name="T90" fmla="*/ 7383 w 647"/>
                <a:gd name="T91" fmla="*/ 49003 h 470"/>
                <a:gd name="T92" fmla="*/ 0 w 647"/>
                <a:gd name="T93" fmla="*/ 20023 h 470"/>
                <a:gd name="T94" fmla="*/ 9989 w 647"/>
                <a:gd name="T95" fmla="*/ 17915 h 470"/>
                <a:gd name="T96" fmla="*/ 22149 w 647"/>
                <a:gd name="T97" fmla="*/ 10538 h 470"/>
                <a:gd name="T98" fmla="*/ 31703 w 647"/>
                <a:gd name="T99" fmla="*/ 2108 h 470"/>
                <a:gd name="T100" fmla="*/ 37349 w 647"/>
                <a:gd name="T101" fmla="*/ 0 h 470"/>
                <a:gd name="T102" fmla="*/ 57327 w 647"/>
                <a:gd name="T103" fmla="*/ 3688 h 470"/>
                <a:gd name="T104" fmla="*/ 74264 w 647"/>
                <a:gd name="T105" fmla="*/ 8958 h 470"/>
                <a:gd name="T106" fmla="*/ 90767 w 647"/>
                <a:gd name="T107" fmla="*/ 10538 h 470"/>
                <a:gd name="T108" fmla="*/ 102059 w 647"/>
                <a:gd name="T109" fmla="*/ 15281 h 470"/>
                <a:gd name="T110" fmla="*/ 112047 w 647"/>
                <a:gd name="T111" fmla="*/ 19496 h 470"/>
                <a:gd name="T112" fmla="*/ 167202 w 647"/>
                <a:gd name="T113" fmla="*/ 13700 h 4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74" name="Freeform 24">
              <a:extLst>
                <a:ext uri="{FF2B5EF4-FFF2-40B4-BE49-F238E27FC236}">
                  <a16:creationId xmlns:a16="http://schemas.microsoft.com/office/drawing/2014/main" id="{B675F9B3-C5CA-4712-B348-FE18E491870B}"/>
                </a:ext>
              </a:extLst>
            </p:cNvPr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7951788" y="3013076"/>
              <a:ext cx="207962" cy="455613"/>
            </a:xfrm>
            <a:custGeom>
              <a:avLst/>
              <a:gdLst>
                <a:gd name="T0" fmla="*/ 164546 w 479"/>
                <a:gd name="T1" fmla="*/ 187389 h 868"/>
                <a:gd name="T2" fmla="*/ 144575 w 479"/>
                <a:gd name="T3" fmla="*/ 194213 h 868"/>
                <a:gd name="T4" fmla="*/ 136326 w 479"/>
                <a:gd name="T5" fmla="*/ 204711 h 868"/>
                <a:gd name="T6" fmla="*/ 137194 w 479"/>
                <a:gd name="T7" fmla="*/ 224657 h 868"/>
                <a:gd name="T8" fmla="*/ 152824 w 479"/>
                <a:gd name="T9" fmla="*/ 258251 h 868"/>
                <a:gd name="T10" fmla="*/ 155863 w 479"/>
                <a:gd name="T11" fmla="*/ 278197 h 868"/>
                <a:gd name="T12" fmla="*/ 158902 w 479"/>
                <a:gd name="T13" fmla="*/ 291319 h 868"/>
                <a:gd name="T14" fmla="*/ 140233 w 479"/>
                <a:gd name="T15" fmla="*/ 276097 h 868"/>
                <a:gd name="T16" fmla="*/ 134155 w 479"/>
                <a:gd name="T17" fmla="*/ 258251 h 868"/>
                <a:gd name="T18" fmla="*/ 116789 w 479"/>
                <a:gd name="T19" fmla="*/ 245128 h 868"/>
                <a:gd name="T20" fmla="*/ 91173 w 479"/>
                <a:gd name="T21" fmla="*/ 230431 h 868"/>
                <a:gd name="T22" fmla="*/ 83793 w 479"/>
                <a:gd name="T23" fmla="*/ 213109 h 868"/>
                <a:gd name="T24" fmla="*/ 67729 w 479"/>
                <a:gd name="T25" fmla="*/ 250377 h 868"/>
                <a:gd name="T26" fmla="*/ 67729 w 479"/>
                <a:gd name="T27" fmla="*/ 275047 h 868"/>
                <a:gd name="T28" fmla="*/ 57309 w 479"/>
                <a:gd name="T29" fmla="*/ 301817 h 868"/>
                <a:gd name="T30" fmla="*/ 55572 w 479"/>
                <a:gd name="T31" fmla="*/ 325963 h 868"/>
                <a:gd name="T32" fmla="*/ 66860 w 479"/>
                <a:gd name="T33" fmla="*/ 341185 h 868"/>
                <a:gd name="T34" fmla="*/ 75978 w 479"/>
                <a:gd name="T35" fmla="*/ 359556 h 868"/>
                <a:gd name="T36" fmla="*/ 80319 w 479"/>
                <a:gd name="T37" fmla="*/ 383177 h 868"/>
                <a:gd name="T38" fmla="*/ 98120 w 479"/>
                <a:gd name="T39" fmla="*/ 409422 h 868"/>
                <a:gd name="T40" fmla="*/ 121999 w 479"/>
                <a:gd name="T41" fmla="*/ 433042 h 868"/>
                <a:gd name="T42" fmla="*/ 147614 w 479"/>
                <a:gd name="T43" fmla="*/ 446165 h 868"/>
                <a:gd name="T44" fmla="*/ 129379 w 479"/>
                <a:gd name="T45" fmla="*/ 455088 h 868"/>
                <a:gd name="T46" fmla="*/ 116789 w 479"/>
                <a:gd name="T47" fmla="*/ 453513 h 868"/>
                <a:gd name="T48" fmla="*/ 99422 w 479"/>
                <a:gd name="T49" fmla="*/ 441441 h 868"/>
                <a:gd name="T50" fmla="*/ 86832 w 479"/>
                <a:gd name="T51" fmla="*/ 431993 h 868"/>
                <a:gd name="T52" fmla="*/ 59480 w 479"/>
                <a:gd name="T53" fmla="*/ 398399 h 868"/>
                <a:gd name="T54" fmla="*/ 36035 w 479"/>
                <a:gd name="T55" fmla="*/ 383177 h 868"/>
                <a:gd name="T56" fmla="*/ 32128 w 479"/>
                <a:gd name="T57" fmla="*/ 361131 h 868"/>
                <a:gd name="T58" fmla="*/ 34733 w 479"/>
                <a:gd name="T59" fmla="*/ 342760 h 868"/>
                <a:gd name="T60" fmla="*/ 38206 w 479"/>
                <a:gd name="T61" fmla="*/ 323863 h 868"/>
                <a:gd name="T62" fmla="*/ 52099 w 479"/>
                <a:gd name="T63" fmla="*/ 261400 h 868"/>
                <a:gd name="T64" fmla="*/ 46889 w 479"/>
                <a:gd name="T65" fmla="*/ 212060 h 868"/>
                <a:gd name="T66" fmla="*/ 26918 w 479"/>
                <a:gd name="T67" fmla="*/ 167443 h 868"/>
                <a:gd name="T68" fmla="*/ 27786 w 479"/>
                <a:gd name="T69" fmla="*/ 149596 h 868"/>
                <a:gd name="T70" fmla="*/ 32128 w 479"/>
                <a:gd name="T71" fmla="*/ 139098 h 868"/>
                <a:gd name="T72" fmla="*/ 24313 w 479"/>
                <a:gd name="T73" fmla="*/ 106030 h 868"/>
                <a:gd name="T74" fmla="*/ 9986 w 479"/>
                <a:gd name="T75" fmla="*/ 82934 h 868"/>
                <a:gd name="T76" fmla="*/ 434 w 479"/>
                <a:gd name="T77" fmla="*/ 53540 h 868"/>
                <a:gd name="T78" fmla="*/ 4776 w 479"/>
                <a:gd name="T79" fmla="*/ 23096 h 868"/>
                <a:gd name="T80" fmla="*/ 21274 w 479"/>
                <a:gd name="T81" fmla="*/ 8398 h 868"/>
                <a:gd name="T82" fmla="*/ 52099 w 479"/>
                <a:gd name="T83" fmla="*/ 0 h 868"/>
                <a:gd name="T84" fmla="*/ 67729 w 479"/>
                <a:gd name="T85" fmla="*/ 14697 h 868"/>
                <a:gd name="T86" fmla="*/ 77714 w 479"/>
                <a:gd name="T87" fmla="*/ 18896 h 868"/>
                <a:gd name="T88" fmla="*/ 85529 w 479"/>
                <a:gd name="T89" fmla="*/ 71386 h 868"/>
                <a:gd name="T90" fmla="*/ 92476 w 479"/>
                <a:gd name="T91" fmla="*/ 87133 h 868"/>
                <a:gd name="T92" fmla="*/ 100291 w 479"/>
                <a:gd name="T93" fmla="*/ 81359 h 868"/>
                <a:gd name="T94" fmla="*/ 112013 w 479"/>
                <a:gd name="T95" fmla="*/ 66137 h 868"/>
                <a:gd name="T96" fmla="*/ 121999 w 479"/>
                <a:gd name="T97" fmla="*/ 74011 h 868"/>
                <a:gd name="T98" fmla="*/ 129379 w 479"/>
                <a:gd name="T99" fmla="*/ 71386 h 868"/>
                <a:gd name="T100" fmla="*/ 137194 w 479"/>
                <a:gd name="T101" fmla="*/ 56689 h 868"/>
                <a:gd name="T102" fmla="*/ 150219 w 479"/>
                <a:gd name="T103" fmla="*/ 56689 h 868"/>
                <a:gd name="T104" fmla="*/ 168019 w 479"/>
                <a:gd name="T105" fmla="*/ 82409 h 868"/>
                <a:gd name="T106" fmla="*/ 197108 w 479"/>
                <a:gd name="T107" fmla="*/ 129125 h 868"/>
                <a:gd name="T108" fmla="*/ 207528 w 479"/>
                <a:gd name="T109" fmla="*/ 161144 h 868"/>
                <a:gd name="T110" fmla="*/ 203186 w 479"/>
                <a:gd name="T111" fmla="*/ 177416 h 8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75" name="Freeform 25">
              <a:extLst>
                <a:ext uri="{FF2B5EF4-FFF2-40B4-BE49-F238E27FC236}">
                  <a16:creationId xmlns:a16="http://schemas.microsoft.com/office/drawing/2014/main" id="{0702977A-3D68-4588-A592-C19BF37CAFE5}"/>
                </a:ext>
              </a:extLst>
            </p:cNvPr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4060826" y="5400675"/>
              <a:ext cx="23813" cy="57150"/>
            </a:xfrm>
            <a:custGeom>
              <a:avLst/>
              <a:gdLst>
                <a:gd name="T0" fmla="*/ 0 w 53"/>
                <a:gd name="T1" fmla="*/ 24063 h 19"/>
                <a:gd name="T2" fmla="*/ 3145 w 53"/>
                <a:gd name="T3" fmla="*/ 39103 h 19"/>
                <a:gd name="T4" fmla="*/ 6290 w 53"/>
                <a:gd name="T5" fmla="*/ 51134 h 19"/>
                <a:gd name="T6" fmla="*/ 9885 w 53"/>
                <a:gd name="T7" fmla="*/ 57150 h 19"/>
                <a:gd name="T8" fmla="*/ 13030 w 53"/>
                <a:gd name="T9" fmla="*/ 57150 h 19"/>
                <a:gd name="T10" fmla="*/ 15726 w 53"/>
                <a:gd name="T11" fmla="*/ 54142 h 19"/>
                <a:gd name="T12" fmla="*/ 18871 w 53"/>
                <a:gd name="T13" fmla="*/ 45118 h 19"/>
                <a:gd name="T14" fmla="*/ 21117 w 53"/>
                <a:gd name="T15" fmla="*/ 36095 h 19"/>
                <a:gd name="T16" fmla="*/ 23813 w 53"/>
                <a:gd name="T17" fmla="*/ 24063 h 19"/>
                <a:gd name="T18" fmla="*/ 21117 w 53"/>
                <a:gd name="T19" fmla="*/ 15039 h 19"/>
                <a:gd name="T20" fmla="*/ 18871 w 53"/>
                <a:gd name="T21" fmla="*/ 6016 h 19"/>
                <a:gd name="T22" fmla="*/ 15726 w 53"/>
                <a:gd name="T23" fmla="*/ 3008 h 19"/>
                <a:gd name="T24" fmla="*/ 13030 w 53"/>
                <a:gd name="T25" fmla="*/ 0 h 19"/>
                <a:gd name="T26" fmla="*/ 9885 w 53"/>
                <a:gd name="T27" fmla="*/ 0 h 19"/>
                <a:gd name="T28" fmla="*/ 6290 w 53"/>
                <a:gd name="T29" fmla="*/ 3008 h 19"/>
                <a:gd name="T30" fmla="*/ 3145 w 53"/>
                <a:gd name="T31" fmla="*/ 9024 h 19"/>
                <a:gd name="T32" fmla="*/ 0 w 53"/>
                <a:gd name="T33" fmla="*/ 24063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76" name="Line 26" descr="Horizontal dunkel">
              <a:extLst>
                <a:ext uri="{FF2B5EF4-FFF2-40B4-BE49-F238E27FC236}">
                  <a16:creationId xmlns:a16="http://schemas.microsoft.com/office/drawing/2014/main" id="{AAD8982D-E2B4-4260-9CB5-308BA4BD9F84}"/>
                </a:ext>
              </a:extLst>
            </p:cNvPr>
            <p:cNvSpPr>
              <a:spLocks noChangeShapeType="1"/>
            </p:cNvSpPr>
            <p:nvPr>
              <p:custDataLst>
                <p:tags r:id="rId21"/>
              </p:custDataLst>
            </p:nvPr>
          </p:nvSpPr>
          <p:spPr bwMode="auto">
            <a:xfrm>
              <a:off x="2522539" y="2322514"/>
              <a:ext cx="3175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77" name="Freeform 27">
              <a:extLst>
                <a:ext uri="{FF2B5EF4-FFF2-40B4-BE49-F238E27FC236}">
                  <a16:creationId xmlns:a16="http://schemas.microsoft.com/office/drawing/2014/main" id="{5D773FFB-BD23-48BD-8340-B30633942FB6}"/>
                </a:ext>
              </a:extLst>
            </p:cNvPr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2525714" y="2319338"/>
              <a:ext cx="3175" cy="55562"/>
            </a:xfrm>
            <a:custGeom>
              <a:avLst/>
              <a:gdLst>
                <a:gd name="T0" fmla="*/ 0 w 6"/>
                <a:gd name="T1" fmla="*/ 55562 h 24"/>
                <a:gd name="T2" fmla="*/ 0 w 6"/>
                <a:gd name="T3" fmla="*/ 43987 h 24"/>
                <a:gd name="T4" fmla="*/ 529 w 6"/>
                <a:gd name="T5" fmla="*/ 32411 h 24"/>
                <a:gd name="T6" fmla="*/ 1588 w 6"/>
                <a:gd name="T7" fmla="*/ 18521 h 24"/>
                <a:gd name="T8" fmla="*/ 3175 w 6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78" name="Freeform 28">
              <a:extLst>
                <a:ext uri="{FF2B5EF4-FFF2-40B4-BE49-F238E27FC236}">
                  <a16:creationId xmlns:a16="http://schemas.microsoft.com/office/drawing/2014/main" id="{D085779D-9F17-42DA-88B2-CFA9D456FD1D}"/>
                </a:ext>
              </a:extLst>
            </p:cNvPr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2501901" y="2373313"/>
              <a:ext cx="23813" cy="57150"/>
            </a:xfrm>
            <a:custGeom>
              <a:avLst/>
              <a:gdLst>
                <a:gd name="T0" fmla="*/ 0 w 47"/>
                <a:gd name="T1" fmla="*/ 20472 h 67"/>
                <a:gd name="T2" fmla="*/ 0 w 47"/>
                <a:gd name="T3" fmla="*/ 25590 h 67"/>
                <a:gd name="T4" fmla="*/ 1013 w 47"/>
                <a:gd name="T5" fmla="*/ 30707 h 67"/>
                <a:gd name="T6" fmla="*/ 1520 w 47"/>
                <a:gd name="T7" fmla="*/ 35825 h 67"/>
                <a:gd name="T8" fmla="*/ 2533 w 47"/>
                <a:gd name="T9" fmla="*/ 40090 h 67"/>
                <a:gd name="T10" fmla="*/ 4560 w 47"/>
                <a:gd name="T11" fmla="*/ 49473 h 67"/>
                <a:gd name="T12" fmla="*/ 7093 w 47"/>
                <a:gd name="T13" fmla="*/ 57150 h 67"/>
                <a:gd name="T14" fmla="*/ 23813 w 47"/>
                <a:gd name="T15" fmla="*/ 57150 h 67"/>
                <a:gd name="T16" fmla="*/ 23813 w 47"/>
                <a:gd name="T17" fmla="*/ 0 h 67"/>
                <a:gd name="T18" fmla="*/ 18240 w 47"/>
                <a:gd name="T19" fmla="*/ 1706 h 67"/>
                <a:gd name="T20" fmla="*/ 13173 w 47"/>
                <a:gd name="T21" fmla="*/ 3412 h 67"/>
                <a:gd name="T22" fmla="*/ 9120 w 47"/>
                <a:gd name="T23" fmla="*/ 5971 h 67"/>
                <a:gd name="T24" fmla="*/ 5573 w 47"/>
                <a:gd name="T25" fmla="*/ 7677 h 67"/>
                <a:gd name="T26" fmla="*/ 3040 w 47"/>
                <a:gd name="T27" fmla="*/ 10236 h 67"/>
                <a:gd name="T28" fmla="*/ 1520 w 47"/>
                <a:gd name="T29" fmla="*/ 13648 h 67"/>
                <a:gd name="T30" fmla="*/ 0 w 47"/>
                <a:gd name="T31" fmla="*/ 17060 h 67"/>
                <a:gd name="T32" fmla="*/ 0 w 47"/>
                <a:gd name="T33" fmla="*/ 20472 h 6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79" name="Freeform 29">
              <a:extLst>
                <a:ext uri="{FF2B5EF4-FFF2-40B4-BE49-F238E27FC236}">
                  <a16:creationId xmlns:a16="http://schemas.microsoft.com/office/drawing/2014/main" id="{A7CA3650-BD0B-4771-9B99-BB6E1F456492}"/>
                </a:ext>
              </a:extLst>
            </p:cNvPr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3827463" y="2368550"/>
              <a:ext cx="49212" cy="57150"/>
            </a:xfrm>
            <a:custGeom>
              <a:avLst/>
              <a:gdLst>
                <a:gd name="T0" fmla="*/ 0 w 112"/>
                <a:gd name="T1" fmla="*/ 57150 h 36"/>
                <a:gd name="T2" fmla="*/ 25924 w 112"/>
                <a:gd name="T3" fmla="*/ 57150 h 36"/>
                <a:gd name="T4" fmla="*/ 29439 w 112"/>
                <a:gd name="T5" fmla="*/ 47625 h 36"/>
                <a:gd name="T6" fmla="*/ 32954 w 112"/>
                <a:gd name="T7" fmla="*/ 41275 h 36"/>
                <a:gd name="T8" fmla="*/ 36909 w 112"/>
                <a:gd name="T9" fmla="*/ 36513 h 36"/>
                <a:gd name="T10" fmla="*/ 39985 w 112"/>
                <a:gd name="T11" fmla="*/ 31750 h 36"/>
                <a:gd name="T12" fmla="*/ 43061 w 112"/>
                <a:gd name="T13" fmla="*/ 26988 h 36"/>
                <a:gd name="T14" fmla="*/ 45697 w 112"/>
                <a:gd name="T15" fmla="*/ 20638 h 36"/>
                <a:gd name="T16" fmla="*/ 47015 w 112"/>
                <a:gd name="T17" fmla="*/ 17463 h 36"/>
                <a:gd name="T18" fmla="*/ 47894 w 112"/>
                <a:gd name="T19" fmla="*/ 12700 h 36"/>
                <a:gd name="T20" fmla="*/ 48773 w 112"/>
                <a:gd name="T21" fmla="*/ 6350 h 36"/>
                <a:gd name="T22" fmla="*/ 49212 w 112"/>
                <a:gd name="T23" fmla="*/ 0 h 36"/>
                <a:gd name="T24" fmla="*/ 43939 w 112"/>
                <a:gd name="T25" fmla="*/ 0 h 36"/>
                <a:gd name="T26" fmla="*/ 37348 w 112"/>
                <a:gd name="T27" fmla="*/ 1588 h 36"/>
                <a:gd name="T28" fmla="*/ 29439 w 112"/>
                <a:gd name="T29" fmla="*/ 4763 h 36"/>
                <a:gd name="T30" fmla="*/ 21091 w 112"/>
                <a:gd name="T31" fmla="*/ 11113 h 36"/>
                <a:gd name="T32" fmla="*/ 17576 w 112"/>
                <a:gd name="T33" fmla="*/ 14288 h 36"/>
                <a:gd name="T34" fmla="*/ 13621 w 112"/>
                <a:gd name="T35" fmla="*/ 17463 h 36"/>
                <a:gd name="T36" fmla="*/ 10106 w 112"/>
                <a:gd name="T37" fmla="*/ 22225 h 36"/>
                <a:gd name="T38" fmla="*/ 7470 w 112"/>
                <a:gd name="T39" fmla="*/ 28575 h 36"/>
                <a:gd name="T40" fmla="*/ 4394 w 112"/>
                <a:gd name="T41" fmla="*/ 34925 h 36"/>
                <a:gd name="T42" fmla="*/ 2636 w 112"/>
                <a:gd name="T43" fmla="*/ 41275 h 36"/>
                <a:gd name="T44" fmla="*/ 439 w 112"/>
                <a:gd name="T45" fmla="*/ 49213 h 36"/>
                <a:gd name="T46" fmla="*/ 0 w 112"/>
                <a:gd name="T47" fmla="*/ 57150 h 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0" name="Freeform 30">
              <a:extLst>
                <a:ext uri="{FF2B5EF4-FFF2-40B4-BE49-F238E27FC236}">
                  <a16:creationId xmlns:a16="http://schemas.microsoft.com/office/drawing/2014/main" id="{744B0757-10C3-4F85-ABC5-18EC1A286BB9}"/>
                </a:ext>
              </a:extLst>
            </p:cNvPr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6565901" y="1925639"/>
              <a:ext cx="874713" cy="452437"/>
            </a:xfrm>
            <a:custGeom>
              <a:avLst/>
              <a:gdLst>
                <a:gd name="T0" fmla="*/ 188809 w 2006"/>
                <a:gd name="T1" fmla="*/ 401059 h 863"/>
                <a:gd name="T2" fmla="*/ 179652 w 2006"/>
                <a:gd name="T3" fmla="*/ 400535 h 863"/>
                <a:gd name="T4" fmla="*/ 170059 w 2006"/>
                <a:gd name="T5" fmla="*/ 416263 h 863"/>
                <a:gd name="T6" fmla="*/ 163518 w 2006"/>
                <a:gd name="T7" fmla="*/ 415214 h 863"/>
                <a:gd name="T8" fmla="*/ 161338 w 2006"/>
                <a:gd name="T9" fmla="*/ 393720 h 863"/>
                <a:gd name="T10" fmla="*/ 141280 w 2006"/>
                <a:gd name="T11" fmla="*/ 379565 h 863"/>
                <a:gd name="T12" fmla="*/ 136047 w 2006"/>
                <a:gd name="T13" fmla="*/ 371177 h 863"/>
                <a:gd name="T14" fmla="*/ 125582 w 2006"/>
                <a:gd name="T15" fmla="*/ 362788 h 863"/>
                <a:gd name="T16" fmla="*/ 109448 w 2006"/>
                <a:gd name="T17" fmla="*/ 336051 h 863"/>
                <a:gd name="T18" fmla="*/ 101163 w 2006"/>
                <a:gd name="T19" fmla="*/ 319799 h 863"/>
                <a:gd name="T20" fmla="*/ 110320 w 2006"/>
                <a:gd name="T21" fmla="*/ 311411 h 863"/>
                <a:gd name="T22" fmla="*/ 121657 w 2006"/>
                <a:gd name="T23" fmla="*/ 300401 h 863"/>
                <a:gd name="T24" fmla="*/ 147384 w 2006"/>
                <a:gd name="T25" fmla="*/ 285198 h 863"/>
                <a:gd name="T26" fmla="*/ 139099 w 2006"/>
                <a:gd name="T27" fmla="*/ 255315 h 863"/>
                <a:gd name="T28" fmla="*/ 112500 w 2006"/>
                <a:gd name="T29" fmla="*/ 249024 h 863"/>
                <a:gd name="T30" fmla="*/ 91134 w 2006"/>
                <a:gd name="T31" fmla="*/ 246403 h 863"/>
                <a:gd name="T32" fmla="*/ 68460 w 2006"/>
                <a:gd name="T33" fmla="*/ 259509 h 863"/>
                <a:gd name="T34" fmla="*/ 46221 w 2006"/>
                <a:gd name="T35" fmla="*/ 264752 h 863"/>
                <a:gd name="T36" fmla="*/ 11773 w 2006"/>
                <a:gd name="T37" fmla="*/ 216520 h 863"/>
                <a:gd name="T38" fmla="*/ 8721 w 2006"/>
                <a:gd name="T39" fmla="*/ 148366 h 863"/>
                <a:gd name="T40" fmla="*/ 49273 w 2006"/>
                <a:gd name="T41" fmla="*/ 135784 h 863"/>
                <a:gd name="T42" fmla="*/ 127326 w 2006"/>
                <a:gd name="T43" fmla="*/ 116386 h 863"/>
                <a:gd name="T44" fmla="*/ 217152 w 2006"/>
                <a:gd name="T45" fmla="*/ 132638 h 863"/>
                <a:gd name="T46" fmla="*/ 312647 w 2006"/>
                <a:gd name="T47" fmla="*/ 132638 h 863"/>
                <a:gd name="T48" fmla="*/ 286920 w 2006"/>
                <a:gd name="T49" fmla="*/ 96988 h 863"/>
                <a:gd name="T50" fmla="*/ 361920 w 2006"/>
                <a:gd name="T51" fmla="*/ 35650 h 863"/>
                <a:gd name="T52" fmla="*/ 457851 w 2006"/>
                <a:gd name="T53" fmla="*/ 6815 h 863"/>
                <a:gd name="T54" fmla="*/ 512793 w 2006"/>
                <a:gd name="T55" fmla="*/ 31980 h 863"/>
                <a:gd name="T56" fmla="*/ 565119 w 2006"/>
                <a:gd name="T57" fmla="*/ 58193 h 863"/>
                <a:gd name="T58" fmla="*/ 628782 w 2006"/>
                <a:gd name="T59" fmla="*/ 51902 h 863"/>
                <a:gd name="T60" fmla="*/ 718172 w 2006"/>
                <a:gd name="T61" fmla="*/ 142075 h 863"/>
                <a:gd name="T62" fmla="*/ 781835 w 2006"/>
                <a:gd name="T63" fmla="*/ 138929 h 863"/>
                <a:gd name="T64" fmla="*/ 872097 w 2006"/>
                <a:gd name="T65" fmla="*/ 177724 h 863"/>
                <a:gd name="T66" fmla="*/ 872969 w 2006"/>
                <a:gd name="T67" fmla="*/ 199743 h 863"/>
                <a:gd name="T68" fmla="*/ 863812 w 2006"/>
                <a:gd name="T69" fmla="*/ 209180 h 863"/>
                <a:gd name="T70" fmla="*/ 854655 w 2006"/>
                <a:gd name="T71" fmla="*/ 211801 h 863"/>
                <a:gd name="T72" fmla="*/ 855963 w 2006"/>
                <a:gd name="T73" fmla="*/ 222811 h 863"/>
                <a:gd name="T74" fmla="*/ 865556 w 2006"/>
                <a:gd name="T75" fmla="*/ 244305 h 863"/>
                <a:gd name="T76" fmla="*/ 862940 w 2006"/>
                <a:gd name="T77" fmla="*/ 250597 h 863"/>
                <a:gd name="T78" fmla="*/ 845498 w 2006"/>
                <a:gd name="T79" fmla="*/ 252169 h 863"/>
                <a:gd name="T80" fmla="*/ 825440 w 2006"/>
                <a:gd name="T81" fmla="*/ 248500 h 863"/>
                <a:gd name="T82" fmla="*/ 812794 w 2006"/>
                <a:gd name="T83" fmla="*/ 248500 h 863"/>
                <a:gd name="T84" fmla="*/ 818899 w 2006"/>
                <a:gd name="T85" fmla="*/ 287295 h 863"/>
                <a:gd name="T86" fmla="*/ 819771 w 2006"/>
                <a:gd name="T87" fmla="*/ 307217 h 863"/>
                <a:gd name="T88" fmla="*/ 780091 w 2006"/>
                <a:gd name="T89" fmla="*/ 308265 h 863"/>
                <a:gd name="T90" fmla="*/ 770933 w 2006"/>
                <a:gd name="T91" fmla="*/ 316653 h 863"/>
                <a:gd name="T92" fmla="*/ 782707 w 2006"/>
                <a:gd name="T93" fmla="*/ 324517 h 863"/>
                <a:gd name="T94" fmla="*/ 790992 w 2006"/>
                <a:gd name="T95" fmla="*/ 340769 h 863"/>
                <a:gd name="T96" fmla="*/ 799713 w 2006"/>
                <a:gd name="T97" fmla="*/ 361216 h 863"/>
                <a:gd name="T98" fmla="*/ 801021 w 2006"/>
                <a:gd name="T99" fmla="*/ 370128 h 863"/>
                <a:gd name="T100" fmla="*/ 801021 w 2006"/>
                <a:gd name="T101" fmla="*/ 395293 h 863"/>
                <a:gd name="T102" fmla="*/ 759160 w 2006"/>
                <a:gd name="T103" fmla="*/ 387953 h 863"/>
                <a:gd name="T104" fmla="*/ 643171 w 2006"/>
                <a:gd name="T105" fmla="*/ 400535 h 863"/>
                <a:gd name="T106" fmla="*/ 573840 w 2006"/>
                <a:gd name="T107" fmla="*/ 416787 h 863"/>
                <a:gd name="T108" fmla="*/ 497967 w 2006"/>
                <a:gd name="T109" fmla="*/ 439330 h 863"/>
                <a:gd name="T110" fmla="*/ 419915 w 2006"/>
                <a:gd name="T111" fmla="*/ 365410 h 863"/>
                <a:gd name="T112" fmla="*/ 298257 w 2006"/>
                <a:gd name="T113" fmla="*/ 307217 h 863"/>
                <a:gd name="T114" fmla="*/ 254652 w 2006"/>
                <a:gd name="T115" fmla="*/ 436185 h 86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1" name="Freeform 31">
              <a:extLst>
                <a:ext uri="{FF2B5EF4-FFF2-40B4-BE49-F238E27FC236}">
                  <a16:creationId xmlns:a16="http://schemas.microsoft.com/office/drawing/2014/main" id="{BD6361A1-1581-4A33-B2C0-909E614CD583}"/>
                </a:ext>
              </a:extLst>
            </p:cNvPr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6796089" y="2228850"/>
              <a:ext cx="409575" cy="249238"/>
            </a:xfrm>
            <a:custGeom>
              <a:avLst/>
              <a:gdLst>
                <a:gd name="T0" fmla="*/ 275062 w 950"/>
                <a:gd name="T1" fmla="*/ 235924 h 468"/>
                <a:gd name="T2" fmla="*/ 240571 w 950"/>
                <a:gd name="T3" fmla="*/ 222610 h 468"/>
                <a:gd name="T4" fmla="*/ 203063 w 950"/>
                <a:gd name="T5" fmla="*/ 200242 h 468"/>
                <a:gd name="T6" fmla="*/ 169004 w 950"/>
                <a:gd name="T7" fmla="*/ 163496 h 468"/>
                <a:gd name="T8" fmla="*/ 131495 w 950"/>
                <a:gd name="T9" fmla="*/ 137400 h 468"/>
                <a:gd name="T10" fmla="*/ 109076 w 950"/>
                <a:gd name="T11" fmla="*/ 111305 h 468"/>
                <a:gd name="T12" fmla="*/ 80190 w 950"/>
                <a:gd name="T13" fmla="*/ 91600 h 468"/>
                <a:gd name="T14" fmla="*/ 57341 w 950"/>
                <a:gd name="T15" fmla="*/ 101186 h 468"/>
                <a:gd name="T16" fmla="*/ 42682 w 950"/>
                <a:gd name="T17" fmla="*/ 127814 h 468"/>
                <a:gd name="T18" fmla="*/ 17245 w 950"/>
                <a:gd name="T19" fmla="*/ 131010 h 468"/>
                <a:gd name="T20" fmla="*/ 0 w 950"/>
                <a:gd name="T21" fmla="*/ 12781 h 468"/>
                <a:gd name="T22" fmla="*/ 34059 w 950"/>
                <a:gd name="T23" fmla="*/ 3195 h 468"/>
                <a:gd name="T24" fmla="*/ 57341 w 950"/>
                <a:gd name="T25" fmla="*/ 29291 h 468"/>
                <a:gd name="T26" fmla="*/ 67688 w 950"/>
                <a:gd name="T27" fmla="*/ 7988 h 468"/>
                <a:gd name="T28" fmla="*/ 143136 w 950"/>
                <a:gd name="T29" fmla="*/ 62310 h 468"/>
                <a:gd name="T30" fmla="*/ 188836 w 950"/>
                <a:gd name="T31" fmla="*/ 62310 h 468"/>
                <a:gd name="T32" fmla="*/ 226344 w 950"/>
                <a:gd name="T33" fmla="*/ 71896 h 468"/>
                <a:gd name="T34" fmla="*/ 257386 w 950"/>
                <a:gd name="T35" fmla="*/ 121424 h 468"/>
                <a:gd name="T36" fmla="*/ 289289 w 950"/>
                <a:gd name="T37" fmla="*/ 134205 h 468"/>
                <a:gd name="T38" fmla="*/ 314726 w 950"/>
                <a:gd name="T39" fmla="*/ 137400 h 468"/>
                <a:gd name="T40" fmla="*/ 341025 w 950"/>
                <a:gd name="T41" fmla="*/ 114500 h 468"/>
                <a:gd name="T42" fmla="*/ 363444 w 950"/>
                <a:gd name="T43" fmla="*/ 104382 h 468"/>
                <a:gd name="T44" fmla="*/ 355252 w 950"/>
                <a:gd name="T45" fmla="*/ 134205 h 468"/>
                <a:gd name="T46" fmla="*/ 375084 w 950"/>
                <a:gd name="T47" fmla="*/ 127814 h 468"/>
                <a:gd name="T48" fmla="*/ 409575 w 950"/>
                <a:gd name="T49" fmla="*/ 150714 h 468"/>
                <a:gd name="T50" fmla="*/ 380689 w 950"/>
                <a:gd name="T51" fmla="*/ 170419 h 468"/>
                <a:gd name="T52" fmla="*/ 355252 w 950"/>
                <a:gd name="T53" fmla="*/ 150714 h 468"/>
                <a:gd name="T54" fmla="*/ 329385 w 950"/>
                <a:gd name="T55" fmla="*/ 147519 h 468"/>
                <a:gd name="T56" fmla="*/ 317744 w 950"/>
                <a:gd name="T57" fmla="*/ 170419 h 468"/>
                <a:gd name="T58" fmla="*/ 294894 w 950"/>
                <a:gd name="T59" fmla="*/ 190124 h 468"/>
                <a:gd name="T60" fmla="*/ 306103 w 950"/>
                <a:gd name="T61" fmla="*/ 206633 h 468"/>
                <a:gd name="T62" fmla="*/ 320331 w 950"/>
                <a:gd name="T63" fmla="*/ 232729 h 468"/>
                <a:gd name="T64" fmla="*/ 309121 w 950"/>
                <a:gd name="T65" fmla="*/ 249238 h 468"/>
                <a:gd name="T66" fmla="*/ 303086 w 950"/>
                <a:gd name="T67" fmla="*/ 247640 h 468"/>
                <a:gd name="T68" fmla="*/ 294894 w 950"/>
                <a:gd name="T69" fmla="*/ 245510 h 468"/>
                <a:gd name="T70" fmla="*/ 283685 w 950"/>
                <a:gd name="T71" fmla="*/ 245510 h 46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2" name="Freeform 32">
              <a:extLst>
                <a:ext uri="{FF2B5EF4-FFF2-40B4-BE49-F238E27FC236}">
                  <a16:creationId xmlns:a16="http://schemas.microsoft.com/office/drawing/2014/main" id="{EDEFF0B5-90E4-4037-A5DF-AFE1DFFBBD88}"/>
                </a:ext>
              </a:extLst>
            </p:cNvPr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5603876" y="3232151"/>
              <a:ext cx="296863" cy="288925"/>
            </a:xfrm>
            <a:custGeom>
              <a:avLst/>
              <a:gdLst>
                <a:gd name="T0" fmla="*/ 2655 w 671"/>
                <a:gd name="T1" fmla="*/ 201563 h 549"/>
                <a:gd name="T2" fmla="*/ 3539 w 671"/>
                <a:gd name="T3" fmla="*/ 166303 h 549"/>
                <a:gd name="T4" fmla="*/ 7521 w 671"/>
                <a:gd name="T5" fmla="*/ 151041 h 549"/>
                <a:gd name="T6" fmla="*/ 23006 w 671"/>
                <a:gd name="T7" fmla="*/ 125253 h 549"/>
                <a:gd name="T8" fmla="*/ 31412 w 671"/>
                <a:gd name="T9" fmla="*/ 107886 h 549"/>
                <a:gd name="T10" fmla="*/ 32297 w 671"/>
                <a:gd name="T11" fmla="*/ 87888 h 549"/>
                <a:gd name="T12" fmla="*/ 32297 w 671"/>
                <a:gd name="T13" fmla="*/ 72100 h 549"/>
                <a:gd name="T14" fmla="*/ 23891 w 671"/>
                <a:gd name="T15" fmla="*/ 56838 h 549"/>
                <a:gd name="T16" fmla="*/ 26988 w 671"/>
                <a:gd name="T17" fmla="*/ 41576 h 549"/>
                <a:gd name="T18" fmla="*/ 33624 w 671"/>
                <a:gd name="T19" fmla="*/ 26314 h 549"/>
                <a:gd name="T20" fmla="*/ 42472 w 671"/>
                <a:gd name="T21" fmla="*/ 13157 h 549"/>
                <a:gd name="T22" fmla="*/ 53090 w 671"/>
                <a:gd name="T23" fmla="*/ 3684 h 549"/>
                <a:gd name="T24" fmla="*/ 64593 w 671"/>
                <a:gd name="T25" fmla="*/ 0 h 549"/>
                <a:gd name="T26" fmla="*/ 76538 w 671"/>
                <a:gd name="T27" fmla="*/ 2631 h 549"/>
                <a:gd name="T28" fmla="*/ 91138 w 671"/>
                <a:gd name="T29" fmla="*/ 13683 h 549"/>
                <a:gd name="T30" fmla="*/ 104411 w 671"/>
                <a:gd name="T31" fmla="*/ 23682 h 549"/>
                <a:gd name="T32" fmla="*/ 114586 w 671"/>
                <a:gd name="T33" fmla="*/ 26314 h 549"/>
                <a:gd name="T34" fmla="*/ 120338 w 671"/>
                <a:gd name="T35" fmla="*/ 23156 h 549"/>
                <a:gd name="T36" fmla="*/ 125647 w 671"/>
                <a:gd name="T37" fmla="*/ 18420 h 549"/>
                <a:gd name="T38" fmla="*/ 132726 w 671"/>
                <a:gd name="T39" fmla="*/ 16841 h 549"/>
                <a:gd name="T40" fmla="*/ 140689 w 671"/>
                <a:gd name="T41" fmla="*/ 20525 h 549"/>
                <a:gd name="T42" fmla="*/ 149095 w 671"/>
                <a:gd name="T43" fmla="*/ 34208 h 549"/>
                <a:gd name="T44" fmla="*/ 156174 w 671"/>
                <a:gd name="T45" fmla="*/ 41576 h 549"/>
                <a:gd name="T46" fmla="*/ 163695 w 671"/>
                <a:gd name="T47" fmla="*/ 42628 h 549"/>
                <a:gd name="T48" fmla="*/ 168562 w 671"/>
                <a:gd name="T49" fmla="*/ 39471 h 549"/>
                <a:gd name="T50" fmla="*/ 175640 w 671"/>
                <a:gd name="T51" fmla="*/ 29471 h 549"/>
                <a:gd name="T52" fmla="*/ 185373 w 671"/>
                <a:gd name="T53" fmla="*/ 19998 h 549"/>
                <a:gd name="T54" fmla="*/ 202628 w 671"/>
                <a:gd name="T55" fmla="*/ 11578 h 549"/>
                <a:gd name="T56" fmla="*/ 215458 w 671"/>
                <a:gd name="T57" fmla="*/ 13157 h 549"/>
                <a:gd name="T58" fmla="*/ 226076 w 671"/>
                <a:gd name="T59" fmla="*/ 18420 h 549"/>
                <a:gd name="T60" fmla="*/ 237579 w 671"/>
                <a:gd name="T61" fmla="*/ 22630 h 549"/>
                <a:gd name="T62" fmla="*/ 252621 w 671"/>
                <a:gd name="T63" fmla="*/ 20525 h 549"/>
                <a:gd name="T64" fmla="*/ 285803 w 671"/>
                <a:gd name="T65" fmla="*/ 35260 h 549"/>
                <a:gd name="T66" fmla="*/ 294208 w 671"/>
                <a:gd name="T67" fmla="*/ 55259 h 549"/>
                <a:gd name="T68" fmla="*/ 275627 w 671"/>
                <a:gd name="T69" fmla="*/ 96308 h 549"/>
                <a:gd name="T70" fmla="*/ 262354 w 671"/>
                <a:gd name="T71" fmla="*/ 122622 h 549"/>
                <a:gd name="T72" fmla="*/ 252179 w 671"/>
                <a:gd name="T73" fmla="*/ 153146 h 549"/>
                <a:gd name="T74" fmla="*/ 243330 w 671"/>
                <a:gd name="T75" fmla="*/ 180512 h 549"/>
                <a:gd name="T76" fmla="*/ 232270 w 671"/>
                <a:gd name="T77" fmla="*/ 214194 h 549"/>
                <a:gd name="T78" fmla="*/ 228288 w 671"/>
                <a:gd name="T79" fmla="*/ 222088 h 549"/>
                <a:gd name="T80" fmla="*/ 221209 w 671"/>
                <a:gd name="T81" fmla="*/ 231035 h 549"/>
                <a:gd name="T82" fmla="*/ 213246 w 671"/>
                <a:gd name="T83" fmla="*/ 233140 h 549"/>
                <a:gd name="T84" fmla="*/ 203070 w 671"/>
                <a:gd name="T85" fmla="*/ 227351 h 549"/>
                <a:gd name="T86" fmla="*/ 194664 w 671"/>
                <a:gd name="T87" fmla="*/ 221562 h 549"/>
                <a:gd name="T88" fmla="*/ 180507 w 671"/>
                <a:gd name="T89" fmla="*/ 223141 h 549"/>
                <a:gd name="T90" fmla="*/ 168562 w 671"/>
                <a:gd name="T91" fmla="*/ 232087 h 549"/>
                <a:gd name="T92" fmla="*/ 161040 w 671"/>
                <a:gd name="T93" fmla="*/ 246823 h 549"/>
                <a:gd name="T94" fmla="*/ 151307 w 671"/>
                <a:gd name="T95" fmla="*/ 274189 h 549"/>
                <a:gd name="T96" fmla="*/ 143786 w 671"/>
                <a:gd name="T97" fmla="*/ 288925 h 549"/>
                <a:gd name="T98" fmla="*/ 101314 w 671"/>
                <a:gd name="T99" fmla="*/ 287346 h 549"/>
                <a:gd name="T100" fmla="*/ 96005 w 671"/>
                <a:gd name="T101" fmla="*/ 288399 h 549"/>
                <a:gd name="T102" fmla="*/ 79193 w 671"/>
                <a:gd name="T103" fmla="*/ 285767 h 549"/>
                <a:gd name="T104" fmla="*/ 71229 w 671"/>
                <a:gd name="T105" fmla="*/ 284189 h 549"/>
                <a:gd name="T106" fmla="*/ 63708 w 671"/>
                <a:gd name="T107" fmla="*/ 279452 h 549"/>
                <a:gd name="T108" fmla="*/ 57072 w 671"/>
                <a:gd name="T109" fmla="*/ 271032 h 549"/>
                <a:gd name="T110" fmla="*/ 52648 w 671"/>
                <a:gd name="T111" fmla="*/ 261032 h 549"/>
                <a:gd name="T112" fmla="*/ 49993 w 671"/>
                <a:gd name="T113" fmla="*/ 248402 h 549"/>
                <a:gd name="T114" fmla="*/ 44242 w 671"/>
                <a:gd name="T115" fmla="*/ 242087 h 549"/>
                <a:gd name="T116" fmla="*/ 36721 w 671"/>
                <a:gd name="T117" fmla="*/ 235245 h 549"/>
                <a:gd name="T118" fmla="*/ 27872 w 671"/>
                <a:gd name="T119" fmla="*/ 227351 h 549"/>
                <a:gd name="T120" fmla="*/ 17254 w 671"/>
                <a:gd name="T121" fmla="*/ 225772 h 549"/>
                <a:gd name="T122" fmla="*/ 0 w 671"/>
                <a:gd name="T123" fmla="*/ 230508 h 54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3" name="Freeform 33">
              <a:extLst>
                <a:ext uri="{FF2B5EF4-FFF2-40B4-BE49-F238E27FC236}">
                  <a16:creationId xmlns:a16="http://schemas.microsoft.com/office/drawing/2014/main" id="{6BD30C49-BFE2-43B4-A079-A6EAAA50D2BA}"/>
                </a:ext>
              </a:extLst>
            </p:cNvPr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6446838" y="3097213"/>
              <a:ext cx="152400" cy="169862"/>
            </a:xfrm>
            <a:custGeom>
              <a:avLst/>
              <a:gdLst>
                <a:gd name="T0" fmla="*/ 138778 w 358"/>
                <a:gd name="T1" fmla="*/ 168304 h 327"/>
                <a:gd name="T2" fmla="*/ 140906 w 358"/>
                <a:gd name="T3" fmla="*/ 166745 h 327"/>
                <a:gd name="T4" fmla="*/ 143460 w 358"/>
                <a:gd name="T5" fmla="*/ 165187 h 327"/>
                <a:gd name="T6" fmla="*/ 147292 w 358"/>
                <a:gd name="T7" fmla="*/ 165187 h 327"/>
                <a:gd name="T8" fmla="*/ 151549 w 358"/>
                <a:gd name="T9" fmla="*/ 168304 h 327"/>
                <a:gd name="T10" fmla="*/ 135798 w 358"/>
                <a:gd name="T11" fmla="*/ 148045 h 327"/>
                <a:gd name="T12" fmla="*/ 118344 w 358"/>
                <a:gd name="T13" fmla="*/ 122072 h 327"/>
                <a:gd name="T14" fmla="*/ 107702 w 358"/>
                <a:gd name="T15" fmla="*/ 105969 h 327"/>
                <a:gd name="T16" fmla="*/ 98762 w 358"/>
                <a:gd name="T17" fmla="*/ 96619 h 327"/>
                <a:gd name="T18" fmla="*/ 93228 w 358"/>
                <a:gd name="T19" fmla="*/ 94021 h 327"/>
                <a:gd name="T20" fmla="*/ 88545 w 358"/>
                <a:gd name="T21" fmla="*/ 93502 h 327"/>
                <a:gd name="T22" fmla="*/ 85565 w 358"/>
                <a:gd name="T23" fmla="*/ 92983 h 327"/>
                <a:gd name="T24" fmla="*/ 84714 w 358"/>
                <a:gd name="T25" fmla="*/ 90385 h 327"/>
                <a:gd name="T26" fmla="*/ 84288 w 358"/>
                <a:gd name="T27" fmla="*/ 88307 h 327"/>
                <a:gd name="T28" fmla="*/ 83011 w 358"/>
                <a:gd name="T29" fmla="*/ 87788 h 327"/>
                <a:gd name="T30" fmla="*/ 78328 w 358"/>
                <a:gd name="T31" fmla="*/ 89346 h 327"/>
                <a:gd name="T32" fmla="*/ 72794 w 358"/>
                <a:gd name="T33" fmla="*/ 89346 h 327"/>
                <a:gd name="T34" fmla="*/ 70240 w 358"/>
                <a:gd name="T35" fmla="*/ 87269 h 327"/>
                <a:gd name="T36" fmla="*/ 68112 w 358"/>
                <a:gd name="T37" fmla="*/ 83632 h 327"/>
                <a:gd name="T38" fmla="*/ 64706 w 358"/>
                <a:gd name="T39" fmla="*/ 74802 h 327"/>
                <a:gd name="T40" fmla="*/ 60875 w 358"/>
                <a:gd name="T41" fmla="*/ 68049 h 327"/>
                <a:gd name="T42" fmla="*/ 56618 w 358"/>
                <a:gd name="T43" fmla="*/ 61815 h 327"/>
                <a:gd name="T44" fmla="*/ 54064 w 358"/>
                <a:gd name="T45" fmla="*/ 54543 h 327"/>
                <a:gd name="T46" fmla="*/ 51935 w 358"/>
                <a:gd name="T47" fmla="*/ 43634 h 327"/>
                <a:gd name="T48" fmla="*/ 50658 w 358"/>
                <a:gd name="T49" fmla="*/ 27531 h 327"/>
                <a:gd name="T50" fmla="*/ 49807 w 358"/>
                <a:gd name="T51" fmla="*/ 11947 h 327"/>
                <a:gd name="T52" fmla="*/ 47678 w 358"/>
                <a:gd name="T53" fmla="*/ 0 h 327"/>
                <a:gd name="T54" fmla="*/ 31076 w 358"/>
                <a:gd name="T55" fmla="*/ 13506 h 327"/>
                <a:gd name="T56" fmla="*/ 25968 w 358"/>
                <a:gd name="T57" fmla="*/ 17142 h 327"/>
                <a:gd name="T58" fmla="*/ 14048 w 358"/>
                <a:gd name="T59" fmla="*/ 25973 h 327"/>
                <a:gd name="T60" fmla="*/ 8940 w 358"/>
                <a:gd name="T61" fmla="*/ 31687 h 327"/>
                <a:gd name="T62" fmla="*/ 7237 w 358"/>
                <a:gd name="T63" fmla="*/ 37401 h 327"/>
                <a:gd name="T64" fmla="*/ 6811 w 358"/>
                <a:gd name="T65" fmla="*/ 43115 h 327"/>
                <a:gd name="T66" fmla="*/ 8514 w 358"/>
                <a:gd name="T67" fmla="*/ 48309 h 327"/>
                <a:gd name="T68" fmla="*/ 9365 w 358"/>
                <a:gd name="T69" fmla="*/ 51946 h 327"/>
                <a:gd name="T70" fmla="*/ 8514 w 358"/>
                <a:gd name="T71" fmla="*/ 57140 h 327"/>
                <a:gd name="T72" fmla="*/ 6385 w 358"/>
                <a:gd name="T73" fmla="*/ 63893 h 327"/>
                <a:gd name="T74" fmla="*/ 2980 w 358"/>
                <a:gd name="T75" fmla="*/ 70646 h 327"/>
                <a:gd name="T76" fmla="*/ 0 w 358"/>
                <a:gd name="T77" fmla="*/ 80516 h 327"/>
                <a:gd name="T78" fmla="*/ 0 w 358"/>
                <a:gd name="T79" fmla="*/ 90385 h 327"/>
                <a:gd name="T80" fmla="*/ 2128 w 358"/>
                <a:gd name="T81" fmla="*/ 94541 h 327"/>
                <a:gd name="T82" fmla="*/ 4683 w 358"/>
                <a:gd name="T83" fmla="*/ 97138 h 327"/>
                <a:gd name="T84" fmla="*/ 8514 w 358"/>
                <a:gd name="T85" fmla="*/ 96619 h 327"/>
                <a:gd name="T86" fmla="*/ 18731 w 358"/>
                <a:gd name="T87" fmla="*/ 87269 h 327"/>
                <a:gd name="T88" fmla="*/ 25542 w 358"/>
                <a:gd name="T89" fmla="*/ 83632 h 327"/>
                <a:gd name="T90" fmla="*/ 32353 w 358"/>
                <a:gd name="T91" fmla="*/ 77918 h 327"/>
                <a:gd name="T92" fmla="*/ 39590 w 358"/>
                <a:gd name="T93" fmla="*/ 82593 h 327"/>
                <a:gd name="T94" fmla="*/ 46827 w 358"/>
                <a:gd name="T95" fmla="*/ 85191 h 327"/>
                <a:gd name="T96" fmla="*/ 60449 w 358"/>
                <a:gd name="T97" fmla="*/ 93502 h 327"/>
                <a:gd name="T98" fmla="*/ 69389 w 358"/>
                <a:gd name="T99" fmla="*/ 98697 h 327"/>
                <a:gd name="T100" fmla="*/ 83437 w 358"/>
                <a:gd name="T101" fmla="*/ 108566 h 327"/>
                <a:gd name="T102" fmla="*/ 93228 w 358"/>
                <a:gd name="T103" fmla="*/ 116878 h 327"/>
                <a:gd name="T104" fmla="*/ 104296 w 358"/>
                <a:gd name="T105" fmla="*/ 126747 h 327"/>
                <a:gd name="T106" fmla="*/ 108979 w 358"/>
                <a:gd name="T107" fmla="*/ 131942 h 327"/>
                <a:gd name="T108" fmla="*/ 113661 w 358"/>
                <a:gd name="T109" fmla="*/ 140253 h 327"/>
                <a:gd name="T110" fmla="*/ 114513 w 358"/>
                <a:gd name="T111" fmla="*/ 144928 h 327"/>
                <a:gd name="T112" fmla="*/ 114513 w 358"/>
                <a:gd name="T113" fmla="*/ 148564 h 327"/>
                <a:gd name="T114" fmla="*/ 114939 w 358"/>
                <a:gd name="T115" fmla="*/ 150642 h 327"/>
                <a:gd name="T116" fmla="*/ 117493 w 358"/>
                <a:gd name="T117" fmla="*/ 151681 h 327"/>
                <a:gd name="T118" fmla="*/ 124304 w 358"/>
                <a:gd name="T119" fmla="*/ 156876 h 327"/>
                <a:gd name="T120" fmla="*/ 135372 w 358"/>
                <a:gd name="T121" fmla="*/ 166745 h 3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4" name="Freeform 34">
              <a:extLst>
                <a:ext uri="{FF2B5EF4-FFF2-40B4-BE49-F238E27FC236}">
                  <a16:creationId xmlns:a16="http://schemas.microsoft.com/office/drawing/2014/main" id="{3A9A3B03-F4B3-459E-898E-46724D6194F2}"/>
                </a:ext>
              </a:extLst>
            </p:cNvPr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5908676" y="2101850"/>
              <a:ext cx="125413" cy="57150"/>
            </a:xfrm>
            <a:custGeom>
              <a:avLst/>
              <a:gdLst>
                <a:gd name="T0" fmla="*/ 54117 w 292"/>
                <a:gd name="T1" fmla="*/ 0 h 99"/>
                <a:gd name="T2" fmla="*/ 65713 w 292"/>
                <a:gd name="T3" fmla="*/ 0 h 99"/>
                <a:gd name="T4" fmla="*/ 85040 w 292"/>
                <a:gd name="T5" fmla="*/ 577 h 99"/>
                <a:gd name="T6" fmla="*/ 107374 w 292"/>
                <a:gd name="T7" fmla="*/ 3464 h 99"/>
                <a:gd name="T8" fmla="*/ 125413 w 292"/>
                <a:gd name="T9" fmla="*/ 4041 h 99"/>
                <a:gd name="T10" fmla="*/ 124554 w 292"/>
                <a:gd name="T11" fmla="*/ 11545 h 99"/>
                <a:gd name="T12" fmla="*/ 122407 w 292"/>
                <a:gd name="T13" fmla="*/ 19050 h 99"/>
                <a:gd name="T14" fmla="*/ 119830 w 292"/>
                <a:gd name="T15" fmla="*/ 31750 h 99"/>
                <a:gd name="T16" fmla="*/ 57982 w 292"/>
                <a:gd name="T17" fmla="*/ 40409 h 99"/>
                <a:gd name="T18" fmla="*/ 42520 w 292"/>
                <a:gd name="T19" fmla="*/ 51377 h 99"/>
                <a:gd name="T20" fmla="*/ 33930 w 292"/>
                <a:gd name="T21" fmla="*/ 55418 h 99"/>
                <a:gd name="T22" fmla="*/ 28347 w 292"/>
                <a:gd name="T23" fmla="*/ 56573 h 99"/>
                <a:gd name="T24" fmla="*/ 23622 w 292"/>
                <a:gd name="T25" fmla="*/ 56573 h 99"/>
                <a:gd name="T26" fmla="*/ 19327 w 292"/>
                <a:gd name="T27" fmla="*/ 54264 h 99"/>
                <a:gd name="T28" fmla="*/ 14173 w 292"/>
                <a:gd name="T29" fmla="*/ 49645 h 99"/>
                <a:gd name="T30" fmla="*/ 8590 w 292"/>
                <a:gd name="T31" fmla="*/ 44450 h 99"/>
                <a:gd name="T32" fmla="*/ 3006 w 292"/>
                <a:gd name="T33" fmla="*/ 39832 h 99"/>
                <a:gd name="T34" fmla="*/ 429 w 292"/>
                <a:gd name="T35" fmla="*/ 32905 h 99"/>
                <a:gd name="T36" fmla="*/ 0 w 292"/>
                <a:gd name="T37" fmla="*/ 24245 h 99"/>
                <a:gd name="T38" fmla="*/ 429 w 292"/>
                <a:gd name="T39" fmla="*/ 14432 h 99"/>
                <a:gd name="T40" fmla="*/ 1288 w 292"/>
                <a:gd name="T41" fmla="*/ 11545 h 99"/>
                <a:gd name="T42" fmla="*/ 3865 w 292"/>
                <a:gd name="T43" fmla="*/ 10391 h 99"/>
                <a:gd name="T44" fmla="*/ 6442 w 292"/>
                <a:gd name="T45" fmla="*/ 12123 h 99"/>
                <a:gd name="T46" fmla="*/ 10737 w 292"/>
                <a:gd name="T47" fmla="*/ 16164 h 99"/>
                <a:gd name="T48" fmla="*/ 15032 w 292"/>
                <a:gd name="T49" fmla="*/ 18473 h 99"/>
                <a:gd name="T50" fmla="*/ 19327 w 292"/>
                <a:gd name="T51" fmla="*/ 19627 h 99"/>
                <a:gd name="T52" fmla="*/ 23193 w 292"/>
                <a:gd name="T53" fmla="*/ 19050 h 99"/>
                <a:gd name="T54" fmla="*/ 28776 w 292"/>
                <a:gd name="T55" fmla="*/ 16741 h 99"/>
                <a:gd name="T56" fmla="*/ 34789 w 292"/>
                <a:gd name="T57" fmla="*/ 10968 h 99"/>
                <a:gd name="T58" fmla="*/ 37796 w 292"/>
                <a:gd name="T59" fmla="*/ 6350 h 99"/>
                <a:gd name="T60" fmla="*/ 40373 w 292"/>
                <a:gd name="T61" fmla="*/ 3464 h 99"/>
                <a:gd name="T62" fmla="*/ 46815 w 292"/>
                <a:gd name="T63" fmla="*/ 577 h 9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85" name="Freeform 35">
              <a:extLst>
                <a:ext uri="{FF2B5EF4-FFF2-40B4-BE49-F238E27FC236}">
                  <a16:creationId xmlns:a16="http://schemas.microsoft.com/office/drawing/2014/main" id="{F655662A-818F-4593-BE46-1C7542308786}"/>
                </a:ext>
              </a:extLst>
            </p:cNvPr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6772275" y="2822575"/>
              <a:ext cx="19050" cy="57150"/>
            </a:xfrm>
            <a:custGeom>
              <a:avLst/>
              <a:gdLst>
                <a:gd name="T0" fmla="*/ 17278 w 43"/>
                <a:gd name="T1" fmla="*/ 57150 h 93"/>
                <a:gd name="T2" fmla="*/ 13734 w 43"/>
                <a:gd name="T3" fmla="*/ 55921 h 93"/>
                <a:gd name="T4" fmla="*/ 11519 w 43"/>
                <a:gd name="T5" fmla="*/ 54692 h 93"/>
                <a:gd name="T6" fmla="*/ 9303 w 43"/>
                <a:gd name="T7" fmla="*/ 53463 h 93"/>
                <a:gd name="T8" fmla="*/ 7974 w 43"/>
                <a:gd name="T9" fmla="*/ 51619 h 93"/>
                <a:gd name="T10" fmla="*/ 6645 w 43"/>
                <a:gd name="T11" fmla="*/ 48547 h 93"/>
                <a:gd name="T12" fmla="*/ 6202 w 43"/>
                <a:gd name="T13" fmla="*/ 44860 h 93"/>
                <a:gd name="T14" fmla="*/ 5759 w 43"/>
                <a:gd name="T15" fmla="*/ 39944 h 93"/>
                <a:gd name="T16" fmla="*/ 4873 w 43"/>
                <a:gd name="T17" fmla="*/ 33798 h 93"/>
                <a:gd name="T18" fmla="*/ 4873 w 43"/>
                <a:gd name="T19" fmla="*/ 29497 h 93"/>
                <a:gd name="T20" fmla="*/ 3987 w 43"/>
                <a:gd name="T21" fmla="*/ 25810 h 93"/>
                <a:gd name="T22" fmla="*/ 2658 w 43"/>
                <a:gd name="T23" fmla="*/ 23352 h 93"/>
                <a:gd name="T24" fmla="*/ 1772 w 43"/>
                <a:gd name="T25" fmla="*/ 22123 h 93"/>
                <a:gd name="T26" fmla="*/ 886 w 43"/>
                <a:gd name="T27" fmla="*/ 20894 h 93"/>
                <a:gd name="T28" fmla="*/ 0 w 43"/>
                <a:gd name="T29" fmla="*/ 19665 h 93"/>
                <a:gd name="T30" fmla="*/ 886 w 43"/>
                <a:gd name="T31" fmla="*/ 17821 h 93"/>
                <a:gd name="T32" fmla="*/ 2215 w 43"/>
                <a:gd name="T33" fmla="*/ 14748 h 93"/>
                <a:gd name="T34" fmla="*/ 2658 w 43"/>
                <a:gd name="T35" fmla="*/ 17206 h 93"/>
                <a:gd name="T36" fmla="*/ 3101 w 43"/>
                <a:gd name="T37" fmla="*/ 17821 h 93"/>
                <a:gd name="T38" fmla="*/ 3544 w 43"/>
                <a:gd name="T39" fmla="*/ 18435 h 93"/>
                <a:gd name="T40" fmla="*/ 3987 w 43"/>
                <a:gd name="T41" fmla="*/ 17821 h 93"/>
                <a:gd name="T42" fmla="*/ 4873 w 43"/>
                <a:gd name="T43" fmla="*/ 15363 h 93"/>
                <a:gd name="T44" fmla="*/ 6202 w 43"/>
                <a:gd name="T45" fmla="*/ 11676 h 93"/>
                <a:gd name="T46" fmla="*/ 7088 w 43"/>
                <a:gd name="T47" fmla="*/ 7374 h 93"/>
                <a:gd name="T48" fmla="*/ 8860 w 43"/>
                <a:gd name="T49" fmla="*/ 3687 h 93"/>
                <a:gd name="T50" fmla="*/ 9747 w 43"/>
                <a:gd name="T51" fmla="*/ 2458 h 93"/>
                <a:gd name="T52" fmla="*/ 11076 w 43"/>
                <a:gd name="T53" fmla="*/ 1229 h 93"/>
                <a:gd name="T54" fmla="*/ 12405 w 43"/>
                <a:gd name="T55" fmla="*/ 0 h 93"/>
                <a:gd name="T56" fmla="*/ 14177 w 43"/>
                <a:gd name="T57" fmla="*/ 0 h 93"/>
                <a:gd name="T58" fmla="*/ 14620 w 43"/>
                <a:gd name="T59" fmla="*/ 6145 h 93"/>
                <a:gd name="T60" fmla="*/ 14620 w 43"/>
                <a:gd name="T61" fmla="*/ 9832 h 93"/>
                <a:gd name="T62" fmla="*/ 14620 w 43"/>
                <a:gd name="T63" fmla="*/ 12290 h 93"/>
                <a:gd name="T64" fmla="*/ 14177 w 43"/>
                <a:gd name="T65" fmla="*/ 14134 h 93"/>
                <a:gd name="T66" fmla="*/ 14177 w 43"/>
                <a:gd name="T67" fmla="*/ 16592 h 93"/>
                <a:gd name="T68" fmla="*/ 14177 w 43"/>
                <a:gd name="T69" fmla="*/ 19050 h 93"/>
                <a:gd name="T70" fmla="*/ 15506 w 43"/>
                <a:gd name="T71" fmla="*/ 22123 h 93"/>
                <a:gd name="T72" fmla="*/ 17278 w 43"/>
                <a:gd name="T73" fmla="*/ 26424 h 93"/>
                <a:gd name="T74" fmla="*/ 16835 w 43"/>
                <a:gd name="T75" fmla="*/ 27039 h 93"/>
                <a:gd name="T76" fmla="*/ 16392 w 43"/>
                <a:gd name="T77" fmla="*/ 27653 h 93"/>
                <a:gd name="T78" fmla="*/ 16392 w 43"/>
                <a:gd name="T79" fmla="*/ 29497 h 93"/>
                <a:gd name="T80" fmla="*/ 16835 w 43"/>
                <a:gd name="T81" fmla="*/ 31340 h 93"/>
                <a:gd name="T82" fmla="*/ 17278 w 43"/>
                <a:gd name="T83" fmla="*/ 36256 h 93"/>
                <a:gd name="T84" fmla="*/ 18164 w 43"/>
                <a:gd name="T85" fmla="*/ 41787 h 93"/>
                <a:gd name="T86" fmla="*/ 18607 w 43"/>
                <a:gd name="T87" fmla="*/ 46703 h 93"/>
                <a:gd name="T88" fmla="*/ 19050 w 43"/>
                <a:gd name="T89" fmla="*/ 52234 h 93"/>
                <a:gd name="T90" fmla="*/ 19050 w 43"/>
                <a:gd name="T91" fmla="*/ 54077 h 93"/>
                <a:gd name="T92" fmla="*/ 18607 w 43"/>
                <a:gd name="T93" fmla="*/ 55921 h 93"/>
                <a:gd name="T94" fmla="*/ 17721 w 43"/>
                <a:gd name="T95" fmla="*/ 56535 h 93"/>
                <a:gd name="T96" fmla="*/ 17278 w 43"/>
                <a:gd name="T97" fmla="*/ 57150 h 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6" name="Freeform 36">
              <a:extLst>
                <a:ext uri="{FF2B5EF4-FFF2-40B4-BE49-F238E27FC236}">
                  <a16:creationId xmlns:a16="http://schemas.microsoft.com/office/drawing/2014/main" id="{EA76B9BA-8976-481D-B6FE-4DBFE8727EFB}"/>
                </a:ext>
              </a:extLst>
            </p:cNvPr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6891339" y="2827338"/>
              <a:ext cx="14287" cy="57150"/>
            </a:xfrm>
            <a:custGeom>
              <a:avLst/>
              <a:gdLst>
                <a:gd name="T0" fmla="*/ 14287 w 40"/>
                <a:gd name="T1" fmla="*/ 57150 h 56"/>
                <a:gd name="T2" fmla="*/ 13215 w 40"/>
                <a:gd name="T3" fmla="*/ 46945 h 56"/>
                <a:gd name="T4" fmla="*/ 11787 w 40"/>
                <a:gd name="T5" fmla="*/ 38780 h 56"/>
                <a:gd name="T6" fmla="*/ 10001 w 40"/>
                <a:gd name="T7" fmla="*/ 32657 h 56"/>
                <a:gd name="T8" fmla="*/ 8215 w 40"/>
                <a:gd name="T9" fmla="*/ 28575 h 56"/>
                <a:gd name="T10" fmla="*/ 3929 w 40"/>
                <a:gd name="T11" fmla="*/ 21431 h 56"/>
                <a:gd name="T12" fmla="*/ 0 w 40"/>
                <a:gd name="T13" fmla="*/ 12246 h 56"/>
                <a:gd name="T14" fmla="*/ 4643 w 40"/>
                <a:gd name="T15" fmla="*/ 4082 h 56"/>
                <a:gd name="T16" fmla="*/ 7144 w 40"/>
                <a:gd name="T17" fmla="*/ 0 h 56"/>
                <a:gd name="T18" fmla="*/ 10001 w 40"/>
                <a:gd name="T19" fmla="*/ 12246 h 56"/>
                <a:gd name="T20" fmla="*/ 12501 w 40"/>
                <a:gd name="T21" fmla="*/ 22452 h 56"/>
                <a:gd name="T22" fmla="*/ 13215 w 40"/>
                <a:gd name="T23" fmla="*/ 25513 h 56"/>
                <a:gd name="T24" fmla="*/ 13930 w 40"/>
                <a:gd name="T25" fmla="*/ 29596 h 56"/>
                <a:gd name="T26" fmla="*/ 13930 w 40"/>
                <a:gd name="T27" fmla="*/ 33678 h 56"/>
                <a:gd name="T28" fmla="*/ 14287 w 40"/>
                <a:gd name="T29" fmla="*/ 37760 h 56"/>
                <a:gd name="T30" fmla="*/ 14287 w 40"/>
                <a:gd name="T31" fmla="*/ 44904 h 56"/>
                <a:gd name="T32" fmla="*/ 14287 w 40"/>
                <a:gd name="T33" fmla="*/ 46945 h 56"/>
                <a:gd name="T34" fmla="*/ 14287 w 40"/>
                <a:gd name="T35" fmla="*/ 50006 h 56"/>
                <a:gd name="T36" fmla="*/ 14287 w 40"/>
                <a:gd name="T37" fmla="*/ 57150 h 5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7" name="Freeform 37">
              <a:extLst>
                <a:ext uri="{FF2B5EF4-FFF2-40B4-BE49-F238E27FC236}">
                  <a16:creationId xmlns:a16="http://schemas.microsoft.com/office/drawing/2014/main" id="{C24B5DF8-CE3B-4597-BE23-9575B1C0E719}"/>
                </a:ext>
              </a:extLst>
            </p:cNvPr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8378825" y="3487738"/>
              <a:ext cx="44450" cy="57150"/>
            </a:xfrm>
            <a:custGeom>
              <a:avLst/>
              <a:gdLst>
                <a:gd name="T0" fmla="*/ 0 w 106"/>
                <a:gd name="T1" fmla="*/ 5635 h 71"/>
                <a:gd name="T2" fmla="*/ 5032 w 106"/>
                <a:gd name="T3" fmla="*/ 8049 h 71"/>
                <a:gd name="T4" fmla="*/ 10064 w 106"/>
                <a:gd name="T5" fmla="*/ 9659 h 71"/>
                <a:gd name="T6" fmla="*/ 14677 w 106"/>
                <a:gd name="T7" fmla="*/ 10464 h 71"/>
                <a:gd name="T8" fmla="*/ 18870 w 106"/>
                <a:gd name="T9" fmla="*/ 10464 h 71"/>
                <a:gd name="T10" fmla="*/ 22644 w 106"/>
                <a:gd name="T11" fmla="*/ 8854 h 71"/>
                <a:gd name="T12" fmla="*/ 25580 w 106"/>
                <a:gd name="T13" fmla="*/ 6439 h 71"/>
                <a:gd name="T14" fmla="*/ 28515 w 106"/>
                <a:gd name="T15" fmla="*/ 4025 h 71"/>
                <a:gd name="T16" fmla="*/ 31031 w 106"/>
                <a:gd name="T17" fmla="*/ 0 h 71"/>
                <a:gd name="T18" fmla="*/ 35225 w 106"/>
                <a:gd name="T19" fmla="*/ 12879 h 71"/>
                <a:gd name="T20" fmla="*/ 39418 w 106"/>
                <a:gd name="T21" fmla="*/ 24148 h 71"/>
                <a:gd name="T22" fmla="*/ 42353 w 106"/>
                <a:gd name="T23" fmla="*/ 35417 h 71"/>
                <a:gd name="T24" fmla="*/ 44031 w 106"/>
                <a:gd name="T25" fmla="*/ 44271 h 71"/>
                <a:gd name="T26" fmla="*/ 44450 w 106"/>
                <a:gd name="T27" fmla="*/ 48296 h 71"/>
                <a:gd name="T28" fmla="*/ 44450 w 106"/>
                <a:gd name="T29" fmla="*/ 50711 h 71"/>
                <a:gd name="T30" fmla="*/ 44031 w 106"/>
                <a:gd name="T31" fmla="*/ 53930 h 71"/>
                <a:gd name="T32" fmla="*/ 43192 w 106"/>
                <a:gd name="T33" fmla="*/ 55540 h 71"/>
                <a:gd name="T34" fmla="*/ 42353 w 106"/>
                <a:gd name="T35" fmla="*/ 56345 h 71"/>
                <a:gd name="T36" fmla="*/ 41095 w 106"/>
                <a:gd name="T37" fmla="*/ 56345 h 71"/>
                <a:gd name="T38" fmla="*/ 38579 w 106"/>
                <a:gd name="T39" fmla="*/ 56345 h 71"/>
                <a:gd name="T40" fmla="*/ 36483 w 106"/>
                <a:gd name="T41" fmla="*/ 54735 h 71"/>
                <a:gd name="T42" fmla="*/ 31031 w 106"/>
                <a:gd name="T43" fmla="*/ 56345 h 71"/>
                <a:gd name="T44" fmla="*/ 26418 w 106"/>
                <a:gd name="T45" fmla="*/ 57150 h 71"/>
                <a:gd name="T46" fmla="*/ 22225 w 106"/>
                <a:gd name="T47" fmla="*/ 55540 h 71"/>
                <a:gd name="T48" fmla="*/ 18870 w 106"/>
                <a:gd name="T49" fmla="*/ 53125 h 71"/>
                <a:gd name="T50" fmla="*/ 15516 w 106"/>
                <a:gd name="T51" fmla="*/ 49906 h 71"/>
                <a:gd name="T52" fmla="*/ 13419 w 106"/>
                <a:gd name="T53" fmla="*/ 45881 h 71"/>
                <a:gd name="T54" fmla="*/ 11322 w 106"/>
                <a:gd name="T55" fmla="*/ 41051 h 71"/>
                <a:gd name="T56" fmla="*/ 10064 w 106"/>
                <a:gd name="T57" fmla="*/ 36222 h 71"/>
                <a:gd name="T58" fmla="*/ 8806 w 106"/>
                <a:gd name="T59" fmla="*/ 30587 h 71"/>
                <a:gd name="T60" fmla="*/ 8387 w 106"/>
                <a:gd name="T61" fmla="*/ 24148 h 71"/>
                <a:gd name="T62" fmla="*/ 7967 w 106"/>
                <a:gd name="T63" fmla="*/ 19318 h 71"/>
                <a:gd name="T64" fmla="*/ 7548 w 106"/>
                <a:gd name="T65" fmla="*/ 15294 h 71"/>
                <a:gd name="T66" fmla="*/ 7548 w 106"/>
                <a:gd name="T67" fmla="*/ 11269 h 71"/>
                <a:gd name="T68" fmla="*/ 7967 w 106"/>
                <a:gd name="T69" fmla="*/ 8049 h 71"/>
                <a:gd name="T70" fmla="*/ 8387 w 106"/>
                <a:gd name="T71" fmla="*/ 5635 h 71"/>
                <a:gd name="T72" fmla="*/ 8806 w 106"/>
                <a:gd name="T73" fmla="*/ 5635 h 71"/>
                <a:gd name="T74" fmla="*/ 8387 w 106"/>
                <a:gd name="T75" fmla="*/ 8049 h 71"/>
                <a:gd name="T76" fmla="*/ 7967 w 106"/>
                <a:gd name="T77" fmla="*/ 12879 h 71"/>
                <a:gd name="T78" fmla="*/ 7967 w 106"/>
                <a:gd name="T79" fmla="*/ 13684 h 71"/>
                <a:gd name="T80" fmla="*/ 7967 w 106"/>
                <a:gd name="T81" fmla="*/ 13684 h 71"/>
                <a:gd name="T82" fmla="*/ 8387 w 106"/>
                <a:gd name="T83" fmla="*/ 13684 h 71"/>
                <a:gd name="T84" fmla="*/ 8806 w 106"/>
                <a:gd name="T85" fmla="*/ 13684 h 71"/>
                <a:gd name="T86" fmla="*/ 9645 w 106"/>
                <a:gd name="T87" fmla="*/ 10464 h 71"/>
                <a:gd name="T88" fmla="*/ 11322 w 106"/>
                <a:gd name="T89" fmla="*/ 5635 h 71"/>
                <a:gd name="T90" fmla="*/ 0 w 106"/>
                <a:gd name="T91" fmla="*/ 5635 h 7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588" name="Group 587">
              <a:extLst>
                <a:ext uri="{FF2B5EF4-FFF2-40B4-BE49-F238E27FC236}">
                  <a16:creationId xmlns:a16="http://schemas.microsoft.com/office/drawing/2014/main" id="{F3467B39-D616-4FCA-88DF-F2C9F6B60DAD}"/>
                </a:ext>
              </a:extLst>
            </p:cNvPr>
            <p:cNvGrpSpPr>
              <a:grpSpLocks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4230689" y="5295901"/>
              <a:ext cx="65087" cy="55563"/>
              <a:chOff x="1654" y="3671"/>
              <a:chExt cx="49" cy="17"/>
            </a:xfrm>
          </p:grpSpPr>
          <p:sp>
            <p:nvSpPr>
              <p:cNvPr id="1099" name="Freeform 39">
                <a:extLst>
                  <a:ext uri="{FF2B5EF4-FFF2-40B4-BE49-F238E27FC236}">
                    <a16:creationId xmlns:a16="http://schemas.microsoft.com/office/drawing/2014/main" id="{87EB5CD3-D262-4E8E-AD35-E80E40D972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9 w 59"/>
                  <a:gd name="T1" fmla="*/ 14 h 43"/>
                  <a:gd name="T2" fmla="*/ 20 w 59"/>
                  <a:gd name="T3" fmla="*/ 6 h 43"/>
                  <a:gd name="T4" fmla="*/ 19 w 59"/>
                  <a:gd name="T5" fmla="*/ 5 h 43"/>
                  <a:gd name="T6" fmla="*/ 17 w 59"/>
                  <a:gd name="T7" fmla="*/ 3 h 43"/>
                  <a:gd name="T8" fmla="*/ 16 w 59"/>
                  <a:gd name="T9" fmla="*/ 2 h 43"/>
                  <a:gd name="T10" fmla="*/ 16 w 59"/>
                  <a:gd name="T11" fmla="*/ 0 h 43"/>
                  <a:gd name="T12" fmla="*/ 14 w 59"/>
                  <a:gd name="T13" fmla="*/ 0 h 43"/>
                  <a:gd name="T14" fmla="*/ 12 w 59"/>
                  <a:gd name="T15" fmla="*/ 1 h 43"/>
                  <a:gd name="T16" fmla="*/ 11 w 59"/>
                  <a:gd name="T17" fmla="*/ 2 h 43"/>
                  <a:gd name="T18" fmla="*/ 10 w 59"/>
                  <a:gd name="T19" fmla="*/ 3 h 43"/>
                  <a:gd name="T20" fmla="*/ 9 w 59"/>
                  <a:gd name="T21" fmla="*/ 3 h 43"/>
                  <a:gd name="T22" fmla="*/ 9 w 59"/>
                  <a:gd name="T23" fmla="*/ 4 h 43"/>
                  <a:gd name="T24" fmla="*/ 7 w 59"/>
                  <a:gd name="T25" fmla="*/ 4 h 43"/>
                  <a:gd name="T26" fmla="*/ 4 w 59"/>
                  <a:gd name="T27" fmla="*/ 5 h 43"/>
                  <a:gd name="T28" fmla="*/ 2 w 59"/>
                  <a:gd name="T29" fmla="*/ 7 h 43"/>
                  <a:gd name="T30" fmla="*/ 0 w 59"/>
                  <a:gd name="T31" fmla="*/ 8 h 43"/>
                  <a:gd name="T32" fmla="*/ 2 w 59"/>
                  <a:gd name="T33" fmla="*/ 9 h 43"/>
                  <a:gd name="T34" fmla="*/ 3 w 59"/>
                  <a:gd name="T35" fmla="*/ 11 h 43"/>
                  <a:gd name="T36" fmla="*/ 6 w 59"/>
                  <a:gd name="T37" fmla="*/ 13 h 43"/>
                  <a:gd name="T38" fmla="*/ 9 w 59"/>
                  <a:gd name="T39" fmla="*/ 14 h 4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00" name="Freeform 40">
                <a:extLst>
                  <a:ext uri="{FF2B5EF4-FFF2-40B4-BE49-F238E27FC236}">
                    <a16:creationId xmlns:a16="http://schemas.microsoft.com/office/drawing/2014/main" id="{C67EE719-F9B9-4838-9016-1D90A2F09F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1 h 51"/>
                  <a:gd name="T2" fmla="*/ 8 w 67"/>
                  <a:gd name="T3" fmla="*/ 0 h 51"/>
                  <a:gd name="T4" fmla="*/ 13 w 67"/>
                  <a:gd name="T5" fmla="*/ 0 h 51"/>
                  <a:gd name="T6" fmla="*/ 15 w 67"/>
                  <a:gd name="T7" fmla="*/ 0 h 51"/>
                  <a:gd name="T8" fmla="*/ 17 w 67"/>
                  <a:gd name="T9" fmla="*/ 1 h 51"/>
                  <a:gd name="T10" fmla="*/ 19 w 67"/>
                  <a:gd name="T11" fmla="*/ 1 h 51"/>
                  <a:gd name="T12" fmla="*/ 22 w 67"/>
                  <a:gd name="T13" fmla="*/ 3 h 51"/>
                  <a:gd name="T14" fmla="*/ 18 w 67"/>
                  <a:gd name="T15" fmla="*/ 4 h 51"/>
                  <a:gd name="T16" fmla="*/ 15 w 67"/>
                  <a:gd name="T17" fmla="*/ 6 h 51"/>
                  <a:gd name="T18" fmla="*/ 14 w 67"/>
                  <a:gd name="T19" fmla="*/ 7 h 51"/>
                  <a:gd name="T20" fmla="*/ 12 w 67"/>
                  <a:gd name="T21" fmla="*/ 8 h 51"/>
                  <a:gd name="T22" fmla="*/ 10 w 67"/>
                  <a:gd name="T23" fmla="*/ 9 h 51"/>
                  <a:gd name="T24" fmla="*/ 7 w 67"/>
                  <a:gd name="T25" fmla="*/ 9 h 51"/>
                  <a:gd name="T26" fmla="*/ 8 w 67"/>
                  <a:gd name="T27" fmla="*/ 9 h 51"/>
                  <a:gd name="T28" fmla="*/ 11 w 67"/>
                  <a:gd name="T29" fmla="*/ 9 h 51"/>
                  <a:gd name="T30" fmla="*/ 10 w 67"/>
                  <a:gd name="T31" fmla="*/ 11 h 51"/>
                  <a:gd name="T32" fmla="*/ 8 w 67"/>
                  <a:gd name="T33" fmla="*/ 13 h 51"/>
                  <a:gd name="T34" fmla="*/ 7 w 67"/>
                  <a:gd name="T35" fmla="*/ 15 h 51"/>
                  <a:gd name="T36" fmla="*/ 7 w 67"/>
                  <a:gd name="T37" fmla="*/ 15 h 51"/>
                  <a:gd name="T38" fmla="*/ 4 w 67"/>
                  <a:gd name="T39" fmla="*/ 16 h 51"/>
                  <a:gd name="T40" fmla="*/ 0 w 67"/>
                  <a:gd name="T41" fmla="*/ 17 h 51"/>
                  <a:gd name="T42" fmla="*/ 0 w 67"/>
                  <a:gd name="T43" fmla="*/ 1 h 5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589" name="Freeform 41">
              <a:extLst>
                <a:ext uri="{FF2B5EF4-FFF2-40B4-BE49-F238E27FC236}">
                  <a16:creationId xmlns:a16="http://schemas.microsoft.com/office/drawing/2014/main" id="{6A89E12C-B48A-4CE9-BCFE-BF066686F589}"/>
                </a:ext>
              </a:extLst>
            </p:cNvPr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3878263" y="3090864"/>
              <a:ext cx="31750" cy="58737"/>
            </a:xfrm>
            <a:custGeom>
              <a:avLst/>
              <a:gdLst>
                <a:gd name="T0" fmla="*/ 0 w 80"/>
                <a:gd name="T1" fmla="*/ 25913 h 34"/>
                <a:gd name="T2" fmla="*/ 397 w 80"/>
                <a:gd name="T3" fmla="*/ 32824 h 34"/>
                <a:gd name="T4" fmla="*/ 794 w 80"/>
                <a:gd name="T5" fmla="*/ 36279 h 34"/>
                <a:gd name="T6" fmla="*/ 1588 w 80"/>
                <a:gd name="T7" fmla="*/ 41461 h 34"/>
                <a:gd name="T8" fmla="*/ 2778 w 80"/>
                <a:gd name="T9" fmla="*/ 44917 h 34"/>
                <a:gd name="T10" fmla="*/ 5159 w 80"/>
                <a:gd name="T11" fmla="*/ 50099 h 34"/>
                <a:gd name="T12" fmla="*/ 8731 w 80"/>
                <a:gd name="T13" fmla="*/ 53554 h 34"/>
                <a:gd name="T14" fmla="*/ 15875 w 80"/>
                <a:gd name="T15" fmla="*/ 57009 h 34"/>
                <a:gd name="T16" fmla="*/ 21431 w 80"/>
                <a:gd name="T17" fmla="*/ 58737 h 34"/>
                <a:gd name="T18" fmla="*/ 23019 w 80"/>
                <a:gd name="T19" fmla="*/ 57009 h 34"/>
                <a:gd name="T20" fmla="*/ 24606 w 80"/>
                <a:gd name="T21" fmla="*/ 55282 h 34"/>
                <a:gd name="T22" fmla="*/ 25797 w 80"/>
                <a:gd name="T23" fmla="*/ 50099 h 34"/>
                <a:gd name="T24" fmla="*/ 26591 w 80"/>
                <a:gd name="T25" fmla="*/ 46644 h 34"/>
                <a:gd name="T26" fmla="*/ 28972 w 80"/>
                <a:gd name="T27" fmla="*/ 36279 h 34"/>
                <a:gd name="T28" fmla="*/ 31750 w 80"/>
                <a:gd name="T29" fmla="*/ 25913 h 34"/>
                <a:gd name="T30" fmla="*/ 29766 w 80"/>
                <a:gd name="T31" fmla="*/ 17276 h 34"/>
                <a:gd name="T32" fmla="*/ 27781 w 80"/>
                <a:gd name="T33" fmla="*/ 12093 h 34"/>
                <a:gd name="T34" fmla="*/ 25797 w 80"/>
                <a:gd name="T35" fmla="*/ 6910 h 34"/>
                <a:gd name="T36" fmla="*/ 23813 w 80"/>
                <a:gd name="T37" fmla="*/ 3455 h 34"/>
                <a:gd name="T38" fmla="*/ 21828 w 80"/>
                <a:gd name="T39" fmla="*/ 0 h 34"/>
                <a:gd name="T40" fmla="*/ 20241 w 80"/>
                <a:gd name="T41" fmla="*/ 0 h 34"/>
                <a:gd name="T42" fmla="*/ 17859 w 80"/>
                <a:gd name="T43" fmla="*/ 1728 h 34"/>
                <a:gd name="T44" fmla="*/ 16272 w 80"/>
                <a:gd name="T45" fmla="*/ 3455 h 34"/>
                <a:gd name="T46" fmla="*/ 13494 w 80"/>
                <a:gd name="T47" fmla="*/ 3455 h 34"/>
                <a:gd name="T48" fmla="*/ 8334 w 80"/>
                <a:gd name="T49" fmla="*/ 3455 h 34"/>
                <a:gd name="T50" fmla="*/ 5159 w 80"/>
                <a:gd name="T51" fmla="*/ 5183 h 34"/>
                <a:gd name="T52" fmla="*/ 2778 w 80"/>
                <a:gd name="T53" fmla="*/ 8638 h 34"/>
                <a:gd name="T54" fmla="*/ 1588 w 80"/>
                <a:gd name="T55" fmla="*/ 12093 h 34"/>
                <a:gd name="T56" fmla="*/ 794 w 80"/>
                <a:gd name="T57" fmla="*/ 15548 h 34"/>
                <a:gd name="T58" fmla="*/ 397 w 80"/>
                <a:gd name="T59" fmla="*/ 19003 h 34"/>
                <a:gd name="T60" fmla="*/ 0 w 80"/>
                <a:gd name="T61" fmla="*/ 25913 h 3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0" name="Freeform 42">
              <a:extLst>
                <a:ext uri="{FF2B5EF4-FFF2-40B4-BE49-F238E27FC236}">
                  <a16:creationId xmlns:a16="http://schemas.microsoft.com/office/drawing/2014/main" id="{5C07A63E-8778-48C8-B328-65437349317D}"/>
                </a:ext>
              </a:extLst>
            </p:cNvPr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3933825" y="3097214"/>
              <a:ext cx="1588" cy="58737"/>
            </a:xfrm>
            <a:custGeom>
              <a:avLst/>
              <a:gdLst>
                <a:gd name="T0" fmla="*/ 0 w 7"/>
                <a:gd name="T1" fmla="*/ 0 h 13"/>
                <a:gd name="T2" fmla="*/ 1588 w 7"/>
                <a:gd name="T3" fmla="*/ 58737 h 13"/>
                <a:gd name="T4" fmla="*/ 1588 w 7"/>
                <a:gd name="T5" fmla="*/ 31628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1" name="Freeform 43">
              <a:extLst>
                <a:ext uri="{FF2B5EF4-FFF2-40B4-BE49-F238E27FC236}">
                  <a16:creationId xmlns:a16="http://schemas.microsoft.com/office/drawing/2014/main" id="{9988F1F3-8B57-4CEF-81A8-6C6FB1A3EEFC}"/>
                </a:ext>
              </a:extLst>
            </p:cNvPr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3946525" y="3098800"/>
              <a:ext cx="6350" cy="58738"/>
            </a:xfrm>
            <a:custGeom>
              <a:avLst/>
              <a:gdLst>
                <a:gd name="T0" fmla="*/ 0 w 20"/>
                <a:gd name="T1" fmla="*/ 0 h 6"/>
                <a:gd name="T2" fmla="*/ 2223 w 20"/>
                <a:gd name="T3" fmla="*/ 29369 h 6"/>
                <a:gd name="T4" fmla="*/ 6350 w 20"/>
                <a:gd name="T5" fmla="*/ 58738 h 6"/>
                <a:gd name="T6" fmla="*/ 0 w 20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2" name="Freeform 44">
              <a:extLst>
                <a:ext uri="{FF2B5EF4-FFF2-40B4-BE49-F238E27FC236}">
                  <a16:creationId xmlns:a16="http://schemas.microsoft.com/office/drawing/2014/main" id="{22F1E33E-F48B-48B7-819B-C9BC6BA36302}"/>
                </a:ext>
              </a:extLst>
            </p:cNvPr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3960814" y="3089275"/>
              <a:ext cx="7937" cy="57150"/>
            </a:xfrm>
            <a:custGeom>
              <a:avLst/>
              <a:gdLst>
                <a:gd name="T0" fmla="*/ 0 w 14"/>
                <a:gd name="T1" fmla="*/ 57150 h 12"/>
                <a:gd name="T2" fmla="*/ 7937 w 14"/>
                <a:gd name="T3" fmla="*/ 0 h 12"/>
                <a:gd name="T4" fmla="*/ 0 w 14"/>
                <a:gd name="T5" fmla="*/ 57150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3" name="Freeform 45">
              <a:extLst>
                <a:ext uri="{FF2B5EF4-FFF2-40B4-BE49-F238E27FC236}">
                  <a16:creationId xmlns:a16="http://schemas.microsoft.com/office/drawing/2014/main" id="{682B298E-7D0A-496A-90A8-DA924238B977}"/>
                </a:ext>
              </a:extLst>
            </p:cNvPr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3940176" y="3081339"/>
              <a:ext cx="11113" cy="58737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33564 h 7"/>
                <a:gd name="T4" fmla="*/ 823 w 27"/>
                <a:gd name="T5" fmla="*/ 50346 h 7"/>
                <a:gd name="T6" fmla="*/ 2881 w 27"/>
                <a:gd name="T7" fmla="*/ 58737 h 7"/>
                <a:gd name="T8" fmla="*/ 4116 w 27"/>
                <a:gd name="T9" fmla="*/ 58737 h 7"/>
                <a:gd name="T10" fmla="*/ 6174 w 27"/>
                <a:gd name="T11" fmla="*/ 50346 h 7"/>
                <a:gd name="T12" fmla="*/ 7820 w 27"/>
                <a:gd name="T13" fmla="*/ 33564 h 7"/>
                <a:gd name="T14" fmla="*/ 9467 w 27"/>
                <a:gd name="T15" fmla="*/ 16782 h 7"/>
                <a:gd name="T16" fmla="*/ 11113 w 27"/>
                <a:gd name="T17" fmla="*/ 0 h 7"/>
                <a:gd name="T18" fmla="*/ 0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4" name="Freeform 46">
              <a:extLst>
                <a:ext uri="{FF2B5EF4-FFF2-40B4-BE49-F238E27FC236}">
                  <a16:creationId xmlns:a16="http://schemas.microsoft.com/office/drawing/2014/main" id="{5FB845ED-2C85-421E-BA0D-458388A0B957}"/>
                </a:ext>
              </a:extLst>
            </p:cNvPr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3989389" y="3109914"/>
              <a:ext cx="14287" cy="60325"/>
            </a:xfrm>
            <a:custGeom>
              <a:avLst/>
              <a:gdLst>
                <a:gd name="T0" fmla="*/ 0 w 27"/>
                <a:gd name="T1" fmla="*/ 0 h 6"/>
                <a:gd name="T2" fmla="*/ 5821 w 27"/>
                <a:gd name="T3" fmla="*/ 30163 h 6"/>
                <a:gd name="T4" fmla="*/ 14287 w 27"/>
                <a:gd name="T5" fmla="*/ 60325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5" name="Line 47">
              <a:extLst>
                <a:ext uri="{FF2B5EF4-FFF2-40B4-BE49-F238E27FC236}">
                  <a16:creationId xmlns:a16="http://schemas.microsoft.com/office/drawing/2014/main" id="{7003F19A-8D74-44B3-84D7-73CFF4CDFD7A}"/>
                </a:ext>
              </a:extLst>
            </p:cNvPr>
            <p:cNvSpPr>
              <a:spLocks noChangeShapeType="1"/>
            </p:cNvSpPr>
            <p:nvPr>
              <p:custDataLst>
                <p:tags r:id="rId40"/>
              </p:custDataLst>
            </p:nvPr>
          </p:nvSpPr>
          <p:spPr bwMode="auto">
            <a:xfrm flipH="1" flipV="1">
              <a:off x="3997325" y="3106739"/>
              <a:ext cx="6350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96" name="Line 48">
              <a:extLst>
                <a:ext uri="{FF2B5EF4-FFF2-40B4-BE49-F238E27FC236}">
                  <a16:creationId xmlns:a16="http://schemas.microsoft.com/office/drawing/2014/main" id="{41790AA9-56DD-4F8C-A15D-47313225F084}"/>
                </a:ext>
              </a:extLst>
            </p:cNvPr>
            <p:cNvSpPr>
              <a:spLocks noChangeShapeType="1"/>
            </p:cNvSpPr>
            <p:nvPr>
              <p:custDataLst>
                <p:tags r:id="rId41"/>
              </p:custDataLst>
            </p:nvPr>
          </p:nvSpPr>
          <p:spPr bwMode="auto">
            <a:xfrm flipH="1">
              <a:off x="3997325" y="3132138"/>
              <a:ext cx="6350" cy="1111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97" name="Freeform 49">
              <a:extLst>
                <a:ext uri="{FF2B5EF4-FFF2-40B4-BE49-F238E27FC236}">
                  <a16:creationId xmlns:a16="http://schemas.microsoft.com/office/drawing/2014/main" id="{F81B2FE8-63E4-4A70-8041-2A97E57E51B4}"/>
                </a:ext>
              </a:extLst>
            </p:cNvPr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3997326" y="3127375"/>
              <a:ext cx="11113" cy="58738"/>
            </a:xfrm>
            <a:custGeom>
              <a:avLst/>
              <a:gdLst>
                <a:gd name="T0" fmla="*/ 0 w 20"/>
                <a:gd name="T1" fmla="*/ 58738 h 24"/>
                <a:gd name="T2" fmla="*/ 1111 w 20"/>
                <a:gd name="T3" fmla="*/ 58738 h 24"/>
                <a:gd name="T4" fmla="*/ 3334 w 20"/>
                <a:gd name="T5" fmla="*/ 53843 h 24"/>
                <a:gd name="T6" fmla="*/ 5001 w 20"/>
                <a:gd name="T7" fmla="*/ 48948 h 24"/>
                <a:gd name="T8" fmla="*/ 6668 w 20"/>
                <a:gd name="T9" fmla="*/ 39159 h 24"/>
                <a:gd name="T10" fmla="*/ 8335 w 20"/>
                <a:gd name="T11" fmla="*/ 31816 h 24"/>
                <a:gd name="T12" fmla="*/ 10002 w 20"/>
                <a:gd name="T13" fmla="*/ 22027 h 24"/>
                <a:gd name="T14" fmla="*/ 10557 w 20"/>
                <a:gd name="T15" fmla="*/ 9790 h 24"/>
                <a:gd name="T16" fmla="*/ 11113 w 20"/>
                <a:gd name="T17" fmla="*/ 0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8" name="Freeform 50">
              <a:extLst>
                <a:ext uri="{FF2B5EF4-FFF2-40B4-BE49-F238E27FC236}">
                  <a16:creationId xmlns:a16="http://schemas.microsoft.com/office/drawing/2014/main" id="{29D6B942-53A8-4B01-BF51-3A68A31B2A9D}"/>
                </a:ext>
              </a:extLst>
            </p:cNvPr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4003676" y="3155951"/>
              <a:ext cx="17463" cy="55563"/>
            </a:xfrm>
            <a:custGeom>
              <a:avLst/>
              <a:gdLst>
                <a:gd name="T0" fmla="*/ 6879 w 33"/>
                <a:gd name="T1" fmla="*/ 15558 h 25"/>
                <a:gd name="T2" fmla="*/ 0 w 33"/>
                <a:gd name="T3" fmla="*/ 42228 h 25"/>
                <a:gd name="T4" fmla="*/ 5292 w 33"/>
                <a:gd name="T5" fmla="*/ 44450 h 25"/>
                <a:gd name="T6" fmla="*/ 10054 w 33"/>
                <a:gd name="T7" fmla="*/ 48895 h 25"/>
                <a:gd name="T8" fmla="*/ 14288 w 33"/>
                <a:gd name="T9" fmla="*/ 55563 h 25"/>
                <a:gd name="T10" fmla="*/ 17463 w 33"/>
                <a:gd name="T11" fmla="*/ 55563 h 25"/>
                <a:gd name="T12" fmla="*/ 17463 w 33"/>
                <a:gd name="T13" fmla="*/ 0 h 25"/>
                <a:gd name="T14" fmla="*/ 14288 w 33"/>
                <a:gd name="T15" fmla="*/ 0 h 25"/>
                <a:gd name="T16" fmla="*/ 6879 w 33"/>
                <a:gd name="T17" fmla="*/ 15558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9" name="Freeform 51">
              <a:extLst>
                <a:ext uri="{FF2B5EF4-FFF2-40B4-BE49-F238E27FC236}">
                  <a16:creationId xmlns:a16="http://schemas.microsoft.com/office/drawing/2014/main" id="{E5B0BF26-FC00-4631-A53D-39C9B65AC776}"/>
                </a:ext>
              </a:extLst>
            </p:cNvPr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4010026" y="3203575"/>
              <a:ext cx="15875" cy="57150"/>
            </a:xfrm>
            <a:custGeom>
              <a:avLst/>
              <a:gdLst>
                <a:gd name="T0" fmla="*/ 0 w 40"/>
                <a:gd name="T1" fmla="*/ 0 h 18"/>
                <a:gd name="T2" fmla="*/ 1191 w 40"/>
                <a:gd name="T3" fmla="*/ 19050 h 18"/>
                <a:gd name="T4" fmla="*/ 2381 w 40"/>
                <a:gd name="T5" fmla="*/ 34925 h 18"/>
                <a:gd name="T6" fmla="*/ 3969 w 40"/>
                <a:gd name="T7" fmla="*/ 44450 h 18"/>
                <a:gd name="T8" fmla="*/ 5953 w 40"/>
                <a:gd name="T9" fmla="*/ 50800 h 18"/>
                <a:gd name="T10" fmla="*/ 10716 w 40"/>
                <a:gd name="T11" fmla="*/ 57150 h 18"/>
                <a:gd name="T12" fmla="*/ 15875 w 40"/>
                <a:gd name="T13" fmla="*/ 57150 h 18"/>
                <a:gd name="T14" fmla="*/ 15875 w 40"/>
                <a:gd name="T15" fmla="*/ 0 h 18"/>
                <a:gd name="T16" fmla="*/ 11906 w 40"/>
                <a:gd name="T17" fmla="*/ 0 h 18"/>
                <a:gd name="T18" fmla="*/ 7938 w 40"/>
                <a:gd name="T19" fmla="*/ 0 h 18"/>
                <a:gd name="T20" fmla="*/ 3969 w 40"/>
                <a:gd name="T21" fmla="*/ 0 h 18"/>
                <a:gd name="T22" fmla="*/ 0 w 4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0" name="Freeform 52">
              <a:extLst>
                <a:ext uri="{FF2B5EF4-FFF2-40B4-BE49-F238E27FC236}">
                  <a16:creationId xmlns:a16="http://schemas.microsoft.com/office/drawing/2014/main" id="{1A8EDB1F-B6C2-48C2-B499-334A0FE1083A}"/>
                </a:ext>
              </a:extLst>
            </p:cNvPr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4019551" y="3228975"/>
              <a:ext cx="3175" cy="57150"/>
            </a:xfrm>
            <a:custGeom>
              <a:avLst/>
              <a:gdLst>
                <a:gd name="T0" fmla="*/ 1155 w 11"/>
                <a:gd name="T1" fmla="*/ 57150 h 32"/>
                <a:gd name="T2" fmla="*/ 1732 w 11"/>
                <a:gd name="T3" fmla="*/ 50006 h 32"/>
                <a:gd name="T4" fmla="*/ 2309 w 11"/>
                <a:gd name="T5" fmla="*/ 44648 h 32"/>
                <a:gd name="T6" fmla="*/ 2598 w 11"/>
                <a:gd name="T7" fmla="*/ 39291 h 32"/>
                <a:gd name="T8" fmla="*/ 2886 w 11"/>
                <a:gd name="T9" fmla="*/ 32147 h 32"/>
                <a:gd name="T10" fmla="*/ 3175 w 11"/>
                <a:gd name="T11" fmla="*/ 16073 h 32"/>
                <a:gd name="T12" fmla="*/ 3175 w 11"/>
                <a:gd name="T13" fmla="*/ 0 h 32"/>
                <a:gd name="T14" fmla="*/ 1732 w 11"/>
                <a:gd name="T15" fmla="*/ 5358 h 32"/>
                <a:gd name="T16" fmla="*/ 866 w 11"/>
                <a:gd name="T17" fmla="*/ 12502 h 32"/>
                <a:gd name="T18" fmla="*/ 289 w 11"/>
                <a:gd name="T19" fmla="*/ 19645 h 32"/>
                <a:gd name="T20" fmla="*/ 0 w 11"/>
                <a:gd name="T21" fmla="*/ 28575 h 32"/>
                <a:gd name="T22" fmla="*/ 0 w 11"/>
                <a:gd name="T23" fmla="*/ 35719 h 32"/>
                <a:gd name="T24" fmla="*/ 289 w 11"/>
                <a:gd name="T25" fmla="*/ 42863 h 32"/>
                <a:gd name="T26" fmla="*/ 577 w 11"/>
                <a:gd name="T27" fmla="*/ 50006 h 32"/>
                <a:gd name="T28" fmla="*/ 1155 w 11"/>
                <a:gd name="T29" fmla="*/ 57150 h 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1" name="Freeform 53">
              <a:extLst>
                <a:ext uri="{FF2B5EF4-FFF2-40B4-BE49-F238E27FC236}">
                  <a16:creationId xmlns:a16="http://schemas.microsoft.com/office/drawing/2014/main" id="{3EA66F35-6B75-4D9C-BF44-3AF92CF9A919}"/>
                </a:ext>
              </a:extLst>
            </p:cNvPr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4041775" y="3259138"/>
              <a:ext cx="1588" cy="55562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55562 h 24"/>
                <a:gd name="T4" fmla="*/ 1588 w 14"/>
                <a:gd name="T5" fmla="*/ 27781 h 24"/>
                <a:gd name="T6" fmla="*/ 0 w 14"/>
                <a:gd name="T7" fmla="*/ 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2" name="Freeform 54">
              <a:extLst>
                <a:ext uri="{FF2B5EF4-FFF2-40B4-BE49-F238E27FC236}">
                  <a16:creationId xmlns:a16="http://schemas.microsoft.com/office/drawing/2014/main" id="{6EC9A14A-E853-4102-8179-40B5A716F7E3}"/>
                </a:ext>
              </a:extLst>
            </p:cNvPr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4003676" y="3271839"/>
              <a:ext cx="15875" cy="58737"/>
            </a:xfrm>
            <a:custGeom>
              <a:avLst/>
              <a:gdLst>
                <a:gd name="T0" fmla="*/ 0 w 27"/>
                <a:gd name="T1" fmla="*/ 39158 h 18"/>
                <a:gd name="T2" fmla="*/ 4116 w 27"/>
                <a:gd name="T3" fmla="*/ 48948 h 18"/>
                <a:gd name="T4" fmla="*/ 7644 w 27"/>
                <a:gd name="T5" fmla="*/ 58737 h 18"/>
                <a:gd name="T6" fmla="*/ 12935 w 27"/>
                <a:gd name="T7" fmla="*/ 22842 h 18"/>
                <a:gd name="T8" fmla="*/ 15875 w 27"/>
                <a:gd name="T9" fmla="*/ 0 h 18"/>
                <a:gd name="T10" fmla="*/ 12935 w 27"/>
                <a:gd name="T11" fmla="*/ 0 h 18"/>
                <a:gd name="T12" fmla="*/ 10583 w 27"/>
                <a:gd name="T13" fmla="*/ 3263 h 18"/>
                <a:gd name="T14" fmla="*/ 7644 w 27"/>
                <a:gd name="T15" fmla="*/ 6526 h 18"/>
                <a:gd name="T16" fmla="*/ 5880 w 27"/>
                <a:gd name="T17" fmla="*/ 13053 h 18"/>
                <a:gd name="T18" fmla="*/ 2940 w 27"/>
                <a:gd name="T19" fmla="*/ 26105 h 18"/>
                <a:gd name="T20" fmla="*/ 0 w 27"/>
                <a:gd name="T21" fmla="*/ 39158 h 1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3" name="Freeform 55">
              <a:extLst>
                <a:ext uri="{FF2B5EF4-FFF2-40B4-BE49-F238E27FC236}">
                  <a16:creationId xmlns:a16="http://schemas.microsoft.com/office/drawing/2014/main" id="{F6708AEC-6687-4845-A401-A7279297BDD0}"/>
                </a:ext>
              </a:extLst>
            </p:cNvPr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3989388" y="3336925"/>
              <a:ext cx="23812" cy="57150"/>
            </a:xfrm>
            <a:custGeom>
              <a:avLst/>
              <a:gdLst>
                <a:gd name="T0" fmla="*/ 0 w 47"/>
                <a:gd name="T1" fmla="*/ 41988 h 49"/>
                <a:gd name="T2" fmla="*/ 507 w 47"/>
                <a:gd name="T3" fmla="*/ 45487 h 49"/>
                <a:gd name="T4" fmla="*/ 1013 w 47"/>
                <a:gd name="T5" fmla="*/ 47819 h 49"/>
                <a:gd name="T6" fmla="*/ 2027 w 47"/>
                <a:gd name="T7" fmla="*/ 50152 h 49"/>
                <a:gd name="T8" fmla="*/ 3040 w 47"/>
                <a:gd name="T9" fmla="*/ 52485 h 49"/>
                <a:gd name="T10" fmla="*/ 6080 w 47"/>
                <a:gd name="T11" fmla="*/ 55984 h 49"/>
                <a:gd name="T12" fmla="*/ 7093 w 47"/>
                <a:gd name="T13" fmla="*/ 57150 h 49"/>
                <a:gd name="T14" fmla="*/ 9119 w 47"/>
                <a:gd name="T15" fmla="*/ 57150 h 49"/>
                <a:gd name="T16" fmla="*/ 12159 w 47"/>
                <a:gd name="T17" fmla="*/ 53651 h 49"/>
                <a:gd name="T18" fmla="*/ 14693 w 47"/>
                <a:gd name="T19" fmla="*/ 48986 h 49"/>
                <a:gd name="T20" fmla="*/ 17732 w 47"/>
                <a:gd name="T21" fmla="*/ 45487 h 49"/>
                <a:gd name="T22" fmla="*/ 19759 w 47"/>
                <a:gd name="T23" fmla="*/ 40821 h 49"/>
                <a:gd name="T24" fmla="*/ 22292 w 47"/>
                <a:gd name="T25" fmla="*/ 36156 h 49"/>
                <a:gd name="T26" fmla="*/ 23305 w 47"/>
                <a:gd name="T27" fmla="*/ 31491 h 49"/>
                <a:gd name="T28" fmla="*/ 23812 w 47"/>
                <a:gd name="T29" fmla="*/ 27992 h 49"/>
                <a:gd name="T30" fmla="*/ 23812 w 47"/>
                <a:gd name="T31" fmla="*/ 13996 h 49"/>
                <a:gd name="T32" fmla="*/ 23812 w 47"/>
                <a:gd name="T33" fmla="*/ 0 h 49"/>
                <a:gd name="T34" fmla="*/ 13679 w 47"/>
                <a:gd name="T35" fmla="*/ 0 h 49"/>
                <a:gd name="T36" fmla="*/ 8613 w 47"/>
                <a:gd name="T37" fmla="*/ 9331 h 49"/>
                <a:gd name="T38" fmla="*/ 4560 w 47"/>
                <a:gd name="T39" fmla="*/ 18661 h 49"/>
                <a:gd name="T40" fmla="*/ 2533 w 47"/>
                <a:gd name="T41" fmla="*/ 23327 h 49"/>
                <a:gd name="T42" fmla="*/ 1013 w 47"/>
                <a:gd name="T43" fmla="*/ 29158 h 49"/>
                <a:gd name="T44" fmla="*/ 507 w 47"/>
                <a:gd name="T45" fmla="*/ 34990 h 49"/>
                <a:gd name="T46" fmla="*/ 0 w 47"/>
                <a:gd name="T47" fmla="*/ 41988 h 4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4" name="Freeform 56">
              <a:extLst>
                <a:ext uri="{FF2B5EF4-FFF2-40B4-BE49-F238E27FC236}">
                  <a16:creationId xmlns:a16="http://schemas.microsoft.com/office/drawing/2014/main" id="{9AF4D157-5866-4C87-A1DA-7129831E448E}"/>
                </a:ext>
              </a:extLst>
            </p:cNvPr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4008438" y="3313113"/>
              <a:ext cx="12700" cy="57150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25400 h 9"/>
                <a:gd name="T4" fmla="*/ 1465 w 26"/>
                <a:gd name="T5" fmla="*/ 44450 h 9"/>
                <a:gd name="T6" fmla="*/ 2931 w 26"/>
                <a:gd name="T7" fmla="*/ 50800 h 9"/>
                <a:gd name="T8" fmla="*/ 5373 w 26"/>
                <a:gd name="T9" fmla="*/ 57150 h 9"/>
                <a:gd name="T10" fmla="*/ 7327 w 26"/>
                <a:gd name="T11" fmla="*/ 50800 h 9"/>
                <a:gd name="T12" fmla="*/ 9769 w 26"/>
                <a:gd name="T13" fmla="*/ 44450 h 9"/>
                <a:gd name="T14" fmla="*/ 11235 w 26"/>
                <a:gd name="T15" fmla="*/ 25400 h 9"/>
                <a:gd name="T16" fmla="*/ 12700 w 26"/>
                <a:gd name="T17" fmla="*/ 0 h 9"/>
                <a:gd name="T18" fmla="*/ 0 w 26"/>
                <a:gd name="T19" fmla="*/ 0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5" name="Freeform 57">
              <a:extLst>
                <a:ext uri="{FF2B5EF4-FFF2-40B4-BE49-F238E27FC236}">
                  <a16:creationId xmlns:a16="http://schemas.microsoft.com/office/drawing/2014/main" id="{73A815A2-61DF-45CE-8B32-D6D8BD72A982}"/>
                </a:ext>
              </a:extLst>
            </p:cNvPr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3490914" y="2984500"/>
              <a:ext cx="15875" cy="57150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57150 h 18"/>
                <a:gd name="T4" fmla="*/ 2442 w 39"/>
                <a:gd name="T5" fmla="*/ 57150 h 18"/>
                <a:gd name="T6" fmla="*/ 5292 w 39"/>
                <a:gd name="T7" fmla="*/ 57150 h 18"/>
                <a:gd name="T8" fmla="*/ 9362 w 39"/>
                <a:gd name="T9" fmla="*/ 53975 h 18"/>
                <a:gd name="T10" fmla="*/ 12212 w 39"/>
                <a:gd name="T11" fmla="*/ 44450 h 18"/>
                <a:gd name="T12" fmla="*/ 13840 w 39"/>
                <a:gd name="T13" fmla="*/ 38100 h 18"/>
                <a:gd name="T14" fmla="*/ 15061 w 39"/>
                <a:gd name="T15" fmla="*/ 31750 h 18"/>
                <a:gd name="T16" fmla="*/ 15468 w 39"/>
                <a:gd name="T17" fmla="*/ 25400 h 18"/>
                <a:gd name="T18" fmla="*/ 15875 w 39"/>
                <a:gd name="T19" fmla="*/ 19050 h 18"/>
                <a:gd name="T20" fmla="*/ 11804 w 39"/>
                <a:gd name="T21" fmla="*/ 15875 h 18"/>
                <a:gd name="T22" fmla="*/ 7734 w 39"/>
                <a:gd name="T23" fmla="*/ 9525 h 18"/>
                <a:gd name="T24" fmla="*/ 4071 w 39"/>
                <a:gd name="T25" fmla="*/ 0 h 18"/>
                <a:gd name="T26" fmla="*/ 0 w 39"/>
                <a:gd name="T27" fmla="*/ 0 h 1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606" name="Group 58">
              <a:extLst>
                <a:ext uri="{FF2B5EF4-FFF2-40B4-BE49-F238E27FC236}">
                  <a16:creationId xmlns:a16="http://schemas.microsoft.com/office/drawing/2014/main" id="{E2869CFD-0795-4B04-89D9-460928FF71C2}"/>
                </a:ext>
              </a:extLst>
            </p:cNvPr>
            <p:cNvGrpSpPr>
              <a:grpSpLocks/>
            </p:cNvGrpSpPr>
            <p:nvPr>
              <p:custDataLst>
                <p:tags r:id="rId51"/>
              </p:custDataLst>
            </p:nvPr>
          </p:nvGrpSpPr>
          <p:grpSpPr bwMode="auto">
            <a:xfrm>
              <a:off x="3616326" y="2817813"/>
              <a:ext cx="131763" cy="195262"/>
              <a:chOff x="1199" y="2121"/>
              <a:chExt cx="97" cy="123"/>
            </a:xfrm>
          </p:grpSpPr>
          <p:sp>
            <p:nvSpPr>
              <p:cNvPr id="1089" name="Freeform 59">
                <a:extLst>
                  <a:ext uri="{FF2B5EF4-FFF2-40B4-BE49-F238E27FC236}">
                    <a16:creationId xmlns:a16="http://schemas.microsoft.com/office/drawing/2014/main" id="{C40D400B-FBB1-4306-B4EF-BBB695BA21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8 h 25"/>
                  <a:gd name="T2" fmla="*/ 2 w 52"/>
                  <a:gd name="T3" fmla="*/ 8 h 25"/>
                  <a:gd name="T4" fmla="*/ 5 w 52"/>
                  <a:gd name="T5" fmla="*/ 8 h 25"/>
                  <a:gd name="T6" fmla="*/ 7 w 52"/>
                  <a:gd name="T7" fmla="*/ 7 h 25"/>
                  <a:gd name="T8" fmla="*/ 9 w 52"/>
                  <a:gd name="T9" fmla="*/ 6 h 25"/>
                  <a:gd name="T10" fmla="*/ 12 w 52"/>
                  <a:gd name="T11" fmla="*/ 5 h 25"/>
                  <a:gd name="T12" fmla="*/ 13 w 52"/>
                  <a:gd name="T13" fmla="*/ 4 h 25"/>
                  <a:gd name="T14" fmla="*/ 15 w 52"/>
                  <a:gd name="T15" fmla="*/ 2 h 25"/>
                  <a:gd name="T16" fmla="*/ 16 w 52"/>
                  <a:gd name="T17" fmla="*/ 0 h 25"/>
                  <a:gd name="T18" fmla="*/ 12 w 52"/>
                  <a:gd name="T19" fmla="*/ 0 h 25"/>
                  <a:gd name="T20" fmla="*/ 10 w 52"/>
                  <a:gd name="T21" fmla="*/ 0 h 25"/>
                  <a:gd name="T22" fmla="*/ 7 w 52"/>
                  <a:gd name="T23" fmla="*/ 0 h 25"/>
                  <a:gd name="T24" fmla="*/ 5 w 52"/>
                  <a:gd name="T25" fmla="*/ 1 h 25"/>
                  <a:gd name="T26" fmla="*/ 3 w 52"/>
                  <a:gd name="T27" fmla="*/ 2 h 25"/>
                  <a:gd name="T28" fmla="*/ 2 w 52"/>
                  <a:gd name="T29" fmla="*/ 3 h 25"/>
                  <a:gd name="T30" fmla="*/ 1 w 52"/>
                  <a:gd name="T31" fmla="*/ 5 h 25"/>
                  <a:gd name="T32" fmla="*/ 0 w 52"/>
                  <a:gd name="T33" fmla="*/ 8 h 2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0" name="Freeform 60">
                <a:extLst>
                  <a:ext uri="{FF2B5EF4-FFF2-40B4-BE49-F238E27FC236}">
                    <a16:creationId xmlns:a16="http://schemas.microsoft.com/office/drawing/2014/main" id="{A419FD50-819E-4183-BD36-EF7549BB91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2 h 13"/>
                  <a:gd name="T4" fmla="*/ 0 w 33"/>
                  <a:gd name="T5" fmla="*/ 4 h 13"/>
                  <a:gd name="T6" fmla="*/ 3 w 33"/>
                  <a:gd name="T7" fmla="*/ 4 h 13"/>
                  <a:gd name="T8" fmla="*/ 5 w 33"/>
                  <a:gd name="T9" fmla="*/ 4 h 13"/>
                  <a:gd name="T10" fmla="*/ 8 w 33"/>
                  <a:gd name="T11" fmla="*/ 3 h 13"/>
                  <a:gd name="T12" fmla="*/ 11 w 33"/>
                  <a:gd name="T13" fmla="*/ 2 h 13"/>
                  <a:gd name="T14" fmla="*/ 8 w 33"/>
                  <a:gd name="T15" fmla="*/ 1 h 13"/>
                  <a:gd name="T16" fmla="*/ 5 w 33"/>
                  <a:gd name="T17" fmla="*/ 0 h 13"/>
                  <a:gd name="T18" fmla="*/ 3 w 33"/>
                  <a:gd name="T19" fmla="*/ 0 h 13"/>
                  <a:gd name="T20" fmla="*/ 0 w 33"/>
                  <a:gd name="T21" fmla="*/ 0 h 1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1" name="Freeform 61">
                <a:extLst>
                  <a:ext uri="{FF2B5EF4-FFF2-40B4-BE49-F238E27FC236}">
                    <a16:creationId xmlns:a16="http://schemas.microsoft.com/office/drawing/2014/main" id="{A20F538F-8977-4E0E-A66E-C61FF5827A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8 w 67"/>
                  <a:gd name="T1" fmla="*/ 6 h 86"/>
                  <a:gd name="T2" fmla="*/ 0 w 67"/>
                  <a:gd name="T3" fmla="*/ 0 h 86"/>
                  <a:gd name="T4" fmla="*/ 8 w 67"/>
                  <a:gd name="T5" fmla="*/ 0 h 86"/>
                  <a:gd name="T6" fmla="*/ 9 w 67"/>
                  <a:gd name="T7" fmla="*/ 1 h 86"/>
                  <a:gd name="T8" fmla="*/ 10 w 67"/>
                  <a:gd name="T9" fmla="*/ 3 h 86"/>
                  <a:gd name="T10" fmla="*/ 11 w 67"/>
                  <a:gd name="T11" fmla="*/ 4 h 86"/>
                  <a:gd name="T12" fmla="*/ 12 w 67"/>
                  <a:gd name="T13" fmla="*/ 5 h 86"/>
                  <a:gd name="T14" fmla="*/ 14 w 67"/>
                  <a:gd name="T15" fmla="*/ 6 h 86"/>
                  <a:gd name="T16" fmla="*/ 16 w 67"/>
                  <a:gd name="T17" fmla="*/ 6 h 86"/>
                  <a:gd name="T18" fmla="*/ 17 w 67"/>
                  <a:gd name="T19" fmla="*/ 10 h 86"/>
                  <a:gd name="T20" fmla="*/ 19 w 67"/>
                  <a:gd name="T21" fmla="*/ 13 h 86"/>
                  <a:gd name="T22" fmla="*/ 19 w 67"/>
                  <a:gd name="T23" fmla="*/ 15 h 86"/>
                  <a:gd name="T24" fmla="*/ 20 w 67"/>
                  <a:gd name="T25" fmla="*/ 16 h 86"/>
                  <a:gd name="T26" fmla="*/ 20 w 67"/>
                  <a:gd name="T27" fmla="*/ 18 h 86"/>
                  <a:gd name="T28" fmla="*/ 20 w 67"/>
                  <a:gd name="T29" fmla="*/ 20 h 86"/>
                  <a:gd name="T30" fmla="*/ 19 w 67"/>
                  <a:gd name="T31" fmla="*/ 24 h 86"/>
                  <a:gd name="T32" fmla="*/ 18 w 67"/>
                  <a:gd name="T33" fmla="*/ 28 h 86"/>
                  <a:gd name="T34" fmla="*/ 16 w 67"/>
                  <a:gd name="T35" fmla="*/ 22 h 86"/>
                  <a:gd name="T36" fmla="*/ 15 w 67"/>
                  <a:gd name="T37" fmla="*/ 18 h 86"/>
                  <a:gd name="T38" fmla="*/ 15 w 67"/>
                  <a:gd name="T39" fmla="*/ 15 h 86"/>
                  <a:gd name="T40" fmla="*/ 15 w 67"/>
                  <a:gd name="T41" fmla="*/ 13 h 86"/>
                  <a:gd name="T42" fmla="*/ 15 w 67"/>
                  <a:gd name="T43" fmla="*/ 11 h 86"/>
                  <a:gd name="T44" fmla="*/ 16 w 67"/>
                  <a:gd name="T45" fmla="*/ 10 h 86"/>
                  <a:gd name="T46" fmla="*/ 13 w 67"/>
                  <a:gd name="T47" fmla="*/ 10 h 86"/>
                  <a:gd name="T48" fmla="*/ 10 w 67"/>
                  <a:gd name="T49" fmla="*/ 9 h 86"/>
                  <a:gd name="T50" fmla="*/ 10 w 67"/>
                  <a:gd name="T51" fmla="*/ 9 h 86"/>
                  <a:gd name="T52" fmla="*/ 8 w 67"/>
                  <a:gd name="T53" fmla="*/ 8 h 86"/>
                  <a:gd name="T54" fmla="*/ 8 w 67"/>
                  <a:gd name="T55" fmla="*/ 7 h 86"/>
                  <a:gd name="T56" fmla="*/ 8 w 67"/>
                  <a:gd name="T57" fmla="*/ 6 h 8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2" name="Freeform 62">
                <a:extLst>
                  <a:ext uri="{FF2B5EF4-FFF2-40B4-BE49-F238E27FC236}">
                    <a16:creationId xmlns:a16="http://schemas.microsoft.com/office/drawing/2014/main" id="{323177CA-D1F9-4450-A5AD-09A5F2C943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9 w 49"/>
                  <a:gd name="T1" fmla="*/ 4 h 86"/>
                  <a:gd name="T2" fmla="*/ 7 w 49"/>
                  <a:gd name="T3" fmla="*/ 2 h 86"/>
                  <a:gd name="T4" fmla="*/ 5 w 49"/>
                  <a:gd name="T5" fmla="*/ 0 h 86"/>
                  <a:gd name="T6" fmla="*/ 3 w 49"/>
                  <a:gd name="T7" fmla="*/ 2 h 86"/>
                  <a:gd name="T8" fmla="*/ 2 w 49"/>
                  <a:gd name="T9" fmla="*/ 4 h 86"/>
                  <a:gd name="T10" fmla="*/ 0 w 49"/>
                  <a:gd name="T11" fmla="*/ 7 h 86"/>
                  <a:gd name="T12" fmla="*/ 0 w 49"/>
                  <a:gd name="T13" fmla="*/ 10 h 86"/>
                  <a:gd name="T14" fmla="*/ 0 w 49"/>
                  <a:gd name="T15" fmla="*/ 12 h 86"/>
                  <a:gd name="T16" fmla="*/ 1 w 49"/>
                  <a:gd name="T17" fmla="*/ 14 h 86"/>
                  <a:gd name="T18" fmla="*/ 2 w 49"/>
                  <a:gd name="T19" fmla="*/ 16 h 86"/>
                  <a:gd name="T20" fmla="*/ 3 w 49"/>
                  <a:gd name="T21" fmla="*/ 19 h 86"/>
                  <a:gd name="T22" fmla="*/ 4 w 49"/>
                  <a:gd name="T23" fmla="*/ 21 h 86"/>
                  <a:gd name="T24" fmla="*/ 6 w 49"/>
                  <a:gd name="T25" fmla="*/ 24 h 86"/>
                  <a:gd name="T26" fmla="*/ 7 w 49"/>
                  <a:gd name="T27" fmla="*/ 26 h 86"/>
                  <a:gd name="T28" fmla="*/ 9 w 49"/>
                  <a:gd name="T29" fmla="*/ 28 h 86"/>
                  <a:gd name="T30" fmla="*/ 10 w 49"/>
                  <a:gd name="T31" fmla="*/ 26 h 86"/>
                  <a:gd name="T32" fmla="*/ 12 w 49"/>
                  <a:gd name="T33" fmla="*/ 22 h 86"/>
                  <a:gd name="T34" fmla="*/ 14 w 49"/>
                  <a:gd name="T35" fmla="*/ 19 h 86"/>
                  <a:gd name="T36" fmla="*/ 15 w 49"/>
                  <a:gd name="T37" fmla="*/ 15 h 86"/>
                  <a:gd name="T38" fmla="*/ 16 w 49"/>
                  <a:gd name="T39" fmla="*/ 13 h 86"/>
                  <a:gd name="T40" fmla="*/ 16 w 49"/>
                  <a:gd name="T41" fmla="*/ 11 h 86"/>
                  <a:gd name="T42" fmla="*/ 16 w 49"/>
                  <a:gd name="T43" fmla="*/ 8 h 86"/>
                  <a:gd name="T44" fmla="*/ 16 w 49"/>
                  <a:gd name="T45" fmla="*/ 7 h 86"/>
                  <a:gd name="T46" fmla="*/ 14 w 49"/>
                  <a:gd name="T47" fmla="*/ 6 h 86"/>
                  <a:gd name="T48" fmla="*/ 13 w 49"/>
                  <a:gd name="T49" fmla="*/ 5 h 86"/>
                  <a:gd name="T50" fmla="*/ 11 w 49"/>
                  <a:gd name="T51" fmla="*/ 4 h 86"/>
                  <a:gd name="T52" fmla="*/ 9 w 49"/>
                  <a:gd name="T53" fmla="*/ 4 h 8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3" name="Freeform 63">
                <a:extLst>
                  <a:ext uri="{FF2B5EF4-FFF2-40B4-BE49-F238E27FC236}">
                    <a16:creationId xmlns:a16="http://schemas.microsoft.com/office/drawing/2014/main" id="{975EFBA9-AC1E-42B7-99A0-E96EB2907D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4 h 12"/>
                  <a:gd name="T2" fmla="*/ 2 w 6"/>
                  <a:gd name="T3" fmla="*/ 0 h 12"/>
                  <a:gd name="T4" fmla="*/ 1 w 6"/>
                  <a:gd name="T5" fmla="*/ 0 h 12"/>
                  <a:gd name="T6" fmla="*/ 1 w 6"/>
                  <a:gd name="T7" fmla="*/ 1 h 12"/>
                  <a:gd name="T8" fmla="*/ 0 w 6"/>
                  <a:gd name="T9" fmla="*/ 1 h 12"/>
                  <a:gd name="T10" fmla="*/ 0 w 6"/>
                  <a:gd name="T11" fmla="*/ 2 h 12"/>
                  <a:gd name="T12" fmla="*/ 0 w 6"/>
                  <a:gd name="T13" fmla="*/ 3 h 12"/>
                  <a:gd name="T14" fmla="*/ 0 w 6"/>
                  <a:gd name="T15" fmla="*/ 4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4" name="Freeform 64">
                <a:extLst>
                  <a:ext uri="{FF2B5EF4-FFF2-40B4-BE49-F238E27FC236}">
                    <a16:creationId xmlns:a16="http://schemas.microsoft.com/office/drawing/2014/main" id="{940DA1BE-B16C-4929-9E70-A2D6C8EF28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4 w 39"/>
                  <a:gd name="T3" fmla="*/ 3 h 48"/>
                  <a:gd name="T4" fmla="*/ 7 w 39"/>
                  <a:gd name="T5" fmla="*/ 5 h 48"/>
                  <a:gd name="T6" fmla="*/ 11 w 39"/>
                  <a:gd name="T7" fmla="*/ 8 h 48"/>
                  <a:gd name="T8" fmla="*/ 13 w 39"/>
                  <a:gd name="T9" fmla="*/ 9 h 48"/>
                  <a:gd name="T10" fmla="*/ 12 w 39"/>
                  <a:gd name="T11" fmla="*/ 12 h 48"/>
                  <a:gd name="T12" fmla="*/ 11 w 39"/>
                  <a:gd name="T13" fmla="*/ 15 h 48"/>
                  <a:gd name="T14" fmla="*/ 6 w 39"/>
                  <a:gd name="T15" fmla="*/ 11 h 48"/>
                  <a:gd name="T16" fmla="*/ 3 w 39"/>
                  <a:gd name="T17" fmla="*/ 8 h 48"/>
                  <a:gd name="T18" fmla="*/ 1 w 39"/>
                  <a:gd name="T19" fmla="*/ 7 h 48"/>
                  <a:gd name="T20" fmla="*/ 1 w 39"/>
                  <a:gd name="T21" fmla="*/ 5 h 48"/>
                  <a:gd name="T22" fmla="*/ 0 w 39"/>
                  <a:gd name="T23" fmla="*/ 3 h 48"/>
                  <a:gd name="T24" fmla="*/ 0 w 39"/>
                  <a:gd name="T25" fmla="*/ 0 h 4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5" name="Freeform 65">
                <a:extLst>
                  <a:ext uri="{FF2B5EF4-FFF2-40B4-BE49-F238E27FC236}">
                    <a16:creationId xmlns:a16="http://schemas.microsoft.com/office/drawing/2014/main" id="{383EE7AF-B8E9-4EAF-8488-E634BADF97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3 w 16"/>
                  <a:gd name="T1" fmla="*/ 0 h 43"/>
                  <a:gd name="T2" fmla="*/ 4 w 16"/>
                  <a:gd name="T3" fmla="*/ 3 h 43"/>
                  <a:gd name="T4" fmla="*/ 6 w 16"/>
                  <a:gd name="T5" fmla="*/ 5 h 43"/>
                  <a:gd name="T6" fmla="*/ 6 w 16"/>
                  <a:gd name="T7" fmla="*/ 7 h 43"/>
                  <a:gd name="T8" fmla="*/ 6 w 16"/>
                  <a:gd name="T9" fmla="*/ 9 h 43"/>
                  <a:gd name="T10" fmla="*/ 6 w 16"/>
                  <a:gd name="T11" fmla="*/ 10 h 43"/>
                  <a:gd name="T12" fmla="*/ 4 w 16"/>
                  <a:gd name="T13" fmla="*/ 11 h 43"/>
                  <a:gd name="T14" fmla="*/ 3 w 16"/>
                  <a:gd name="T15" fmla="*/ 13 h 43"/>
                  <a:gd name="T16" fmla="*/ 0 w 16"/>
                  <a:gd name="T17" fmla="*/ 14 h 43"/>
                  <a:gd name="T18" fmla="*/ 1 w 16"/>
                  <a:gd name="T19" fmla="*/ 9 h 43"/>
                  <a:gd name="T20" fmla="*/ 2 w 16"/>
                  <a:gd name="T21" fmla="*/ 6 h 43"/>
                  <a:gd name="T22" fmla="*/ 2 w 16"/>
                  <a:gd name="T23" fmla="*/ 3 h 43"/>
                  <a:gd name="T24" fmla="*/ 3 w 16"/>
                  <a:gd name="T25" fmla="*/ 0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6" name="Freeform 66">
                <a:extLst>
                  <a:ext uri="{FF2B5EF4-FFF2-40B4-BE49-F238E27FC236}">
                    <a16:creationId xmlns:a16="http://schemas.microsoft.com/office/drawing/2014/main" id="{94232226-F16C-4CC4-A0B4-1606520507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8 w 24"/>
                  <a:gd name="T1" fmla="*/ 12 h 37"/>
                  <a:gd name="T2" fmla="*/ 6 w 24"/>
                  <a:gd name="T3" fmla="*/ 9 h 37"/>
                  <a:gd name="T4" fmla="*/ 5 w 24"/>
                  <a:gd name="T5" fmla="*/ 6 h 37"/>
                  <a:gd name="T6" fmla="*/ 4 w 24"/>
                  <a:gd name="T7" fmla="*/ 3 h 37"/>
                  <a:gd name="T8" fmla="*/ 4 w 24"/>
                  <a:gd name="T9" fmla="*/ 0 h 37"/>
                  <a:gd name="T10" fmla="*/ 2 w 24"/>
                  <a:gd name="T11" fmla="*/ 3 h 37"/>
                  <a:gd name="T12" fmla="*/ 1 w 24"/>
                  <a:gd name="T13" fmla="*/ 6 h 37"/>
                  <a:gd name="T14" fmla="*/ 0 w 24"/>
                  <a:gd name="T15" fmla="*/ 8 h 37"/>
                  <a:gd name="T16" fmla="*/ 0 w 24"/>
                  <a:gd name="T17" fmla="*/ 10 h 37"/>
                  <a:gd name="T18" fmla="*/ 0 w 24"/>
                  <a:gd name="T19" fmla="*/ 11 h 37"/>
                  <a:gd name="T20" fmla="*/ 1 w 24"/>
                  <a:gd name="T21" fmla="*/ 11 h 37"/>
                  <a:gd name="T22" fmla="*/ 1 w 24"/>
                  <a:gd name="T23" fmla="*/ 12 h 37"/>
                  <a:gd name="T24" fmla="*/ 2 w 24"/>
                  <a:gd name="T25" fmla="*/ 12 h 37"/>
                  <a:gd name="T26" fmla="*/ 5 w 24"/>
                  <a:gd name="T27" fmla="*/ 12 h 37"/>
                  <a:gd name="T28" fmla="*/ 8 w 24"/>
                  <a:gd name="T29" fmla="*/ 12 h 3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7" name="Freeform 67">
                <a:extLst>
                  <a:ext uri="{FF2B5EF4-FFF2-40B4-BE49-F238E27FC236}">
                    <a16:creationId xmlns:a16="http://schemas.microsoft.com/office/drawing/2014/main" id="{C2EE727E-FB3F-4A93-B7BA-3DA8506264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11 w 34"/>
                  <a:gd name="T1" fmla="*/ 0 h 55"/>
                  <a:gd name="T2" fmla="*/ 11 w 34"/>
                  <a:gd name="T3" fmla="*/ 4 h 55"/>
                  <a:gd name="T4" fmla="*/ 11 w 34"/>
                  <a:gd name="T5" fmla="*/ 8 h 55"/>
                  <a:gd name="T6" fmla="*/ 11 w 34"/>
                  <a:gd name="T7" fmla="*/ 10 h 55"/>
                  <a:gd name="T8" fmla="*/ 10 w 34"/>
                  <a:gd name="T9" fmla="*/ 12 h 55"/>
                  <a:gd name="T10" fmla="*/ 9 w 34"/>
                  <a:gd name="T11" fmla="*/ 13 h 55"/>
                  <a:gd name="T12" fmla="*/ 8 w 34"/>
                  <a:gd name="T13" fmla="*/ 15 h 55"/>
                  <a:gd name="T14" fmla="*/ 6 w 34"/>
                  <a:gd name="T15" fmla="*/ 16 h 55"/>
                  <a:gd name="T16" fmla="*/ 5 w 34"/>
                  <a:gd name="T17" fmla="*/ 16 h 55"/>
                  <a:gd name="T18" fmla="*/ 3 w 34"/>
                  <a:gd name="T19" fmla="*/ 17 h 55"/>
                  <a:gd name="T20" fmla="*/ 0 w 34"/>
                  <a:gd name="T21" fmla="*/ 17 h 55"/>
                  <a:gd name="T22" fmla="*/ 3 w 34"/>
                  <a:gd name="T23" fmla="*/ 11 h 55"/>
                  <a:gd name="T24" fmla="*/ 5 w 34"/>
                  <a:gd name="T25" fmla="*/ 6 h 55"/>
                  <a:gd name="T26" fmla="*/ 6 w 34"/>
                  <a:gd name="T27" fmla="*/ 5 h 55"/>
                  <a:gd name="T28" fmla="*/ 7 w 34"/>
                  <a:gd name="T29" fmla="*/ 3 h 55"/>
                  <a:gd name="T30" fmla="*/ 9 w 34"/>
                  <a:gd name="T31" fmla="*/ 2 h 55"/>
                  <a:gd name="T32" fmla="*/ 11 w 34"/>
                  <a:gd name="T33" fmla="*/ 0 h 5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8" name="Freeform 68">
                <a:extLst>
                  <a:ext uri="{FF2B5EF4-FFF2-40B4-BE49-F238E27FC236}">
                    <a16:creationId xmlns:a16="http://schemas.microsoft.com/office/drawing/2014/main" id="{C7109174-DED9-4348-83A5-28E204B72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1 w 33"/>
                  <a:gd name="T3" fmla="*/ 1 h 12"/>
                  <a:gd name="T4" fmla="*/ 2 w 33"/>
                  <a:gd name="T5" fmla="*/ 2 h 12"/>
                  <a:gd name="T6" fmla="*/ 3 w 33"/>
                  <a:gd name="T7" fmla="*/ 3 h 12"/>
                  <a:gd name="T8" fmla="*/ 5 w 33"/>
                  <a:gd name="T9" fmla="*/ 4 h 12"/>
                  <a:gd name="T10" fmla="*/ 8 w 33"/>
                  <a:gd name="T11" fmla="*/ 4 h 12"/>
                  <a:gd name="T12" fmla="*/ 11 w 33"/>
                  <a:gd name="T13" fmla="*/ 4 h 12"/>
                  <a:gd name="T14" fmla="*/ 9 w 33"/>
                  <a:gd name="T15" fmla="*/ 3 h 12"/>
                  <a:gd name="T16" fmla="*/ 6 w 33"/>
                  <a:gd name="T17" fmla="*/ 1 h 12"/>
                  <a:gd name="T18" fmla="*/ 3 w 33"/>
                  <a:gd name="T19" fmla="*/ 0 h 12"/>
                  <a:gd name="T20" fmla="*/ 0 w 33"/>
                  <a:gd name="T21" fmla="*/ 0 h 1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607" name="Freeform 69">
              <a:extLst>
                <a:ext uri="{FF2B5EF4-FFF2-40B4-BE49-F238E27FC236}">
                  <a16:creationId xmlns:a16="http://schemas.microsoft.com/office/drawing/2014/main" id="{CC64C753-3DB2-46F6-9ACF-62123FB50341}"/>
                </a:ext>
              </a:extLst>
            </p:cNvPr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9429750" y="4244975"/>
              <a:ext cx="12700" cy="57150"/>
            </a:xfrm>
            <a:custGeom>
              <a:avLst/>
              <a:gdLst>
                <a:gd name="T0" fmla="*/ 0 w 33"/>
                <a:gd name="T1" fmla="*/ 57150 h 62"/>
                <a:gd name="T2" fmla="*/ 0 w 33"/>
                <a:gd name="T3" fmla="*/ 48854 h 62"/>
                <a:gd name="T4" fmla="*/ 0 w 33"/>
                <a:gd name="T5" fmla="*/ 41480 h 62"/>
                <a:gd name="T6" fmla="*/ 0 w 33"/>
                <a:gd name="T7" fmla="*/ 34106 h 62"/>
                <a:gd name="T8" fmla="*/ 0 w 33"/>
                <a:gd name="T9" fmla="*/ 28575 h 62"/>
                <a:gd name="T10" fmla="*/ 0 w 33"/>
                <a:gd name="T11" fmla="*/ 23966 h 62"/>
                <a:gd name="T12" fmla="*/ 770 w 33"/>
                <a:gd name="T13" fmla="*/ 20279 h 62"/>
                <a:gd name="T14" fmla="*/ 1539 w 33"/>
                <a:gd name="T15" fmla="*/ 15670 h 62"/>
                <a:gd name="T16" fmla="*/ 3079 w 33"/>
                <a:gd name="T17" fmla="*/ 11983 h 62"/>
                <a:gd name="T18" fmla="*/ 5388 w 33"/>
                <a:gd name="T19" fmla="*/ 5531 h 62"/>
                <a:gd name="T20" fmla="*/ 7697 w 33"/>
                <a:gd name="T21" fmla="*/ 0 h 62"/>
                <a:gd name="T22" fmla="*/ 10006 w 33"/>
                <a:gd name="T23" fmla="*/ 5531 h 62"/>
                <a:gd name="T24" fmla="*/ 12700 w 33"/>
                <a:gd name="T25" fmla="*/ 11983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8" name="Freeform 70">
              <a:extLst>
                <a:ext uri="{FF2B5EF4-FFF2-40B4-BE49-F238E27FC236}">
                  <a16:creationId xmlns:a16="http://schemas.microsoft.com/office/drawing/2014/main" id="{4BE42AA8-8F30-48F6-B871-E5E0FC278FD1}"/>
                </a:ext>
              </a:extLst>
            </p:cNvPr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9439276" y="4335464"/>
              <a:ext cx="9525" cy="58737"/>
            </a:xfrm>
            <a:custGeom>
              <a:avLst/>
              <a:gdLst>
                <a:gd name="T0" fmla="*/ 0 w 26"/>
                <a:gd name="T1" fmla="*/ 58737 h 18"/>
                <a:gd name="T2" fmla="*/ 0 w 26"/>
                <a:gd name="T3" fmla="*/ 0 h 18"/>
                <a:gd name="T4" fmla="*/ 9525 w 26"/>
                <a:gd name="T5" fmla="*/ 0 h 18"/>
                <a:gd name="T6" fmla="*/ 2198 w 26"/>
                <a:gd name="T7" fmla="*/ 39158 h 18"/>
                <a:gd name="T8" fmla="*/ 2198 w 26"/>
                <a:gd name="T9" fmla="*/ 19579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9" name="Freeform 71">
              <a:extLst>
                <a:ext uri="{FF2B5EF4-FFF2-40B4-BE49-F238E27FC236}">
                  <a16:creationId xmlns:a16="http://schemas.microsoft.com/office/drawing/2014/main" id="{42586BA6-1890-46E1-80B2-BDBBCED0D9BD}"/>
                </a:ext>
              </a:extLst>
            </p:cNvPr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9553575" y="4244976"/>
              <a:ext cx="77788" cy="130175"/>
            </a:xfrm>
            <a:custGeom>
              <a:avLst/>
              <a:gdLst>
                <a:gd name="T0" fmla="*/ 77788 w 180"/>
                <a:gd name="T1" fmla="*/ 120412 h 240"/>
                <a:gd name="T2" fmla="*/ 75627 w 180"/>
                <a:gd name="T3" fmla="*/ 120954 h 240"/>
                <a:gd name="T4" fmla="*/ 73899 w 180"/>
                <a:gd name="T5" fmla="*/ 120954 h 240"/>
                <a:gd name="T6" fmla="*/ 72170 w 180"/>
                <a:gd name="T7" fmla="*/ 122039 h 240"/>
                <a:gd name="T8" fmla="*/ 70874 w 180"/>
                <a:gd name="T9" fmla="*/ 123124 h 240"/>
                <a:gd name="T10" fmla="*/ 68281 w 180"/>
                <a:gd name="T11" fmla="*/ 125836 h 240"/>
                <a:gd name="T12" fmla="*/ 66120 w 180"/>
                <a:gd name="T13" fmla="*/ 130175 h 240"/>
                <a:gd name="T14" fmla="*/ 60502 w 180"/>
                <a:gd name="T15" fmla="*/ 125836 h 240"/>
                <a:gd name="T16" fmla="*/ 56612 w 180"/>
                <a:gd name="T17" fmla="*/ 120954 h 240"/>
                <a:gd name="T18" fmla="*/ 53155 w 180"/>
                <a:gd name="T19" fmla="*/ 116073 h 240"/>
                <a:gd name="T20" fmla="*/ 50994 w 180"/>
                <a:gd name="T21" fmla="*/ 111734 h 240"/>
                <a:gd name="T22" fmla="*/ 48401 w 180"/>
                <a:gd name="T23" fmla="*/ 105767 h 240"/>
                <a:gd name="T24" fmla="*/ 45808 w 180"/>
                <a:gd name="T25" fmla="*/ 100343 h 240"/>
                <a:gd name="T26" fmla="*/ 42351 w 180"/>
                <a:gd name="T27" fmla="*/ 94377 h 240"/>
                <a:gd name="T28" fmla="*/ 37598 w 180"/>
                <a:gd name="T29" fmla="*/ 87326 h 240"/>
                <a:gd name="T30" fmla="*/ 35437 w 180"/>
                <a:gd name="T31" fmla="*/ 82987 h 240"/>
                <a:gd name="T32" fmla="*/ 32412 w 180"/>
                <a:gd name="T33" fmla="*/ 79190 h 240"/>
                <a:gd name="T34" fmla="*/ 30251 w 180"/>
                <a:gd name="T35" fmla="*/ 75393 h 240"/>
                <a:gd name="T36" fmla="*/ 26794 w 180"/>
                <a:gd name="T37" fmla="*/ 72139 h 240"/>
                <a:gd name="T38" fmla="*/ 20743 w 180"/>
                <a:gd name="T39" fmla="*/ 65630 h 240"/>
                <a:gd name="T40" fmla="*/ 14261 w 180"/>
                <a:gd name="T41" fmla="*/ 59664 h 240"/>
                <a:gd name="T42" fmla="*/ 11668 w 180"/>
                <a:gd name="T43" fmla="*/ 56409 h 240"/>
                <a:gd name="T44" fmla="*/ 9075 w 180"/>
                <a:gd name="T45" fmla="*/ 53155 h 240"/>
                <a:gd name="T46" fmla="*/ 6482 w 180"/>
                <a:gd name="T47" fmla="*/ 49900 h 240"/>
                <a:gd name="T48" fmla="*/ 4322 w 180"/>
                <a:gd name="T49" fmla="*/ 45561 h 240"/>
                <a:gd name="T50" fmla="*/ 2593 w 180"/>
                <a:gd name="T51" fmla="*/ 41764 h 240"/>
                <a:gd name="T52" fmla="*/ 1729 w 180"/>
                <a:gd name="T53" fmla="*/ 36883 h 240"/>
                <a:gd name="T54" fmla="*/ 432 w 180"/>
                <a:gd name="T55" fmla="*/ 32544 h 240"/>
                <a:gd name="T56" fmla="*/ 0 w 180"/>
                <a:gd name="T57" fmla="*/ 27120 h 240"/>
                <a:gd name="T58" fmla="*/ 0 w 180"/>
                <a:gd name="T59" fmla="*/ 18984 h 240"/>
                <a:gd name="T60" fmla="*/ 0 w 180"/>
                <a:gd name="T61" fmla="*/ 13560 h 240"/>
                <a:gd name="T62" fmla="*/ 0 w 180"/>
                <a:gd name="T63" fmla="*/ 8136 h 240"/>
                <a:gd name="T64" fmla="*/ 0 w 180"/>
                <a:gd name="T65" fmla="*/ 0 h 240"/>
                <a:gd name="T66" fmla="*/ 4322 w 180"/>
                <a:gd name="T67" fmla="*/ 4339 h 240"/>
                <a:gd name="T68" fmla="*/ 8211 w 180"/>
                <a:gd name="T69" fmla="*/ 9221 h 240"/>
                <a:gd name="T70" fmla="*/ 11668 w 180"/>
                <a:gd name="T71" fmla="*/ 14645 h 240"/>
                <a:gd name="T72" fmla="*/ 14693 w 180"/>
                <a:gd name="T73" fmla="*/ 20611 h 240"/>
                <a:gd name="T74" fmla="*/ 17718 w 180"/>
                <a:gd name="T75" fmla="*/ 26035 h 240"/>
                <a:gd name="T76" fmla="*/ 19879 w 180"/>
                <a:gd name="T77" fmla="*/ 31459 h 240"/>
                <a:gd name="T78" fmla="*/ 22040 w 180"/>
                <a:gd name="T79" fmla="*/ 35798 h 240"/>
                <a:gd name="T80" fmla="*/ 23336 w 180"/>
                <a:gd name="T81" fmla="*/ 40137 h 240"/>
                <a:gd name="T82" fmla="*/ 25929 w 180"/>
                <a:gd name="T83" fmla="*/ 46646 h 240"/>
                <a:gd name="T84" fmla="*/ 28522 w 180"/>
                <a:gd name="T85" fmla="*/ 53155 h 240"/>
                <a:gd name="T86" fmla="*/ 31980 w 180"/>
                <a:gd name="T87" fmla="*/ 58036 h 240"/>
                <a:gd name="T88" fmla="*/ 35437 w 180"/>
                <a:gd name="T89" fmla="*/ 62918 h 240"/>
                <a:gd name="T90" fmla="*/ 43216 w 180"/>
                <a:gd name="T91" fmla="*/ 72139 h 240"/>
                <a:gd name="T92" fmla="*/ 51427 w 180"/>
                <a:gd name="T93" fmla="*/ 80817 h 240"/>
                <a:gd name="T94" fmla="*/ 60070 w 180"/>
                <a:gd name="T95" fmla="*/ 88953 h 240"/>
                <a:gd name="T96" fmla="*/ 66984 w 180"/>
                <a:gd name="T97" fmla="*/ 97631 h 240"/>
                <a:gd name="T98" fmla="*/ 70441 w 180"/>
                <a:gd name="T99" fmla="*/ 102513 h 240"/>
                <a:gd name="T100" fmla="*/ 73034 w 180"/>
                <a:gd name="T101" fmla="*/ 107937 h 240"/>
                <a:gd name="T102" fmla="*/ 75627 w 180"/>
                <a:gd name="T103" fmla="*/ 113903 h 240"/>
                <a:gd name="T104" fmla="*/ 77788 w 180"/>
                <a:gd name="T105" fmla="*/ 120412 h 2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0" name="Freeform 72">
              <a:extLst>
                <a:ext uri="{FF2B5EF4-FFF2-40B4-BE49-F238E27FC236}">
                  <a16:creationId xmlns:a16="http://schemas.microsoft.com/office/drawing/2014/main" id="{79179817-56DD-4D46-81AB-A8F5646CBCF9}"/>
                </a:ext>
              </a:extLst>
            </p:cNvPr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9553575" y="4217988"/>
              <a:ext cx="14288" cy="57150"/>
            </a:xfrm>
            <a:custGeom>
              <a:avLst/>
              <a:gdLst>
                <a:gd name="T0" fmla="*/ 0 w 27"/>
                <a:gd name="T1" fmla="*/ 0 h 30"/>
                <a:gd name="T2" fmla="*/ 529 w 27"/>
                <a:gd name="T3" fmla="*/ 9525 h 30"/>
                <a:gd name="T4" fmla="*/ 1588 w 27"/>
                <a:gd name="T5" fmla="*/ 20955 h 30"/>
                <a:gd name="T6" fmla="*/ 2117 w 27"/>
                <a:gd name="T7" fmla="*/ 26670 h 30"/>
                <a:gd name="T8" fmla="*/ 2117 w 27"/>
                <a:gd name="T9" fmla="*/ 36195 h 30"/>
                <a:gd name="T10" fmla="*/ 1588 w 27"/>
                <a:gd name="T11" fmla="*/ 45720 h 30"/>
                <a:gd name="T12" fmla="*/ 0 w 27"/>
                <a:gd name="T13" fmla="*/ 57150 h 30"/>
                <a:gd name="T14" fmla="*/ 8996 w 27"/>
                <a:gd name="T15" fmla="*/ 51435 h 30"/>
                <a:gd name="T16" fmla="*/ 14288 w 27"/>
                <a:gd name="T17" fmla="*/ 45720 h 30"/>
                <a:gd name="T18" fmla="*/ 12171 w 27"/>
                <a:gd name="T19" fmla="*/ 38100 h 30"/>
                <a:gd name="T20" fmla="*/ 8996 w 27"/>
                <a:gd name="T21" fmla="*/ 22860 h 30"/>
                <a:gd name="T22" fmla="*/ 5821 w 27"/>
                <a:gd name="T23" fmla="*/ 15240 h 30"/>
                <a:gd name="T24" fmla="*/ 3704 w 27"/>
                <a:gd name="T25" fmla="*/ 7620 h 30"/>
                <a:gd name="T26" fmla="*/ 2117 w 27"/>
                <a:gd name="T27" fmla="*/ 1905 h 30"/>
                <a:gd name="T28" fmla="*/ 0 w 27"/>
                <a:gd name="T29" fmla="*/ 0 h 3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611" name="Group 73">
              <a:extLst>
                <a:ext uri="{FF2B5EF4-FFF2-40B4-BE49-F238E27FC236}">
                  <a16:creationId xmlns:a16="http://schemas.microsoft.com/office/drawing/2014/main" id="{6ADD1DF3-51FF-444E-880D-384C236793FF}"/>
                </a:ext>
              </a:extLst>
            </p:cNvPr>
            <p:cNvGrpSpPr>
              <a:grpSpLocks/>
            </p:cNvGrpSpPr>
            <p:nvPr>
              <p:custDataLst>
                <p:tags r:id="rId56"/>
              </p:custDataLst>
            </p:nvPr>
          </p:nvGrpSpPr>
          <p:grpSpPr bwMode="auto">
            <a:xfrm>
              <a:off x="9244014" y="4738688"/>
              <a:ext cx="458787" cy="404812"/>
              <a:chOff x="5372" y="3323"/>
              <a:chExt cx="341" cy="253"/>
            </a:xfrm>
            <a:solidFill>
              <a:srgbClr val="0070C0"/>
            </a:solidFill>
          </p:grpSpPr>
          <p:sp>
            <p:nvSpPr>
              <p:cNvPr id="1086" name="Freeform 74">
                <a:extLst>
                  <a:ext uri="{FF2B5EF4-FFF2-40B4-BE49-F238E27FC236}">
                    <a16:creationId xmlns:a16="http://schemas.microsoft.com/office/drawing/2014/main" id="{9F8E69B1-36BF-4727-93A9-38FBC2B5F8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10 h 33"/>
                  <a:gd name="T2" fmla="*/ 1 w 53"/>
                  <a:gd name="T3" fmla="*/ 9 h 33"/>
                  <a:gd name="T4" fmla="*/ 2 w 53"/>
                  <a:gd name="T5" fmla="*/ 7 h 33"/>
                  <a:gd name="T6" fmla="*/ 5 w 53"/>
                  <a:gd name="T7" fmla="*/ 5 h 33"/>
                  <a:gd name="T8" fmla="*/ 6 w 53"/>
                  <a:gd name="T9" fmla="*/ 4 h 33"/>
                  <a:gd name="T10" fmla="*/ 9 w 53"/>
                  <a:gd name="T11" fmla="*/ 2 h 33"/>
                  <a:gd name="T12" fmla="*/ 11 w 53"/>
                  <a:gd name="T13" fmla="*/ 1 h 33"/>
                  <a:gd name="T14" fmla="*/ 14 w 53"/>
                  <a:gd name="T15" fmla="*/ 0 h 33"/>
                  <a:gd name="T16" fmla="*/ 16 w 53"/>
                  <a:gd name="T17" fmla="*/ 0 h 33"/>
                  <a:gd name="T18" fmla="*/ 16 w 53"/>
                  <a:gd name="T19" fmla="*/ 6 h 33"/>
                  <a:gd name="T20" fmla="*/ 11 w 53"/>
                  <a:gd name="T21" fmla="*/ 8 h 33"/>
                  <a:gd name="T22" fmla="*/ 8 w 53"/>
                  <a:gd name="T23" fmla="*/ 10 h 33"/>
                  <a:gd name="T24" fmla="*/ 6 w 53"/>
                  <a:gd name="T25" fmla="*/ 11 h 33"/>
                  <a:gd name="T26" fmla="*/ 5 w 53"/>
                  <a:gd name="T27" fmla="*/ 11 h 33"/>
                  <a:gd name="T28" fmla="*/ 3 w 53"/>
                  <a:gd name="T29" fmla="*/ 11 h 33"/>
                  <a:gd name="T30" fmla="*/ 0 w 53"/>
                  <a:gd name="T31" fmla="*/ 10 h 3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7" name="Freeform 75">
                <a:extLst>
                  <a:ext uri="{FF2B5EF4-FFF2-40B4-BE49-F238E27FC236}">
                    <a16:creationId xmlns:a16="http://schemas.microsoft.com/office/drawing/2014/main" id="{F9958A5B-5BB1-4918-B275-821E8B2B9F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8 w 631"/>
                  <a:gd name="T1" fmla="*/ 97 h 358"/>
                  <a:gd name="T2" fmla="*/ 16 w 631"/>
                  <a:gd name="T3" fmla="*/ 95 h 358"/>
                  <a:gd name="T4" fmla="*/ 21 w 631"/>
                  <a:gd name="T5" fmla="*/ 91 h 358"/>
                  <a:gd name="T6" fmla="*/ 25 w 631"/>
                  <a:gd name="T7" fmla="*/ 83 h 358"/>
                  <a:gd name="T8" fmla="*/ 32 w 631"/>
                  <a:gd name="T9" fmla="*/ 84 h 358"/>
                  <a:gd name="T10" fmla="*/ 40 w 631"/>
                  <a:gd name="T11" fmla="*/ 83 h 358"/>
                  <a:gd name="T12" fmla="*/ 45 w 631"/>
                  <a:gd name="T13" fmla="*/ 81 h 358"/>
                  <a:gd name="T14" fmla="*/ 52 w 631"/>
                  <a:gd name="T15" fmla="*/ 75 h 358"/>
                  <a:gd name="T16" fmla="*/ 58 w 631"/>
                  <a:gd name="T17" fmla="*/ 68 h 358"/>
                  <a:gd name="T18" fmla="*/ 68 w 631"/>
                  <a:gd name="T19" fmla="*/ 63 h 358"/>
                  <a:gd name="T20" fmla="*/ 83 w 631"/>
                  <a:gd name="T21" fmla="*/ 57 h 358"/>
                  <a:gd name="T22" fmla="*/ 105 w 631"/>
                  <a:gd name="T23" fmla="*/ 50 h 358"/>
                  <a:gd name="T24" fmla="*/ 116 w 631"/>
                  <a:gd name="T25" fmla="*/ 45 h 358"/>
                  <a:gd name="T26" fmla="*/ 125 w 631"/>
                  <a:gd name="T27" fmla="*/ 42 h 358"/>
                  <a:gd name="T28" fmla="*/ 130 w 631"/>
                  <a:gd name="T29" fmla="*/ 42 h 358"/>
                  <a:gd name="T30" fmla="*/ 141 w 631"/>
                  <a:gd name="T31" fmla="*/ 35 h 358"/>
                  <a:gd name="T32" fmla="*/ 150 w 631"/>
                  <a:gd name="T33" fmla="*/ 26 h 358"/>
                  <a:gd name="T34" fmla="*/ 153 w 631"/>
                  <a:gd name="T35" fmla="*/ 21 h 358"/>
                  <a:gd name="T36" fmla="*/ 161 w 631"/>
                  <a:gd name="T37" fmla="*/ 19 h 358"/>
                  <a:gd name="T38" fmla="*/ 172 w 631"/>
                  <a:gd name="T39" fmla="*/ 12 h 358"/>
                  <a:gd name="T40" fmla="*/ 182 w 631"/>
                  <a:gd name="T41" fmla="*/ 4 h 358"/>
                  <a:gd name="T42" fmla="*/ 189 w 631"/>
                  <a:gd name="T43" fmla="*/ 0 h 358"/>
                  <a:gd name="T44" fmla="*/ 193 w 631"/>
                  <a:gd name="T45" fmla="*/ 7 h 358"/>
                  <a:gd name="T46" fmla="*/ 198 w 631"/>
                  <a:gd name="T47" fmla="*/ 10 h 358"/>
                  <a:gd name="T48" fmla="*/ 200 w 631"/>
                  <a:gd name="T49" fmla="*/ 15 h 358"/>
                  <a:gd name="T50" fmla="*/ 192 w 631"/>
                  <a:gd name="T51" fmla="*/ 29 h 358"/>
                  <a:gd name="T52" fmla="*/ 182 w 631"/>
                  <a:gd name="T53" fmla="*/ 41 h 358"/>
                  <a:gd name="T54" fmla="*/ 169 w 631"/>
                  <a:gd name="T55" fmla="*/ 50 h 358"/>
                  <a:gd name="T56" fmla="*/ 156 w 631"/>
                  <a:gd name="T57" fmla="*/ 57 h 358"/>
                  <a:gd name="T58" fmla="*/ 142 w 631"/>
                  <a:gd name="T59" fmla="*/ 59 h 358"/>
                  <a:gd name="T60" fmla="*/ 140 w 631"/>
                  <a:gd name="T61" fmla="*/ 64 h 358"/>
                  <a:gd name="T62" fmla="*/ 139 w 631"/>
                  <a:gd name="T63" fmla="*/ 65 h 358"/>
                  <a:gd name="T64" fmla="*/ 126 w 631"/>
                  <a:gd name="T65" fmla="*/ 65 h 358"/>
                  <a:gd name="T66" fmla="*/ 117 w 631"/>
                  <a:gd name="T67" fmla="*/ 69 h 358"/>
                  <a:gd name="T68" fmla="*/ 111 w 631"/>
                  <a:gd name="T69" fmla="*/ 69 h 358"/>
                  <a:gd name="T70" fmla="*/ 108 w 631"/>
                  <a:gd name="T71" fmla="*/ 67 h 358"/>
                  <a:gd name="T72" fmla="*/ 100 w 631"/>
                  <a:gd name="T73" fmla="*/ 79 h 358"/>
                  <a:gd name="T74" fmla="*/ 87 w 631"/>
                  <a:gd name="T75" fmla="*/ 92 h 358"/>
                  <a:gd name="T76" fmla="*/ 70 w 631"/>
                  <a:gd name="T77" fmla="*/ 103 h 358"/>
                  <a:gd name="T78" fmla="*/ 53 w 631"/>
                  <a:gd name="T79" fmla="*/ 112 h 358"/>
                  <a:gd name="T80" fmla="*/ 35 w 631"/>
                  <a:gd name="T81" fmla="*/ 117 h 358"/>
                  <a:gd name="T82" fmla="*/ 23 w 631"/>
                  <a:gd name="T83" fmla="*/ 116 h 358"/>
                  <a:gd name="T84" fmla="*/ 18 w 631"/>
                  <a:gd name="T85" fmla="*/ 114 h 358"/>
                  <a:gd name="T86" fmla="*/ 11 w 631"/>
                  <a:gd name="T87" fmla="*/ 111 h 35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8" name="Freeform 76">
                <a:extLst>
                  <a:ext uri="{FF2B5EF4-FFF2-40B4-BE49-F238E27FC236}">
                    <a16:creationId xmlns:a16="http://schemas.microsoft.com/office/drawing/2014/main" id="{08369AD1-2D1A-43B4-8EF6-9BC80D3E5D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19 w 359"/>
                  <a:gd name="T1" fmla="*/ 94 h 431"/>
                  <a:gd name="T2" fmla="*/ 31 w 359"/>
                  <a:gd name="T3" fmla="*/ 88 h 431"/>
                  <a:gd name="T4" fmla="*/ 53 w 359"/>
                  <a:gd name="T5" fmla="*/ 68 h 431"/>
                  <a:gd name="T6" fmla="*/ 56 w 359"/>
                  <a:gd name="T7" fmla="*/ 55 h 431"/>
                  <a:gd name="T8" fmla="*/ 58 w 359"/>
                  <a:gd name="T9" fmla="*/ 49 h 431"/>
                  <a:gd name="T10" fmla="*/ 62 w 359"/>
                  <a:gd name="T11" fmla="*/ 45 h 431"/>
                  <a:gd name="T12" fmla="*/ 61 w 359"/>
                  <a:gd name="T13" fmla="*/ 41 h 431"/>
                  <a:gd name="T14" fmla="*/ 58 w 359"/>
                  <a:gd name="T15" fmla="*/ 31 h 431"/>
                  <a:gd name="T16" fmla="*/ 56 w 359"/>
                  <a:gd name="T17" fmla="*/ 11 h 431"/>
                  <a:gd name="T18" fmla="*/ 59 w 359"/>
                  <a:gd name="T19" fmla="*/ 0 h 431"/>
                  <a:gd name="T20" fmla="*/ 63 w 359"/>
                  <a:gd name="T21" fmla="*/ 4 h 431"/>
                  <a:gd name="T22" fmla="*/ 67 w 359"/>
                  <a:gd name="T23" fmla="*/ 9 h 431"/>
                  <a:gd name="T24" fmla="*/ 75 w 359"/>
                  <a:gd name="T25" fmla="*/ 18 h 431"/>
                  <a:gd name="T26" fmla="*/ 77 w 359"/>
                  <a:gd name="T27" fmla="*/ 24 h 431"/>
                  <a:gd name="T28" fmla="*/ 77 w 359"/>
                  <a:gd name="T29" fmla="*/ 29 h 431"/>
                  <a:gd name="T30" fmla="*/ 73 w 359"/>
                  <a:gd name="T31" fmla="*/ 33 h 431"/>
                  <a:gd name="T32" fmla="*/ 66 w 359"/>
                  <a:gd name="T33" fmla="*/ 39 h 431"/>
                  <a:gd name="T34" fmla="*/ 64 w 359"/>
                  <a:gd name="T35" fmla="*/ 43 h 431"/>
                  <a:gd name="T36" fmla="*/ 64 w 359"/>
                  <a:gd name="T37" fmla="*/ 49 h 431"/>
                  <a:gd name="T38" fmla="*/ 66 w 359"/>
                  <a:gd name="T39" fmla="*/ 52 h 431"/>
                  <a:gd name="T40" fmla="*/ 73 w 359"/>
                  <a:gd name="T41" fmla="*/ 52 h 431"/>
                  <a:gd name="T42" fmla="*/ 75 w 359"/>
                  <a:gd name="T43" fmla="*/ 50 h 431"/>
                  <a:gd name="T44" fmla="*/ 75 w 359"/>
                  <a:gd name="T45" fmla="*/ 44 h 431"/>
                  <a:gd name="T46" fmla="*/ 84 w 359"/>
                  <a:gd name="T47" fmla="*/ 63 h 431"/>
                  <a:gd name="T48" fmla="*/ 88 w 359"/>
                  <a:gd name="T49" fmla="*/ 68 h 431"/>
                  <a:gd name="T50" fmla="*/ 94 w 359"/>
                  <a:gd name="T51" fmla="*/ 72 h 431"/>
                  <a:gd name="T52" fmla="*/ 97 w 359"/>
                  <a:gd name="T53" fmla="*/ 71 h 431"/>
                  <a:gd name="T54" fmla="*/ 101 w 359"/>
                  <a:gd name="T55" fmla="*/ 67 h 431"/>
                  <a:gd name="T56" fmla="*/ 110 w 359"/>
                  <a:gd name="T57" fmla="*/ 63 h 431"/>
                  <a:gd name="T58" fmla="*/ 115 w 359"/>
                  <a:gd name="T59" fmla="*/ 67 h 431"/>
                  <a:gd name="T60" fmla="*/ 111 w 359"/>
                  <a:gd name="T61" fmla="*/ 79 h 431"/>
                  <a:gd name="T62" fmla="*/ 104 w 359"/>
                  <a:gd name="T63" fmla="*/ 85 h 431"/>
                  <a:gd name="T64" fmla="*/ 95 w 359"/>
                  <a:gd name="T65" fmla="*/ 90 h 431"/>
                  <a:gd name="T66" fmla="*/ 80 w 359"/>
                  <a:gd name="T67" fmla="*/ 94 h 431"/>
                  <a:gd name="T68" fmla="*/ 67 w 359"/>
                  <a:gd name="T69" fmla="*/ 98 h 431"/>
                  <a:gd name="T70" fmla="*/ 62 w 359"/>
                  <a:gd name="T71" fmla="*/ 101 h 431"/>
                  <a:gd name="T72" fmla="*/ 58 w 359"/>
                  <a:gd name="T73" fmla="*/ 111 h 431"/>
                  <a:gd name="T74" fmla="*/ 53 w 359"/>
                  <a:gd name="T75" fmla="*/ 116 h 431"/>
                  <a:gd name="T76" fmla="*/ 35 w 359"/>
                  <a:gd name="T77" fmla="*/ 129 h 431"/>
                  <a:gd name="T78" fmla="*/ 16 w 359"/>
                  <a:gd name="T79" fmla="*/ 139 h 431"/>
                  <a:gd name="T80" fmla="*/ 6 w 359"/>
                  <a:gd name="T81" fmla="*/ 141 h 431"/>
                  <a:gd name="T82" fmla="*/ 2 w 359"/>
                  <a:gd name="T83" fmla="*/ 139 h 431"/>
                  <a:gd name="T84" fmla="*/ 0 w 359"/>
                  <a:gd name="T85" fmla="*/ 136 h 431"/>
                  <a:gd name="T86" fmla="*/ 0 w 359"/>
                  <a:gd name="T87" fmla="*/ 132 h 431"/>
                  <a:gd name="T88" fmla="*/ 3 w 359"/>
                  <a:gd name="T89" fmla="*/ 128 h 431"/>
                  <a:gd name="T90" fmla="*/ 18 w 359"/>
                  <a:gd name="T91" fmla="*/ 122 h 431"/>
                  <a:gd name="T92" fmla="*/ 24 w 359"/>
                  <a:gd name="T93" fmla="*/ 115 h 431"/>
                  <a:gd name="T94" fmla="*/ 23 w 359"/>
                  <a:gd name="T95" fmla="*/ 110 h 431"/>
                  <a:gd name="T96" fmla="*/ 21 w 359"/>
                  <a:gd name="T97" fmla="*/ 107 h 431"/>
                  <a:gd name="T98" fmla="*/ 16 w 359"/>
                  <a:gd name="T99" fmla="*/ 105 h 431"/>
                  <a:gd name="T100" fmla="*/ 6 w 359"/>
                  <a:gd name="T101" fmla="*/ 105 h 43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612" name="Freeform 77">
              <a:extLst>
                <a:ext uri="{FF2B5EF4-FFF2-40B4-BE49-F238E27FC236}">
                  <a16:creationId xmlns:a16="http://schemas.microsoft.com/office/drawing/2014/main" id="{27C48047-ADEB-40F5-BA1B-D1E8A4617732}"/>
                </a:ext>
              </a:extLst>
            </p:cNvPr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8886826" y="3395663"/>
              <a:ext cx="9525" cy="57150"/>
            </a:xfrm>
            <a:custGeom>
              <a:avLst/>
              <a:gdLst>
                <a:gd name="T0" fmla="*/ 0 w 21"/>
                <a:gd name="T1" fmla="*/ 39636 h 62"/>
                <a:gd name="T2" fmla="*/ 454 w 21"/>
                <a:gd name="T3" fmla="*/ 26731 h 62"/>
                <a:gd name="T4" fmla="*/ 1361 w 21"/>
                <a:gd name="T5" fmla="*/ 15670 h 62"/>
                <a:gd name="T6" fmla="*/ 1814 w 21"/>
                <a:gd name="T7" fmla="*/ 10140 h 62"/>
                <a:gd name="T8" fmla="*/ 2721 w 21"/>
                <a:gd name="T9" fmla="*/ 6452 h 62"/>
                <a:gd name="T10" fmla="*/ 4082 w 21"/>
                <a:gd name="T11" fmla="*/ 2765 h 62"/>
                <a:gd name="T12" fmla="*/ 6804 w 21"/>
                <a:gd name="T13" fmla="*/ 0 h 62"/>
                <a:gd name="T14" fmla="*/ 6804 w 21"/>
                <a:gd name="T15" fmla="*/ 13827 h 62"/>
                <a:gd name="T16" fmla="*/ 8164 w 21"/>
                <a:gd name="T17" fmla="*/ 28575 h 62"/>
                <a:gd name="T18" fmla="*/ 9071 w 21"/>
                <a:gd name="T19" fmla="*/ 40558 h 62"/>
                <a:gd name="T20" fmla="*/ 9525 w 21"/>
                <a:gd name="T21" fmla="*/ 45167 h 62"/>
                <a:gd name="T22" fmla="*/ 4536 w 21"/>
                <a:gd name="T23" fmla="*/ 50698 h 62"/>
                <a:gd name="T24" fmla="*/ 0 w 21"/>
                <a:gd name="T25" fmla="*/ 57150 h 62"/>
                <a:gd name="T26" fmla="*/ 0 w 21"/>
                <a:gd name="T27" fmla="*/ 39636 h 6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3" name="Freeform 78">
              <a:extLst>
                <a:ext uri="{FF2B5EF4-FFF2-40B4-BE49-F238E27FC236}">
                  <a16:creationId xmlns:a16="http://schemas.microsoft.com/office/drawing/2014/main" id="{B97921CF-114E-47E7-88CB-0FAEF3664B51}"/>
                </a:ext>
              </a:extLst>
            </p:cNvPr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9613900" y="4297363"/>
              <a:ext cx="14288" cy="57150"/>
            </a:xfrm>
            <a:custGeom>
              <a:avLst/>
              <a:gdLst>
                <a:gd name="T0" fmla="*/ 0 w 33"/>
                <a:gd name="T1" fmla="*/ 0 h 24"/>
                <a:gd name="T2" fmla="*/ 2165 w 33"/>
                <a:gd name="T3" fmla="*/ 11906 h 24"/>
                <a:gd name="T4" fmla="*/ 4330 w 33"/>
                <a:gd name="T5" fmla="*/ 23813 h 24"/>
                <a:gd name="T6" fmla="*/ 4763 w 33"/>
                <a:gd name="T7" fmla="*/ 30956 h 24"/>
                <a:gd name="T8" fmla="*/ 5196 w 33"/>
                <a:gd name="T9" fmla="*/ 38100 h 24"/>
                <a:gd name="T10" fmla="*/ 5629 w 33"/>
                <a:gd name="T11" fmla="*/ 47625 h 24"/>
                <a:gd name="T12" fmla="*/ 5629 w 33"/>
                <a:gd name="T13" fmla="*/ 57150 h 24"/>
                <a:gd name="T14" fmla="*/ 14288 w 33"/>
                <a:gd name="T15" fmla="*/ 0 h 24"/>
                <a:gd name="T16" fmla="*/ 10391 w 33"/>
                <a:gd name="T17" fmla="*/ 0 h 24"/>
                <a:gd name="T18" fmla="*/ 6928 w 33"/>
                <a:gd name="T19" fmla="*/ 0 h 24"/>
                <a:gd name="T20" fmla="*/ 3897 w 33"/>
                <a:gd name="T21" fmla="*/ 0 h 24"/>
                <a:gd name="T22" fmla="*/ 0 w 33"/>
                <a:gd name="T23" fmla="*/ 0 h 2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4" name="Freeform 79">
              <a:extLst>
                <a:ext uri="{FF2B5EF4-FFF2-40B4-BE49-F238E27FC236}">
                  <a16:creationId xmlns:a16="http://schemas.microsoft.com/office/drawing/2014/main" id="{460DF73D-86A4-4C12-92B5-653F5689834E}"/>
                </a:ext>
              </a:extLst>
            </p:cNvPr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9636126" y="4306889"/>
              <a:ext cx="17463" cy="58737"/>
            </a:xfrm>
            <a:custGeom>
              <a:avLst/>
              <a:gdLst>
                <a:gd name="T0" fmla="*/ 13759 w 33"/>
                <a:gd name="T1" fmla="*/ 58737 h 25"/>
                <a:gd name="T2" fmla="*/ 15346 w 33"/>
                <a:gd name="T3" fmla="*/ 51689 h 25"/>
                <a:gd name="T4" fmla="*/ 17463 w 33"/>
                <a:gd name="T5" fmla="*/ 42291 h 25"/>
                <a:gd name="T6" fmla="*/ 17463 w 33"/>
                <a:gd name="T7" fmla="*/ 0 h 25"/>
                <a:gd name="T8" fmla="*/ 13230 w 33"/>
                <a:gd name="T9" fmla="*/ 0 h 25"/>
                <a:gd name="T10" fmla="*/ 8467 w 33"/>
                <a:gd name="T11" fmla="*/ 0 h 25"/>
                <a:gd name="T12" fmla="*/ 3175 w 33"/>
                <a:gd name="T13" fmla="*/ 0 h 25"/>
                <a:gd name="T14" fmla="*/ 0 w 33"/>
                <a:gd name="T15" fmla="*/ 0 h 25"/>
                <a:gd name="T16" fmla="*/ 13759 w 33"/>
                <a:gd name="T17" fmla="*/ 58737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5" name="Freeform 80">
              <a:extLst>
                <a:ext uri="{FF2B5EF4-FFF2-40B4-BE49-F238E27FC236}">
                  <a16:creationId xmlns:a16="http://schemas.microsoft.com/office/drawing/2014/main" id="{72AD32AD-52C5-4E99-8406-6E89EDC355B3}"/>
                </a:ext>
              </a:extLst>
            </p:cNvPr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8950325" y="3384551"/>
              <a:ext cx="1588" cy="55563"/>
            </a:xfrm>
            <a:custGeom>
              <a:avLst/>
              <a:gdLst>
                <a:gd name="T0" fmla="*/ 0 w 7"/>
                <a:gd name="T1" fmla="*/ 0 h 55563"/>
                <a:gd name="T2" fmla="*/ 1588 w 7"/>
                <a:gd name="T3" fmla="*/ 0 h 55563"/>
                <a:gd name="T4" fmla="*/ 0 w 7"/>
                <a:gd name="T5" fmla="*/ 0 h 5556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55563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6" name="Freeform 81">
              <a:extLst>
                <a:ext uri="{FF2B5EF4-FFF2-40B4-BE49-F238E27FC236}">
                  <a16:creationId xmlns:a16="http://schemas.microsoft.com/office/drawing/2014/main" id="{45E52067-3DAD-4B7C-9E47-F84CCA4ECBD8}"/>
                </a:ext>
              </a:extLst>
            </p:cNvPr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9009063" y="3328988"/>
              <a:ext cx="6350" cy="57150"/>
            </a:xfrm>
            <a:custGeom>
              <a:avLst/>
              <a:gdLst>
                <a:gd name="T0" fmla="*/ 6350 w 16"/>
                <a:gd name="T1" fmla="*/ 0 h 25"/>
                <a:gd name="T2" fmla="*/ 6350 w 16"/>
                <a:gd name="T3" fmla="*/ 13716 h 25"/>
                <a:gd name="T4" fmla="*/ 5556 w 16"/>
                <a:gd name="T5" fmla="*/ 29718 h 25"/>
                <a:gd name="T6" fmla="*/ 5159 w 16"/>
                <a:gd name="T7" fmla="*/ 36576 h 25"/>
                <a:gd name="T8" fmla="*/ 4366 w 16"/>
                <a:gd name="T9" fmla="*/ 45720 h 25"/>
                <a:gd name="T10" fmla="*/ 2778 w 16"/>
                <a:gd name="T11" fmla="*/ 52578 h 25"/>
                <a:gd name="T12" fmla="*/ 1191 w 16"/>
                <a:gd name="T13" fmla="*/ 57150 h 25"/>
                <a:gd name="T14" fmla="*/ 397 w 16"/>
                <a:gd name="T15" fmla="*/ 54864 h 25"/>
                <a:gd name="T16" fmla="*/ 0 w 16"/>
                <a:gd name="T17" fmla="*/ 48006 h 25"/>
                <a:gd name="T18" fmla="*/ 397 w 16"/>
                <a:gd name="T19" fmla="*/ 41148 h 25"/>
                <a:gd name="T20" fmla="*/ 794 w 16"/>
                <a:gd name="T21" fmla="*/ 29718 h 25"/>
                <a:gd name="T22" fmla="*/ 1588 w 16"/>
                <a:gd name="T23" fmla="*/ 20574 h 25"/>
                <a:gd name="T24" fmla="*/ 2778 w 16"/>
                <a:gd name="T25" fmla="*/ 9144 h 25"/>
                <a:gd name="T26" fmla="*/ 4366 w 16"/>
                <a:gd name="T27" fmla="*/ 2286 h 25"/>
                <a:gd name="T28" fmla="*/ 6350 w 16"/>
                <a:gd name="T29" fmla="*/ 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7" name="Freeform 82">
              <a:extLst>
                <a:ext uri="{FF2B5EF4-FFF2-40B4-BE49-F238E27FC236}">
                  <a16:creationId xmlns:a16="http://schemas.microsoft.com/office/drawing/2014/main" id="{D1BD5E90-B4B5-41C9-B8EB-748F743C9907}"/>
                </a:ext>
              </a:extLst>
            </p:cNvPr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9121776" y="3217863"/>
              <a:ext cx="4763" cy="57150"/>
            </a:xfrm>
            <a:custGeom>
              <a:avLst/>
              <a:gdLst>
                <a:gd name="T0" fmla="*/ 0 w 14"/>
                <a:gd name="T1" fmla="*/ 0 h 18"/>
                <a:gd name="T2" fmla="*/ 1021 w 14"/>
                <a:gd name="T3" fmla="*/ 3175 h 18"/>
                <a:gd name="T4" fmla="*/ 1701 w 14"/>
                <a:gd name="T5" fmla="*/ 6350 h 18"/>
                <a:gd name="T6" fmla="*/ 2382 w 14"/>
                <a:gd name="T7" fmla="*/ 12700 h 18"/>
                <a:gd name="T8" fmla="*/ 3062 w 14"/>
                <a:gd name="T9" fmla="*/ 22225 h 18"/>
                <a:gd name="T10" fmla="*/ 4423 w 14"/>
                <a:gd name="T11" fmla="*/ 41275 h 18"/>
                <a:gd name="T12" fmla="*/ 4763 w 14"/>
                <a:gd name="T13" fmla="*/ 57150 h 18"/>
                <a:gd name="T14" fmla="*/ 0 w 14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8" name="Freeform 83">
              <a:extLst>
                <a:ext uri="{FF2B5EF4-FFF2-40B4-BE49-F238E27FC236}">
                  <a16:creationId xmlns:a16="http://schemas.microsoft.com/office/drawing/2014/main" id="{C22C168D-143C-4298-B46D-61C835A57047}"/>
                </a:ext>
              </a:extLst>
            </p:cNvPr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9274175" y="3916364"/>
              <a:ext cx="26988" cy="58737"/>
            </a:xfrm>
            <a:custGeom>
              <a:avLst/>
              <a:gdLst>
                <a:gd name="T0" fmla="*/ 0 w 67"/>
                <a:gd name="T1" fmla="*/ 0 h 74"/>
                <a:gd name="T2" fmla="*/ 403 w 67"/>
                <a:gd name="T3" fmla="*/ 13494 h 74"/>
                <a:gd name="T4" fmla="*/ 1208 w 67"/>
                <a:gd name="T5" fmla="*/ 23812 h 74"/>
                <a:gd name="T6" fmla="*/ 2820 w 67"/>
                <a:gd name="T7" fmla="*/ 32543 h 74"/>
                <a:gd name="T8" fmla="*/ 4834 w 67"/>
                <a:gd name="T9" fmla="*/ 39687 h 74"/>
                <a:gd name="T10" fmla="*/ 6848 w 67"/>
                <a:gd name="T11" fmla="*/ 46037 h 74"/>
                <a:gd name="T12" fmla="*/ 9265 w 67"/>
                <a:gd name="T13" fmla="*/ 50800 h 74"/>
                <a:gd name="T14" fmla="*/ 11279 w 67"/>
                <a:gd name="T15" fmla="*/ 54768 h 74"/>
                <a:gd name="T16" fmla="*/ 13293 w 67"/>
                <a:gd name="T17" fmla="*/ 58737 h 74"/>
                <a:gd name="T18" fmla="*/ 17723 w 67"/>
                <a:gd name="T19" fmla="*/ 51593 h 74"/>
                <a:gd name="T20" fmla="*/ 22154 w 67"/>
                <a:gd name="T21" fmla="*/ 43656 h 74"/>
                <a:gd name="T22" fmla="*/ 23766 w 67"/>
                <a:gd name="T23" fmla="*/ 38893 h 74"/>
                <a:gd name="T24" fmla="*/ 25377 w 67"/>
                <a:gd name="T25" fmla="*/ 34131 h 74"/>
                <a:gd name="T26" fmla="*/ 26585 w 67"/>
                <a:gd name="T27" fmla="*/ 29369 h 74"/>
                <a:gd name="T28" fmla="*/ 26988 w 67"/>
                <a:gd name="T29" fmla="*/ 23812 h 74"/>
                <a:gd name="T30" fmla="*/ 26988 w 67"/>
                <a:gd name="T31" fmla="*/ 19844 h 74"/>
                <a:gd name="T32" fmla="*/ 26988 w 67"/>
                <a:gd name="T33" fmla="*/ 14287 h 74"/>
                <a:gd name="T34" fmla="*/ 26988 w 67"/>
                <a:gd name="T35" fmla="*/ 7144 h 74"/>
                <a:gd name="T36" fmla="*/ 26988 w 67"/>
                <a:gd name="T37" fmla="*/ 0 h 74"/>
                <a:gd name="T38" fmla="*/ 19335 w 67"/>
                <a:gd name="T39" fmla="*/ 0 h 74"/>
                <a:gd name="T40" fmla="*/ 13293 w 67"/>
                <a:gd name="T41" fmla="*/ 0 h 74"/>
                <a:gd name="T42" fmla="*/ 6848 w 67"/>
                <a:gd name="T43" fmla="*/ 0 h 74"/>
                <a:gd name="T44" fmla="*/ 0 w 67"/>
                <a:gd name="T45" fmla="*/ 0 h 7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9" name="Freeform 84">
              <a:extLst>
                <a:ext uri="{FF2B5EF4-FFF2-40B4-BE49-F238E27FC236}">
                  <a16:creationId xmlns:a16="http://schemas.microsoft.com/office/drawing/2014/main" id="{6ADEA5E4-53E2-4DA4-A0E3-3B683CB157BF}"/>
                </a:ext>
              </a:extLst>
            </p:cNvPr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9337675" y="3930650"/>
              <a:ext cx="12700" cy="57150"/>
            </a:xfrm>
            <a:custGeom>
              <a:avLst/>
              <a:gdLst>
                <a:gd name="T0" fmla="*/ 0 w 34"/>
                <a:gd name="T1" fmla="*/ 0 h 38"/>
                <a:gd name="T2" fmla="*/ 747 w 34"/>
                <a:gd name="T3" fmla="*/ 4512 h 38"/>
                <a:gd name="T4" fmla="*/ 1494 w 34"/>
                <a:gd name="T5" fmla="*/ 10528 h 38"/>
                <a:gd name="T6" fmla="*/ 1868 w 34"/>
                <a:gd name="T7" fmla="*/ 16543 h 38"/>
                <a:gd name="T8" fmla="*/ 2241 w 34"/>
                <a:gd name="T9" fmla="*/ 24063 h 38"/>
                <a:gd name="T10" fmla="*/ 3735 w 34"/>
                <a:gd name="T11" fmla="*/ 42111 h 38"/>
                <a:gd name="T12" fmla="*/ 4856 w 34"/>
                <a:gd name="T13" fmla="*/ 57150 h 38"/>
                <a:gd name="T14" fmla="*/ 5976 w 34"/>
                <a:gd name="T15" fmla="*/ 55646 h 38"/>
                <a:gd name="T16" fmla="*/ 7471 w 34"/>
                <a:gd name="T17" fmla="*/ 54142 h 38"/>
                <a:gd name="T18" fmla="*/ 8591 w 34"/>
                <a:gd name="T19" fmla="*/ 51134 h 38"/>
                <a:gd name="T20" fmla="*/ 9712 w 34"/>
                <a:gd name="T21" fmla="*/ 46622 h 38"/>
                <a:gd name="T22" fmla="*/ 10459 w 34"/>
                <a:gd name="T23" fmla="*/ 42111 h 38"/>
                <a:gd name="T24" fmla="*/ 11953 w 34"/>
                <a:gd name="T25" fmla="*/ 36095 h 38"/>
                <a:gd name="T26" fmla="*/ 12326 w 34"/>
                <a:gd name="T27" fmla="*/ 31583 h 38"/>
                <a:gd name="T28" fmla="*/ 12700 w 34"/>
                <a:gd name="T29" fmla="*/ 28575 h 38"/>
                <a:gd name="T30" fmla="*/ 11579 w 34"/>
                <a:gd name="T31" fmla="*/ 27071 h 38"/>
                <a:gd name="T32" fmla="*/ 10459 w 34"/>
                <a:gd name="T33" fmla="*/ 25567 h 38"/>
                <a:gd name="T34" fmla="*/ 9712 w 34"/>
                <a:gd name="T35" fmla="*/ 21055 h 38"/>
                <a:gd name="T36" fmla="*/ 8965 w 34"/>
                <a:gd name="T37" fmla="*/ 18047 h 38"/>
                <a:gd name="T38" fmla="*/ 7097 w 34"/>
                <a:gd name="T39" fmla="*/ 9024 h 38"/>
                <a:gd name="T40" fmla="*/ 4856 w 34"/>
                <a:gd name="T41" fmla="*/ 0 h 38"/>
                <a:gd name="T42" fmla="*/ 2241 w 34"/>
                <a:gd name="T43" fmla="*/ 0 h 38"/>
                <a:gd name="T44" fmla="*/ 0 w 34"/>
                <a:gd name="T45" fmla="*/ 0 h 3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20" name="Freeform 85">
              <a:extLst>
                <a:ext uri="{FF2B5EF4-FFF2-40B4-BE49-F238E27FC236}">
                  <a16:creationId xmlns:a16="http://schemas.microsoft.com/office/drawing/2014/main" id="{1D83479C-0042-4482-8C67-BDFC35DB4BA5}"/>
                </a:ext>
              </a:extLst>
            </p:cNvPr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9194800" y="3706813"/>
              <a:ext cx="25400" cy="55562"/>
            </a:xfrm>
            <a:custGeom>
              <a:avLst/>
              <a:gdLst>
                <a:gd name="T0" fmla="*/ 25400 w 53"/>
                <a:gd name="T1" fmla="*/ 55562 h 23"/>
                <a:gd name="T2" fmla="*/ 25400 w 53"/>
                <a:gd name="T3" fmla="*/ 9663 h 23"/>
                <a:gd name="T4" fmla="*/ 23483 w 53"/>
                <a:gd name="T5" fmla="*/ 4831 h 23"/>
                <a:gd name="T6" fmla="*/ 21566 w 53"/>
                <a:gd name="T7" fmla="*/ 2416 h 23"/>
                <a:gd name="T8" fmla="*/ 20128 w 53"/>
                <a:gd name="T9" fmla="*/ 0 h 23"/>
                <a:gd name="T10" fmla="*/ 18211 w 53"/>
                <a:gd name="T11" fmla="*/ 0 h 23"/>
                <a:gd name="T12" fmla="*/ 14857 w 53"/>
                <a:gd name="T13" fmla="*/ 2416 h 23"/>
                <a:gd name="T14" fmla="*/ 11502 w 53"/>
                <a:gd name="T15" fmla="*/ 9663 h 23"/>
                <a:gd name="T16" fmla="*/ 5272 w 53"/>
                <a:gd name="T17" fmla="*/ 31405 h 23"/>
                <a:gd name="T18" fmla="*/ 0 w 53"/>
                <a:gd name="T19" fmla="*/ 55562 h 23"/>
                <a:gd name="T20" fmla="*/ 25400 w 53"/>
                <a:gd name="T21" fmla="*/ 55562 h 2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21" name="Freeform 86">
              <a:extLst>
                <a:ext uri="{FF2B5EF4-FFF2-40B4-BE49-F238E27FC236}">
                  <a16:creationId xmlns:a16="http://schemas.microsoft.com/office/drawing/2014/main" id="{ABCD38E5-D057-40F7-B5F5-A80EF54E9EE9}"/>
                </a:ext>
              </a:extLst>
            </p:cNvPr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9137651" y="3681413"/>
              <a:ext cx="11113" cy="57150"/>
            </a:xfrm>
            <a:custGeom>
              <a:avLst/>
              <a:gdLst>
                <a:gd name="T0" fmla="*/ 0 w 26"/>
                <a:gd name="T1" fmla="*/ 0 h 12"/>
                <a:gd name="T2" fmla="*/ 1710 w 26"/>
                <a:gd name="T3" fmla="*/ 19050 h 12"/>
                <a:gd name="T4" fmla="*/ 4702 w 26"/>
                <a:gd name="T5" fmla="*/ 38100 h 12"/>
                <a:gd name="T6" fmla="*/ 5984 w 26"/>
                <a:gd name="T7" fmla="*/ 42863 h 12"/>
                <a:gd name="T8" fmla="*/ 7694 w 26"/>
                <a:gd name="T9" fmla="*/ 52388 h 12"/>
                <a:gd name="T10" fmla="*/ 9403 w 26"/>
                <a:gd name="T11" fmla="*/ 52388 h 12"/>
                <a:gd name="T12" fmla="*/ 11113 w 26"/>
                <a:gd name="T13" fmla="*/ 57150 h 12"/>
                <a:gd name="T14" fmla="*/ 8976 w 26"/>
                <a:gd name="T15" fmla="*/ 33338 h 12"/>
                <a:gd name="T16" fmla="*/ 5557 w 26"/>
                <a:gd name="T17" fmla="*/ 14288 h 12"/>
                <a:gd name="T18" fmla="*/ 2137 w 26"/>
                <a:gd name="T19" fmla="*/ 4763 h 12"/>
                <a:gd name="T20" fmla="*/ 0 w 26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22" name="Freeform 87">
              <a:extLst>
                <a:ext uri="{FF2B5EF4-FFF2-40B4-BE49-F238E27FC236}">
                  <a16:creationId xmlns:a16="http://schemas.microsoft.com/office/drawing/2014/main" id="{A90576AE-26DF-4C5C-8CF1-2B8C2F4A3ECE}"/>
                </a:ext>
              </a:extLst>
            </p:cNvPr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9337675" y="4013200"/>
              <a:ext cx="31750" cy="57150"/>
            </a:xfrm>
            <a:custGeom>
              <a:avLst/>
              <a:gdLst>
                <a:gd name="T0" fmla="*/ 0 w 73"/>
                <a:gd name="T1" fmla="*/ 0 h 57150"/>
                <a:gd name="T2" fmla="*/ 8699 w 73"/>
                <a:gd name="T3" fmla="*/ 0 h 57150"/>
                <a:gd name="T4" fmla="*/ 16092 w 73"/>
                <a:gd name="T5" fmla="*/ 0 h 57150"/>
                <a:gd name="T6" fmla="*/ 23921 w 73"/>
                <a:gd name="T7" fmla="*/ 0 h 57150"/>
                <a:gd name="T8" fmla="*/ 31750 w 73"/>
                <a:gd name="T9" fmla="*/ 0 h 571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3" h="57150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23" name="Freeform 88">
              <a:extLst>
                <a:ext uri="{FF2B5EF4-FFF2-40B4-BE49-F238E27FC236}">
                  <a16:creationId xmlns:a16="http://schemas.microsoft.com/office/drawing/2014/main" id="{97C82A5D-F8F4-4161-A1A3-4C96C2F6B524}"/>
                </a:ext>
              </a:extLst>
            </p:cNvPr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9293226" y="4002088"/>
              <a:ext cx="22225" cy="57150"/>
            </a:xfrm>
            <a:custGeom>
              <a:avLst/>
              <a:gdLst>
                <a:gd name="T0" fmla="*/ 0 w 53"/>
                <a:gd name="T1" fmla="*/ 0 h 3"/>
                <a:gd name="T2" fmla="*/ 5871 w 53"/>
                <a:gd name="T3" fmla="*/ 0 h 3"/>
                <a:gd name="T4" fmla="*/ 11322 w 53"/>
                <a:gd name="T5" fmla="*/ 57150 h 3"/>
                <a:gd name="T6" fmla="*/ 13419 w 53"/>
                <a:gd name="T7" fmla="*/ 57150 h 3"/>
                <a:gd name="T8" fmla="*/ 16354 w 53"/>
                <a:gd name="T9" fmla="*/ 57150 h 3"/>
                <a:gd name="T10" fmla="*/ 18870 w 53"/>
                <a:gd name="T11" fmla="*/ 19050 h 3"/>
                <a:gd name="T12" fmla="*/ 22225 w 53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24" name="Line 89">
              <a:extLst>
                <a:ext uri="{FF2B5EF4-FFF2-40B4-BE49-F238E27FC236}">
                  <a16:creationId xmlns:a16="http://schemas.microsoft.com/office/drawing/2014/main" id="{6437A946-8586-4F6E-8310-1E3C9D39D20B}"/>
                </a:ext>
              </a:extLst>
            </p:cNvPr>
            <p:cNvSpPr>
              <a:spLocks noChangeShapeType="1"/>
            </p:cNvSpPr>
            <p:nvPr>
              <p:custDataLst>
                <p:tags r:id="rId69"/>
              </p:custDataLst>
            </p:nvPr>
          </p:nvSpPr>
          <p:spPr bwMode="auto">
            <a:xfrm>
              <a:off x="9326564" y="3987800"/>
              <a:ext cx="20637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25" name="Freeform 90">
              <a:extLst>
                <a:ext uri="{FF2B5EF4-FFF2-40B4-BE49-F238E27FC236}">
                  <a16:creationId xmlns:a16="http://schemas.microsoft.com/office/drawing/2014/main" id="{63B44E18-8598-49CD-A2E3-D5302124988C}"/>
                </a:ext>
              </a:extLst>
            </p:cNvPr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9347200" y="3994150"/>
              <a:ext cx="1588" cy="57150"/>
            </a:xfrm>
            <a:custGeom>
              <a:avLst/>
              <a:gdLst>
                <a:gd name="T0" fmla="*/ 0 w 1588"/>
                <a:gd name="T1" fmla="*/ 0 h 13"/>
                <a:gd name="T2" fmla="*/ 0 w 1588"/>
                <a:gd name="T3" fmla="*/ 26377 h 13"/>
                <a:gd name="T4" fmla="*/ 0 w 1588"/>
                <a:gd name="T5" fmla="*/ 57150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26" name="Freeform 91">
              <a:extLst>
                <a:ext uri="{FF2B5EF4-FFF2-40B4-BE49-F238E27FC236}">
                  <a16:creationId xmlns:a16="http://schemas.microsoft.com/office/drawing/2014/main" id="{95DA9559-4FFE-4B5E-8960-769CA8F27B6A}"/>
                </a:ext>
              </a:extLst>
            </p:cNvPr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9301164" y="3987800"/>
              <a:ext cx="14287" cy="58738"/>
            </a:xfrm>
            <a:custGeom>
              <a:avLst/>
              <a:gdLst>
                <a:gd name="T0" fmla="*/ 0 w 26"/>
                <a:gd name="T1" fmla="*/ 0 h 58738"/>
                <a:gd name="T2" fmla="*/ 8243 w 26"/>
                <a:gd name="T3" fmla="*/ 0 h 58738"/>
                <a:gd name="T4" fmla="*/ 14287 w 26"/>
                <a:gd name="T5" fmla="*/ 0 h 5873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6" h="58738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27" name="Freeform 92">
              <a:extLst>
                <a:ext uri="{FF2B5EF4-FFF2-40B4-BE49-F238E27FC236}">
                  <a16:creationId xmlns:a16="http://schemas.microsoft.com/office/drawing/2014/main" id="{9D0CF9D4-1E91-47A0-9784-EB179503C8DE}"/>
                </a:ext>
              </a:extLst>
            </p:cNvPr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9294813" y="3968751"/>
              <a:ext cx="6350" cy="60325"/>
            </a:xfrm>
            <a:custGeom>
              <a:avLst/>
              <a:gdLst>
                <a:gd name="T0" fmla="*/ 6350 w 20"/>
                <a:gd name="T1" fmla="*/ 0 h 25"/>
                <a:gd name="T2" fmla="*/ 0 w 20"/>
                <a:gd name="T3" fmla="*/ 31369 h 25"/>
                <a:gd name="T4" fmla="*/ 1270 w 20"/>
                <a:gd name="T5" fmla="*/ 43434 h 25"/>
                <a:gd name="T6" fmla="*/ 3175 w 20"/>
                <a:gd name="T7" fmla="*/ 50673 h 25"/>
                <a:gd name="T8" fmla="*/ 4445 w 20"/>
                <a:gd name="T9" fmla="*/ 57912 h 25"/>
                <a:gd name="T10" fmla="*/ 6350 w 20"/>
                <a:gd name="T11" fmla="*/ 60325 h 25"/>
                <a:gd name="T12" fmla="*/ 6350 w 20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28" name="Freeform 93">
              <a:extLst>
                <a:ext uri="{FF2B5EF4-FFF2-40B4-BE49-F238E27FC236}">
                  <a16:creationId xmlns:a16="http://schemas.microsoft.com/office/drawing/2014/main" id="{D4615150-B483-40DF-80A9-55A75CE0C84A}"/>
                </a:ext>
              </a:extLst>
            </p:cNvPr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9375775" y="3695700"/>
              <a:ext cx="1588" cy="57150"/>
            </a:xfrm>
            <a:custGeom>
              <a:avLst/>
              <a:gdLst>
                <a:gd name="T0" fmla="*/ 0 w 6"/>
                <a:gd name="T1" fmla="*/ 57150 h 24"/>
                <a:gd name="T2" fmla="*/ 0 w 6"/>
                <a:gd name="T3" fmla="*/ 0 h 24"/>
                <a:gd name="T4" fmla="*/ 1588 w 6"/>
                <a:gd name="T5" fmla="*/ 28575 h 24"/>
                <a:gd name="T6" fmla="*/ 0 w 6"/>
                <a:gd name="T7" fmla="*/ 5715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629" name="Group 94">
              <a:extLst>
                <a:ext uri="{FF2B5EF4-FFF2-40B4-BE49-F238E27FC236}">
                  <a16:creationId xmlns:a16="http://schemas.microsoft.com/office/drawing/2014/main" id="{59F5D395-0377-43C4-BA87-1DCBB77085F5}"/>
                </a:ext>
              </a:extLst>
            </p:cNvPr>
            <p:cNvGrpSpPr>
              <a:grpSpLocks/>
            </p:cNvGrpSpPr>
            <p:nvPr>
              <p:custDataLst>
                <p:tags r:id="rId74"/>
              </p:custDataLst>
            </p:nvPr>
          </p:nvGrpSpPr>
          <p:grpSpPr bwMode="auto">
            <a:xfrm>
              <a:off x="9250363" y="3367088"/>
              <a:ext cx="163512" cy="114300"/>
              <a:chOff x="5379" y="2466"/>
              <a:chExt cx="122" cy="71"/>
            </a:xfrm>
          </p:grpSpPr>
          <p:sp>
            <p:nvSpPr>
              <p:cNvPr id="1077" name="Freeform 95">
                <a:extLst>
                  <a:ext uri="{FF2B5EF4-FFF2-40B4-BE49-F238E27FC236}">
                    <a16:creationId xmlns:a16="http://schemas.microsoft.com/office/drawing/2014/main" id="{D0147C17-DA69-481F-812A-81463262F3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6 w 19"/>
                  <a:gd name="T1" fmla="*/ 9 h 25"/>
                  <a:gd name="T2" fmla="*/ 6 w 19"/>
                  <a:gd name="T3" fmla="*/ 7 h 25"/>
                  <a:gd name="T4" fmla="*/ 5 w 19"/>
                  <a:gd name="T5" fmla="*/ 4 h 25"/>
                  <a:gd name="T6" fmla="*/ 5 w 19"/>
                  <a:gd name="T7" fmla="*/ 3 h 25"/>
                  <a:gd name="T8" fmla="*/ 5 w 19"/>
                  <a:gd name="T9" fmla="*/ 2 h 25"/>
                  <a:gd name="T10" fmla="*/ 5 w 19"/>
                  <a:gd name="T11" fmla="*/ 1 h 25"/>
                  <a:gd name="T12" fmla="*/ 6 w 19"/>
                  <a:gd name="T13" fmla="*/ 0 h 25"/>
                  <a:gd name="T14" fmla="*/ 0 w 19"/>
                  <a:gd name="T15" fmla="*/ 0 h 25"/>
                  <a:gd name="T16" fmla="*/ 0 w 19"/>
                  <a:gd name="T17" fmla="*/ 3 h 25"/>
                  <a:gd name="T18" fmla="*/ 2 w 19"/>
                  <a:gd name="T19" fmla="*/ 5 h 25"/>
                  <a:gd name="T20" fmla="*/ 2 w 19"/>
                  <a:gd name="T21" fmla="*/ 7 h 25"/>
                  <a:gd name="T22" fmla="*/ 3 w 19"/>
                  <a:gd name="T23" fmla="*/ 8 h 25"/>
                  <a:gd name="T24" fmla="*/ 5 w 19"/>
                  <a:gd name="T25" fmla="*/ 9 h 25"/>
                  <a:gd name="T26" fmla="*/ 6 w 19"/>
                  <a:gd name="T27" fmla="*/ 9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8" name="Freeform 96">
                <a:extLst>
                  <a:ext uri="{FF2B5EF4-FFF2-40B4-BE49-F238E27FC236}">
                    <a16:creationId xmlns:a16="http://schemas.microsoft.com/office/drawing/2014/main" id="{B9E8337D-1AD5-44CD-A7E3-58FA6D4E34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7 w 26"/>
                  <a:gd name="T1" fmla="*/ 6 h 18"/>
                  <a:gd name="T2" fmla="*/ 2 w 26"/>
                  <a:gd name="T3" fmla="*/ 6 h 18"/>
                  <a:gd name="T4" fmla="*/ 1 w 26"/>
                  <a:gd name="T5" fmla="*/ 3 h 18"/>
                  <a:gd name="T6" fmla="*/ 0 w 26"/>
                  <a:gd name="T7" fmla="*/ 0 h 18"/>
                  <a:gd name="T8" fmla="*/ 2 w 26"/>
                  <a:gd name="T9" fmla="*/ 1 h 18"/>
                  <a:gd name="T10" fmla="*/ 4 w 26"/>
                  <a:gd name="T11" fmla="*/ 2 h 18"/>
                  <a:gd name="T12" fmla="*/ 5 w 26"/>
                  <a:gd name="T13" fmla="*/ 4 h 18"/>
                  <a:gd name="T14" fmla="*/ 7 w 26"/>
                  <a:gd name="T15" fmla="*/ 6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9" name="Freeform 97">
                <a:extLst>
                  <a:ext uri="{FF2B5EF4-FFF2-40B4-BE49-F238E27FC236}">
                    <a16:creationId xmlns:a16="http://schemas.microsoft.com/office/drawing/2014/main" id="{1EBC0D34-DA05-4B49-9EE3-E9585BD98E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6 h 18"/>
                  <a:gd name="T2" fmla="*/ 5 w 13"/>
                  <a:gd name="T3" fmla="*/ 0 h 18"/>
                  <a:gd name="T4" fmla="*/ 0 w 13"/>
                  <a:gd name="T5" fmla="*/ 6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0" name="Freeform 98">
                <a:extLst>
                  <a:ext uri="{FF2B5EF4-FFF2-40B4-BE49-F238E27FC236}">
                    <a16:creationId xmlns:a16="http://schemas.microsoft.com/office/drawing/2014/main" id="{6042A9F2-F72A-45A4-8C84-A6871CE53C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8 h 24"/>
                  <a:gd name="T2" fmla="*/ 1 w 26"/>
                  <a:gd name="T3" fmla="*/ 8 h 24"/>
                  <a:gd name="T4" fmla="*/ 2 w 26"/>
                  <a:gd name="T5" fmla="*/ 7 h 24"/>
                  <a:gd name="T6" fmla="*/ 3 w 26"/>
                  <a:gd name="T7" fmla="*/ 6 h 24"/>
                  <a:gd name="T8" fmla="*/ 5 w 26"/>
                  <a:gd name="T9" fmla="*/ 5 h 24"/>
                  <a:gd name="T10" fmla="*/ 6 w 26"/>
                  <a:gd name="T11" fmla="*/ 4 h 24"/>
                  <a:gd name="T12" fmla="*/ 7 w 26"/>
                  <a:gd name="T13" fmla="*/ 3 h 24"/>
                  <a:gd name="T14" fmla="*/ 8 w 26"/>
                  <a:gd name="T15" fmla="*/ 1 h 24"/>
                  <a:gd name="T16" fmla="*/ 8 w 26"/>
                  <a:gd name="T17" fmla="*/ 0 h 24"/>
                  <a:gd name="T18" fmla="*/ 0 w 26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1" name="Freeform 99">
                <a:extLst>
                  <a:ext uri="{FF2B5EF4-FFF2-40B4-BE49-F238E27FC236}">
                    <a16:creationId xmlns:a16="http://schemas.microsoft.com/office/drawing/2014/main" id="{26E3A517-FFB6-4E28-AD14-81F8BE2964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2 h 6"/>
                  <a:gd name="T2" fmla="*/ 3 w 34"/>
                  <a:gd name="T3" fmla="*/ 2 h 6"/>
                  <a:gd name="T4" fmla="*/ 6 w 34"/>
                  <a:gd name="T5" fmla="*/ 2 h 6"/>
                  <a:gd name="T6" fmla="*/ 8 w 34"/>
                  <a:gd name="T7" fmla="*/ 1 h 6"/>
                  <a:gd name="T8" fmla="*/ 11 w 34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2" name="Line 100">
                <a:extLst>
                  <a:ext uri="{FF2B5EF4-FFF2-40B4-BE49-F238E27FC236}">
                    <a16:creationId xmlns:a16="http://schemas.microsoft.com/office/drawing/2014/main" id="{191E79F6-319B-4FB5-9ACE-6663A0E5549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3" name="Freeform 101">
                <a:extLst>
                  <a:ext uri="{FF2B5EF4-FFF2-40B4-BE49-F238E27FC236}">
                    <a16:creationId xmlns:a16="http://schemas.microsoft.com/office/drawing/2014/main" id="{EF640A4A-0F10-4E77-878D-341ECFEE69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0 w 1"/>
                  <a:gd name="T1" fmla="*/ 7 h 19"/>
                  <a:gd name="T2" fmla="*/ 0 w 1"/>
                  <a:gd name="T3" fmla="*/ 3 h 19"/>
                  <a:gd name="T4" fmla="*/ 0 w 1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4" name="Line 102">
                <a:extLst>
                  <a:ext uri="{FF2B5EF4-FFF2-40B4-BE49-F238E27FC236}">
                    <a16:creationId xmlns:a16="http://schemas.microsoft.com/office/drawing/2014/main" id="{943F6AC3-C033-4795-B8AB-7D2711E75BA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5" name="Freeform 103">
                <a:extLst>
                  <a:ext uri="{FF2B5EF4-FFF2-40B4-BE49-F238E27FC236}">
                    <a16:creationId xmlns:a16="http://schemas.microsoft.com/office/drawing/2014/main" id="{4459BA76-3054-44AC-9FFD-A320E63208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4 w 14"/>
                  <a:gd name="T1" fmla="*/ 0 h 6"/>
                  <a:gd name="T2" fmla="*/ 2 w 14"/>
                  <a:gd name="T3" fmla="*/ 1 h 6"/>
                  <a:gd name="T4" fmla="*/ 0 w 14"/>
                  <a:gd name="T5" fmla="*/ 2 h 6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630" name="Freeform 104">
              <a:extLst>
                <a:ext uri="{FF2B5EF4-FFF2-40B4-BE49-F238E27FC236}">
                  <a16:creationId xmlns:a16="http://schemas.microsoft.com/office/drawing/2014/main" id="{31D76E29-A123-402A-B705-9EFAC4400CDD}"/>
                </a:ext>
              </a:extLst>
            </p:cNvPr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7834313" y="3228975"/>
              <a:ext cx="6350" cy="57150"/>
            </a:xfrm>
            <a:custGeom>
              <a:avLst/>
              <a:gdLst>
                <a:gd name="T0" fmla="*/ 3175 w 26"/>
                <a:gd name="T1" fmla="*/ 57150 h 111"/>
                <a:gd name="T2" fmla="*/ 2198 w 26"/>
                <a:gd name="T3" fmla="*/ 53031 h 111"/>
                <a:gd name="T4" fmla="*/ 977 w 26"/>
                <a:gd name="T5" fmla="*/ 48912 h 111"/>
                <a:gd name="T6" fmla="*/ 488 w 26"/>
                <a:gd name="T7" fmla="*/ 46853 h 111"/>
                <a:gd name="T8" fmla="*/ 244 w 26"/>
                <a:gd name="T9" fmla="*/ 44793 h 111"/>
                <a:gd name="T10" fmla="*/ 0 w 26"/>
                <a:gd name="T11" fmla="*/ 41189 h 111"/>
                <a:gd name="T12" fmla="*/ 0 w 26"/>
                <a:gd name="T13" fmla="*/ 38100 h 111"/>
                <a:gd name="T14" fmla="*/ 0 w 26"/>
                <a:gd name="T15" fmla="*/ 31407 h 111"/>
                <a:gd name="T16" fmla="*/ 244 w 26"/>
                <a:gd name="T17" fmla="*/ 26258 h 111"/>
                <a:gd name="T18" fmla="*/ 733 w 26"/>
                <a:gd name="T19" fmla="*/ 21109 h 111"/>
                <a:gd name="T20" fmla="*/ 1221 w 26"/>
                <a:gd name="T21" fmla="*/ 16991 h 111"/>
                <a:gd name="T22" fmla="*/ 2198 w 26"/>
                <a:gd name="T23" fmla="*/ 12357 h 111"/>
                <a:gd name="T24" fmla="*/ 3419 w 26"/>
                <a:gd name="T25" fmla="*/ 8753 h 111"/>
                <a:gd name="T26" fmla="*/ 4885 w 26"/>
                <a:gd name="T27" fmla="*/ 4634 h 111"/>
                <a:gd name="T28" fmla="*/ 6350 w 26"/>
                <a:gd name="T29" fmla="*/ 0 h 111"/>
                <a:gd name="T30" fmla="*/ 6350 w 26"/>
                <a:gd name="T31" fmla="*/ 3089 h 111"/>
                <a:gd name="T32" fmla="*/ 6350 w 26"/>
                <a:gd name="T33" fmla="*/ 6693 h 111"/>
                <a:gd name="T34" fmla="*/ 6350 w 26"/>
                <a:gd name="T35" fmla="*/ 11327 h 111"/>
                <a:gd name="T36" fmla="*/ 6350 w 26"/>
                <a:gd name="T37" fmla="*/ 16476 h 111"/>
                <a:gd name="T38" fmla="*/ 6106 w 26"/>
                <a:gd name="T39" fmla="*/ 22654 h 111"/>
                <a:gd name="T40" fmla="*/ 5373 w 26"/>
                <a:gd name="T41" fmla="*/ 28832 h 111"/>
                <a:gd name="T42" fmla="*/ 4396 w 26"/>
                <a:gd name="T43" fmla="*/ 34496 h 111"/>
                <a:gd name="T44" fmla="*/ 3175 w 26"/>
                <a:gd name="T45" fmla="*/ 41189 h 111"/>
                <a:gd name="T46" fmla="*/ 3175 w 26"/>
                <a:gd name="T47" fmla="*/ 57150 h 11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1" name="Freeform 105">
              <a:extLst>
                <a:ext uri="{FF2B5EF4-FFF2-40B4-BE49-F238E27FC236}">
                  <a16:creationId xmlns:a16="http://schemas.microsoft.com/office/drawing/2014/main" id="{3231DA11-6F93-481E-9CE6-1D554894707E}"/>
                </a:ext>
              </a:extLst>
            </p:cNvPr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4733926" y="5368925"/>
              <a:ext cx="53975" cy="58738"/>
            </a:xfrm>
            <a:custGeom>
              <a:avLst/>
              <a:gdLst>
                <a:gd name="T0" fmla="*/ 0 w 126"/>
                <a:gd name="T1" fmla="*/ 18000 h 62"/>
                <a:gd name="T2" fmla="*/ 4712 w 126"/>
                <a:gd name="T3" fmla="*/ 18948 h 62"/>
                <a:gd name="T4" fmla="*/ 8996 w 126"/>
                <a:gd name="T5" fmla="*/ 19895 h 62"/>
                <a:gd name="T6" fmla="*/ 12423 w 126"/>
                <a:gd name="T7" fmla="*/ 21790 h 62"/>
                <a:gd name="T8" fmla="*/ 15421 w 126"/>
                <a:gd name="T9" fmla="*/ 24632 h 62"/>
                <a:gd name="T10" fmla="*/ 21419 w 126"/>
                <a:gd name="T11" fmla="*/ 31264 h 62"/>
                <a:gd name="T12" fmla="*/ 26131 w 126"/>
                <a:gd name="T13" fmla="*/ 37895 h 62"/>
                <a:gd name="T14" fmla="*/ 29986 w 126"/>
                <a:gd name="T15" fmla="*/ 45475 h 62"/>
                <a:gd name="T16" fmla="*/ 33841 w 126"/>
                <a:gd name="T17" fmla="*/ 52106 h 62"/>
                <a:gd name="T18" fmla="*/ 35983 w 126"/>
                <a:gd name="T19" fmla="*/ 54948 h 62"/>
                <a:gd name="T20" fmla="*/ 38125 w 126"/>
                <a:gd name="T21" fmla="*/ 56843 h 62"/>
                <a:gd name="T22" fmla="*/ 40695 w 126"/>
                <a:gd name="T23" fmla="*/ 57791 h 62"/>
                <a:gd name="T24" fmla="*/ 42837 w 126"/>
                <a:gd name="T25" fmla="*/ 58738 h 62"/>
                <a:gd name="T26" fmla="*/ 44979 w 126"/>
                <a:gd name="T27" fmla="*/ 57791 h 62"/>
                <a:gd name="T28" fmla="*/ 46693 w 126"/>
                <a:gd name="T29" fmla="*/ 56843 h 62"/>
                <a:gd name="T30" fmla="*/ 48406 w 126"/>
                <a:gd name="T31" fmla="*/ 54948 h 62"/>
                <a:gd name="T32" fmla="*/ 50120 w 126"/>
                <a:gd name="T33" fmla="*/ 53054 h 62"/>
                <a:gd name="T34" fmla="*/ 52262 w 126"/>
                <a:gd name="T35" fmla="*/ 48317 h 62"/>
                <a:gd name="T36" fmla="*/ 53975 w 126"/>
                <a:gd name="T37" fmla="*/ 46422 h 62"/>
                <a:gd name="T38" fmla="*/ 47121 w 126"/>
                <a:gd name="T39" fmla="*/ 31264 h 62"/>
                <a:gd name="T40" fmla="*/ 41124 w 126"/>
                <a:gd name="T41" fmla="*/ 19895 h 62"/>
                <a:gd name="T42" fmla="*/ 38125 w 126"/>
                <a:gd name="T43" fmla="*/ 14211 h 62"/>
                <a:gd name="T44" fmla="*/ 34698 w 126"/>
                <a:gd name="T45" fmla="*/ 8526 h 62"/>
                <a:gd name="T46" fmla="*/ 30843 w 126"/>
                <a:gd name="T47" fmla="*/ 4737 h 62"/>
                <a:gd name="T48" fmla="*/ 26131 w 126"/>
                <a:gd name="T49" fmla="*/ 0 h 62"/>
                <a:gd name="T50" fmla="*/ 0 w 126"/>
                <a:gd name="T51" fmla="*/ 0 h 62"/>
                <a:gd name="T52" fmla="*/ 0 w 126"/>
                <a:gd name="T53" fmla="*/ 8526 h 62"/>
                <a:gd name="T54" fmla="*/ 0 w 126"/>
                <a:gd name="T55" fmla="*/ 18000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2" name="Freeform 106">
              <a:extLst>
                <a:ext uri="{FF2B5EF4-FFF2-40B4-BE49-F238E27FC236}">
                  <a16:creationId xmlns:a16="http://schemas.microsoft.com/office/drawing/2014/main" id="{E11C29F8-3C39-40D3-BA46-2976CC1F85FD}"/>
                </a:ext>
              </a:extLst>
            </p:cNvPr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7035801" y="5207001"/>
              <a:ext cx="30163" cy="55563"/>
            </a:xfrm>
            <a:custGeom>
              <a:avLst/>
              <a:gdLst>
                <a:gd name="T0" fmla="*/ 0 w 66"/>
                <a:gd name="T1" fmla="*/ 0 h 44"/>
                <a:gd name="T2" fmla="*/ 5941 w 66"/>
                <a:gd name="T3" fmla="*/ 1263 h 44"/>
                <a:gd name="T4" fmla="*/ 10511 w 66"/>
                <a:gd name="T5" fmla="*/ 2526 h 44"/>
                <a:gd name="T6" fmla="*/ 14624 w 66"/>
                <a:gd name="T7" fmla="*/ 5051 h 44"/>
                <a:gd name="T8" fmla="*/ 17367 w 66"/>
                <a:gd name="T9" fmla="*/ 8840 h 44"/>
                <a:gd name="T10" fmla="*/ 20109 w 66"/>
                <a:gd name="T11" fmla="*/ 11365 h 44"/>
                <a:gd name="T12" fmla="*/ 22851 w 66"/>
                <a:gd name="T13" fmla="*/ 13891 h 44"/>
                <a:gd name="T14" fmla="*/ 26050 w 66"/>
                <a:gd name="T15" fmla="*/ 15154 h 44"/>
                <a:gd name="T16" fmla="*/ 30163 w 66"/>
                <a:gd name="T17" fmla="*/ 16416 h 44"/>
                <a:gd name="T18" fmla="*/ 29706 w 66"/>
                <a:gd name="T19" fmla="*/ 21468 h 44"/>
                <a:gd name="T20" fmla="*/ 28335 w 66"/>
                <a:gd name="T21" fmla="*/ 26519 h 44"/>
                <a:gd name="T22" fmla="*/ 27421 w 66"/>
                <a:gd name="T23" fmla="*/ 31570 h 44"/>
                <a:gd name="T24" fmla="*/ 26050 w 66"/>
                <a:gd name="T25" fmla="*/ 35358 h 44"/>
                <a:gd name="T26" fmla="*/ 22394 w 66"/>
                <a:gd name="T27" fmla="*/ 42935 h 44"/>
                <a:gd name="T28" fmla="*/ 18281 w 66"/>
                <a:gd name="T29" fmla="*/ 49249 h 44"/>
                <a:gd name="T30" fmla="*/ 14167 w 66"/>
                <a:gd name="T31" fmla="*/ 53037 h 44"/>
                <a:gd name="T32" fmla="*/ 9597 w 66"/>
                <a:gd name="T33" fmla="*/ 55563 h 44"/>
                <a:gd name="T34" fmla="*/ 4570 w 66"/>
                <a:gd name="T35" fmla="*/ 55563 h 44"/>
                <a:gd name="T36" fmla="*/ 0 w 66"/>
                <a:gd name="T37" fmla="*/ 54300 h 44"/>
                <a:gd name="T38" fmla="*/ 0 w 66"/>
                <a:gd name="T39" fmla="*/ 39147 h 44"/>
                <a:gd name="T40" fmla="*/ 0 w 66"/>
                <a:gd name="T41" fmla="*/ 27782 h 44"/>
                <a:gd name="T42" fmla="*/ 0 w 66"/>
                <a:gd name="T43" fmla="*/ 15154 h 44"/>
                <a:gd name="T44" fmla="*/ 0 w 66"/>
                <a:gd name="T45" fmla="*/ 0 h 4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3" name="Freeform 107">
              <a:extLst>
                <a:ext uri="{FF2B5EF4-FFF2-40B4-BE49-F238E27FC236}">
                  <a16:creationId xmlns:a16="http://schemas.microsoft.com/office/drawing/2014/main" id="{2B3CFB7D-0D9B-4B8D-976A-09C68AB96D99}"/>
                </a:ext>
              </a:extLst>
            </p:cNvPr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9190039" y="1978025"/>
              <a:ext cx="20637" cy="57150"/>
            </a:xfrm>
            <a:custGeom>
              <a:avLst/>
              <a:gdLst>
                <a:gd name="T0" fmla="*/ 20637 w 46"/>
                <a:gd name="T1" fmla="*/ 0 h 16"/>
                <a:gd name="T2" fmla="*/ 17945 w 46"/>
                <a:gd name="T3" fmla="*/ 25003 h 16"/>
                <a:gd name="T4" fmla="*/ 15702 w 46"/>
                <a:gd name="T5" fmla="*/ 46434 h 16"/>
                <a:gd name="T6" fmla="*/ 13908 w 46"/>
                <a:gd name="T7" fmla="*/ 50006 h 16"/>
                <a:gd name="T8" fmla="*/ 13010 w 46"/>
                <a:gd name="T9" fmla="*/ 53578 h 16"/>
                <a:gd name="T10" fmla="*/ 11664 w 46"/>
                <a:gd name="T11" fmla="*/ 57150 h 16"/>
                <a:gd name="T12" fmla="*/ 10319 w 46"/>
                <a:gd name="T13" fmla="*/ 57150 h 16"/>
                <a:gd name="T14" fmla="*/ 7178 w 46"/>
                <a:gd name="T15" fmla="*/ 50006 h 16"/>
                <a:gd name="T16" fmla="*/ 4935 w 46"/>
                <a:gd name="T17" fmla="*/ 39291 h 16"/>
                <a:gd name="T18" fmla="*/ 2243 w 46"/>
                <a:gd name="T19" fmla="*/ 21431 h 16"/>
                <a:gd name="T20" fmla="*/ 0 w 46"/>
                <a:gd name="T21" fmla="*/ 0 h 16"/>
                <a:gd name="T22" fmla="*/ 20637 w 46"/>
                <a:gd name="T23" fmla="*/ 0 h 1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4" name="Freeform 108">
              <a:extLst>
                <a:ext uri="{FF2B5EF4-FFF2-40B4-BE49-F238E27FC236}">
                  <a16:creationId xmlns:a16="http://schemas.microsoft.com/office/drawing/2014/main" id="{B4B8AD05-7345-492F-9416-357CFCFA70BE}"/>
                </a:ext>
              </a:extLst>
            </p:cNvPr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9366251" y="2011363"/>
              <a:ext cx="15875" cy="57150"/>
            </a:xfrm>
            <a:custGeom>
              <a:avLst/>
              <a:gdLst>
                <a:gd name="T0" fmla="*/ 15875 w 39"/>
                <a:gd name="T1" fmla="*/ 54952 h 26"/>
                <a:gd name="T2" fmla="*/ 14654 w 39"/>
                <a:gd name="T3" fmla="*/ 57150 h 26"/>
                <a:gd name="T4" fmla="*/ 13026 w 39"/>
                <a:gd name="T5" fmla="*/ 57150 h 26"/>
                <a:gd name="T6" fmla="*/ 11397 w 39"/>
                <a:gd name="T7" fmla="*/ 57150 h 26"/>
                <a:gd name="T8" fmla="*/ 10176 w 39"/>
                <a:gd name="T9" fmla="*/ 54952 h 26"/>
                <a:gd name="T10" fmla="*/ 7327 w 39"/>
                <a:gd name="T11" fmla="*/ 48358 h 26"/>
                <a:gd name="T12" fmla="*/ 4885 w 39"/>
                <a:gd name="T13" fmla="*/ 39565 h 26"/>
                <a:gd name="T14" fmla="*/ 2849 w 39"/>
                <a:gd name="T15" fmla="*/ 28575 h 26"/>
                <a:gd name="T16" fmla="*/ 1221 w 39"/>
                <a:gd name="T17" fmla="*/ 15387 h 26"/>
                <a:gd name="T18" fmla="*/ 407 w 39"/>
                <a:gd name="T19" fmla="*/ 6594 h 26"/>
                <a:gd name="T20" fmla="*/ 0 w 39"/>
                <a:gd name="T21" fmla="*/ 0 h 26"/>
                <a:gd name="T22" fmla="*/ 4478 w 39"/>
                <a:gd name="T23" fmla="*/ 13188 h 26"/>
                <a:gd name="T24" fmla="*/ 8955 w 39"/>
                <a:gd name="T25" fmla="*/ 28575 h 26"/>
                <a:gd name="T26" fmla="*/ 13433 w 39"/>
                <a:gd name="T27" fmla="*/ 43962 h 26"/>
                <a:gd name="T28" fmla="*/ 15875 w 39"/>
                <a:gd name="T29" fmla="*/ 54952 h 2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5" name="Freeform 109">
              <a:extLst>
                <a:ext uri="{FF2B5EF4-FFF2-40B4-BE49-F238E27FC236}">
                  <a16:creationId xmlns:a16="http://schemas.microsoft.com/office/drawing/2014/main" id="{7A71CC86-68C0-4BF2-B884-A1364E4DD5CA}"/>
                </a:ext>
              </a:extLst>
            </p:cNvPr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8815388" y="2241550"/>
              <a:ext cx="4762" cy="58738"/>
            </a:xfrm>
            <a:custGeom>
              <a:avLst/>
              <a:gdLst>
                <a:gd name="T0" fmla="*/ 4762 w 11"/>
                <a:gd name="T1" fmla="*/ 0 h 25"/>
                <a:gd name="T2" fmla="*/ 4762 w 11"/>
                <a:gd name="T3" fmla="*/ 11748 h 25"/>
                <a:gd name="T4" fmla="*/ 4329 w 11"/>
                <a:gd name="T5" fmla="*/ 28194 h 25"/>
                <a:gd name="T6" fmla="*/ 3896 w 11"/>
                <a:gd name="T7" fmla="*/ 46990 h 25"/>
                <a:gd name="T8" fmla="*/ 1732 w 11"/>
                <a:gd name="T9" fmla="*/ 58738 h 25"/>
                <a:gd name="T10" fmla="*/ 866 w 11"/>
                <a:gd name="T11" fmla="*/ 54039 h 25"/>
                <a:gd name="T12" fmla="*/ 433 w 11"/>
                <a:gd name="T13" fmla="*/ 46990 h 25"/>
                <a:gd name="T14" fmla="*/ 0 w 11"/>
                <a:gd name="T15" fmla="*/ 35243 h 25"/>
                <a:gd name="T16" fmla="*/ 0 w 11"/>
                <a:gd name="T17" fmla="*/ 28194 h 25"/>
                <a:gd name="T18" fmla="*/ 433 w 11"/>
                <a:gd name="T19" fmla="*/ 21146 h 25"/>
                <a:gd name="T20" fmla="*/ 1299 w 11"/>
                <a:gd name="T21" fmla="*/ 11748 h 25"/>
                <a:gd name="T22" fmla="*/ 2597 w 11"/>
                <a:gd name="T23" fmla="*/ 4699 h 25"/>
                <a:gd name="T24" fmla="*/ 4762 w 11"/>
                <a:gd name="T25" fmla="*/ 0 h 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6" name="Freeform 110">
              <a:extLst>
                <a:ext uri="{FF2B5EF4-FFF2-40B4-BE49-F238E27FC236}">
                  <a16:creationId xmlns:a16="http://schemas.microsoft.com/office/drawing/2014/main" id="{3F23E1B6-03C7-4065-A74D-919753B4A8A4}"/>
                </a:ext>
              </a:extLst>
            </p:cNvPr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8629650" y="2803525"/>
              <a:ext cx="14288" cy="58738"/>
            </a:xfrm>
            <a:custGeom>
              <a:avLst/>
              <a:gdLst>
                <a:gd name="T0" fmla="*/ 14288 w 20"/>
                <a:gd name="T1" fmla="*/ 0 h 31"/>
                <a:gd name="T2" fmla="*/ 11430 w 20"/>
                <a:gd name="T3" fmla="*/ 22737 h 31"/>
                <a:gd name="T4" fmla="*/ 7144 w 20"/>
                <a:gd name="T5" fmla="*/ 37895 h 31"/>
                <a:gd name="T6" fmla="*/ 3572 w 20"/>
                <a:gd name="T7" fmla="*/ 49264 h 31"/>
                <a:gd name="T8" fmla="*/ 0 w 20"/>
                <a:gd name="T9" fmla="*/ 58738 h 31"/>
                <a:gd name="T10" fmla="*/ 0 w 20"/>
                <a:gd name="T11" fmla="*/ 47369 h 31"/>
                <a:gd name="T12" fmla="*/ 714 w 20"/>
                <a:gd name="T13" fmla="*/ 36001 h 31"/>
                <a:gd name="T14" fmla="*/ 1429 w 20"/>
                <a:gd name="T15" fmla="*/ 24632 h 31"/>
                <a:gd name="T16" fmla="*/ 3572 w 20"/>
                <a:gd name="T17" fmla="*/ 17053 h 31"/>
                <a:gd name="T18" fmla="*/ 5715 w 20"/>
                <a:gd name="T19" fmla="*/ 11369 h 31"/>
                <a:gd name="T20" fmla="*/ 7858 w 20"/>
                <a:gd name="T21" fmla="*/ 5684 h 31"/>
                <a:gd name="T22" fmla="*/ 11430 w 20"/>
                <a:gd name="T23" fmla="*/ 0 h 31"/>
                <a:gd name="T24" fmla="*/ 14288 w 20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7" name="Freeform 111">
              <a:extLst>
                <a:ext uri="{FF2B5EF4-FFF2-40B4-BE49-F238E27FC236}">
                  <a16:creationId xmlns:a16="http://schemas.microsoft.com/office/drawing/2014/main" id="{EE6CAB2B-2D6A-46BC-A876-62587F7E93C2}"/>
                </a:ext>
              </a:extLst>
            </p:cNvPr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8647114" y="2738438"/>
              <a:ext cx="15875" cy="57150"/>
            </a:xfrm>
            <a:custGeom>
              <a:avLst/>
              <a:gdLst>
                <a:gd name="T0" fmla="*/ 7938 w 26"/>
                <a:gd name="T1" fmla="*/ 57150 h 37"/>
                <a:gd name="T2" fmla="*/ 0 w 26"/>
                <a:gd name="T3" fmla="*/ 18535 h 37"/>
                <a:gd name="T4" fmla="*/ 3663 w 26"/>
                <a:gd name="T5" fmla="*/ 10812 h 37"/>
                <a:gd name="T6" fmla="*/ 7938 w 26"/>
                <a:gd name="T7" fmla="*/ 6178 h 37"/>
                <a:gd name="T8" fmla="*/ 12822 w 26"/>
                <a:gd name="T9" fmla="*/ 1545 h 37"/>
                <a:gd name="T10" fmla="*/ 15875 w 26"/>
                <a:gd name="T11" fmla="*/ 0 h 37"/>
                <a:gd name="T12" fmla="*/ 15875 w 26"/>
                <a:gd name="T13" fmla="*/ 9268 h 37"/>
                <a:gd name="T14" fmla="*/ 15264 w 26"/>
                <a:gd name="T15" fmla="*/ 16991 h 37"/>
                <a:gd name="T16" fmla="*/ 14654 w 26"/>
                <a:gd name="T17" fmla="*/ 26258 h 37"/>
                <a:gd name="T18" fmla="*/ 14043 w 26"/>
                <a:gd name="T19" fmla="*/ 32436 h 37"/>
                <a:gd name="T20" fmla="*/ 10990 w 26"/>
                <a:gd name="T21" fmla="*/ 44793 h 37"/>
                <a:gd name="T22" fmla="*/ 7938 w 26"/>
                <a:gd name="T23" fmla="*/ 57150 h 3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8" name="Freeform 112">
              <a:extLst>
                <a:ext uri="{FF2B5EF4-FFF2-40B4-BE49-F238E27FC236}">
                  <a16:creationId xmlns:a16="http://schemas.microsoft.com/office/drawing/2014/main" id="{7D713EC5-C36D-4E78-A6F5-EE71F2F819F9}"/>
                </a:ext>
              </a:extLst>
            </p:cNvPr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8535989" y="2587626"/>
              <a:ext cx="1587" cy="60325"/>
            </a:xfrm>
            <a:custGeom>
              <a:avLst/>
              <a:gdLst>
                <a:gd name="T0" fmla="*/ 0 w 7"/>
                <a:gd name="T1" fmla="*/ 60325 h 18"/>
                <a:gd name="T2" fmla="*/ 0 w 7"/>
                <a:gd name="T3" fmla="*/ 0 h 18"/>
                <a:gd name="T4" fmla="*/ 1587 w 7"/>
                <a:gd name="T5" fmla="*/ 40217 h 18"/>
                <a:gd name="T6" fmla="*/ 0 w 7"/>
                <a:gd name="T7" fmla="*/ 60325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9" name="Freeform 113">
              <a:extLst>
                <a:ext uri="{FF2B5EF4-FFF2-40B4-BE49-F238E27FC236}">
                  <a16:creationId xmlns:a16="http://schemas.microsoft.com/office/drawing/2014/main" id="{8B2519D2-D69A-440D-9056-89DE9778D919}"/>
                </a:ext>
              </a:extLst>
            </p:cNvPr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5387976" y="1714500"/>
              <a:ext cx="9525" cy="57150"/>
            </a:xfrm>
            <a:custGeom>
              <a:avLst/>
              <a:gdLst>
                <a:gd name="T0" fmla="*/ 0 w 33"/>
                <a:gd name="T1" fmla="*/ 22123 h 31"/>
                <a:gd name="T2" fmla="*/ 5484 w 33"/>
                <a:gd name="T3" fmla="*/ 0 h 31"/>
                <a:gd name="T4" fmla="*/ 6927 w 33"/>
                <a:gd name="T5" fmla="*/ 9218 h 31"/>
                <a:gd name="T6" fmla="*/ 8082 w 33"/>
                <a:gd name="T7" fmla="*/ 22123 h 31"/>
                <a:gd name="T8" fmla="*/ 9236 w 33"/>
                <a:gd name="T9" fmla="*/ 40558 h 31"/>
                <a:gd name="T10" fmla="*/ 9525 w 33"/>
                <a:gd name="T11" fmla="*/ 57150 h 31"/>
                <a:gd name="T12" fmla="*/ 7793 w 33"/>
                <a:gd name="T13" fmla="*/ 55306 h 31"/>
                <a:gd name="T14" fmla="*/ 6350 w 33"/>
                <a:gd name="T15" fmla="*/ 51619 h 31"/>
                <a:gd name="T16" fmla="*/ 4618 w 33"/>
                <a:gd name="T17" fmla="*/ 46089 h 31"/>
                <a:gd name="T18" fmla="*/ 3175 w 33"/>
                <a:gd name="T19" fmla="*/ 40558 h 31"/>
                <a:gd name="T20" fmla="*/ 866 w 33"/>
                <a:gd name="T21" fmla="*/ 27653 h 31"/>
                <a:gd name="T22" fmla="*/ 0 w 33"/>
                <a:gd name="T23" fmla="*/ 22123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40" name="Freeform 114">
              <a:extLst>
                <a:ext uri="{FF2B5EF4-FFF2-40B4-BE49-F238E27FC236}">
                  <a16:creationId xmlns:a16="http://schemas.microsoft.com/office/drawing/2014/main" id="{17341D46-6240-4CE9-8D4C-2E6136A04FCC}"/>
                </a:ext>
              </a:extLst>
            </p:cNvPr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5373689" y="1482725"/>
              <a:ext cx="3175" cy="57150"/>
            </a:xfrm>
            <a:custGeom>
              <a:avLst/>
              <a:gdLst>
                <a:gd name="T0" fmla="*/ 3175 w 14"/>
                <a:gd name="T1" fmla="*/ 0 h 6"/>
                <a:gd name="T2" fmla="*/ 0 w 14"/>
                <a:gd name="T3" fmla="*/ 57150 h 6"/>
                <a:gd name="T4" fmla="*/ 3175 w 14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41" name="Freeform 115">
              <a:extLst>
                <a:ext uri="{FF2B5EF4-FFF2-40B4-BE49-F238E27FC236}">
                  <a16:creationId xmlns:a16="http://schemas.microsoft.com/office/drawing/2014/main" id="{FB5DE829-2606-479F-B918-2DC72F7E22E6}"/>
                </a:ext>
              </a:extLst>
            </p:cNvPr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6854825" y="3260726"/>
              <a:ext cx="25400" cy="55563"/>
            </a:xfrm>
            <a:custGeom>
              <a:avLst/>
              <a:gdLst>
                <a:gd name="T0" fmla="*/ 25400 w 59"/>
                <a:gd name="T1" fmla="*/ 10754 h 31"/>
                <a:gd name="T2" fmla="*/ 24539 w 59"/>
                <a:gd name="T3" fmla="*/ 19716 h 31"/>
                <a:gd name="T4" fmla="*/ 22817 w 59"/>
                <a:gd name="T5" fmla="*/ 26885 h 31"/>
                <a:gd name="T6" fmla="*/ 21095 w 59"/>
                <a:gd name="T7" fmla="*/ 34055 h 31"/>
                <a:gd name="T8" fmla="*/ 19373 w 59"/>
                <a:gd name="T9" fmla="*/ 43017 h 31"/>
                <a:gd name="T10" fmla="*/ 17220 w 59"/>
                <a:gd name="T11" fmla="*/ 48394 h 31"/>
                <a:gd name="T12" fmla="*/ 15498 w 59"/>
                <a:gd name="T13" fmla="*/ 51978 h 31"/>
                <a:gd name="T14" fmla="*/ 12915 w 59"/>
                <a:gd name="T15" fmla="*/ 55563 h 31"/>
                <a:gd name="T16" fmla="*/ 11193 w 59"/>
                <a:gd name="T17" fmla="*/ 55563 h 31"/>
                <a:gd name="T18" fmla="*/ 9041 w 59"/>
                <a:gd name="T19" fmla="*/ 55563 h 31"/>
                <a:gd name="T20" fmla="*/ 7319 w 59"/>
                <a:gd name="T21" fmla="*/ 53771 h 31"/>
                <a:gd name="T22" fmla="*/ 6027 w 59"/>
                <a:gd name="T23" fmla="*/ 51978 h 31"/>
                <a:gd name="T24" fmla="*/ 4736 w 59"/>
                <a:gd name="T25" fmla="*/ 48394 h 31"/>
                <a:gd name="T26" fmla="*/ 1722 w 59"/>
                <a:gd name="T27" fmla="*/ 35847 h 31"/>
                <a:gd name="T28" fmla="*/ 0 w 59"/>
                <a:gd name="T29" fmla="*/ 21508 h 31"/>
                <a:gd name="T30" fmla="*/ 431 w 59"/>
                <a:gd name="T31" fmla="*/ 16131 h 31"/>
                <a:gd name="T32" fmla="*/ 1292 w 59"/>
                <a:gd name="T33" fmla="*/ 10754 h 31"/>
                <a:gd name="T34" fmla="*/ 2153 w 59"/>
                <a:gd name="T35" fmla="*/ 7169 h 31"/>
                <a:gd name="T36" fmla="*/ 3444 w 59"/>
                <a:gd name="T37" fmla="*/ 5377 h 31"/>
                <a:gd name="T38" fmla="*/ 6888 w 59"/>
                <a:gd name="T39" fmla="*/ 1792 h 31"/>
                <a:gd name="T40" fmla="*/ 10332 w 59"/>
                <a:gd name="T41" fmla="*/ 0 h 31"/>
                <a:gd name="T42" fmla="*/ 14637 w 59"/>
                <a:gd name="T43" fmla="*/ 0 h 31"/>
                <a:gd name="T44" fmla="*/ 18081 w 59"/>
                <a:gd name="T45" fmla="*/ 3585 h 31"/>
                <a:gd name="T46" fmla="*/ 21956 w 59"/>
                <a:gd name="T47" fmla="*/ 7169 h 31"/>
                <a:gd name="T48" fmla="*/ 25400 w 59"/>
                <a:gd name="T49" fmla="*/ 10754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42" name="Freeform 116">
              <a:extLst>
                <a:ext uri="{FF2B5EF4-FFF2-40B4-BE49-F238E27FC236}">
                  <a16:creationId xmlns:a16="http://schemas.microsoft.com/office/drawing/2014/main" id="{DBB35FA6-0BD3-4D46-A232-B17DBD996B50}"/>
                </a:ext>
              </a:extLst>
            </p:cNvPr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6557963" y="3122614"/>
              <a:ext cx="19050" cy="58737"/>
            </a:xfrm>
            <a:custGeom>
              <a:avLst/>
              <a:gdLst>
                <a:gd name="T0" fmla="*/ 5674 w 47"/>
                <a:gd name="T1" fmla="*/ 0 h 68"/>
                <a:gd name="T2" fmla="*/ 3243 w 47"/>
                <a:gd name="T3" fmla="*/ 8638 h 68"/>
                <a:gd name="T4" fmla="*/ 1621 w 47"/>
                <a:gd name="T5" fmla="*/ 16412 h 68"/>
                <a:gd name="T6" fmla="*/ 811 w 47"/>
                <a:gd name="T7" fmla="*/ 24186 h 68"/>
                <a:gd name="T8" fmla="*/ 0 w 47"/>
                <a:gd name="T9" fmla="*/ 31960 h 68"/>
                <a:gd name="T10" fmla="*/ 0 w 47"/>
                <a:gd name="T11" fmla="*/ 36279 h 68"/>
                <a:gd name="T12" fmla="*/ 811 w 47"/>
                <a:gd name="T13" fmla="*/ 40598 h 68"/>
                <a:gd name="T14" fmla="*/ 1216 w 47"/>
                <a:gd name="T15" fmla="*/ 44053 h 68"/>
                <a:gd name="T16" fmla="*/ 2027 w 47"/>
                <a:gd name="T17" fmla="*/ 47508 h 68"/>
                <a:gd name="T18" fmla="*/ 2837 w 47"/>
                <a:gd name="T19" fmla="*/ 50099 h 68"/>
                <a:gd name="T20" fmla="*/ 3648 w 47"/>
                <a:gd name="T21" fmla="*/ 51827 h 68"/>
                <a:gd name="T22" fmla="*/ 5269 w 47"/>
                <a:gd name="T23" fmla="*/ 53554 h 68"/>
                <a:gd name="T24" fmla="*/ 6485 w 47"/>
                <a:gd name="T25" fmla="*/ 55282 h 68"/>
                <a:gd name="T26" fmla="*/ 8917 w 47"/>
                <a:gd name="T27" fmla="*/ 57873 h 68"/>
                <a:gd name="T28" fmla="*/ 12565 w 47"/>
                <a:gd name="T29" fmla="*/ 58737 h 68"/>
                <a:gd name="T30" fmla="*/ 15807 w 47"/>
                <a:gd name="T31" fmla="*/ 58737 h 68"/>
                <a:gd name="T32" fmla="*/ 19050 w 47"/>
                <a:gd name="T33" fmla="*/ 58737 h 68"/>
                <a:gd name="T34" fmla="*/ 16618 w 47"/>
                <a:gd name="T35" fmla="*/ 50099 h 68"/>
                <a:gd name="T36" fmla="*/ 15402 w 47"/>
                <a:gd name="T37" fmla="*/ 41461 h 68"/>
                <a:gd name="T38" fmla="*/ 14591 w 47"/>
                <a:gd name="T39" fmla="*/ 37143 h 68"/>
                <a:gd name="T40" fmla="*/ 14186 w 47"/>
                <a:gd name="T41" fmla="*/ 32824 h 68"/>
                <a:gd name="T42" fmla="*/ 13376 w 47"/>
                <a:gd name="T43" fmla="*/ 26777 h 68"/>
                <a:gd name="T44" fmla="*/ 13376 w 47"/>
                <a:gd name="T45" fmla="*/ 21594 h 68"/>
                <a:gd name="T46" fmla="*/ 9728 w 47"/>
                <a:gd name="T47" fmla="*/ 11229 h 68"/>
                <a:gd name="T48" fmla="*/ 5674 w 47"/>
                <a:gd name="T49" fmla="*/ 0 h 6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643" name="Group 117">
              <a:extLst>
                <a:ext uri="{FF2B5EF4-FFF2-40B4-BE49-F238E27FC236}">
                  <a16:creationId xmlns:a16="http://schemas.microsoft.com/office/drawing/2014/main" id="{C82A13E8-4FE9-4A49-A743-D58052B49396}"/>
                </a:ext>
              </a:extLst>
            </p:cNvPr>
            <p:cNvGrpSpPr>
              <a:grpSpLocks/>
            </p:cNvGrpSpPr>
            <p:nvPr>
              <p:custDataLst>
                <p:tags r:id="rId88"/>
              </p:custDataLst>
            </p:nvPr>
          </p:nvGrpSpPr>
          <p:grpSpPr bwMode="auto">
            <a:xfrm>
              <a:off x="7329489" y="3309938"/>
              <a:ext cx="46037" cy="374650"/>
              <a:chOff x="3950" y="2430"/>
              <a:chExt cx="36" cy="234"/>
            </a:xfrm>
          </p:grpSpPr>
          <p:sp>
            <p:nvSpPr>
              <p:cNvPr id="1046" name="Freeform 118">
                <a:extLst>
                  <a:ext uri="{FF2B5EF4-FFF2-40B4-BE49-F238E27FC236}">
                    <a16:creationId xmlns:a16="http://schemas.microsoft.com/office/drawing/2014/main" id="{492A3103-FA70-4B32-B319-D5C2D9C5A6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47" name="Freeform 119">
                <a:extLst>
                  <a:ext uri="{FF2B5EF4-FFF2-40B4-BE49-F238E27FC236}">
                    <a16:creationId xmlns:a16="http://schemas.microsoft.com/office/drawing/2014/main" id="{C6DCC137-550A-431C-B36C-FA449CE6D0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48" name="Freeform 120">
                <a:extLst>
                  <a:ext uri="{FF2B5EF4-FFF2-40B4-BE49-F238E27FC236}">
                    <a16:creationId xmlns:a16="http://schemas.microsoft.com/office/drawing/2014/main" id="{B0E54959-DF4D-4A6E-9E7C-DF6FF578B7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49" name="Rectangle 121">
                <a:extLst>
                  <a:ext uri="{FF2B5EF4-FFF2-40B4-BE49-F238E27FC236}">
                    <a16:creationId xmlns:a16="http://schemas.microsoft.com/office/drawing/2014/main" id="{4D0B567E-5C5E-4B15-819C-5F77BCEE1C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050" name="Line 122">
                <a:extLst>
                  <a:ext uri="{FF2B5EF4-FFF2-40B4-BE49-F238E27FC236}">
                    <a16:creationId xmlns:a16="http://schemas.microsoft.com/office/drawing/2014/main" id="{8F6B9A09-3ABB-4609-A02A-63FB50ACDEB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51" name="Freeform 123">
                <a:extLst>
                  <a:ext uri="{FF2B5EF4-FFF2-40B4-BE49-F238E27FC236}">
                    <a16:creationId xmlns:a16="http://schemas.microsoft.com/office/drawing/2014/main" id="{E9FAFA06-FDB6-41B0-AF00-62CBE01326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52" name="Freeform 124">
                <a:extLst>
                  <a:ext uri="{FF2B5EF4-FFF2-40B4-BE49-F238E27FC236}">
                    <a16:creationId xmlns:a16="http://schemas.microsoft.com/office/drawing/2014/main" id="{40F4F0F4-4EAF-4530-8B8F-A030C0007E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53" name="Line 125">
                <a:extLst>
                  <a:ext uri="{FF2B5EF4-FFF2-40B4-BE49-F238E27FC236}">
                    <a16:creationId xmlns:a16="http://schemas.microsoft.com/office/drawing/2014/main" id="{90370663-D07A-426B-8717-B0B9C8E357D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54" name="Freeform 126">
                <a:extLst>
                  <a:ext uri="{FF2B5EF4-FFF2-40B4-BE49-F238E27FC236}">
                    <a16:creationId xmlns:a16="http://schemas.microsoft.com/office/drawing/2014/main" id="{00DC1688-898A-45A7-AAE1-1499397C26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55" name="Freeform 127">
                <a:extLst>
                  <a:ext uri="{FF2B5EF4-FFF2-40B4-BE49-F238E27FC236}">
                    <a16:creationId xmlns:a16="http://schemas.microsoft.com/office/drawing/2014/main" id="{B5A47FE2-61E4-4C46-9099-DF3DDC2E55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56" name="Line 128">
                <a:extLst>
                  <a:ext uri="{FF2B5EF4-FFF2-40B4-BE49-F238E27FC236}">
                    <a16:creationId xmlns:a16="http://schemas.microsoft.com/office/drawing/2014/main" id="{C302A729-386E-4472-8D26-96CD12ACF01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57" name="Freeform 129">
                <a:extLst>
                  <a:ext uri="{FF2B5EF4-FFF2-40B4-BE49-F238E27FC236}">
                    <a16:creationId xmlns:a16="http://schemas.microsoft.com/office/drawing/2014/main" id="{27F4377D-C66B-463C-9EBE-8DC8665C26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58" name="Freeform 130">
                <a:extLst>
                  <a:ext uri="{FF2B5EF4-FFF2-40B4-BE49-F238E27FC236}">
                    <a16:creationId xmlns:a16="http://schemas.microsoft.com/office/drawing/2014/main" id="{F279C7D0-F389-4EF9-8297-2CF0BCD04A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59" name="Freeform 131">
                <a:extLst>
                  <a:ext uri="{FF2B5EF4-FFF2-40B4-BE49-F238E27FC236}">
                    <a16:creationId xmlns:a16="http://schemas.microsoft.com/office/drawing/2014/main" id="{C90F1BCF-EACE-4034-B689-33A72583B3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60" name="Freeform 132">
                <a:extLst>
                  <a:ext uri="{FF2B5EF4-FFF2-40B4-BE49-F238E27FC236}">
                    <a16:creationId xmlns:a16="http://schemas.microsoft.com/office/drawing/2014/main" id="{B8C124A3-DBEC-46C3-AFF3-A1C708E02C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61" name="Freeform 133">
                <a:extLst>
                  <a:ext uri="{FF2B5EF4-FFF2-40B4-BE49-F238E27FC236}">
                    <a16:creationId xmlns:a16="http://schemas.microsoft.com/office/drawing/2014/main" id="{755D5FFE-14AE-40E0-8B49-0BFD251710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62" name="Freeform 134">
                <a:extLst>
                  <a:ext uri="{FF2B5EF4-FFF2-40B4-BE49-F238E27FC236}">
                    <a16:creationId xmlns:a16="http://schemas.microsoft.com/office/drawing/2014/main" id="{EA8B1057-C508-4565-864E-664B44EC08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63" name="Freeform 135">
                <a:extLst>
                  <a:ext uri="{FF2B5EF4-FFF2-40B4-BE49-F238E27FC236}">
                    <a16:creationId xmlns:a16="http://schemas.microsoft.com/office/drawing/2014/main" id="{6C0ABC7F-2DE7-40B1-8800-42E8FAC875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64" name="Rectangle 136">
                <a:extLst>
                  <a:ext uri="{FF2B5EF4-FFF2-40B4-BE49-F238E27FC236}">
                    <a16:creationId xmlns:a16="http://schemas.microsoft.com/office/drawing/2014/main" id="{1353DCD5-7894-427A-AD44-8EDA327A74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065" name="Line 137">
                <a:extLst>
                  <a:ext uri="{FF2B5EF4-FFF2-40B4-BE49-F238E27FC236}">
                    <a16:creationId xmlns:a16="http://schemas.microsoft.com/office/drawing/2014/main" id="{7B496E5A-0A7B-407B-9749-408BD3B6DAC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66" name="Freeform 138">
                <a:extLst>
                  <a:ext uri="{FF2B5EF4-FFF2-40B4-BE49-F238E27FC236}">
                    <a16:creationId xmlns:a16="http://schemas.microsoft.com/office/drawing/2014/main" id="{BD8E4253-B04E-430A-9007-4A49D9292D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67" name="Freeform 139">
                <a:extLst>
                  <a:ext uri="{FF2B5EF4-FFF2-40B4-BE49-F238E27FC236}">
                    <a16:creationId xmlns:a16="http://schemas.microsoft.com/office/drawing/2014/main" id="{067D1771-3399-42C5-A52B-7EC36D717B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68" name="Line 140">
                <a:extLst>
                  <a:ext uri="{FF2B5EF4-FFF2-40B4-BE49-F238E27FC236}">
                    <a16:creationId xmlns:a16="http://schemas.microsoft.com/office/drawing/2014/main" id="{67E6A6BE-075F-45C6-B564-A4D23EA2C24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69" name="Freeform 141">
                <a:extLst>
                  <a:ext uri="{FF2B5EF4-FFF2-40B4-BE49-F238E27FC236}">
                    <a16:creationId xmlns:a16="http://schemas.microsoft.com/office/drawing/2014/main" id="{F6C3740A-874F-4821-9303-B9307D4BC8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0" name="Freeform 142">
                <a:extLst>
                  <a:ext uri="{FF2B5EF4-FFF2-40B4-BE49-F238E27FC236}">
                    <a16:creationId xmlns:a16="http://schemas.microsoft.com/office/drawing/2014/main" id="{C1C4F690-4984-4FDD-9C6E-3627B9ABFF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1" name="Line 143">
                <a:extLst>
                  <a:ext uri="{FF2B5EF4-FFF2-40B4-BE49-F238E27FC236}">
                    <a16:creationId xmlns:a16="http://schemas.microsoft.com/office/drawing/2014/main" id="{C88B7CD0-0581-4B76-8760-09FF6808159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2" name="Freeform 144">
                <a:extLst>
                  <a:ext uri="{FF2B5EF4-FFF2-40B4-BE49-F238E27FC236}">
                    <a16:creationId xmlns:a16="http://schemas.microsoft.com/office/drawing/2014/main" id="{310DC1CB-C6EE-4594-840B-9616A0D8A9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3" name="Freeform 145">
                <a:extLst>
                  <a:ext uri="{FF2B5EF4-FFF2-40B4-BE49-F238E27FC236}">
                    <a16:creationId xmlns:a16="http://schemas.microsoft.com/office/drawing/2014/main" id="{D5D8A5D5-9040-43E4-AD0A-2551A436D2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4" name="Freeform 146">
                <a:extLst>
                  <a:ext uri="{FF2B5EF4-FFF2-40B4-BE49-F238E27FC236}">
                    <a16:creationId xmlns:a16="http://schemas.microsoft.com/office/drawing/2014/main" id="{A7DB2443-1DD2-4129-9284-EBD8CB572D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5" name="Freeform 147">
                <a:extLst>
                  <a:ext uri="{FF2B5EF4-FFF2-40B4-BE49-F238E27FC236}">
                    <a16:creationId xmlns:a16="http://schemas.microsoft.com/office/drawing/2014/main" id="{53BDC450-8CA7-4194-A520-6E6B1C37C9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6" name="Freeform 148">
                <a:extLst>
                  <a:ext uri="{FF2B5EF4-FFF2-40B4-BE49-F238E27FC236}">
                    <a16:creationId xmlns:a16="http://schemas.microsoft.com/office/drawing/2014/main" id="{65739FE8-87C4-47FE-ADA5-7D0E6534D4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5 w 20"/>
                  <a:gd name="T1" fmla="*/ 6 h 18"/>
                  <a:gd name="T2" fmla="*/ 7 w 20"/>
                  <a:gd name="T3" fmla="*/ 0 h 18"/>
                  <a:gd name="T4" fmla="*/ 0 w 20"/>
                  <a:gd name="T5" fmla="*/ 0 h 18"/>
                  <a:gd name="T6" fmla="*/ 5 w 20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644" name="Group 149">
              <a:extLst>
                <a:ext uri="{FF2B5EF4-FFF2-40B4-BE49-F238E27FC236}">
                  <a16:creationId xmlns:a16="http://schemas.microsoft.com/office/drawing/2014/main" id="{2621FCE2-F0D2-42EA-8C81-EB99AD518FD8}"/>
                </a:ext>
              </a:extLst>
            </p:cNvPr>
            <p:cNvGrpSpPr>
              <a:grpSpLocks/>
            </p:cNvGrpSpPr>
            <p:nvPr>
              <p:custDataLst>
                <p:tags r:id="rId89"/>
              </p:custDataLst>
            </p:nvPr>
          </p:nvGrpSpPr>
          <p:grpSpPr bwMode="auto">
            <a:xfrm>
              <a:off x="9394825" y="3810001"/>
              <a:ext cx="185738" cy="214313"/>
              <a:chOff x="5486" y="2743"/>
              <a:chExt cx="137" cy="132"/>
            </a:xfrm>
          </p:grpSpPr>
          <p:sp>
            <p:nvSpPr>
              <p:cNvPr id="1037" name="Freeform 150">
                <a:extLst>
                  <a:ext uri="{FF2B5EF4-FFF2-40B4-BE49-F238E27FC236}">
                    <a16:creationId xmlns:a16="http://schemas.microsoft.com/office/drawing/2014/main" id="{6E27F0D8-C43C-4217-92A9-4CDF388E31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10 h 87"/>
                  <a:gd name="T2" fmla="*/ 0 w 40"/>
                  <a:gd name="T3" fmla="*/ 14 h 87"/>
                  <a:gd name="T4" fmla="*/ 1 w 40"/>
                  <a:gd name="T5" fmla="*/ 16 h 87"/>
                  <a:gd name="T6" fmla="*/ 2 w 40"/>
                  <a:gd name="T7" fmla="*/ 19 h 87"/>
                  <a:gd name="T8" fmla="*/ 3 w 40"/>
                  <a:gd name="T9" fmla="*/ 21 h 87"/>
                  <a:gd name="T10" fmla="*/ 5 w 40"/>
                  <a:gd name="T11" fmla="*/ 23 h 87"/>
                  <a:gd name="T12" fmla="*/ 7 w 40"/>
                  <a:gd name="T13" fmla="*/ 25 h 87"/>
                  <a:gd name="T14" fmla="*/ 10 w 40"/>
                  <a:gd name="T15" fmla="*/ 26 h 87"/>
                  <a:gd name="T16" fmla="*/ 13 w 40"/>
                  <a:gd name="T17" fmla="*/ 28 h 87"/>
                  <a:gd name="T18" fmla="*/ 11 w 40"/>
                  <a:gd name="T19" fmla="*/ 26 h 87"/>
                  <a:gd name="T20" fmla="*/ 10 w 40"/>
                  <a:gd name="T21" fmla="*/ 25 h 87"/>
                  <a:gd name="T22" fmla="*/ 9 w 40"/>
                  <a:gd name="T23" fmla="*/ 23 h 87"/>
                  <a:gd name="T24" fmla="*/ 8 w 40"/>
                  <a:gd name="T25" fmla="*/ 21 h 87"/>
                  <a:gd name="T26" fmla="*/ 7 w 40"/>
                  <a:gd name="T27" fmla="*/ 17 h 87"/>
                  <a:gd name="T28" fmla="*/ 7 w 40"/>
                  <a:gd name="T29" fmla="*/ 13 h 87"/>
                  <a:gd name="T30" fmla="*/ 6 w 40"/>
                  <a:gd name="T31" fmla="*/ 9 h 87"/>
                  <a:gd name="T32" fmla="*/ 4 w 40"/>
                  <a:gd name="T33" fmla="*/ 5 h 87"/>
                  <a:gd name="T34" fmla="*/ 4 w 40"/>
                  <a:gd name="T35" fmla="*/ 4 h 87"/>
                  <a:gd name="T36" fmla="*/ 3 w 40"/>
                  <a:gd name="T37" fmla="*/ 2 h 87"/>
                  <a:gd name="T38" fmla="*/ 1 w 40"/>
                  <a:gd name="T39" fmla="*/ 1 h 87"/>
                  <a:gd name="T40" fmla="*/ 0 w 40"/>
                  <a:gd name="T41" fmla="*/ 0 h 87"/>
                  <a:gd name="T42" fmla="*/ 0 w 40"/>
                  <a:gd name="T43" fmla="*/ 3 h 87"/>
                  <a:gd name="T44" fmla="*/ 0 w 40"/>
                  <a:gd name="T45" fmla="*/ 5 h 87"/>
                  <a:gd name="T46" fmla="*/ 0 w 40"/>
                  <a:gd name="T47" fmla="*/ 7 h 87"/>
                  <a:gd name="T48" fmla="*/ 0 w 40"/>
                  <a:gd name="T49" fmla="*/ 10 h 8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38" name="Freeform 151">
                <a:extLst>
                  <a:ext uri="{FF2B5EF4-FFF2-40B4-BE49-F238E27FC236}">
                    <a16:creationId xmlns:a16="http://schemas.microsoft.com/office/drawing/2014/main" id="{98CA8678-A9CA-455D-A15C-AC32EAFA16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10 h 37"/>
                  <a:gd name="T2" fmla="*/ 6 w 61"/>
                  <a:gd name="T3" fmla="*/ 10 h 37"/>
                  <a:gd name="T4" fmla="*/ 11 w 61"/>
                  <a:gd name="T5" fmla="*/ 11 h 37"/>
                  <a:gd name="T6" fmla="*/ 16 w 61"/>
                  <a:gd name="T7" fmla="*/ 12 h 37"/>
                  <a:gd name="T8" fmla="*/ 20 w 61"/>
                  <a:gd name="T9" fmla="*/ 12 h 37"/>
                  <a:gd name="T10" fmla="*/ 18 w 61"/>
                  <a:gd name="T11" fmla="*/ 9 h 37"/>
                  <a:gd name="T12" fmla="*/ 16 w 61"/>
                  <a:gd name="T13" fmla="*/ 7 h 37"/>
                  <a:gd name="T14" fmla="*/ 14 w 61"/>
                  <a:gd name="T15" fmla="*/ 6 h 37"/>
                  <a:gd name="T16" fmla="*/ 11 w 61"/>
                  <a:gd name="T17" fmla="*/ 4 h 37"/>
                  <a:gd name="T18" fmla="*/ 9 w 61"/>
                  <a:gd name="T19" fmla="*/ 3 h 37"/>
                  <a:gd name="T20" fmla="*/ 6 w 61"/>
                  <a:gd name="T21" fmla="*/ 2 h 37"/>
                  <a:gd name="T22" fmla="*/ 3 w 61"/>
                  <a:gd name="T23" fmla="*/ 1 h 37"/>
                  <a:gd name="T24" fmla="*/ 0 w 61"/>
                  <a:gd name="T25" fmla="*/ 0 h 37"/>
                  <a:gd name="T26" fmla="*/ 0 w 61"/>
                  <a:gd name="T27" fmla="*/ 10 h 3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39" name="Freeform 152">
                <a:extLst>
                  <a:ext uri="{FF2B5EF4-FFF2-40B4-BE49-F238E27FC236}">
                    <a16:creationId xmlns:a16="http://schemas.microsoft.com/office/drawing/2014/main" id="{15FAF970-0FA2-413B-8F39-3FD91EDA7F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13 w 40"/>
                  <a:gd name="T1" fmla="*/ 10 h 30"/>
                  <a:gd name="T2" fmla="*/ 11 w 40"/>
                  <a:gd name="T3" fmla="*/ 9 h 30"/>
                  <a:gd name="T4" fmla="*/ 8 w 40"/>
                  <a:gd name="T5" fmla="*/ 8 h 30"/>
                  <a:gd name="T6" fmla="*/ 7 w 40"/>
                  <a:gd name="T7" fmla="*/ 7 h 30"/>
                  <a:gd name="T8" fmla="*/ 5 w 40"/>
                  <a:gd name="T9" fmla="*/ 6 h 30"/>
                  <a:gd name="T10" fmla="*/ 4 w 40"/>
                  <a:gd name="T11" fmla="*/ 5 h 30"/>
                  <a:gd name="T12" fmla="*/ 2 w 40"/>
                  <a:gd name="T13" fmla="*/ 4 h 30"/>
                  <a:gd name="T14" fmla="*/ 1 w 40"/>
                  <a:gd name="T15" fmla="*/ 2 h 30"/>
                  <a:gd name="T16" fmla="*/ 0 w 40"/>
                  <a:gd name="T17" fmla="*/ 0 h 30"/>
                  <a:gd name="T18" fmla="*/ 3 w 40"/>
                  <a:gd name="T19" fmla="*/ 1 h 30"/>
                  <a:gd name="T20" fmla="*/ 5 w 40"/>
                  <a:gd name="T21" fmla="*/ 2 h 30"/>
                  <a:gd name="T22" fmla="*/ 7 w 40"/>
                  <a:gd name="T23" fmla="*/ 3 h 30"/>
                  <a:gd name="T24" fmla="*/ 9 w 40"/>
                  <a:gd name="T25" fmla="*/ 5 h 30"/>
                  <a:gd name="T26" fmla="*/ 11 w 40"/>
                  <a:gd name="T27" fmla="*/ 6 h 30"/>
                  <a:gd name="T28" fmla="*/ 12 w 40"/>
                  <a:gd name="T29" fmla="*/ 8 h 30"/>
                  <a:gd name="T30" fmla="*/ 13 w 40"/>
                  <a:gd name="T31" fmla="*/ 9 h 30"/>
                  <a:gd name="T32" fmla="*/ 13 w 40"/>
                  <a:gd name="T33" fmla="*/ 10 h 3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40" name="Freeform 153">
                <a:extLst>
                  <a:ext uri="{FF2B5EF4-FFF2-40B4-BE49-F238E27FC236}">
                    <a16:creationId xmlns:a16="http://schemas.microsoft.com/office/drawing/2014/main" id="{F7942CFE-29CC-4A73-A9EE-596BA6C404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24 w 74"/>
                  <a:gd name="T1" fmla="*/ 26 h 80"/>
                  <a:gd name="T2" fmla="*/ 23 w 74"/>
                  <a:gd name="T3" fmla="*/ 24 h 80"/>
                  <a:gd name="T4" fmla="*/ 23 w 74"/>
                  <a:gd name="T5" fmla="*/ 21 h 80"/>
                  <a:gd name="T6" fmla="*/ 22 w 74"/>
                  <a:gd name="T7" fmla="*/ 20 h 80"/>
                  <a:gd name="T8" fmla="*/ 21 w 74"/>
                  <a:gd name="T9" fmla="*/ 17 h 80"/>
                  <a:gd name="T10" fmla="*/ 19 w 74"/>
                  <a:gd name="T11" fmla="*/ 14 h 80"/>
                  <a:gd name="T12" fmla="*/ 16 w 74"/>
                  <a:gd name="T13" fmla="*/ 11 h 80"/>
                  <a:gd name="T14" fmla="*/ 12 w 74"/>
                  <a:gd name="T15" fmla="*/ 8 h 80"/>
                  <a:gd name="T16" fmla="*/ 9 w 74"/>
                  <a:gd name="T17" fmla="*/ 6 h 80"/>
                  <a:gd name="T18" fmla="*/ 6 w 74"/>
                  <a:gd name="T19" fmla="*/ 3 h 80"/>
                  <a:gd name="T20" fmla="*/ 4 w 74"/>
                  <a:gd name="T21" fmla="*/ 0 h 80"/>
                  <a:gd name="T22" fmla="*/ 3 w 74"/>
                  <a:gd name="T23" fmla="*/ 2 h 80"/>
                  <a:gd name="T24" fmla="*/ 1 w 74"/>
                  <a:gd name="T25" fmla="*/ 3 h 80"/>
                  <a:gd name="T26" fmla="*/ 0 w 74"/>
                  <a:gd name="T27" fmla="*/ 5 h 80"/>
                  <a:gd name="T28" fmla="*/ 0 w 74"/>
                  <a:gd name="T29" fmla="*/ 6 h 80"/>
                  <a:gd name="T30" fmla="*/ 0 w 74"/>
                  <a:gd name="T31" fmla="*/ 8 h 80"/>
                  <a:gd name="T32" fmla="*/ 1 w 74"/>
                  <a:gd name="T33" fmla="*/ 10 h 80"/>
                  <a:gd name="T34" fmla="*/ 1 w 74"/>
                  <a:gd name="T35" fmla="*/ 12 h 80"/>
                  <a:gd name="T36" fmla="*/ 2 w 74"/>
                  <a:gd name="T37" fmla="*/ 13 h 80"/>
                  <a:gd name="T38" fmla="*/ 3 w 74"/>
                  <a:gd name="T39" fmla="*/ 15 h 80"/>
                  <a:gd name="T40" fmla="*/ 5 w 74"/>
                  <a:gd name="T41" fmla="*/ 17 h 80"/>
                  <a:gd name="T42" fmla="*/ 6 w 74"/>
                  <a:gd name="T43" fmla="*/ 18 h 80"/>
                  <a:gd name="T44" fmla="*/ 8 w 74"/>
                  <a:gd name="T45" fmla="*/ 20 h 80"/>
                  <a:gd name="T46" fmla="*/ 10 w 74"/>
                  <a:gd name="T47" fmla="*/ 21 h 80"/>
                  <a:gd name="T48" fmla="*/ 11 w 74"/>
                  <a:gd name="T49" fmla="*/ 22 h 80"/>
                  <a:gd name="T50" fmla="*/ 14 w 74"/>
                  <a:gd name="T51" fmla="*/ 23 h 80"/>
                  <a:gd name="T52" fmla="*/ 15 w 74"/>
                  <a:gd name="T53" fmla="*/ 24 h 80"/>
                  <a:gd name="T54" fmla="*/ 18 w 74"/>
                  <a:gd name="T55" fmla="*/ 25 h 80"/>
                  <a:gd name="T56" fmla="*/ 19 w 74"/>
                  <a:gd name="T57" fmla="*/ 26 h 80"/>
                  <a:gd name="T58" fmla="*/ 22 w 74"/>
                  <a:gd name="T59" fmla="*/ 26 h 80"/>
                  <a:gd name="T60" fmla="*/ 24 w 74"/>
                  <a:gd name="T61" fmla="*/ 26 h 8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41" name="Freeform 154">
                <a:extLst>
                  <a:ext uri="{FF2B5EF4-FFF2-40B4-BE49-F238E27FC236}">
                    <a16:creationId xmlns:a16="http://schemas.microsoft.com/office/drawing/2014/main" id="{43512F59-7A95-42D2-9A51-F6EDC3A723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16 w 86"/>
                  <a:gd name="T1" fmla="*/ 27 h 80"/>
                  <a:gd name="T2" fmla="*/ 26 w 86"/>
                  <a:gd name="T3" fmla="*/ 27 h 80"/>
                  <a:gd name="T4" fmla="*/ 26 w 86"/>
                  <a:gd name="T5" fmla="*/ 21 h 80"/>
                  <a:gd name="T6" fmla="*/ 24 w 86"/>
                  <a:gd name="T7" fmla="*/ 20 h 80"/>
                  <a:gd name="T8" fmla="*/ 22 w 86"/>
                  <a:gd name="T9" fmla="*/ 19 h 80"/>
                  <a:gd name="T10" fmla="*/ 20 w 86"/>
                  <a:gd name="T11" fmla="*/ 18 h 80"/>
                  <a:gd name="T12" fmla="*/ 18 w 86"/>
                  <a:gd name="T13" fmla="*/ 17 h 80"/>
                  <a:gd name="T14" fmla="*/ 15 w 86"/>
                  <a:gd name="T15" fmla="*/ 14 h 80"/>
                  <a:gd name="T16" fmla="*/ 13 w 86"/>
                  <a:gd name="T17" fmla="*/ 11 h 80"/>
                  <a:gd name="T18" fmla="*/ 10 w 86"/>
                  <a:gd name="T19" fmla="*/ 8 h 80"/>
                  <a:gd name="T20" fmla="*/ 7 w 86"/>
                  <a:gd name="T21" fmla="*/ 5 h 80"/>
                  <a:gd name="T22" fmla="*/ 4 w 86"/>
                  <a:gd name="T23" fmla="*/ 2 h 80"/>
                  <a:gd name="T24" fmla="*/ 0 w 86"/>
                  <a:gd name="T25" fmla="*/ 0 h 80"/>
                  <a:gd name="T26" fmla="*/ 0 w 86"/>
                  <a:gd name="T27" fmla="*/ 3 h 80"/>
                  <a:gd name="T28" fmla="*/ 2 w 86"/>
                  <a:gd name="T29" fmla="*/ 7 h 80"/>
                  <a:gd name="T30" fmla="*/ 3 w 86"/>
                  <a:gd name="T31" fmla="*/ 11 h 80"/>
                  <a:gd name="T32" fmla="*/ 5 w 86"/>
                  <a:gd name="T33" fmla="*/ 15 h 80"/>
                  <a:gd name="T34" fmla="*/ 8 w 86"/>
                  <a:gd name="T35" fmla="*/ 19 h 80"/>
                  <a:gd name="T36" fmla="*/ 11 w 86"/>
                  <a:gd name="T37" fmla="*/ 23 h 80"/>
                  <a:gd name="T38" fmla="*/ 12 w 86"/>
                  <a:gd name="T39" fmla="*/ 24 h 80"/>
                  <a:gd name="T40" fmla="*/ 14 w 86"/>
                  <a:gd name="T41" fmla="*/ 26 h 80"/>
                  <a:gd name="T42" fmla="*/ 15 w 86"/>
                  <a:gd name="T43" fmla="*/ 27 h 80"/>
                  <a:gd name="T44" fmla="*/ 16 w 86"/>
                  <a:gd name="T45" fmla="*/ 27 h 8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42" name="Freeform 155">
                <a:extLst>
                  <a:ext uri="{FF2B5EF4-FFF2-40B4-BE49-F238E27FC236}">
                    <a16:creationId xmlns:a16="http://schemas.microsoft.com/office/drawing/2014/main" id="{BCB16F4C-F742-4520-B367-CA755509EC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2 h 31"/>
                  <a:gd name="T2" fmla="*/ 1 w 74"/>
                  <a:gd name="T3" fmla="*/ 4 h 31"/>
                  <a:gd name="T4" fmla="*/ 2 w 74"/>
                  <a:gd name="T5" fmla="*/ 5 h 31"/>
                  <a:gd name="T6" fmla="*/ 3 w 74"/>
                  <a:gd name="T7" fmla="*/ 6 h 31"/>
                  <a:gd name="T8" fmla="*/ 5 w 74"/>
                  <a:gd name="T9" fmla="*/ 7 h 31"/>
                  <a:gd name="T10" fmla="*/ 6 w 74"/>
                  <a:gd name="T11" fmla="*/ 9 h 31"/>
                  <a:gd name="T12" fmla="*/ 8 w 74"/>
                  <a:gd name="T13" fmla="*/ 9 h 31"/>
                  <a:gd name="T14" fmla="*/ 10 w 74"/>
                  <a:gd name="T15" fmla="*/ 10 h 31"/>
                  <a:gd name="T16" fmla="*/ 11 w 74"/>
                  <a:gd name="T17" fmla="*/ 10 h 31"/>
                  <a:gd name="T18" fmla="*/ 16 w 74"/>
                  <a:gd name="T19" fmla="*/ 11 h 31"/>
                  <a:gd name="T20" fmla="*/ 20 w 74"/>
                  <a:gd name="T21" fmla="*/ 11 h 31"/>
                  <a:gd name="T22" fmla="*/ 21 w 74"/>
                  <a:gd name="T23" fmla="*/ 11 h 31"/>
                  <a:gd name="T24" fmla="*/ 23 w 74"/>
                  <a:gd name="T25" fmla="*/ 10 h 31"/>
                  <a:gd name="T26" fmla="*/ 24 w 74"/>
                  <a:gd name="T27" fmla="*/ 10 h 31"/>
                  <a:gd name="T28" fmla="*/ 25 w 74"/>
                  <a:gd name="T29" fmla="*/ 9 h 31"/>
                  <a:gd name="T30" fmla="*/ 22 w 74"/>
                  <a:gd name="T31" fmla="*/ 6 h 31"/>
                  <a:gd name="T32" fmla="*/ 19 w 74"/>
                  <a:gd name="T33" fmla="*/ 5 h 31"/>
                  <a:gd name="T34" fmla="*/ 17 w 74"/>
                  <a:gd name="T35" fmla="*/ 4 h 31"/>
                  <a:gd name="T36" fmla="*/ 16 w 74"/>
                  <a:gd name="T37" fmla="*/ 3 h 31"/>
                  <a:gd name="T38" fmla="*/ 15 w 74"/>
                  <a:gd name="T39" fmla="*/ 2 h 31"/>
                  <a:gd name="T40" fmla="*/ 14 w 74"/>
                  <a:gd name="T41" fmla="*/ 0 h 31"/>
                  <a:gd name="T42" fmla="*/ 11 w 74"/>
                  <a:gd name="T43" fmla="*/ 0 h 31"/>
                  <a:gd name="T44" fmla="*/ 9 w 74"/>
                  <a:gd name="T45" fmla="*/ 0 h 31"/>
                  <a:gd name="T46" fmla="*/ 7 w 74"/>
                  <a:gd name="T47" fmla="*/ 0 h 31"/>
                  <a:gd name="T48" fmla="*/ 6 w 74"/>
                  <a:gd name="T49" fmla="*/ 0 h 31"/>
                  <a:gd name="T50" fmla="*/ 5 w 74"/>
                  <a:gd name="T51" fmla="*/ 0 h 31"/>
                  <a:gd name="T52" fmla="*/ 3 w 74"/>
                  <a:gd name="T53" fmla="*/ 0 h 31"/>
                  <a:gd name="T54" fmla="*/ 2 w 74"/>
                  <a:gd name="T55" fmla="*/ 1 h 31"/>
                  <a:gd name="T56" fmla="*/ 0 w 74"/>
                  <a:gd name="T57" fmla="*/ 2 h 31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43" name="Freeform 156">
                <a:extLst>
                  <a:ext uri="{FF2B5EF4-FFF2-40B4-BE49-F238E27FC236}">
                    <a16:creationId xmlns:a16="http://schemas.microsoft.com/office/drawing/2014/main" id="{190C309E-03D8-45D0-A01C-98356299FA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6 w 20"/>
                  <a:gd name="T1" fmla="*/ 0 h 1"/>
                  <a:gd name="T2" fmla="*/ 0 w 20"/>
                  <a:gd name="T3" fmla="*/ 0 h 1"/>
                  <a:gd name="T4" fmla="*/ 3 w 20"/>
                  <a:gd name="T5" fmla="*/ 0 h 1"/>
                  <a:gd name="T6" fmla="*/ 6 w 20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44" name="Freeform 157">
                <a:extLst>
                  <a:ext uri="{FF2B5EF4-FFF2-40B4-BE49-F238E27FC236}">
                    <a16:creationId xmlns:a16="http://schemas.microsoft.com/office/drawing/2014/main" id="{92D18469-24DB-4BCE-9FEE-20E6AA8A88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2 w 100"/>
                  <a:gd name="T1" fmla="*/ 8 h 65"/>
                  <a:gd name="T2" fmla="*/ 11 w 100"/>
                  <a:gd name="T3" fmla="*/ 13 h 65"/>
                  <a:gd name="T4" fmla="*/ 20 w 100"/>
                  <a:gd name="T5" fmla="*/ 18 h 65"/>
                  <a:gd name="T6" fmla="*/ 23 w 100"/>
                  <a:gd name="T7" fmla="*/ 19 h 65"/>
                  <a:gd name="T8" fmla="*/ 27 w 100"/>
                  <a:gd name="T9" fmla="*/ 21 h 65"/>
                  <a:gd name="T10" fmla="*/ 28 w 100"/>
                  <a:gd name="T11" fmla="*/ 21 h 65"/>
                  <a:gd name="T12" fmla="*/ 29 w 100"/>
                  <a:gd name="T13" fmla="*/ 21 h 65"/>
                  <a:gd name="T14" fmla="*/ 31 w 100"/>
                  <a:gd name="T15" fmla="*/ 21 h 65"/>
                  <a:gd name="T16" fmla="*/ 32 w 100"/>
                  <a:gd name="T17" fmla="*/ 20 h 65"/>
                  <a:gd name="T18" fmla="*/ 30 w 100"/>
                  <a:gd name="T19" fmla="*/ 19 h 65"/>
                  <a:gd name="T20" fmla="*/ 28 w 100"/>
                  <a:gd name="T21" fmla="*/ 18 h 65"/>
                  <a:gd name="T22" fmla="*/ 27 w 100"/>
                  <a:gd name="T23" fmla="*/ 17 h 65"/>
                  <a:gd name="T24" fmla="*/ 25 w 100"/>
                  <a:gd name="T25" fmla="*/ 15 h 65"/>
                  <a:gd name="T26" fmla="*/ 21 w 100"/>
                  <a:gd name="T27" fmla="*/ 11 h 65"/>
                  <a:gd name="T28" fmla="*/ 18 w 100"/>
                  <a:gd name="T29" fmla="*/ 7 h 65"/>
                  <a:gd name="T30" fmla="*/ 17 w 100"/>
                  <a:gd name="T31" fmla="*/ 5 h 65"/>
                  <a:gd name="T32" fmla="*/ 15 w 100"/>
                  <a:gd name="T33" fmla="*/ 3 h 65"/>
                  <a:gd name="T34" fmla="*/ 13 w 100"/>
                  <a:gd name="T35" fmla="*/ 1 h 65"/>
                  <a:gd name="T36" fmla="*/ 11 w 100"/>
                  <a:gd name="T37" fmla="*/ 0 h 65"/>
                  <a:gd name="T38" fmla="*/ 9 w 100"/>
                  <a:gd name="T39" fmla="*/ 0 h 65"/>
                  <a:gd name="T40" fmla="*/ 6 w 100"/>
                  <a:gd name="T41" fmla="*/ 0 h 65"/>
                  <a:gd name="T42" fmla="*/ 3 w 100"/>
                  <a:gd name="T43" fmla="*/ 1 h 65"/>
                  <a:gd name="T44" fmla="*/ 0 w 100"/>
                  <a:gd name="T45" fmla="*/ 2 h 65"/>
                  <a:gd name="T46" fmla="*/ 2 w 100"/>
                  <a:gd name="T47" fmla="*/ 8 h 6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45" name="Freeform 158">
                <a:extLst>
                  <a:ext uri="{FF2B5EF4-FFF2-40B4-BE49-F238E27FC236}">
                    <a16:creationId xmlns:a16="http://schemas.microsoft.com/office/drawing/2014/main" id="{A6BAA6BA-FE29-44FA-B91E-D8FE739DBC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22 w 79"/>
                  <a:gd name="T1" fmla="*/ 28 h 104"/>
                  <a:gd name="T2" fmla="*/ 17 w 79"/>
                  <a:gd name="T3" fmla="*/ 20 h 104"/>
                  <a:gd name="T4" fmla="*/ 13 w 79"/>
                  <a:gd name="T5" fmla="*/ 13 h 104"/>
                  <a:gd name="T6" fmla="*/ 9 w 79"/>
                  <a:gd name="T7" fmla="*/ 7 h 104"/>
                  <a:gd name="T8" fmla="*/ 4 w 79"/>
                  <a:gd name="T9" fmla="*/ 0 h 104"/>
                  <a:gd name="T10" fmla="*/ 2 w 79"/>
                  <a:gd name="T11" fmla="*/ 5 h 104"/>
                  <a:gd name="T12" fmla="*/ 1 w 79"/>
                  <a:gd name="T13" fmla="*/ 11 h 104"/>
                  <a:gd name="T14" fmla="*/ 0 w 79"/>
                  <a:gd name="T15" fmla="*/ 13 h 104"/>
                  <a:gd name="T16" fmla="*/ 0 w 79"/>
                  <a:gd name="T17" fmla="*/ 16 h 104"/>
                  <a:gd name="T18" fmla="*/ 0 w 79"/>
                  <a:gd name="T19" fmla="*/ 18 h 104"/>
                  <a:gd name="T20" fmla="*/ 0 w 79"/>
                  <a:gd name="T21" fmla="*/ 20 h 104"/>
                  <a:gd name="T22" fmla="*/ 0 w 79"/>
                  <a:gd name="T23" fmla="*/ 22 h 104"/>
                  <a:gd name="T24" fmla="*/ 1 w 79"/>
                  <a:gd name="T25" fmla="*/ 24 h 104"/>
                  <a:gd name="T26" fmla="*/ 2 w 79"/>
                  <a:gd name="T27" fmla="*/ 26 h 104"/>
                  <a:gd name="T28" fmla="*/ 3 w 79"/>
                  <a:gd name="T29" fmla="*/ 27 h 104"/>
                  <a:gd name="T30" fmla="*/ 4 w 79"/>
                  <a:gd name="T31" fmla="*/ 29 h 104"/>
                  <a:gd name="T32" fmla="*/ 6 w 79"/>
                  <a:gd name="T33" fmla="*/ 29 h 104"/>
                  <a:gd name="T34" fmla="*/ 8 w 79"/>
                  <a:gd name="T35" fmla="*/ 30 h 104"/>
                  <a:gd name="T36" fmla="*/ 10 w 79"/>
                  <a:gd name="T37" fmla="*/ 30 h 104"/>
                  <a:gd name="T38" fmla="*/ 13 w 79"/>
                  <a:gd name="T39" fmla="*/ 30 h 104"/>
                  <a:gd name="T40" fmla="*/ 16 w 79"/>
                  <a:gd name="T41" fmla="*/ 31 h 104"/>
                  <a:gd name="T42" fmla="*/ 20 w 79"/>
                  <a:gd name="T43" fmla="*/ 33 h 104"/>
                  <a:gd name="T44" fmla="*/ 24 w 79"/>
                  <a:gd name="T45" fmla="*/ 34 h 104"/>
                  <a:gd name="T46" fmla="*/ 22 w 79"/>
                  <a:gd name="T47" fmla="*/ 28 h 10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645" name="Freeform 159">
              <a:extLst>
                <a:ext uri="{FF2B5EF4-FFF2-40B4-BE49-F238E27FC236}">
                  <a16:creationId xmlns:a16="http://schemas.microsoft.com/office/drawing/2014/main" id="{1E46C63E-C44D-4B12-90DE-CDE77929EB59}"/>
                </a:ext>
              </a:extLst>
            </p:cNvPr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5740401" y="3548063"/>
              <a:ext cx="11113" cy="55562"/>
            </a:xfrm>
            <a:custGeom>
              <a:avLst/>
              <a:gdLst>
                <a:gd name="T0" fmla="*/ 11113 w 27"/>
                <a:gd name="T1" fmla="*/ 0 h 19"/>
                <a:gd name="T2" fmla="*/ 11113 w 27"/>
                <a:gd name="T3" fmla="*/ 35092 h 19"/>
                <a:gd name="T4" fmla="*/ 11113 w 27"/>
                <a:gd name="T5" fmla="*/ 55562 h 19"/>
                <a:gd name="T6" fmla="*/ 3704 w 27"/>
                <a:gd name="T7" fmla="*/ 55562 h 19"/>
                <a:gd name="T8" fmla="*/ 0 w 27"/>
                <a:gd name="T9" fmla="*/ 55562 h 19"/>
                <a:gd name="T10" fmla="*/ 3704 w 27"/>
                <a:gd name="T11" fmla="*/ 35092 h 19"/>
                <a:gd name="T12" fmla="*/ 11113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46" name="Freeform 160">
              <a:extLst>
                <a:ext uri="{FF2B5EF4-FFF2-40B4-BE49-F238E27FC236}">
                  <a16:creationId xmlns:a16="http://schemas.microsoft.com/office/drawing/2014/main" id="{F6F00B19-5AFC-4304-ABD9-9EA6D907216C}"/>
                </a:ext>
              </a:extLst>
            </p:cNvPr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5664200" y="3687763"/>
              <a:ext cx="14288" cy="57150"/>
            </a:xfrm>
            <a:custGeom>
              <a:avLst/>
              <a:gdLst>
                <a:gd name="T0" fmla="*/ 0 w 39"/>
                <a:gd name="T1" fmla="*/ 0 h 35"/>
                <a:gd name="T2" fmla="*/ 14288 w 39"/>
                <a:gd name="T3" fmla="*/ 0 h 35"/>
                <a:gd name="T4" fmla="*/ 13189 w 39"/>
                <a:gd name="T5" fmla="*/ 14696 h 35"/>
                <a:gd name="T6" fmla="*/ 12090 w 39"/>
                <a:gd name="T7" fmla="*/ 31024 h 35"/>
                <a:gd name="T8" fmla="*/ 9892 w 39"/>
                <a:gd name="T9" fmla="*/ 45720 h 35"/>
                <a:gd name="T10" fmla="*/ 8060 w 39"/>
                <a:gd name="T11" fmla="*/ 55517 h 35"/>
                <a:gd name="T12" fmla="*/ 6961 w 39"/>
                <a:gd name="T13" fmla="*/ 57150 h 35"/>
                <a:gd name="T14" fmla="*/ 5862 w 39"/>
                <a:gd name="T15" fmla="*/ 57150 h 35"/>
                <a:gd name="T16" fmla="*/ 4763 w 39"/>
                <a:gd name="T17" fmla="*/ 55517 h 35"/>
                <a:gd name="T18" fmla="*/ 4030 w 39"/>
                <a:gd name="T19" fmla="*/ 50619 h 35"/>
                <a:gd name="T20" fmla="*/ 2565 w 39"/>
                <a:gd name="T21" fmla="*/ 42454 h 35"/>
                <a:gd name="T22" fmla="*/ 1832 w 39"/>
                <a:gd name="T23" fmla="*/ 32657 h 35"/>
                <a:gd name="T24" fmla="*/ 733 w 39"/>
                <a:gd name="T25" fmla="*/ 17961 h 35"/>
                <a:gd name="T26" fmla="*/ 0 w 39"/>
                <a:gd name="T27" fmla="*/ 0 h 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47" name="Freeform 161">
              <a:extLst>
                <a:ext uri="{FF2B5EF4-FFF2-40B4-BE49-F238E27FC236}">
                  <a16:creationId xmlns:a16="http://schemas.microsoft.com/office/drawing/2014/main" id="{0147D10E-CD56-4385-9EC4-C60DF0C393C7}"/>
                </a:ext>
              </a:extLst>
            </p:cNvPr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7462838" y="2014539"/>
              <a:ext cx="728662" cy="331787"/>
            </a:xfrm>
            <a:custGeom>
              <a:avLst/>
              <a:gdLst>
                <a:gd name="T0" fmla="*/ 13813 w 1688"/>
                <a:gd name="T1" fmla="*/ 113756 h 630"/>
                <a:gd name="T2" fmla="*/ 37124 w 1688"/>
                <a:gd name="T3" fmla="*/ 131135 h 630"/>
                <a:gd name="T4" fmla="*/ 66909 w 1688"/>
                <a:gd name="T5" fmla="*/ 139035 h 630"/>
                <a:gd name="T6" fmla="*/ 82449 w 1688"/>
                <a:gd name="T7" fmla="*/ 147988 h 630"/>
                <a:gd name="T8" fmla="*/ 102738 w 1688"/>
                <a:gd name="T9" fmla="*/ 174320 h 630"/>
                <a:gd name="T10" fmla="*/ 109213 w 1688"/>
                <a:gd name="T11" fmla="*/ 183799 h 630"/>
                <a:gd name="T12" fmla="*/ 109645 w 1688"/>
                <a:gd name="T13" fmla="*/ 203285 h 630"/>
                <a:gd name="T14" fmla="*/ 117846 w 1688"/>
                <a:gd name="T15" fmla="*/ 214872 h 630"/>
                <a:gd name="T16" fmla="*/ 147200 w 1688"/>
                <a:gd name="T17" fmla="*/ 219085 h 630"/>
                <a:gd name="T18" fmla="*/ 199864 w 1688"/>
                <a:gd name="T19" fmla="*/ 238044 h 630"/>
                <a:gd name="T20" fmla="*/ 235693 w 1688"/>
                <a:gd name="T21" fmla="*/ 246997 h 630"/>
                <a:gd name="T22" fmla="*/ 248211 w 1688"/>
                <a:gd name="T23" fmla="*/ 268589 h 630"/>
                <a:gd name="T24" fmla="*/ 268500 w 1688"/>
                <a:gd name="T25" fmla="*/ 285442 h 630"/>
                <a:gd name="T26" fmla="*/ 289220 w 1688"/>
                <a:gd name="T27" fmla="*/ 292289 h 630"/>
                <a:gd name="T28" fmla="*/ 395843 w 1688"/>
                <a:gd name="T29" fmla="*/ 303348 h 630"/>
                <a:gd name="T30" fmla="*/ 447644 w 1688"/>
                <a:gd name="T31" fmla="*/ 323361 h 630"/>
                <a:gd name="T32" fmla="*/ 482177 w 1688"/>
                <a:gd name="T33" fmla="*/ 331787 h 630"/>
                <a:gd name="T34" fmla="*/ 499444 w 1688"/>
                <a:gd name="T35" fmla="*/ 322834 h 630"/>
                <a:gd name="T36" fmla="*/ 580167 w 1688"/>
                <a:gd name="T37" fmla="*/ 297028 h 630"/>
                <a:gd name="T38" fmla="*/ 602182 w 1688"/>
                <a:gd name="T39" fmla="*/ 268589 h 630"/>
                <a:gd name="T40" fmla="*/ 605636 w 1688"/>
                <a:gd name="T41" fmla="*/ 254370 h 630"/>
                <a:gd name="T42" fmla="*/ 598297 w 1688"/>
                <a:gd name="T43" fmla="*/ 239624 h 630"/>
                <a:gd name="T44" fmla="*/ 591390 w 1688"/>
                <a:gd name="T45" fmla="*/ 218558 h 630"/>
                <a:gd name="T46" fmla="*/ 647076 w 1688"/>
                <a:gd name="T47" fmla="*/ 207499 h 630"/>
                <a:gd name="T48" fmla="*/ 688085 w 1688"/>
                <a:gd name="T49" fmla="*/ 180640 h 630"/>
                <a:gd name="T50" fmla="*/ 712690 w 1688"/>
                <a:gd name="T51" fmla="*/ 171160 h 630"/>
                <a:gd name="T52" fmla="*/ 728662 w 1688"/>
                <a:gd name="T53" fmla="*/ 156414 h 630"/>
                <a:gd name="T54" fmla="*/ 714849 w 1688"/>
                <a:gd name="T55" fmla="*/ 146934 h 630"/>
                <a:gd name="T56" fmla="*/ 698877 w 1688"/>
                <a:gd name="T57" fmla="*/ 132715 h 630"/>
                <a:gd name="T58" fmla="*/ 683336 w 1688"/>
                <a:gd name="T59" fmla="*/ 130608 h 630"/>
                <a:gd name="T60" fmla="*/ 670386 w 1688"/>
                <a:gd name="T61" fmla="*/ 135875 h 630"/>
                <a:gd name="T62" fmla="*/ 646213 w 1688"/>
                <a:gd name="T63" fmla="*/ 134821 h 630"/>
                <a:gd name="T64" fmla="*/ 628946 w 1688"/>
                <a:gd name="T65" fmla="*/ 123762 h 630"/>
                <a:gd name="T66" fmla="*/ 619017 w 1688"/>
                <a:gd name="T67" fmla="*/ 98483 h 630"/>
                <a:gd name="T68" fmla="*/ 590095 w 1688"/>
                <a:gd name="T69" fmla="*/ 65304 h 630"/>
                <a:gd name="T70" fmla="*/ 555130 w 1688"/>
                <a:gd name="T71" fmla="*/ 63198 h 630"/>
                <a:gd name="T72" fmla="*/ 543906 w 1688"/>
                <a:gd name="T73" fmla="*/ 77417 h 630"/>
                <a:gd name="T74" fmla="*/ 533546 w 1688"/>
                <a:gd name="T75" fmla="*/ 86897 h 630"/>
                <a:gd name="T76" fmla="*/ 504193 w 1688"/>
                <a:gd name="T77" fmla="*/ 87950 h 630"/>
                <a:gd name="T78" fmla="*/ 450665 w 1688"/>
                <a:gd name="T79" fmla="*/ 87950 h 630"/>
                <a:gd name="T80" fmla="*/ 425628 w 1688"/>
                <a:gd name="T81" fmla="*/ 73730 h 630"/>
                <a:gd name="T82" fmla="*/ 398001 w 1688"/>
                <a:gd name="T83" fmla="*/ 56878 h 630"/>
                <a:gd name="T84" fmla="*/ 367784 w 1688"/>
                <a:gd name="T85" fmla="*/ 52665 h 630"/>
                <a:gd name="T86" fmla="*/ 345769 w 1688"/>
                <a:gd name="T87" fmla="*/ 60038 h 630"/>
                <a:gd name="T88" fmla="*/ 319437 w 1688"/>
                <a:gd name="T89" fmla="*/ 61091 h 630"/>
                <a:gd name="T90" fmla="*/ 298717 w 1688"/>
                <a:gd name="T91" fmla="*/ 53191 h 630"/>
                <a:gd name="T92" fmla="*/ 285767 w 1688"/>
                <a:gd name="T93" fmla="*/ 35812 h 630"/>
                <a:gd name="T94" fmla="*/ 192526 w 1688"/>
                <a:gd name="T95" fmla="*/ 3687 h 630"/>
                <a:gd name="T96" fmla="*/ 192526 w 1688"/>
                <a:gd name="T97" fmla="*/ 23172 h 630"/>
                <a:gd name="T98" fmla="*/ 203317 w 1688"/>
                <a:gd name="T99" fmla="*/ 41605 h 630"/>
                <a:gd name="T100" fmla="*/ 211519 w 1688"/>
                <a:gd name="T101" fmla="*/ 55824 h 630"/>
                <a:gd name="T102" fmla="*/ 132523 w 1688"/>
                <a:gd name="T103" fmla="*/ 64251 h 630"/>
                <a:gd name="T104" fmla="*/ 126912 w 1688"/>
                <a:gd name="T105" fmla="*/ 45818 h 630"/>
                <a:gd name="T106" fmla="*/ 97126 w 1688"/>
                <a:gd name="T107" fmla="*/ 51085 h 630"/>
                <a:gd name="T108" fmla="*/ 79859 w 1688"/>
                <a:gd name="T109" fmla="*/ 46345 h 630"/>
                <a:gd name="T110" fmla="*/ 59571 w 1688"/>
                <a:gd name="T111" fmla="*/ 51085 h 630"/>
                <a:gd name="T112" fmla="*/ 29354 w 1688"/>
                <a:gd name="T113" fmla="*/ 75310 h 630"/>
                <a:gd name="T114" fmla="*/ 13382 w 1688"/>
                <a:gd name="T115" fmla="*/ 79524 h 630"/>
                <a:gd name="T116" fmla="*/ 1727 w 1688"/>
                <a:gd name="T117" fmla="*/ 89003 h 6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48" name="Freeform 162">
              <a:extLst>
                <a:ext uri="{FF2B5EF4-FFF2-40B4-BE49-F238E27FC236}">
                  <a16:creationId xmlns:a16="http://schemas.microsoft.com/office/drawing/2014/main" id="{DD6A966E-F192-451A-9DC1-108CBC4A65E4}"/>
                </a:ext>
              </a:extLst>
            </p:cNvPr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3789363" y="3981451"/>
              <a:ext cx="328612" cy="415925"/>
            </a:xfrm>
            <a:custGeom>
              <a:avLst/>
              <a:gdLst>
                <a:gd name="T0" fmla="*/ 11272 w 758"/>
                <a:gd name="T1" fmla="*/ 41854 h 795"/>
                <a:gd name="T2" fmla="*/ 21243 w 758"/>
                <a:gd name="T3" fmla="*/ 46039 h 795"/>
                <a:gd name="T4" fmla="*/ 31214 w 758"/>
                <a:gd name="T5" fmla="*/ 56503 h 795"/>
                <a:gd name="T6" fmla="*/ 38150 w 758"/>
                <a:gd name="T7" fmla="*/ 70106 h 795"/>
                <a:gd name="T8" fmla="*/ 40318 w 758"/>
                <a:gd name="T9" fmla="*/ 88417 h 795"/>
                <a:gd name="T10" fmla="*/ 36416 w 758"/>
                <a:gd name="T11" fmla="*/ 97311 h 795"/>
                <a:gd name="T12" fmla="*/ 35116 w 758"/>
                <a:gd name="T13" fmla="*/ 107251 h 795"/>
                <a:gd name="T14" fmla="*/ 38150 w 758"/>
                <a:gd name="T15" fmla="*/ 125562 h 795"/>
                <a:gd name="T16" fmla="*/ 41185 w 758"/>
                <a:gd name="T17" fmla="*/ 145443 h 795"/>
                <a:gd name="T18" fmla="*/ 35983 w 758"/>
                <a:gd name="T19" fmla="*/ 161138 h 795"/>
                <a:gd name="T20" fmla="*/ 35116 w 758"/>
                <a:gd name="T21" fmla="*/ 184158 h 795"/>
                <a:gd name="T22" fmla="*/ 40318 w 758"/>
                <a:gd name="T23" fmla="*/ 204039 h 795"/>
                <a:gd name="T24" fmla="*/ 42919 w 758"/>
                <a:gd name="T25" fmla="*/ 217118 h 795"/>
                <a:gd name="T26" fmla="*/ 33815 w 758"/>
                <a:gd name="T27" fmla="*/ 239091 h 795"/>
                <a:gd name="T28" fmla="*/ 48988 w 758"/>
                <a:gd name="T29" fmla="*/ 276760 h 795"/>
                <a:gd name="T30" fmla="*/ 59826 w 758"/>
                <a:gd name="T31" fmla="*/ 301873 h 795"/>
                <a:gd name="T32" fmla="*/ 63295 w 758"/>
                <a:gd name="T33" fmla="*/ 325416 h 795"/>
                <a:gd name="T34" fmla="*/ 65896 w 758"/>
                <a:gd name="T35" fmla="*/ 344773 h 795"/>
                <a:gd name="T36" fmla="*/ 81069 w 758"/>
                <a:gd name="T37" fmla="*/ 386104 h 795"/>
                <a:gd name="T38" fmla="*/ 92774 w 758"/>
                <a:gd name="T39" fmla="*/ 409124 h 795"/>
                <a:gd name="T40" fmla="*/ 99711 w 758"/>
                <a:gd name="T41" fmla="*/ 415402 h 795"/>
                <a:gd name="T42" fmla="*/ 108815 w 758"/>
                <a:gd name="T43" fmla="*/ 413309 h 795"/>
                <a:gd name="T44" fmla="*/ 125289 w 758"/>
                <a:gd name="T45" fmla="*/ 398137 h 795"/>
                <a:gd name="T46" fmla="*/ 140462 w 758"/>
                <a:gd name="T47" fmla="*/ 390289 h 795"/>
                <a:gd name="T48" fmla="*/ 153901 w 758"/>
                <a:gd name="T49" fmla="*/ 391336 h 795"/>
                <a:gd name="T50" fmla="*/ 168208 w 758"/>
                <a:gd name="T51" fmla="*/ 402846 h 795"/>
                <a:gd name="T52" fmla="*/ 181213 w 758"/>
                <a:gd name="T53" fmla="*/ 408077 h 795"/>
                <a:gd name="T54" fmla="*/ 189450 w 758"/>
                <a:gd name="T55" fmla="*/ 396567 h 795"/>
                <a:gd name="T56" fmla="*/ 207225 w 758"/>
                <a:gd name="T57" fmla="*/ 389766 h 795"/>
                <a:gd name="T58" fmla="*/ 227601 w 758"/>
                <a:gd name="T59" fmla="*/ 325416 h 795"/>
                <a:gd name="T60" fmla="*/ 233670 w 758"/>
                <a:gd name="T61" fmla="*/ 313906 h 795"/>
                <a:gd name="T62" fmla="*/ 249277 w 758"/>
                <a:gd name="T63" fmla="*/ 305535 h 795"/>
                <a:gd name="T64" fmla="*/ 288294 w 758"/>
                <a:gd name="T65" fmla="*/ 299780 h 795"/>
                <a:gd name="T66" fmla="*/ 297832 w 758"/>
                <a:gd name="T67" fmla="*/ 302919 h 795"/>
                <a:gd name="T68" fmla="*/ 305202 w 758"/>
                <a:gd name="T69" fmla="*/ 306058 h 795"/>
                <a:gd name="T70" fmla="*/ 322543 w 758"/>
                <a:gd name="T71" fmla="*/ 299780 h 795"/>
                <a:gd name="T72" fmla="*/ 328178 w 758"/>
                <a:gd name="T73" fmla="*/ 283038 h 795"/>
                <a:gd name="T74" fmla="*/ 326011 w 758"/>
                <a:gd name="T75" fmla="*/ 261065 h 795"/>
                <a:gd name="T76" fmla="*/ 314739 w 758"/>
                <a:gd name="T77" fmla="*/ 241707 h 795"/>
                <a:gd name="T78" fmla="*/ 307803 w 758"/>
                <a:gd name="T79" fmla="*/ 227582 h 795"/>
                <a:gd name="T80" fmla="*/ 290895 w 758"/>
                <a:gd name="T81" fmla="*/ 209794 h 795"/>
                <a:gd name="T82" fmla="*/ 274421 w 758"/>
                <a:gd name="T83" fmla="*/ 208747 h 795"/>
                <a:gd name="T84" fmla="*/ 262283 w 758"/>
                <a:gd name="T85" fmla="*/ 197761 h 795"/>
                <a:gd name="T86" fmla="*/ 255780 w 758"/>
                <a:gd name="T87" fmla="*/ 182588 h 795"/>
                <a:gd name="T88" fmla="*/ 253612 w 758"/>
                <a:gd name="T89" fmla="*/ 162708 h 795"/>
                <a:gd name="T90" fmla="*/ 252745 w 758"/>
                <a:gd name="T91" fmla="*/ 140734 h 795"/>
                <a:gd name="T92" fmla="*/ 242774 w 758"/>
                <a:gd name="T93" fmla="*/ 126609 h 795"/>
                <a:gd name="T94" fmla="*/ 218063 w 758"/>
                <a:gd name="T95" fmla="*/ 107251 h 795"/>
                <a:gd name="T96" fmla="*/ 190751 w 758"/>
                <a:gd name="T97" fmla="*/ 93125 h 795"/>
                <a:gd name="T98" fmla="*/ 169942 w 758"/>
                <a:gd name="T99" fmla="*/ 87370 h 795"/>
                <a:gd name="T100" fmla="*/ 155635 w 758"/>
                <a:gd name="T101" fmla="*/ 84231 h 795"/>
                <a:gd name="T102" fmla="*/ 143063 w 758"/>
                <a:gd name="T103" fmla="*/ 75861 h 795"/>
                <a:gd name="T104" fmla="*/ 133092 w 758"/>
                <a:gd name="T105" fmla="*/ 63827 h 795"/>
                <a:gd name="T106" fmla="*/ 126589 w 758"/>
                <a:gd name="T107" fmla="*/ 48132 h 795"/>
                <a:gd name="T108" fmla="*/ 120953 w 758"/>
                <a:gd name="T109" fmla="*/ 9940 h 795"/>
                <a:gd name="T110" fmla="*/ 113150 w 758"/>
                <a:gd name="T111" fmla="*/ 1570 h 795"/>
                <a:gd name="T112" fmla="*/ 98410 w 758"/>
                <a:gd name="T113" fmla="*/ 1570 h 795"/>
                <a:gd name="T114" fmla="*/ 75000 w 758"/>
                <a:gd name="T115" fmla="*/ 15695 h 795"/>
                <a:gd name="T116" fmla="*/ 51589 w 758"/>
                <a:gd name="T117" fmla="*/ 34530 h 795"/>
                <a:gd name="T118" fmla="*/ 0 w 758"/>
                <a:gd name="T119" fmla="*/ 41854 h 7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49" name="Freeform 163">
              <a:extLst>
                <a:ext uri="{FF2B5EF4-FFF2-40B4-BE49-F238E27FC236}">
                  <a16:creationId xmlns:a16="http://schemas.microsoft.com/office/drawing/2014/main" id="{F9EF1829-9A8A-465A-9E12-BBD4012A0532}"/>
                </a:ext>
              </a:extLst>
            </p:cNvPr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4003676" y="3411538"/>
              <a:ext cx="119063" cy="215900"/>
            </a:xfrm>
            <a:custGeom>
              <a:avLst/>
              <a:gdLst>
                <a:gd name="T0" fmla="*/ 98129 w 273"/>
                <a:gd name="T1" fmla="*/ 73010 h 414"/>
                <a:gd name="T2" fmla="*/ 92895 w 273"/>
                <a:gd name="T3" fmla="*/ 69359 h 414"/>
                <a:gd name="T4" fmla="*/ 87662 w 273"/>
                <a:gd name="T5" fmla="*/ 63101 h 414"/>
                <a:gd name="T6" fmla="*/ 82864 w 273"/>
                <a:gd name="T7" fmla="*/ 54757 h 414"/>
                <a:gd name="T8" fmla="*/ 79811 w 273"/>
                <a:gd name="T9" fmla="*/ 50064 h 414"/>
                <a:gd name="T10" fmla="*/ 76759 w 273"/>
                <a:gd name="T11" fmla="*/ 48499 h 414"/>
                <a:gd name="T12" fmla="*/ 72833 w 273"/>
                <a:gd name="T13" fmla="*/ 49021 h 414"/>
                <a:gd name="T14" fmla="*/ 70217 w 273"/>
                <a:gd name="T15" fmla="*/ 52671 h 414"/>
                <a:gd name="T16" fmla="*/ 66728 w 273"/>
                <a:gd name="T17" fmla="*/ 44849 h 414"/>
                <a:gd name="T18" fmla="*/ 61930 w 273"/>
                <a:gd name="T19" fmla="*/ 28161 h 414"/>
                <a:gd name="T20" fmla="*/ 57569 w 273"/>
                <a:gd name="T21" fmla="*/ 18774 h 414"/>
                <a:gd name="T22" fmla="*/ 53644 w 273"/>
                <a:gd name="T23" fmla="*/ 13037 h 414"/>
                <a:gd name="T24" fmla="*/ 48410 w 273"/>
                <a:gd name="T25" fmla="*/ 7301 h 414"/>
                <a:gd name="T26" fmla="*/ 41868 w 273"/>
                <a:gd name="T27" fmla="*/ 2607 h 414"/>
                <a:gd name="T28" fmla="*/ 34890 w 273"/>
                <a:gd name="T29" fmla="*/ 3650 h 414"/>
                <a:gd name="T30" fmla="*/ 30093 w 273"/>
                <a:gd name="T31" fmla="*/ 9908 h 414"/>
                <a:gd name="T32" fmla="*/ 27476 w 273"/>
                <a:gd name="T33" fmla="*/ 13037 h 414"/>
                <a:gd name="T34" fmla="*/ 24859 w 273"/>
                <a:gd name="T35" fmla="*/ 16688 h 414"/>
                <a:gd name="T36" fmla="*/ 24423 w 273"/>
                <a:gd name="T37" fmla="*/ 21903 h 414"/>
                <a:gd name="T38" fmla="*/ 25295 w 273"/>
                <a:gd name="T39" fmla="*/ 30768 h 414"/>
                <a:gd name="T40" fmla="*/ 22679 w 273"/>
                <a:gd name="T41" fmla="*/ 40677 h 414"/>
                <a:gd name="T42" fmla="*/ 14392 w 273"/>
                <a:gd name="T43" fmla="*/ 46935 h 414"/>
                <a:gd name="T44" fmla="*/ 7414 w 273"/>
                <a:gd name="T45" fmla="*/ 54236 h 414"/>
                <a:gd name="T46" fmla="*/ 1745 w 273"/>
                <a:gd name="T47" fmla="*/ 61537 h 414"/>
                <a:gd name="T48" fmla="*/ 17445 w 273"/>
                <a:gd name="T49" fmla="*/ 103257 h 414"/>
                <a:gd name="T50" fmla="*/ 31837 w 273"/>
                <a:gd name="T51" fmla="*/ 106907 h 414"/>
                <a:gd name="T52" fmla="*/ 36635 w 273"/>
                <a:gd name="T53" fmla="*/ 109514 h 414"/>
                <a:gd name="T54" fmla="*/ 40560 w 273"/>
                <a:gd name="T55" fmla="*/ 113686 h 414"/>
                <a:gd name="T56" fmla="*/ 43177 w 273"/>
                <a:gd name="T57" fmla="*/ 117858 h 414"/>
                <a:gd name="T58" fmla="*/ 44921 w 273"/>
                <a:gd name="T59" fmla="*/ 123595 h 414"/>
                <a:gd name="T60" fmla="*/ 46230 w 273"/>
                <a:gd name="T61" fmla="*/ 138197 h 414"/>
                <a:gd name="T62" fmla="*/ 44921 w 273"/>
                <a:gd name="T63" fmla="*/ 145498 h 414"/>
                <a:gd name="T64" fmla="*/ 41868 w 273"/>
                <a:gd name="T65" fmla="*/ 152799 h 414"/>
                <a:gd name="T66" fmla="*/ 38815 w 273"/>
                <a:gd name="T67" fmla="*/ 160100 h 414"/>
                <a:gd name="T68" fmla="*/ 37507 w 273"/>
                <a:gd name="T69" fmla="*/ 167401 h 414"/>
                <a:gd name="T70" fmla="*/ 39688 w 273"/>
                <a:gd name="T71" fmla="*/ 178874 h 414"/>
                <a:gd name="T72" fmla="*/ 46666 w 273"/>
                <a:gd name="T73" fmla="*/ 195040 h 414"/>
                <a:gd name="T74" fmla="*/ 51027 w 273"/>
                <a:gd name="T75" fmla="*/ 202863 h 414"/>
                <a:gd name="T76" fmla="*/ 56261 w 273"/>
                <a:gd name="T77" fmla="*/ 209121 h 414"/>
                <a:gd name="T78" fmla="*/ 61494 w 273"/>
                <a:gd name="T79" fmla="*/ 214336 h 414"/>
                <a:gd name="T80" fmla="*/ 66728 w 273"/>
                <a:gd name="T81" fmla="*/ 215900 h 414"/>
                <a:gd name="T82" fmla="*/ 93768 w 273"/>
                <a:gd name="T83" fmla="*/ 207556 h 414"/>
                <a:gd name="T84" fmla="*/ 111213 w 273"/>
                <a:gd name="T85" fmla="*/ 200777 h 414"/>
                <a:gd name="T86" fmla="*/ 116446 w 273"/>
                <a:gd name="T87" fmla="*/ 196605 h 414"/>
                <a:gd name="T88" fmla="*/ 119063 w 273"/>
                <a:gd name="T89" fmla="*/ 192954 h 414"/>
                <a:gd name="T90" fmla="*/ 117318 w 273"/>
                <a:gd name="T91" fmla="*/ 183567 h 414"/>
                <a:gd name="T92" fmla="*/ 114702 w 273"/>
                <a:gd name="T93" fmla="*/ 174702 h 414"/>
                <a:gd name="T94" fmla="*/ 105543 w 273"/>
                <a:gd name="T95" fmla="*/ 161143 h 414"/>
                <a:gd name="T96" fmla="*/ 96820 w 273"/>
                <a:gd name="T97" fmla="*/ 147062 h 414"/>
                <a:gd name="T98" fmla="*/ 93768 w 273"/>
                <a:gd name="T99" fmla="*/ 138718 h 414"/>
                <a:gd name="T100" fmla="*/ 92459 w 273"/>
                <a:gd name="T101" fmla="*/ 128810 h 414"/>
                <a:gd name="T102" fmla="*/ 93768 w 273"/>
                <a:gd name="T103" fmla="*/ 112122 h 414"/>
                <a:gd name="T104" fmla="*/ 96820 w 273"/>
                <a:gd name="T105" fmla="*/ 99085 h 414"/>
                <a:gd name="T106" fmla="*/ 100309 w 273"/>
                <a:gd name="T107" fmla="*/ 87090 h 414"/>
                <a:gd name="T108" fmla="*/ 101182 w 273"/>
                <a:gd name="T109" fmla="*/ 74053 h 41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650" name="Group 164">
              <a:extLst>
                <a:ext uri="{FF2B5EF4-FFF2-40B4-BE49-F238E27FC236}">
                  <a16:creationId xmlns:a16="http://schemas.microsoft.com/office/drawing/2014/main" id="{65A19684-4AB8-4054-B87D-C0B6FB83C2AC}"/>
                </a:ext>
              </a:extLst>
            </p:cNvPr>
            <p:cNvGrpSpPr>
              <a:grpSpLocks/>
            </p:cNvGrpSpPr>
            <p:nvPr>
              <p:custDataLst>
                <p:tags r:id="rId95"/>
              </p:custDataLst>
            </p:nvPr>
          </p:nvGrpSpPr>
          <p:grpSpPr bwMode="auto">
            <a:xfrm>
              <a:off x="3717925" y="3246439"/>
              <a:ext cx="323850" cy="401637"/>
              <a:chOff x="1486" y="2412"/>
              <a:chExt cx="244" cy="256"/>
            </a:xfrm>
          </p:grpSpPr>
          <p:sp>
            <p:nvSpPr>
              <p:cNvPr id="1033" name="Freeform 165">
                <a:extLst>
                  <a:ext uri="{FF2B5EF4-FFF2-40B4-BE49-F238E27FC236}">
                    <a16:creationId xmlns:a16="http://schemas.microsoft.com/office/drawing/2014/main" id="{BDB892E7-840B-408F-85E8-8416324E81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6 h 22"/>
                  <a:gd name="T4" fmla="*/ 2 w 54"/>
                  <a:gd name="T5" fmla="*/ 6 h 22"/>
                  <a:gd name="T6" fmla="*/ 3 w 54"/>
                  <a:gd name="T7" fmla="*/ 7 h 22"/>
                  <a:gd name="T8" fmla="*/ 5 w 54"/>
                  <a:gd name="T9" fmla="*/ 7 h 22"/>
                  <a:gd name="T10" fmla="*/ 7 w 54"/>
                  <a:gd name="T11" fmla="*/ 7 h 22"/>
                  <a:gd name="T12" fmla="*/ 8 w 54"/>
                  <a:gd name="T13" fmla="*/ 7 h 22"/>
                  <a:gd name="T14" fmla="*/ 9 w 54"/>
                  <a:gd name="T15" fmla="*/ 7 h 22"/>
                  <a:gd name="T16" fmla="*/ 10 w 54"/>
                  <a:gd name="T17" fmla="*/ 6 h 22"/>
                  <a:gd name="T18" fmla="*/ 11 w 54"/>
                  <a:gd name="T19" fmla="*/ 6 h 22"/>
                  <a:gd name="T20" fmla="*/ 12 w 54"/>
                  <a:gd name="T21" fmla="*/ 5 h 22"/>
                  <a:gd name="T22" fmla="*/ 14 w 54"/>
                  <a:gd name="T23" fmla="*/ 4 h 22"/>
                  <a:gd name="T24" fmla="*/ 16 w 54"/>
                  <a:gd name="T25" fmla="*/ 3 h 22"/>
                  <a:gd name="T26" fmla="*/ 18 w 54"/>
                  <a:gd name="T27" fmla="*/ 2 h 22"/>
                  <a:gd name="T28" fmla="*/ 12 w 54"/>
                  <a:gd name="T29" fmla="*/ 2 h 22"/>
                  <a:gd name="T30" fmla="*/ 7 w 54"/>
                  <a:gd name="T31" fmla="*/ 1 h 22"/>
                  <a:gd name="T32" fmla="*/ 2 w 54"/>
                  <a:gd name="T33" fmla="*/ 0 h 22"/>
                  <a:gd name="T34" fmla="*/ 0 w 54"/>
                  <a:gd name="T35" fmla="*/ 0 h 2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34" name="Freeform 166">
                <a:extLst>
                  <a:ext uri="{FF2B5EF4-FFF2-40B4-BE49-F238E27FC236}">
                    <a16:creationId xmlns:a16="http://schemas.microsoft.com/office/drawing/2014/main" id="{592C75D0-AAF9-4E13-A145-BFC9D18EE7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2 w 6"/>
                  <a:gd name="T1" fmla="*/ 8 h 24"/>
                  <a:gd name="T2" fmla="*/ 2 w 6"/>
                  <a:gd name="T3" fmla="*/ 0 h 24"/>
                  <a:gd name="T4" fmla="*/ 1 w 6"/>
                  <a:gd name="T5" fmla="*/ 0 h 24"/>
                  <a:gd name="T6" fmla="*/ 0 w 6"/>
                  <a:gd name="T7" fmla="*/ 1 h 24"/>
                  <a:gd name="T8" fmla="*/ 0 w 6"/>
                  <a:gd name="T9" fmla="*/ 2 h 24"/>
                  <a:gd name="T10" fmla="*/ 0 w 6"/>
                  <a:gd name="T11" fmla="*/ 4 h 24"/>
                  <a:gd name="T12" fmla="*/ 0 w 6"/>
                  <a:gd name="T13" fmla="*/ 5 h 24"/>
                  <a:gd name="T14" fmla="*/ 0 w 6"/>
                  <a:gd name="T15" fmla="*/ 7 h 24"/>
                  <a:gd name="T16" fmla="*/ 1 w 6"/>
                  <a:gd name="T17" fmla="*/ 8 h 24"/>
                  <a:gd name="T18" fmla="*/ 2 w 6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35" name="Freeform 167">
                <a:extLst>
                  <a:ext uri="{FF2B5EF4-FFF2-40B4-BE49-F238E27FC236}">
                    <a16:creationId xmlns:a16="http://schemas.microsoft.com/office/drawing/2014/main" id="{EC27427E-0B44-4BD6-B0E1-E1E1883215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4 h 12"/>
                  <a:gd name="T2" fmla="*/ 8 w 27"/>
                  <a:gd name="T3" fmla="*/ 4 h 12"/>
                  <a:gd name="T4" fmla="*/ 4 w 27"/>
                  <a:gd name="T5" fmla="*/ 0 h 12"/>
                  <a:gd name="T6" fmla="*/ 0 w 27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36" name="Freeform 168">
                <a:extLst>
                  <a:ext uri="{FF2B5EF4-FFF2-40B4-BE49-F238E27FC236}">
                    <a16:creationId xmlns:a16="http://schemas.microsoft.com/office/drawing/2014/main" id="{19BCAE00-8856-4D4D-A777-4E68D49FEF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3 w 743"/>
                  <a:gd name="T1" fmla="*/ 69 h 672"/>
                  <a:gd name="T2" fmla="*/ 16 w 743"/>
                  <a:gd name="T3" fmla="*/ 89 h 672"/>
                  <a:gd name="T4" fmla="*/ 40 w 743"/>
                  <a:gd name="T5" fmla="*/ 98 h 672"/>
                  <a:gd name="T6" fmla="*/ 55 w 743"/>
                  <a:gd name="T7" fmla="*/ 105 h 672"/>
                  <a:gd name="T8" fmla="*/ 65 w 743"/>
                  <a:gd name="T9" fmla="*/ 115 h 672"/>
                  <a:gd name="T10" fmla="*/ 97 w 743"/>
                  <a:gd name="T11" fmla="*/ 126 h 672"/>
                  <a:gd name="T12" fmla="*/ 94 w 743"/>
                  <a:gd name="T13" fmla="*/ 140 h 672"/>
                  <a:gd name="T14" fmla="*/ 102 w 743"/>
                  <a:gd name="T15" fmla="*/ 171 h 672"/>
                  <a:gd name="T16" fmla="*/ 100 w 743"/>
                  <a:gd name="T17" fmla="*/ 178 h 672"/>
                  <a:gd name="T18" fmla="*/ 99 w 743"/>
                  <a:gd name="T19" fmla="*/ 189 h 672"/>
                  <a:gd name="T20" fmla="*/ 108 w 743"/>
                  <a:gd name="T21" fmla="*/ 206 h 672"/>
                  <a:gd name="T22" fmla="*/ 122 w 743"/>
                  <a:gd name="T23" fmla="*/ 220 h 672"/>
                  <a:gd name="T24" fmla="*/ 136 w 743"/>
                  <a:gd name="T25" fmla="*/ 224 h 672"/>
                  <a:gd name="T26" fmla="*/ 153 w 743"/>
                  <a:gd name="T27" fmla="*/ 218 h 672"/>
                  <a:gd name="T28" fmla="*/ 166 w 743"/>
                  <a:gd name="T29" fmla="*/ 206 h 672"/>
                  <a:gd name="T30" fmla="*/ 172 w 743"/>
                  <a:gd name="T31" fmla="*/ 195 h 672"/>
                  <a:gd name="T32" fmla="*/ 157 w 743"/>
                  <a:gd name="T33" fmla="*/ 156 h 672"/>
                  <a:gd name="T34" fmla="*/ 189 w 743"/>
                  <a:gd name="T35" fmla="*/ 167 h 672"/>
                  <a:gd name="T36" fmla="*/ 197 w 743"/>
                  <a:gd name="T37" fmla="*/ 159 h 672"/>
                  <a:gd name="T38" fmla="*/ 214 w 743"/>
                  <a:gd name="T39" fmla="*/ 148 h 672"/>
                  <a:gd name="T40" fmla="*/ 220 w 743"/>
                  <a:gd name="T41" fmla="*/ 147 h 672"/>
                  <a:gd name="T42" fmla="*/ 225 w 743"/>
                  <a:gd name="T43" fmla="*/ 145 h 672"/>
                  <a:gd name="T44" fmla="*/ 219 w 743"/>
                  <a:gd name="T45" fmla="*/ 109 h 672"/>
                  <a:gd name="T46" fmla="*/ 233 w 743"/>
                  <a:gd name="T47" fmla="*/ 98 h 672"/>
                  <a:gd name="T48" fmla="*/ 234 w 743"/>
                  <a:gd name="T49" fmla="*/ 84 h 672"/>
                  <a:gd name="T50" fmla="*/ 238 w 743"/>
                  <a:gd name="T51" fmla="*/ 78 h 672"/>
                  <a:gd name="T52" fmla="*/ 239 w 743"/>
                  <a:gd name="T53" fmla="*/ 71 h 672"/>
                  <a:gd name="T54" fmla="*/ 230 w 743"/>
                  <a:gd name="T55" fmla="*/ 65 h 672"/>
                  <a:gd name="T56" fmla="*/ 225 w 743"/>
                  <a:gd name="T57" fmla="*/ 56 h 672"/>
                  <a:gd name="T58" fmla="*/ 220 w 743"/>
                  <a:gd name="T59" fmla="*/ 48 h 672"/>
                  <a:gd name="T60" fmla="*/ 210 w 743"/>
                  <a:gd name="T61" fmla="*/ 51 h 672"/>
                  <a:gd name="T62" fmla="*/ 207 w 743"/>
                  <a:gd name="T63" fmla="*/ 45 h 672"/>
                  <a:gd name="T64" fmla="*/ 198 w 743"/>
                  <a:gd name="T65" fmla="*/ 38 h 672"/>
                  <a:gd name="T66" fmla="*/ 192 w 743"/>
                  <a:gd name="T67" fmla="*/ 32 h 672"/>
                  <a:gd name="T68" fmla="*/ 176 w 743"/>
                  <a:gd name="T69" fmla="*/ 25 h 672"/>
                  <a:gd name="T70" fmla="*/ 161 w 743"/>
                  <a:gd name="T71" fmla="*/ 29 h 672"/>
                  <a:gd name="T72" fmla="*/ 155 w 743"/>
                  <a:gd name="T73" fmla="*/ 34 h 672"/>
                  <a:gd name="T74" fmla="*/ 143 w 743"/>
                  <a:gd name="T75" fmla="*/ 39 h 672"/>
                  <a:gd name="T76" fmla="*/ 137 w 743"/>
                  <a:gd name="T77" fmla="*/ 35 h 672"/>
                  <a:gd name="T78" fmla="*/ 129 w 743"/>
                  <a:gd name="T79" fmla="*/ 34 h 672"/>
                  <a:gd name="T80" fmla="*/ 118 w 743"/>
                  <a:gd name="T81" fmla="*/ 28 h 672"/>
                  <a:gd name="T82" fmla="*/ 104 w 743"/>
                  <a:gd name="T83" fmla="*/ 28 h 672"/>
                  <a:gd name="T84" fmla="*/ 96 w 743"/>
                  <a:gd name="T85" fmla="*/ 31 h 672"/>
                  <a:gd name="T86" fmla="*/ 83 w 743"/>
                  <a:gd name="T87" fmla="*/ 31 h 672"/>
                  <a:gd name="T88" fmla="*/ 77 w 743"/>
                  <a:gd name="T89" fmla="*/ 17 h 672"/>
                  <a:gd name="T90" fmla="*/ 59 w 743"/>
                  <a:gd name="T91" fmla="*/ 7 h 672"/>
                  <a:gd name="T92" fmla="*/ 49 w 743"/>
                  <a:gd name="T93" fmla="*/ 3 h 672"/>
                  <a:gd name="T94" fmla="*/ 45 w 743"/>
                  <a:gd name="T95" fmla="*/ 15 h 672"/>
                  <a:gd name="T96" fmla="*/ 39 w 743"/>
                  <a:gd name="T97" fmla="*/ 23 h 672"/>
                  <a:gd name="T98" fmla="*/ 39 w 743"/>
                  <a:gd name="T99" fmla="*/ 46 h 672"/>
                  <a:gd name="T100" fmla="*/ 34 w 743"/>
                  <a:gd name="T101" fmla="*/ 65 h 672"/>
                  <a:gd name="T102" fmla="*/ 29 w 743"/>
                  <a:gd name="T103" fmla="*/ 63 h 672"/>
                  <a:gd name="T104" fmla="*/ 23 w 743"/>
                  <a:gd name="T105" fmla="*/ 61 h 672"/>
                  <a:gd name="T106" fmla="*/ 19 w 743"/>
                  <a:gd name="T107" fmla="*/ 56 h 672"/>
                  <a:gd name="T108" fmla="*/ 17 w 743"/>
                  <a:gd name="T109" fmla="*/ 40 h 672"/>
                  <a:gd name="T110" fmla="*/ 24 w 743"/>
                  <a:gd name="T111" fmla="*/ 20 h 672"/>
                  <a:gd name="T112" fmla="*/ 32 w 743"/>
                  <a:gd name="T113" fmla="*/ 5 h 672"/>
                  <a:gd name="T114" fmla="*/ 17 w 743"/>
                  <a:gd name="T115" fmla="*/ 10 h 672"/>
                  <a:gd name="T116" fmla="*/ 5 w 743"/>
                  <a:gd name="T117" fmla="*/ 23 h 672"/>
                  <a:gd name="T118" fmla="*/ 0 w 743"/>
                  <a:gd name="T119" fmla="*/ 40 h 67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651" name="Freeform 169">
              <a:extLst>
                <a:ext uri="{FF2B5EF4-FFF2-40B4-BE49-F238E27FC236}">
                  <a16:creationId xmlns:a16="http://schemas.microsoft.com/office/drawing/2014/main" id="{83F26619-956D-4D7A-955C-5DE6D56E8481}"/>
                </a:ext>
              </a:extLst>
            </p:cNvPr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8739188" y="4786313"/>
              <a:ext cx="31750" cy="11112"/>
            </a:xfrm>
            <a:custGeom>
              <a:avLst/>
              <a:gdLst>
                <a:gd name="T0" fmla="*/ 0 w 79"/>
                <a:gd name="T1" fmla="*/ 11112 h 23"/>
                <a:gd name="T2" fmla="*/ 8842 w 79"/>
                <a:gd name="T3" fmla="*/ 6281 h 23"/>
                <a:gd name="T4" fmla="*/ 18085 w 79"/>
                <a:gd name="T5" fmla="*/ 1933 h 23"/>
                <a:gd name="T6" fmla="*/ 22506 w 79"/>
                <a:gd name="T7" fmla="*/ 483 h 23"/>
                <a:gd name="T8" fmla="*/ 26123 w 79"/>
                <a:gd name="T9" fmla="*/ 0 h 23"/>
                <a:gd name="T10" fmla="*/ 27731 w 79"/>
                <a:gd name="T11" fmla="*/ 0 h 23"/>
                <a:gd name="T12" fmla="*/ 29741 w 79"/>
                <a:gd name="T13" fmla="*/ 483 h 23"/>
                <a:gd name="T14" fmla="*/ 30946 w 79"/>
                <a:gd name="T15" fmla="*/ 966 h 23"/>
                <a:gd name="T16" fmla="*/ 31750 w 79"/>
                <a:gd name="T17" fmla="*/ 1933 h 23"/>
                <a:gd name="T18" fmla="*/ 30946 w 79"/>
                <a:gd name="T19" fmla="*/ 3865 h 23"/>
                <a:gd name="T20" fmla="*/ 30142 w 79"/>
                <a:gd name="T21" fmla="*/ 6281 h 23"/>
                <a:gd name="T22" fmla="*/ 28937 w 79"/>
                <a:gd name="T23" fmla="*/ 7730 h 23"/>
                <a:gd name="T24" fmla="*/ 27329 w 79"/>
                <a:gd name="T25" fmla="*/ 9179 h 23"/>
                <a:gd name="T26" fmla="*/ 25722 w 79"/>
                <a:gd name="T27" fmla="*/ 10146 h 23"/>
                <a:gd name="T28" fmla="*/ 23712 w 79"/>
                <a:gd name="T29" fmla="*/ 10629 h 23"/>
                <a:gd name="T30" fmla="*/ 21301 w 79"/>
                <a:gd name="T31" fmla="*/ 11112 h 23"/>
                <a:gd name="T32" fmla="*/ 18487 w 79"/>
                <a:gd name="T33" fmla="*/ 11112 h 23"/>
                <a:gd name="T34" fmla="*/ 14870 w 79"/>
                <a:gd name="T35" fmla="*/ 11112 h 23"/>
                <a:gd name="T36" fmla="*/ 12861 w 79"/>
                <a:gd name="T37" fmla="*/ 10146 h 23"/>
                <a:gd name="T38" fmla="*/ 10449 w 79"/>
                <a:gd name="T39" fmla="*/ 9663 h 23"/>
                <a:gd name="T40" fmla="*/ 9244 w 79"/>
                <a:gd name="T41" fmla="*/ 9179 h 23"/>
                <a:gd name="T42" fmla="*/ 7636 w 79"/>
                <a:gd name="T43" fmla="*/ 8696 h 23"/>
                <a:gd name="T44" fmla="*/ 5627 w 79"/>
                <a:gd name="T45" fmla="*/ 8696 h 23"/>
                <a:gd name="T46" fmla="*/ 3617 w 79"/>
                <a:gd name="T47" fmla="*/ 9663 h 23"/>
                <a:gd name="T48" fmla="*/ 0 w 79"/>
                <a:gd name="T49" fmla="*/ 11112 h 2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2" name="Freeform 170">
              <a:extLst>
                <a:ext uri="{FF2B5EF4-FFF2-40B4-BE49-F238E27FC236}">
                  <a16:creationId xmlns:a16="http://schemas.microsoft.com/office/drawing/2014/main" id="{C104C230-BAC0-4221-B45C-D81BDC853777}"/>
                </a:ext>
              </a:extLst>
            </p:cNvPr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8855075" y="4919663"/>
              <a:ext cx="1588" cy="4762"/>
            </a:xfrm>
            <a:custGeom>
              <a:avLst/>
              <a:gdLst>
                <a:gd name="T0" fmla="*/ 0 w 1588"/>
                <a:gd name="T1" fmla="*/ 0 h 6"/>
                <a:gd name="T2" fmla="*/ 0 w 1588"/>
                <a:gd name="T3" fmla="*/ 4762 h 6"/>
                <a:gd name="T4" fmla="*/ 0 w 1588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3" name="Line 171">
              <a:extLst>
                <a:ext uri="{FF2B5EF4-FFF2-40B4-BE49-F238E27FC236}">
                  <a16:creationId xmlns:a16="http://schemas.microsoft.com/office/drawing/2014/main" id="{4500ECCD-00B5-4A92-B08B-C7832818BE72}"/>
                </a:ext>
              </a:extLst>
            </p:cNvPr>
            <p:cNvSpPr>
              <a:spLocks noChangeShapeType="1"/>
            </p:cNvSpPr>
            <p:nvPr>
              <p:custDataLst>
                <p:tags r:id="rId98"/>
              </p:custDataLst>
            </p:nvPr>
          </p:nvSpPr>
          <p:spPr bwMode="auto">
            <a:xfrm flipV="1">
              <a:off x="8945564" y="4918075"/>
              <a:ext cx="1587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54" name="Freeform 172">
              <a:extLst>
                <a:ext uri="{FF2B5EF4-FFF2-40B4-BE49-F238E27FC236}">
                  <a16:creationId xmlns:a16="http://schemas.microsoft.com/office/drawing/2014/main" id="{BC07B00B-2D0F-4FAC-AE9A-5CD520B876BA}"/>
                </a:ext>
              </a:extLst>
            </p:cNvPr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8945564" y="4918076"/>
              <a:ext cx="3175" cy="15875"/>
            </a:xfrm>
            <a:custGeom>
              <a:avLst/>
              <a:gdLst>
                <a:gd name="T0" fmla="*/ 0 w 5"/>
                <a:gd name="T1" fmla="*/ 0 h 30"/>
                <a:gd name="T2" fmla="*/ 1270 w 5"/>
                <a:gd name="T3" fmla="*/ 529 h 30"/>
                <a:gd name="T4" fmla="*/ 2540 w 5"/>
                <a:gd name="T5" fmla="*/ 2117 h 30"/>
                <a:gd name="T6" fmla="*/ 3175 w 5"/>
                <a:gd name="T7" fmla="*/ 4233 h 30"/>
                <a:gd name="T8" fmla="*/ 3175 w 5"/>
                <a:gd name="T9" fmla="*/ 6879 h 30"/>
                <a:gd name="T10" fmla="*/ 3175 w 5"/>
                <a:gd name="T11" fmla="*/ 9525 h 30"/>
                <a:gd name="T12" fmla="*/ 2540 w 5"/>
                <a:gd name="T13" fmla="*/ 12171 h 30"/>
                <a:gd name="T14" fmla="*/ 1270 w 5"/>
                <a:gd name="T15" fmla="*/ 14287 h 30"/>
                <a:gd name="T16" fmla="*/ 0 w 5"/>
                <a:gd name="T17" fmla="*/ 15875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" name="Freeform 173">
              <a:extLst>
                <a:ext uri="{FF2B5EF4-FFF2-40B4-BE49-F238E27FC236}">
                  <a16:creationId xmlns:a16="http://schemas.microsoft.com/office/drawing/2014/main" id="{65397C26-A10F-4644-B991-92A57C85250D}"/>
                </a:ext>
              </a:extLst>
            </p:cNvPr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9244014" y="4387851"/>
              <a:ext cx="22225" cy="28575"/>
            </a:xfrm>
            <a:custGeom>
              <a:avLst/>
              <a:gdLst>
                <a:gd name="T0" fmla="*/ 0 w 53"/>
                <a:gd name="T1" fmla="*/ 6235 h 55"/>
                <a:gd name="T2" fmla="*/ 419 w 53"/>
                <a:gd name="T3" fmla="*/ 8832 h 55"/>
                <a:gd name="T4" fmla="*/ 2097 w 53"/>
                <a:gd name="T5" fmla="*/ 11430 h 55"/>
                <a:gd name="T6" fmla="*/ 3774 w 53"/>
                <a:gd name="T7" fmla="*/ 14028 h 55"/>
                <a:gd name="T8" fmla="*/ 6290 w 53"/>
                <a:gd name="T9" fmla="*/ 17145 h 55"/>
                <a:gd name="T10" fmla="*/ 10903 w 53"/>
                <a:gd name="T11" fmla="*/ 22860 h 55"/>
                <a:gd name="T12" fmla="*/ 13838 w 53"/>
                <a:gd name="T13" fmla="*/ 28575 h 55"/>
                <a:gd name="T14" fmla="*/ 22225 w 53"/>
                <a:gd name="T15" fmla="*/ 28575 h 55"/>
                <a:gd name="T16" fmla="*/ 16774 w 53"/>
                <a:gd name="T17" fmla="*/ 21301 h 55"/>
                <a:gd name="T18" fmla="*/ 11742 w 53"/>
                <a:gd name="T19" fmla="*/ 15067 h 55"/>
                <a:gd name="T20" fmla="*/ 9645 w 53"/>
                <a:gd name="T21" fmla="*/ 11950 h 55"/>
                <a:gd name="T22" fmla="*/ 7967 w 53"/>
                <a:gd name="T23" fmla="*/ 8313 h 55"/>
                <a:gd name="T24" fmla="*/ 6709 w 53"/>
                <a:gd name="T25" fmla="*/ 4156 h 55"/>
                <a:gd name="T26" fmla="*/ 5871 w 53"/>
                <a:gd name="T27" fmla="*/ 0 h 55"/>
                <a:gd name="T28" fmla="*/ 2935 w 53"/>
                <a:gd name="T29" fmla="*/ 3117 h 55"/>
                <a:gd name="T30" fmla="*/ 0 w 53"/>
                <a:gd name="T31" fmla="*/ 6235 h 5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6" name="Freeform 174">
              <a:extLst>
                <a:ext uri="{FF2B5EF4-FFF2-40B4-BE49-F238E27FC236}">
                  <a16:creationId xmlns:a16="http://schemas.microsoft.com/office/drawing/2014/main" id="{26A26B5E-FCA1-4ACB-B0B7-B679F4BB431C}"/>
                </a:ext>
              </a:extLst>
            </p:cNvPr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9250364" y="4314825"/>
              <a:ext cx="26987" cy="39688"/>
            </a:xfrm>
            <a:custGeom>
              <a:avLst/>
              <a:gdLst>
                <a:gd name="T0" fmla="*/ 0 w 65"/>
                <a:gd name="T1" fmla="*/ 16934 h 75"/>
                <a:gd name="T2" fmla="*/ 3737 w 65"/>
                <a:gd name="T3" fmla="*/ 22754 h 75"/>
                <a:gd name="T4" fmla="*/ 8304 w 65"/>
                <a:gd name="T5" fmla="*/ 29105 h 75"/>
                <a:gd name="T6" fmla="*/ 10795 w 65"/>
                <a:gd name="T7" fmla="*/ 32280 h 75"/>
                <a:gd name="T8" fmla="*/ 13286 w 65"/>
                <a:gd name="T9" fmla="*/ 35455 h 75"/>
                <a:gd name="T10" fmla="*/ 16192 w 65"/>
                <a:gd name="T11" fmla="*/ 37571 h 75"/>
                <a:gd name="T12" fmla="*/ 19098 w 65"/>
                <a:gd name="T13" fmla="*/ 39688 h 75"/>
                <a:gd name="T14" fmla="*/ 21174 w 65"/>
                <a:gd name="T15" fmla="*/ 32280 h 75"/>
                <a:gd name="T16" fmla="*/ 24081 w 65"/>
                <a:gd name="T17" fmla="*/ 25400 h 75"/>
                <a:gd name="T18" fmla="*/ 25326 w 65"/>
                <a:gd name="T19" fmla="*/ 22225 h 75"/>
                <a:gd name="T20" fmla="*/ 26157 w 65"/>
                <a:gd name="T21" fmla="*/ 19050 h 75"/>
                <a:gd name="T22" fmla="*/ 26987 w 65"/>
                <a:gd name="T23" fmla="*/ 16404 h 75"/>
                <a:gd name="T24" fmla="*/ 26987 w 65"/>
                <a:gd name="T25" fmla="*/ 13759 h 75"/>
                <a:gd name="T26" fmla="*/ 26987 w 65"/>
                <a:gd name="T27" fmla="*/ 11113 h 75"/>
                <a:gd name="T28" fmla="*/ 26157 w 65"/>
                <a:gd name="T29" fmla="*/ 9525 h 75"/>
                <a:gd name="T30" fmla="*/ 25326 w 65"/>
                <a:gd name="T31" fmla="*/ 6879 h 75"/>
                <a:gd name="T32" fmla="*/ 24081 w 65"/>
                <a:gd name="T33" fmla="*/ 5292 h 75"/>
                <a:gd name="T34" fmla="*/ 21174 w 65"/>
                <a:gd name="T35" fmla="*/ 2646 h 75"/>
                <a:gd name="T36" fmla="*/ 19098 w 65"/>
                <a:gd name="T37" fmla="*/ 0 h 75"/>
                <a:gd name="T38" fmla="*/ 14116 w 65"/>
                <a:gd name="T39" fmla="*/ 0 h 75"/>
                <a:gd name="T40" fmla="*/ 10795 w 65"/>
                <a:gd name="T41" fmla="*/ 0 h 75"/>
                <a:gd name="T42" fmla="*/ 10380 w 65"/>
                <a:gd name="T43" fmla="*/ 1058 h 75"/>
                <a:gd name="T44" fmla="*/ 9964 w 65"/>
                <a:gd name="T45" fmla="*/ 3704 h 75"/>
                <a:gd name="T46" fmla="*/ 9549 w 65"/>
                <a:gd name="T47" fmla="*/ 4763 h 75"/>
                <a:gd name="T48" fmla="*/ 9549 w 65"/>
                <a:gd name="T49" fmla="*/ 5821 h 75"/>
                <a:gd name="T50" fmla="*/ 9964 w 65"/>
                <a:gd name="T51" fmla="*/ 6350 h 75"/>
                <a:gd name="T52" fmla="*/ 10795 w 65"/>
                <a:gd name="T53" fmla="*/ 6879 h 7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7" name="Freeform 175">
              <a:extLst>
                <a:ext uri="{FF2B5EF4-FFF2-40B4-BE49-F238E27FC236}">
                  <a16:creationId xmlns:a16="http://schemas.microsoft.com/office/drawing/2014/main" id="{3014A488-B43E-42A6-BEE6-CB72A0CE9E6A}"/>
                </a:ext>
              </a:extLst>
            </p:cNvPr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9226551" y="4291013"/>
              <a:ext cx="17463" cy="30162"/>
            </a:xfrm>
            <a:custGeom>
              <a:avLst/>
              <a:gdLst>
                <a:gd name="T0" fmla="*/ 0 w 40"/>
                <a:gd name="T1" fmla="*/ 30162 h 62"/>
                <a:gd name="T2" fmla="*/ 1310 w 40"/>
                <a:gd name="T3" fmla="*/ 25297 h 62"/>
                <a:gd name="T4" fmla="*/ 3056 w 40"/>
                <a:gd name="T5" fmla="*/ 20919 h 62"/>
                <a:gd name="T6" fmla="*/ 5239 w 40"/>
                <a:gd name="T7" fmla="*/ 16054 h 62"/>
                <a:gd name="T8" fmla="*/ 7422 w 40"/>
                <a:gd name="T9" fmla="*/ 12162 h 62"/>
                <a:gd name="T10" fmla="*/ 10041 w 40"/>
                <a:gd name="T11" fmla="*/ 8270 h 62"/>
                <a:gd name="T12" fmla="*/ 12661 w 40"/>
                <a:gd name="T13" fmla="*/ 4378 h 62"/>
                <a:gd name="T14" fmla="*/ 15280 w 40"/>
                <a:gd name="T15" fmla="*/ 1459 h 62"/>
                <a:gd name="T16" fmla="*/ 17463 w 40"/>
                <a:gd name="T17" fmla="*/ 0 h 6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8" name="Freeform 176">
              <a:extLst>
                <a:ext uri="{FF2B5EF4-FFF2-40B4-BE49-F238E27FC236}">
                  <a16:creationId xmlns:a16="http://schemas.microsoft.com/office/drawing/2014/main" id="{A546BBAD-058E-427B-9BA3-6E102EF356D8}"/>
                </a:ext>
              </a:extLst>
            </p:cNvPr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9145588" y="4168776"/>
              <a:ext cx="68262" cy="138113"/>
            </a:xfrm>
            <a:custGeom>
              <a:avLst/>
              <a:gdLst>
                <a:gd name="T0" fmla="*/ 68262 w 159"/>
                <a:gd name="T1" fmla="*/ 138113 h 259"/>
                <a:gd name="T2" fmla="*/ 68262 w 159"/>
                <a:gd name="T3" fmla="*/ 133847 h 259"/>
                <a:gd name="T4" fmla="*/ 68262 w 159"/>
                <a:gd name="T5" fmla="*/ 130114 h 259"/>
                <a:gd name="T6" fmla="*/ 68262 w 159"/>
                <a:gd name="T7" fmla="*/ 125848 h 259"/>
                <a:gd name="T8" fmla="*/ 68262 w 159"/>
                <a:gd name="T9" fmla="*/ 121582 h 259"/>
                <a:gd name="T10" fmla="*/ 68262 w 159"/>
                <a:gd name="T11" fmla="*/ 119449 h 259"/>
                <a:gd name="T12" fmla="*/ 67833 w 159"/>
                <a:gd name="T13" fmla="*/ 116783 h 259"/>
                <a:gd name="T14" fmla="*/ 66974 w 159"/>
                <a:gd name="T15" fmla="*/ 114650 h 259"/>
                <a:gd name="T16" fmla="*/ 65686 w 159"/>
                <a:gd name="T17" fmla="*/ 111984 h 259"/>
                <a:gd name="T18" fmla="*/ 62252 w 159"/>
                <a:gd name="T19" fmla="*/ 107717 h 259"/>
                <a:gd name="T20" fmla="*/ 57958 w 159"/>
                <a:gd name="T21" fmla="*/ 103985 h 259"/>
                <a:gd name="T22" fmla="*/ 53236 w 159"/>
                <a:gd name="T23" fmla="*/ 100785 h 259"/>
                <a:gd name="T24" fmla="*/ 48084 w 159"/>
                <a:gd name="T25" fmla="*/ 98119 h 259"/>
                <a:gd name="T26" fmla="*/ 42503 w 159"/>
                <a:gd name="T27" fmla="*/ 95986 h 259"/>
                <a:gd name="T28" fmla="*/ 37351 w 159"/>
                <a:gd name="T29" fmla="*/ 95453 h 259"/>
                <a:gd name="T30" fmla="*/ 36492 w 159"/>
                <a:gd name="T31" fmla="*/ 94919 h 259"/>
                <a:gd name="T32" fmla="*/ 35204 w 159"/>
                <a:gd name="T33" fmla="*/ 94386 h 259"/>
                <a:gd name="T34" fmla="*/ 34775 w 159"/>
                <a:gd name="T35" fmla="*/ 93320 h 259"/>
                <a:gd name="T36" fmla="*/ 34346 w 159"/>
                <a:gd name="T37" fmla="*/ 92253 h 259"/>
                <a:gd name="T38" fmla="*/ 34346 w 159"/>
                <a:gd name="T39" fmla="*/ 89054 h 259"/>
                <a:gd name="T40" fmla="*/ 34775 w 159"/>
                <a:gd name="T41" fmla="*/ 85854 h 259"/>
                <a:gd name="T42" fmla="*/ 36492 w 159"/>
                <a:gd name="T43" fmla="*/ 78922 h 259"/>
                <a:gd name="T44" fmla="*/ 37351 w 159"/>
                <a:gd name="T45" fmla="*/ 75722 h 259"/>
                <a:gd name="T46" fmla="*/ 31340 w 159"/>
                <a:gd name="T47" fmla="*/ 75189 h 259"/>
                <a:gd name="T48" fmla="*/ 25330 w 159"/>
                <a:gd name="T49" fmla="*/ 74122 h 259"/>
                <a:gd name="T50" fmla="*/ 20607 w 159"/>
                <a:gd name="T51" fmla="*/ 71989 h 259"/>
                <a:gd name="T52" fmla="*/ 17173 w 159"/>
                <a:gd name="T53" fmla="*/ 68790 h 259"/>
                <a:gd name="T54" fmla="*/ 13309 w 159"/>
                <a:gd name="T55" fmla="*/ 64524 h 259"/>
                <a:gd name="T56" fmla="*/ 10304 w 159"/>
                <a:gd name="T57" fmla="*/ 60258 h 259"/>
                <a:gd name="T58" fmla="*/ 7728 w 159"/>
                <a:gd name="T59" fmla="*/ 55459 h 259"/>
                <a:gd name="T60" fmla="*/ 5581 w 159"/>
                <a:gd name="T61" fmla="*/ 50126 h 259"/>
                <a:gd name="T62" fmla="*/ 3864 w 159"/>
                <a:gd name="T63" fmla="*/ 44793 h 259"/>
                <a:gd name="T64" fmla="*/ 3005 w 159"/>
                <a:gd name="T65" fmla="*/ 38928 h 259"/>
                <a:gd name="T66" fmla="*/ 2147 w 159"/>
                <a:gd name="T67" fmla="*/ 31995 h 259"/>
                <a:gd name="T68" fmla="*/ 859 w 159"/>
                <a:gd name="T69" fmla="*/ 25596 h 259"/>
                <a:gd name="T70" fmla="*/ 0 w 159"/>
                <a:gd name="T71" fmla="*/ 13331 h 259"/>
                <a:gd name="T72" fmla="*/ 0 w 159"/>
                <a:gd name="T73" fmla="*/ 0 h 25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9" name="Line 177">
              <a:extLst>
                <a:ext uri="{FF2B5EF4-FFF2-40B4-BE49-F238E27FC236}">
                  <a16:creationId xmlns:a16="http://schemas.microsoft.com/office/drawing/2014/main" id="{142DE631-1E30-4A4D-9202-6E5415D684FC}"/>
                </a:ext>
              </a:extLst>
            </p:cNvPr>
            <p:cNvSpPr>
              <a:spLocks noChangeShapeType="1"/>
            </p:cNvSpPr>
            <p:nvPr>
              <p:custDataLst>
                <p:tags r:id="rId104"/>
              </p:custDataLst>
            </p:nvPr>
          </p:nvSpPr>
          <p:spPr bwMode="auto">
            <a:xfrm flipH="1" flipV="1">
              <a:off x="9139238" y="4135439"/>
              <a:ext cx="6350" cy="33337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60" name="Freeform 178">
              <a:extLst>
                <a:ext uri="{FF2B5EF4-FFF2-40B4-BE49-F238E27FC236}">
                  <a16:creationId xmlns:a16="http://schemas.microsoft.com/office/drawing/2014/main" id="{94E01849-F956-4D6E-879F-E04DB2851035}"/>
                </a:ext>
              </a:extLst>
            </p:cNvPr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9139238" y="4119564"/>
              <a:ext cx="6350" cy="15875"/>
            </a:xfrm>
            <a:custGeom>
              <a:avLst/>
              <a:gdLst>
                <a:gd name="T0" fmla="*/ 0 w 13"/>
                <a:gd name="T1" fmla="*/ 15875 h 25"/>
                <a:gd name="T2" fmla="*/ 488 w 13"/>
                <a:gd name="T3" fmla="*/ 12065 h 25"/>
                <a:gd name="T4" fmla="*/ 1954 w 13"/>
                <a:gd name="T5" fmla="*/ 8255 h 25"/>
                <a:gd name="T6" fmla="*/ 3908 w 13"/>
                <a:gd name="T7" fmla="*/ 3810 h 25"/>
                <a:gd name="T8" fmla="*/ 6350 w 13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1" name="Line 179">
              <a:extLst>
                <a:ext uri="{FF2B5EF4-FFF2-40B4-BE49-F238E27FC236}">
                  <a16:creationId xmlns:a16="http://schemas.microsoft.com/office/drawing/2014/main" id="{A09A849B-9933-4282-9082-184A4234FD11}"/>
                </a:ext>
              </a:extLst>
            </p:cNvPr>
            <p:cNvSpPr>
              <a:spLocks noChangeShapeType="1"/>
            </p:cNvSpPr>
            <p:nvPr>
              <p:custDataLst>
                <p:tags r:id="rId106"/>
              </p:custDataLst>
            </p:nvPr>
          </p:nvSpPr>
          <p:spPr bwMode="auto">
            <a:xfrm flipV="1">
              <a:off x="9145588" y="4106863"/>
              <a:ext cx="0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62" name="Freeform 180">
              <a:extLst>
                <a:ext uri="{FF2B5EF4-FFF2-40B4-BE49-F238E27FC236}">
                  <a16:creationId xmlns:a16="http://schemas.microsoft.com/office/drawing/2014/main" id="{BB4B05E8-A284-475C-8A21-AD424BF13AC7}"/>
                </a:ext>
              </a:extLst>
            </p:cNvPr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9099550" y="4040189"/>
              <a:ext cx="46038" cy="66675"/>
            </a:xfrm>
            <a:custGeom>
              <a:avLst/>
              <a:gdLst>
                <a:gd name="T0" fmla="*/ 46038 w 100"/>
                <a:gd name="T1" fmla="*/ 66675 h 123"/>
                <a:gd name="T2" fmla="*/ 41434 w 100"/>
                <a:gd name="T3" fmla="*/ 66133 h 123"/>
                <a:gd name="T4" fmla="*/ 34989 w 100"/>
                <a:gd name="T5" fmla="*/ 64507 h 123"/>
                <a:gd name="T6" fmla="*/ 27623 w 100"/>
                <a:gd name="T7" fmla="*/ 61796 h 123"/>
                <a:gd name="T8" fmla="*/ 19796 w 100"/>
                <a:gd name="T9" fmla="*/ 58002 h 123"/>
                <a:gd name="T10" fmla="*/ 15653 w 100"/>
                <a:gd name="T11" fmla="*/ 55834 h 123"/>
                <a:gd name="T12" fmla="*/ 12430 w 100"/>
                <a:gd name="T13" fmla="*/ 53665 h 123"/>
                <a:gd name="T14" fmla="*/ 9208 w 100"/>
                <a:gd name="T15" fmla="*/ 50955 h 123"/>
                <a:gd name="T16" fmla="*/ 5985 w 100"/>
                <a:gd name="T17" fmla="*/ 48245 h 123"/>
                <a:gd name="T18" fmla="*/ 3683 w 100"/>
                <a:gd name="T19" fmla="*/ 45534 h 123"/>
                <a:gd name="T20" fmla="*/ 1842 w 100"/>
                <a:gd name="T21" fmla="*/ 42824 h 123"/>
                <a:gd name="T22" fmla="*/ 460 w 100"/>
                <a:gd name="T23" fmla="*/ 39571 h 123"/>
                <a:gd name="T24" fmla="*/ 0 w 100"/>
                <a:gd name="T25" fmla="*/ 36861 h 123"/>
                <a:gd name="T26" fmla="*/ 921 w 100"/>
                <a:gd name="T27" fmla="*/ 29814 h 123"/>
                <a:gd name="T28" fmla="*/ 3223 w 100"/>
                <a:gd name="T29" fmla="*/ 19515 h 123"/>
                <a:gd name="T30" fmla="*/ 5064 w 100"/>
                <a:gd name="T31" fmla="*/ 9215 h 123"/>
                <a:gd name="T32" fmla="*/ 5985 w 100"/>
                <a:gd name="T33" fmla="*/ 0 h 1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3" name="Freeform 181">
              <a:extLst>
                <a:ext uri="{FF2B5EF4-FFF2-40B4-BE49-F238E27FC236}">
                  <a16:creationId xmlns:a16="http://schemas.microsoft.com/office/drawing/2014/main" id="{AE5A8CFC-543B-429F-B982-7B222E79F836}"/>
                </a:ext>
              </a:extLst>
            </p:cNvPr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9113839" y="3983038"/>
              <a:ext cx="1587" cy="50800"/>
            </a:xfrm>
            <a:custGeom>
              <a:avLst/>
              <a:gdLst>
                <a:gd name="T0" fmla="*/ 1587 w 5"/>
                <a:gd name="T1" fmla="*/ 0 h 99"/>
                <a:gd name="T2" fmla="*/ 1270 w 5"/>
                <a:gd name="T3" fmla="*/ 17446 h 99"/>
                <a:gd name="T4" fmla="*/ 317 w 5"/>
                <a:gd name="T5" fmla="*/ 30275 h 99"/>
                <a:gd name="T6" fmla="*/ 0 w 5"/>
                <a:gd name="T7" fmla="*/ 35406 h 99"/>
                <a:gd name="T8" fmla="*/ 0 w 5"/>
                <a:gd name="T9" fmla="*/ 40024 h 99"/>
                <a:gd name="T10" fmla="*/ 635 w 5"/>
                <a:gd name="T11" fmla="*/ 44642 h 99"/>
                <a:gd name="T12" fmla="*/ 1587 w 5"/>
                <a:gd name="T13" fmla="*/ 50800 h 9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4" name="Freeform 182">
              <a:extLst>
                <a:ext uri="{FF2B5EF4-FFF2-40B4-BE49-F238E27FC236}">
                  <a16:creationId xmlns:a16="http://schemas.microsoft.com/office/drawing/2014/main" id="{5DEC53B9-69FF-457B-9CED-688C5F8F8CBF}"/>
                </a:ext>
              </a:extLst>
            </p:cNvPr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9120189" y="3976688"/>
              <a:ext cx="7937" cy="36512"/>
            </a:xfrm>
            <a:custGeom>
              <a:avLst/>
              <a:gdLst>
                <a:gd name="T0" fmla="*/ 7937 w 14"/>
                <a:gd name="T1" fmla="*/ 0 h 68"/>
                <a:gd name="T2" fmla="*/ 4535 w 14"/>
                <a:gd name="T3" fmla="*/ 8591 h 68"/>
                <a:gd name="T4" fmla="*/ 2268 w 14"/>
                <a:gd name="T5" fmla="*/ 17719 h 68"/>
                <a:gd name="T6" fmla="*/ 1134 w 14"/>
                <a:gd name="T7" fmla="*/ 27921 h 68"/>
                <a:gd name="T8" fmla="*/ 0 w 14"/>
                <a:gd name="T9" fmla="*/ 36512 h 6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5" name="Freeform 183">
              <a:extLst>
                <a:ext uri="{FF2B5EF4-FFF2-40B4-BE49-F238E27FC236}">
                  <a16:creationId xmlns:a16="http://schemas.microsoft.com/office/drawing/2014/main" id="{0B559CF8-7695-45D7-B744-2581AA392CDA}"/>
                </a:ext>
              </a:extLst>
            </p:cNvPr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9136064" y="3957639"/>
              <a:ext cx="1587" cy="22225"/>
            </a:xfrm>
            <a:custGeom>
              <a:avLst/>
              <a:gdLst>
                <a:gd name="T0" fmla="*/ 0 w 1587"/>
                <a:gd name="T1" fmla="*/ 0 h 43"/>
                <a:gd name="T2" fmla="*/ 0 w 1587"/>
                <a:gd name="T3" fmla="*/ 6719 h 43"/>
                <a:gd name="T4" fmla="*/ 0 w 1587"/>
                <a:gd name="T5" fmla="*/ 13438 h 43"/>
                <a:gd name="T6" fmla="*/ 0 w 1587"/>
                <a:gd name="T7" fmla="*/ 19124 h 43"/>
                <a:gd name="T8" fmla="*/ 0 w 1587"/>
                <a:gd name="T9" fmla="*/ 22225 h 4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6" name="Line 184">
              <a:extLst>
                <a:ext uri="{FF2B5EF4-FFF2-40B4-BE49-F238E27FC236}">
                  <a16:creationId xmlns:a16="http://schemas.microsoft.com/office/drawing/2014/main" id="{17B9B5BA-B424-4099-B8F9-7C009C61F2B7}"/>
                </a:ext>
              </a:extLst>
            </p:cNvPr>
            <p:cNvSpPr>
              <a:spLocks noChangeShapeType="1"/>
            </p:cNvSpPr>
            <p:nvPr>
              <p:custDataLst>
                <p:tags r:id="rId111"/>
              </p:custDataLst>
            </p:nvPr>
          </p:nvSpPr>
          <p:spPr bwMode="auto">
            <a:xfrm flipV="1">
              <a:off x="9136064" y="3976689"/>
              <a:ext cx="1587" cy="317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67" name="Freeform 185">
              <a:extLst>
                <a:ext uri="{FF2B5EF4-FFF2-40B4-BE49-F238E27FC236}">
                  <a16:creationId xmlns:a16="http://schemas.microsoft.com/office/drawing/2014/main" id="{C1BCEB66-4699-4C89-AF6C-88A3BA7A7580}"/>
                </a:ext>
              </a:extLst>
            </p:cNvPr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9120189" y="3960814"/>
              <a:ext cx="1587" cy="15875"/>
            </a:xfrm>
            <a:custGeom>
              <a:avLst/>
              <a:gdLst>
                <a:gd name="T0" fmla="*/ 0 w 1587"/>
                <a:gd name="T1" fmla="*/ 15875 h 31"/>
                <a:gd name="T2" fmla="*/ 0 w 1587"/>
                <a:gd name="T3" fmla="*/ 11266 h 31"/>
                <a:gd name="T4" fmla="*/ 0 w 1587"/>
                <a:gd name="T5" fmla="*/ 7681 h 31"/>
                <a:gd name="T6" fmla="*/ 0 w 1587"/>
                <a:gd name="T7" fmla="*/ 4097 h 31"/>
                <a:gd name="T8" fmla="*/ 0 w 158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8" name="Freeform 186">
              <a:extLst>
                <a:ext uri="{FF2B5EF4-FFF2-40B4-BE49-F238E27FC236}">
                  <a16:creationId xmlns:a16="http://schemas.microsoft.com/office/drawing/2014/main" id="{56C41E76-4A41-42EB-8ED9-1908772E3B1E}"/>
                </a:ext>
              </a:extLst>
            </p:cNvPr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8840789" y="4949826"/>
              <a:ext cx="96837" cy="87313"/>
            </a:xfrm>
            <a:custGeom>
              <a:avLst/>
              <a:gdLst>
                <a:gd name="T0" fmla="*/ 8177 w 225"/>
                <a:gd name="T1" fmla="*/ 82608 h 167"/>
                <a:gd name="T2" fmla="*/ 3013 w 225"/>
                <a:gd name="T3" fmla="*/ 74242 h 167"/>
                <a:gd name="T4" fmla="*/ 0 w 225"/>
                <a:gd name="T5" fmla="*/ 67968 h 167"/>
                <a:gd name="T6" fmla="*/ 430 w 225"/>
                <a:gd name="T7" fmla="*/ 56466 h 167"/>
                <a:gd name="T8" fmla="*/ 4734 w 225"/>
                <a:gd name="T9" fmla="*/ 35553 h 167"/>
                <a:gd name="T10" fmla="*/ 10329 w 225"/>
                <a:gd name="T11" fmla="*/ 20390 h 167"/>
                <a:gd name="T12" fmla="*/ 14633 w 225"/>
                <a:gd name="T13" fmla="*/ 10979 h 167"/>
                <a:gd name="T14" fmla="*/ 18937 w 225"/>
                <a:gd name="T15" fmla="*/ 4705 h 167"/>
                <a:gd name="T16" fmla="*/ 23241 w 225"/>
                <a:gd name="T17" fmla="*/ 523 h 167"/>
                <a:gd name="T18" fmla="*/ 27975 w 225"/>
                <a:gd name="T19" fmla="*/ 523 h 167"/>
                <a:gd name="T20" fmla="*/ 32709 w 225"/>
                <a:gd name="T21" fmla="*/ 1568 h 167"/>
                <a:gd name="T22" fmla="*/ 37874 w 225"/>
                <a:gd name="T23" fmla="*/ 4183 h 167"/>
                <a:gd name="T24" fmla="*/ 43039 w 225"/>
                <a:gd name="T25" fmla="*/ 8888 h 167"/>
                <a:gd name="T26" fmla="*/ 48203 w 225"/>
                <a:gd name="T27" fmla="*/ 12548 h 167"/>
                <a:gd name="T28" fmla="*/ 55089 w 225"/>
                <a:gd name="T29" fmla="*/ 12548 h 167"/>
                <a:gd name="T30" fmla="*/ 62406 w 225"/>
                <a:gd name="T31" fmla="*/ 9934 h 167"/>
                <a:gd name="T32" fmla="*/ 71014 w 225"/>
                <a:gd name="T33" fmla="*/ 3660 h 167"/>
                <a:gd name="T34" fmla="*/ 96837 w 225"/>
                <a:gd name="T35" fmla="*/ 0 h 167"/>
                <a:gd name="T36" fmla="*/ 92533 w 225"/>
                <a:gd name="T37" fmla="*/ 11502 h 167"/>
                <a:gd name="T38" fmla="*/ 86508 w 225"/>
                <a:gd name="T39" fmla="*/ 21436 h 167"/>
                <a:gd name="T40" fmla="*/ 72305 w 225"/>
                <a:gd name="T41" fmla="*/ 37644 h 167"/>
                <a:gd name="T42" fmla="*/ 59393 w 225"/>
                <a:gd name="T43" fmla="*/ 52283 h 167"/>
                <a:gd name="T44" fmla="*/ 55520 w 225"/>
                <a:gd name="T45" fmla="*/ 59603 h 167"/>
                <a:gd name="T46" fmla="*/ 54229 w 225"/>
                <a:gd name="T47" fmla="*/ 67968 h 167"/>
                <a:gd name="T48" fmla="*/ 52938 w 225"/>
                <a:gd name="T49" fmla="*/ 65877 h 167"/>
                <a:gd name="T50" fmla="*/ 51646 w 225"/>
                <a:gd name="T51" fmla="*/ 61171 h 167"/>
                <a:gd name="T52" fmla="*/ 45621 w 225"/>
                <a:gd name="T53" fmla="*/ 63263 h 167"/>
                <a:gd name="T54" fmla="*/ 41748 w 225"/>
                <a:gd name="T55" fmla="*/ 66923 h 167"/>
                <a:gd name="T56" fmla="*/ 34431 w 225"/>
                <a:gd name="T57" fmla="*/ 75811 h 167"/>
                <a:gd name="T58" fmla="*/ 30557 w 225"/>
                <a:gd name="T59" fmla="*/ 79993 h 167"/>
                <a:gd name="T60" fmla="*/ 25823 w 225"/>
                <a:gd name="T61" fmla="*/ 83653 h 167"/>
                <a:gd name="T62" fmla="*/ 19798 w 225"/>
                <a:gd name="T63" fmla="*/ 86267 h 167"/>
                <a:gd name="T64" fmla="*/ 11190 w 225"/>
                <a:gd name="T65" fmla="*/ 87313 h 1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69" name="Freeform 187">
              <a:extLst>
                <a:ext uri="{FF2B5EF4-FFF2-40B4-BE49-F238E27FC236}">
                  <a16:creationId xmlns:a16="http://schemas.microsoft.com/office/drawing/2014/main" id="{B3640B5A-21DD-42FD-910B-65CE82F9931F}"/>
                </a:ext>
              </a:extLst>
            </p:cNvPr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8978901" y="4168776"/>
              <a:ext cx="3175" cy="17463"/>
            </a:xfrm>
            <a:custGeom>
              <a:avLst/>
              <a:gdLst>
                <a:gd name="T0" fmla="*/ 0 w 7"/>
                <a:gd name="T1" fmla="*/ 17463 h 31"/>
                <a:gd name="T2" fmla="*/ 2268 w 7"/>
                <a:gd name="T3" fmla="*/ 12393 h 31"/>
                <a:gd name="T4" fmla="*/ 2721 w 7"/>
                <a:gd name="T5" fmla="*/ 7323 h 31"/>
                <a:gd name="T6" fmla="*/ 3175 w 7"/>
                <a:gd name="T7" fmla="*/ 3380 h 31"/>
                <a:gd name="T8" fmla="*/ 3175 w 7"/>
                <a:gd name="T9" fmla="*/ 0 h 31"/>
                <a:gd name="T10" fmla="*/ 2721 w 7"/>
                <a:gd name="T11" fmla="*/ 3380 h 31"/>
                <a:gd name="T12" fmla="*/ 1814 w 7"/>
                <a:gd name="T13" fmla="*/ 7323 h 31"/>
                <a:gd name="T14" fmla="*/ 454 w 7"/>
                <a:gd name="T15" fmla="*/ 12393 h 31"/>
                <a:gd name="T16" fmla="*/ 0 w 7"/>
                <a:gd name="T17" fmla="*/ 17463 h 3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0" name="Freeform 188">
              <a:extLst>
                <a:ext uri="{FF2B5EF4-FFF2-40B4-BE49-F238E27FC236}">
                  <a16:creationId xmlns:a16="http://schemas.microsoft.com/office/drawing/2014/main" id="{98D468CF-922C-4ACC-970B-B70A89A0D03B}"/>
                </a:ext>
              </a:extLst>
            </p:cNvPr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8912226" y="4090989"/>
              <a:ext cx="15875" cy="15875"/>
            </a:xfrm>
            <a:custGeom>
              <a:avLst/>
              <a:gdLst>
                <a:gd name="T0" fmla="*/ 15875 w 33"/>
                <a:gd name="T1" fmla="*/ 15875 h 31"/>
                <a:gd name="T2" fmla="*/ 15875 w 33"/>
                <a:gd name="T3" fmla="*/ 0 h 31"/>
                <a:gd name="T4" fmla="*/ 12989 w 33"/>
                <a:gd name="T5" fmla="*/ 0 h 31"/>
                <a:gd name="T6" fmla="*/ 10583 w 33"/>
                <a:gd name="T7" fmla="*/ 1024 h 31"/>
                <a:gd name="T8" fmla="*/ 7697 w 33"/>
                <a:gd name="T9" fmla="*/ 2560 h 31"/>
                <a:gd name="T10" fmla="*/ 5292 w 33"/>
                <a:gd name="T11" fmla="*/ 4097 h 31"/>
                <a:gd name="T12" fmla="*/ 2886 w 33"/>
                <a:gd name="T13" fmla="*/ 6145 h 31"/>
                <a:gd name="T14" fmla="*/ 1443 w 33"/>
                <a:gd name="T15" fmla="*/ 8194 h 31"/>
                <a:gd name="T16" fmla="*/ 481 w 33"/>
                <a:gd name="T17" fmla="*/ 10754 h 31"/>
                <a:gd name="T18" fmla="*/ 0 w 33"/>
                <a:gd name="T19" fmla="*/ 12802 h 31"/>
                <a:gd name="T20" fmla="*/ 481 w 33"/>
                <a:gd name="T21" fmla="*/ 13827 h 31"/>
                <a:gd name="T22" fmla="*/ 1443 w 33"/>
                <a:gd name="T23" fmla="*/ 14851 h 31"/>
                <a:gd name="T24" fmla="*/ 2886 w 33"/>
                <a:gd name="T25" fmla="*/ 15363 h 31"/>
                <a:gd name="T26" fmla="*/ 5292 w 33"/>
                <a:gd name="T27" fmla="*/ 15363 h 31"/>
                <a:gd name="T28" fmla="*/ 10583 w 33"/>
                <a:gd name="T29" fmla="*/ 15875 h 31"/>
                <a:gd name="T30" fmla="*/ 15875 w 33"/>
                <a:gd name="T31" fmla="*/ 15875 h 3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1" name="Freeform 189">
              <a:extLst>
                <a:ext uri="{FF2B5EF4-FFF2-40B4-BE49-F238E27FC236}">
                  <a16:creationId xmlns:a16="http://schemas.microsoft.com/office/drawing/2014/main" id="{B879FD86-E662-4308-834B-55C4D04F1BE0}"/>
                </a:ext>
              </a:extLst>
            </p:cNvPr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8928101" y="4003676"/>
              <a:ext cx="3175" cy="9525"/>
            </a:xfrm>
            <a:custGeom>
              <a:avLst/>
              <a:gdLst>
                <a:gd name="T0" fmla="*/ 0 w 13"/>
                <a:gd name="T1" fmla="*/ 9525 h 19"/>
                <a:gd name="T2" fmla="*/ 488 w 13"/>
                <a:gd name="T3" fmla="*/ 9024 h 19"/>
                <a:gd name="T4" fmla="*/ 1221 w 13"/>
                <a:gd name="T5" fmla="*/ 8522 h 19"/>
                <a:gd name="T6" fmla="*/ 1710 w 13"/>
                <a:gd name="T7" fmla="*/ 7520 h 19"/>
                <a:gd name="T8" fmla="*/ 1954 w 13"/>
                <a:gd name="T9" fmla="*/ 6016 h 19"/>
                <a:gd name="T10" fmla="*/ 2931 w 13"/>
                <a:gd name="T11" fmla="*/ 3008 h 19"/>
                <a:gd name="T12" fmla="*/ 3175 w 13"/>
                <a:gd name="T13" fmla="*/ 0 h 19"/>
                <a:gd name="T14" fmla="*/ 0 w 13"/>
                <a:gd name="T15" fmla="*/ 9525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2" name="Freeform 190">
              <a:extLst>
                <a:ext uri="{FF2B5EF4-FFF2-40B4-BE49-F238E27FC236}">
                  <a16:creationId xmlns:a16="http://schemas.microsoft.com/office/drawing/2014/main" id="{CC160057-C9AE-4EED-B951-62B65D64DF36}"/>
                </a:ext>
              </a:extLst>
            </p:cNvPr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8767763" y="4006851"/>
              <a:ext cx="36512" cy="22225"/>
            </a:xfrm>
            <a:custGeom>
              <a:avLst/>
              <a:gdLst>
                <a:gd name="T0" fmla="*/ 22663 w 87"/>
                <a:gd name="T1" fmla="*/ 22225 h 42"/>
                <a:gd name="T2" fmla="*/ 24761 w 87"/>
                <a:gd name="T3" fmla="*/ 22225 h 42"/>
                <a:gd name="T4" fmla="*/ 26859 w 87"/>
                <a:gd name="T5" fmla="*/ 21696 h 42"/>
                <a:gd name="T6" fmla="*/ 28538 w 87"/>
                <a:gd name="T7" fmla="*/ 21167 h 42"/>
                <a:gd name="T8" fmla="*/ 29797 w 87"/>
                <a:gd name="T9" fmla="*/ 20108 h 42"/>
                <a:gd name="T10" fmla="*/ 31476 w 87"/>
                <a:gd name="T11" fmla="*/ 17992 h 42"/>
                <a:gd name="T12" fmla="*/ 32735 w 87"/>
                <a:gd name="T13" fmla="*/ 14817 h 42"/>
                <a:gd name="T14" fmla="*/ 33155 w 87"/>
                <a:gd name="T15" fmla="*/ 11642 h 42"/>
                <a:gd name="T16" fmla="*/ 33574 w 87"/>
                <a:gd name="T17" fmla="*/ 8467 h 42"/>
                <a:gd name="T18" fmla="*/ 34414 w 87"/>
                <a:gd name="T19" fmla="*/ 5821 h 42"/>
                <a:gd name="T20" fmla="*/ 36512 w 87"/>
                <a:gd name="T21" fmla="*/ 3175 h 42"/>
                <a:gd name="T22" fmla="*/ 32315 w 87"/>
                <a:gd name="T23" fmla="*/ 1058 h 42"/>
                <a:gd name="T24" fmla="*/ 28118 w 87"/>
                <a:gd name="T25" fmla="*/ 0 h 42"/>
                <a:gd name="T26" fmla="*/ 23922 w 87"/>
                <a:gd name="T27" fmla="*/ 0 h 42"/>
                <a:gd name="T28" fmla="*/ 19725 w 87"/>
                <a:gd name="T29" fmla="*/ 0 h 42"/>
                <a:gd name="T30" fmla="*/ 16787 w 87"/>
                <a:gd name="T31" fmla="*/ 0 h 42"/>
                <a:gd name="T32" fmla="*/ 13430 w 87"/>
                <a:gd name="T33" fmla="*/ 1058 h 42"/>
                <a:gd name="T34" fmla="*/ 10492 w 87"/>
                <a:gd name="T35" fmla="*/ 2117 h 42"/>
                <a:gd name="T36" fmla="*/ 7974 w 87"/>
                <a:gd name="T37" fmla="*/ 3175 h 42"/>
                <a:gd name="T38" fmla="*/ 3357 w 87"/>
                <a:gd name="T39" fmla="*/ 6350 h 42"/>
                <a:gd name="T40" fmla="*/ 0 w 87"/>
                <a:gd name="T41" fmla="*/ 9525 h 42"/>
                <a:gd name="T42" fmla="*/ 4616 w 87"/>
                <a:gd name="T43" fmla="*/ 12700 h 42"/>
                <a:gd name="T44" fmla="*/ 11331 w 87"/>
                <a:gd name="T45" fmla="*/ 16933 h 42"/>
                <a:gd name="T46" fmla="*/ 18046 w 87"/>
                <a:gd name="T47" fmla="*/ 20638 h 42"/>
                <a:gd name="T48" fmla="*/ 22663 w 87"/>
                <a:gd name="T49" fmla="*/ 22225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3" name="Freeform 191">
              <a:extLst>
                <a:ext uri="{FF2B5EF4-FFF2-40B4-BE49-F238E27FC236}">
                  <a16:creationId xmlns:a16="http://schemas.microsoft.com/office/drawing/2014/main" id="{EC22CDC2-D8AF-4524-877A-ED411FE6A9A5}"/>
                </a:ext>
              </a:extLst>
            </p:cNvPr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9012239" y="4470400"/>
              <a:ext cx="1587" cy="14288"/>
            </a:xfrm>
            <a:custGeom>
              <a:avLst/>
              <a:gdLst>
                <a:gd name="T0" fmla="*/ 0 w 7"/>
                <a:gd name="T1" fmla="*/ 0 h 31"/>
                <a:gd name="T2" fmla="*/ 1587 w 7"/>
                <a:gd name="T3" fmla="*/ 0 h 31"/>
                <a:gd name="T4" fmla="*/ 1587 w 7"/>
                <a:gd name="T5" fmla="*/ 8296 h 31"/>
                <a:gd name="T6" fmla="*/ 0 w 7"/>
                <a:gd name="T7" fmla="*/ 14288 h 31"/>
                <a:gd name="T8" fmla="*/ 0 w 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4" name="Freeform 192">
              <a:extLst>
                <a:ext uri="{FF2B5EF4-FFF2-40B4-BE49-F238E27FC236}">
                  <a16:creationId xmlns:a16="http://schemas.microsoft.com/office/drawing/2014/main" id="{C6CCA9EC-590F-413B-9F63-754906916706}"/>
                </a:ext>
              </a:extLst>
            </p:cNvPr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8248651" y="3976688"/>
              <a:ext cx="1019175" cy="908050"/>
            </a:xfrm>
            <a:custGeom>
              <a:avLst/>
              <a:gdLst>
                <a:gd name="T0" fmla="*/ 93526 w 2332"/>
                <a:gd name="T1" fmla="*/ 370879 h 1731"/>
                <a:gd name="T2" fmla="*/ 142038 w 2332"/>
                <a:gd name="T3" fmla="*/ 340453 h 1731"/>
                <a:gd name="T4" fmla="*/ 190112 w 2332"/>
                <a:gd name="T5" fmla="*/ 317896 h 1731"/>
                <a:gd name="T6" fmla="*/ 264409 w 2332"/>
                <a:gd name="T7" fmla="*/ 299011 h 1731"/>
                <a:gd name="T8" fmla="*/ 295875 w 2332"/>
                <a:gd name="T9" fmla="*/ 229242 h 1731"/>
                <a:gd name="T10" fmla="*/ 331276 w 2332"/>
                <a:gd name="T11" fmla="*/ 230291 h 1731"/>
                <a:gd name="T12" fmla="*/ 342639 w 2332"/>
                <a:gd name="T13" fmla="*/ 190423 h 1731"/>
                <a:gd name="T14" fmla="*/ 378476 w 2332"/>
                <a:gd name="T15" fmla="*/ 165768 h 1731"/>
                <a:gd name="T16" fmla="*/ 410380 w 2332"/>
                <a:gd name="T17" fmla="*/ 129047 h 1731"/>
                <a:gd name="T18" fmla="*/ 448839 w 2332"/>
                <a:gd name="T19" fmla="*/ 116982 h 1731"/>
                <a:gd name="T20" fmla="*/ 471128 w 2332"/>
                <a:gd name="T21" fmla="*/ 148981 h 1731"/>
                <a:gd name="T22" fmla="*/ 496039 w 2332"/>
                <a:gd name="T23" fmla="*/ 141637 h 1731"/>
                <a:gd name="T24" fmla="*/ 513958 w 2332"/>
                <a:gd name="T25" fmla="*/ 90228 h 1731"/>
                <a:gd name="T26" fmla="*/ 576892 w 2332"/>
                <a:gd name="T27" fmla="*/ 61376 h 1731"/>
                <a:gd name="T28" fmla="*/ 583884 w 2332"/>
                <a:gd name="T29" fmla="*/ 21508 h 1731"/>
                <a:gd name="T30" fmla="*/ 625840 w 2332"/>
                <a:gd name="T31" fmla="*/ 56130 h 1731"/>
                <a:gd name="T32" fmla="*/ 674788 w 2332"/>
                <a:gd name="T33" fmla="*/ 61376 h 1731"/>
                <a:gd name="T34" fmla="*/ 640262 w 2332"/>
                <a:gd name="T35" fmla="*/ 137440 h 1731"/>
                <a:gd name="T36" fmla="*/ 659492 w 2332"/>
                <a:gd name="T37" fmla="*/ 174686 h 1731"/>
                <a:gd name="T38" fmla="*/ 691396 w 2332"/>
                <a:gd name="T39" fmla="*/ 185702 h 1731"/>
                <a:gd name="T40" fmla="*/ 728981 w 2332"/>
                <a:gd name="T41" fmla="*/ 221898 h 1731"/>
                <a:gd name="T42" fmla="*/ 770937 w 2332"/>
                <a:gd name="T43" fmla="*/ 216652 h 1731"/>
                <a:gd name="T44" fmla="*/ 799781 w 2332"/>
                <a:gd name="T45" fmla="*/ 107539 h 1731"/>
                <a:gd name="T46" fmla="*/ 832122 w 2332"/>
                <a:gd name="T47" fmla="*/ 5246 h 1731"/>
                <a:gd name="T48" fmla="*/ 844796 w 2332"/>
                <a:gd name="T49" fmla="*/ 41966 h 1731"/>
                <a:gd name="T50" fmla="*/ 849604 w 2332"/>
                <a:gd name="T51" fmla="*/ 92326 h 1731"/>
                <a:gd name="T52" fmla="*/ 867959 w 2332"/>
                <a:gd name="T53" fmla="*/ 125899 h 1731"/>
                <a:gd name="T54" fmla="*/ 891560 w 2332"/>
                <a:gd name="T55" fmla="*/ 225045 h 1731"/>
                <a:gd name="T56" fmla="*/ 912975 w 2332"/>
                <a:gd name="T57" fmla="*/ 283274 h 1731"/>
                <a:gd name="T58" fmla="*/ 945315 w 2332"/>
                <a:gd name="T59" fmla="*/ 359863 h 1731"/>
                <a:gd name="T60" fmla="*/ 969790 w 2332"/>
                <a:gd name="T61" fmla="*/ 403403 h 1731"/>
                <a:gd name="T62" fmla="*/ 1019175 w 2332"/>
                <a:gd name="T63" fmla="*/ 467926 h 1731"/>
                <a:gd name="T64" fmla="*/ 994701 w 2332"/>
                <a:gd name="T65" fmla="*/ 579662 h 1731"/>
                <a:gd name="T66" fmla="*/ 912100 w 2332"/>
                <a:gd name="T67" fmla="*/ 714480 h 1731"/>
                <a:gd name="T68" fmla="*/ 876263 w 2332"/>
                <a:gd name="T69" fmla="*/ 751200 h 1731"/>
                <a:gd name="T70" fmla="*/ 803278 w 2332"/>
                <a:gd name="T71" fmla="*/ 834609 h 1731"/>
                <a:gd name="T72" fmla="*/ 764381 w 2332"/>
                <a:gd name="T73" fmla="*/ 879198 h 1731"/>
                <a:gd name="T74" fmla="*/ 694455 w 2332"/>
                <a:gd name="T75" fmla="*/ 905427 h 1731"/>
                <a:gd name="T76" fmla="*/ 662988 w 2332"/>
                <a:gd name="T77" fmla="*/ 888116 h 1731"/>
                <a:gd name="T78" fmla="*/ 616225 w 2332"/>
                <a:gd name="T79" fmla="*/ 907001 h 1731"/>
                <a:gd name="T80" fmla="*/ 566840 w 2332"/>
                <a:gd name="T81" fmla="*/ 888116 h 1731"/>
                <a:gd name="T82" fmla="*/ 558973 w 2332"/>
                <a:gd name="T83" fmla="*/ 846674 h 1731"/>
                <a:gd name="T84" fmla="*/ 551980 w 2332"/>
                <a:gd name="T85" fmla="*/ 795265 h 1731"/>
                <a:gd name="T86" fmla="*/ 535373 w 2332"/>
                <a:gd name="T87" fmla="*/ 786872 h 1731"/>
                <a:gd name="T88" fmla="*/ 559410 w 2332"/>
                <a:gd name="T89" fmla="*/ 724971 h 1731"/>
                <a:gd name="T90" fmla="*/ 475498 w 2332"/>
                <a:gd name="T91" fmla="*/ 714480 h 1731"/>
                <a:gd name="T92" fmla="*/ 419995 w 2332"/>
                <a:gd name="T93" fmla="*/ 672513 h 1731"/>
                <a:gd name="T94" fmla="*/ 329527 w 2332"/>
                <a:gd name="T95" fmla="*/ 694021 h 1731"/>
                <a:gd name="T96" fmla="*/ 221579 w 2332"/>
                <a:gd name="T97" fmla="*/ 744381 h 1731"/>
                <a:gd name="T98" fmla="*/ 93526 w 2332"/>
                <a:gd name="T99" fmla="*/ 772708 h 1731"/>
                <a:gd name="T100" fmla="*/ 24037 w 2332"/>
                <a:gd name="T101" fmla="*/ 781626 h 1731"/>
                <a:gd name="T102" fmla="*/ 874 w 2332"/>
                <a:gd name="T103" fmla="*/ 746479 h 1731"/>
                <a:gd name="T104" fmla="*/ 42393 w 2332"/>
                <a:gd name="T105" fmla="*/ 705037 h 1731"/>
                <a:gd name="T106" fmla="*/ 32778 w 2332"/>
                <a:gd name="T107" fmla="*/ 651005 h 1731"/>
                <a:gd name="T108" fmla="*/ 49385 w 2332"/>
                <a:gd name="T109" fmla="*/ 613760 h 1731"/>
                <a:gd name="T110" fmla="*/ 25348 w 2332"/>
                <a:gd name="T111" fmla="*/ 494680 h 1731"/>
                <a:gd name="T112" fmla="*/ 49385 w 2332"/>
                <a:gd name="T113" fmla="*/ 505696 h 1731"/>
                <a:gd name="T114" fmla="*/ 46326 w 2332"/>
                <a:gd name="T115" fmla="*/ 452189 h 1731"/>
                <a:gd name="T116" fmla="*/ 64245 w 2332"/>
                <a:gd name="T117" fmla="*/ 401305 h 173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5" name="Freeform 193">
              <a:extLst>
                <a:ext uri="{FF2B5EF4-FFF2-40B4-BE49-F238E27FC236}">
                  <a16:creationId xmlns:a16="http://schemas.microsoft.com/office/drawing/2014/main" id="{BB9BA158-935E-45B5-A76E-E3EA48F31736}"/>
                </a:ext>
              </a:extLst>
            </p:cNvPr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2735264" y="2643189"/>
              <a:ext cx="668337" cy="581025"/>
            </a:xfrm>
            <a:custGeom>
              <a:avLst/>
              <a:gdLst>
                <a:gd name="T0" fmla="*/ 541201 w 1535"/>
                <a:gd name="T1" fmla="*/ 484624 h 1109"/>
                <a:gd name="T2" fmla="*/ 565583 w 1535"/>
                <a:gd name="T3" fmla="*/ 514487 h 1109"/>
                <a:gd name="T4" fmla="*/ 531186 w 1535"/>
                <a:gd name="T5" fmla="*/ 523394 h 1109"/>
                <a:gd name="T6" fmla="*/ 512464 w 1535"/>
                <a:gd name="T7" fmla="*/ 573690 h 1109"/>
                <a:gd name="T8" fmla="*/ 463700 w 1535"/>
                <a:gd name="T9" fmla="*/ 527061 h 1109"/>
                <a:gd name="T10" fmla="*/ 432786 w 1535"/>
                <a:gd name="T11" fmla="*/ 530205 h 1109"/>
                <a:gd name="T12" fmla="*/ 397519 w 1535"/>
                <a:gd name="T13" fmla="*/ 544351 h 1109"/>
                <a:gd name="T14" fmla="*/ 342223 w 1535"/>
                <a:gd name="T15" fmla="*/ 508724 h 1109"/>
                <a:gd name="T16" fmla="*/ 282138 w 1535"/>
                <a:gd name="T17" fmla="*/ 480433 h 1109"/>
                <a:gd name="T18" fmla="*/ 256014 w 1535"/>
                <a:gd name="T19" fmla="*/ 462620 h 1109"/>
                <a:gd name="T20" fmla="*/ 233809 w 1535"/>
                <a:gd name="T21" fmla="*/ 437471 h 1109"/>
                <a:gd name="T22" fmla="*/ 211168 w 1535"/>
                <a:gd name="T23" fmla="*/ 432756 h 1109"/>
                <a:gd name="T24" fmla="*/ 191140 w 1535"/>
                <a:gd name="T25" fmla="*/ 396606 h 1109"/>
                <a:gd name="T26" fmla="*/ 203331 w 1535"/>
                <a:gd name="T27" fmla="*/ 369362 h 1109"/>
                <a:gd name="T28" fmla="*/ 195929 w 1535"/>
                <a:gd name="T29" fmla="*/ 314875 h 1109"/>
                <a:gd name="T30" fmla="*/ 153260 w 1535"/>
                <a:gd name="T31" fmla="*/ 245194 h 1109"/>
                <a:gd name="T32" fmla="*/ 132361 w 1535"/>
                <a:gd name="T33" fmla="*/ 223189 h 1109"/>
                <a:gd name="T34" fmla="*/ 127572 w 1535"/>
                <a:gd name="T35" fmla="*/ 193326 h 1109"/>
                <a:gd name="T36" fmla="*/ 94482 w 1535"/>
                <a:gd name="T37" fmla="*/ 129932 h 1109"/>
                <a:gd name="T38" fmla="*/ 72712 w 1535"/>
                <a:gd name="T39" fmla="*/ 38770 h 1109"/>
                <a:gd name="T40" fmla="*/ 36573 w 1535"/>
                <a:gd name="T41" fmla="*/ 54487 h 1109"/>
                <a:gd name="T42" fmla="*/ 49200 w 1535"/>
                <a:gd name="T43" fmla="*/ 116310 h 1109"/>
                <a:gd name="T44" fmla="*/ 65310 w 1535"/>
                <a:gd name="T45" fmla="*/ 170797 h 1109"/>
                <a:gd name="T46" fmla="*/ 85338 w 1535"/>
                <a:gd name="T47" fmla="*/ 210615 h 1109"/>
                <a:gd name="T48" fmla="*/ 87080 w 1535"/>
                <a:gd name="T49" fmla="*/ 243622 h 1109"/>
                <a:gd name="T50" fmla="*/ 92740 w 1535"/>
                <a:gd name="T51" fmla="*/ 274533 h 1109"/>
                <a:gd name="T52" fmla="*/ 112768 w 1535"/>
                <a:gd name="T53" fmla="*/ 299157 h 1109"/>
                <a:gd name="T54" fmla="*/ 93175 w 1535"/>
                <a:gd name="T55" fmla="*/ 312255 h 1109"/>
                <a:gd name="T56" fmla="*/ 84032 w 1535"/>
                <a:gd name="T57" fmla="*/ 283964 h 1109"/>
                <a:gd name="T58" fmla="*/ 52248 w 1535"/>
                <a:gd name="T59" fmla="*/ 248337 h 1109"/>
                <a:gd name="T60" fmla="*/ 63568 w 1535"/>
                <a:gd name="T61" fmla="*/ 220046 h 1109"/>
                <a:gd name="T62" fmla="*/ 38750 w 1535"/>
                <a:gd name="T63" fmla="*/ 191754 h 1109"/>
                <a:gd name="T64" fmla="*/ 11756 w 1535"/>
                <a:gd name="T65" fmla="*/ 160843 h 1109"/>
                <a:gd name="T66" fmla="*/ 28301 w 1535"/>
                <a:gd name="T67" fmla="*/ 151412 h 1109"/>
                <a:gd name="T68" fmla="*/ 27866 w 1535"/>
                <a:gd name="T69" fmla="*/ 117882 h 1109"/>
                <a:gd name="T70" fmla="*/ 2612 w 1535"/>
                <a:gd name="T71" fmla="*/ 61298 h 1109"/>
                <a:gd name="T72" fmla="*/ 16545 w 1535"/>
                <a:gd name="T73" fmla="*/ 2620 h 1109"/>
                <a:gd name="T74" fmla="*/ 91869 w 1535"/>
                <a:gd name="T75" fmla="*/ 9431 h 1109"/>
                <a:gd name="T76" fmla="*/ 157179 w 1535"/>
                <a:gd name="T77" fmla="*/ 39818 h 1109"/>
                <a:gd name="T78" fmla="*/ 216829 w 1535"/>
                <a:gd name="T79" fmla="*/ 28815 h 1109"/>
                <a:gd name="T80" fmla="*/ 258191 w 1535"/>
                <a:gd name="T81" fmla="*/ 28292 h 1109"/>
                <a:gd name="T82" fmla="*/ 275607 w 1535"/>
                <a:gd name="T83" fmla="*/ 57631 h 1109"/>
                <a:gd name="T84" fmla="*/ 304779 w 1535"/>
                <a:gd name="T85" fmla="*/ 112642 h 1109"/>
                <a:gd name="T86" fmla="*/ 326549 w 1535"/>
                <a:gd name="T87" fmla="*/ 100592 h 1109"/>
                <a:gd name="T88" fmla="*/ 357898 w 1535"/>
                <a:gd name="T89" fmla="*/ 92210 h 1109"/>
                <a:gd name="T90" fmla="*/ 382715 w 1535"/>
                <a:gd name="T91" fmla="*/ 127836 h 1109"/>
                <a:gd name="T92" fmla="*/ 394036 w 1535"/>
                <a:gd name="T93" fmla="*/ 189658 h 1109"/>
                <a:gd name="T94" fmla="*/ 419724 w 1535"/>
                <a:gd name="T95" fmla="*/ 212187 h 1109"/>
                <a:gd name="T96" fmla="*/ 425385 w 1535"/>
                <a:gd name="T97" fmla="*/ 238907 h 1109"/>
                <a:gd name="T98" fmla="*/ 405356 w 1535"/>
                <a:gd name="T99" fmla="*/ 257768 h 1109"/>
                <a:gd name="T100" fmla="*/ 399261 w 1535"/>
                <a:gd name="T101" fmla="*/ 332164 h 1109"/>
                <a:gd name="T102" fmla="*/ 416241 w 1535"/>
                <a:gd name="T103" fmla="*/ 414419 h 1109"/>
                <a:gd name="T104" fmla="*/ 458910 w 1535"/>
                <a:gd name="T105" fmla="*/ 459476 h 1109"/>
                <a:gd name="T106" fmla="*/ 507675 w 1535"/>
                <a:gd name="T107" fmla="*/ 444806 h 1109"/>
                <a:gd name="T108" fmla="*/ 543813 w 1535"/>
                <a:gd name="T109" fmla="*/ 445330 h 1109"/>
                <a:gd name="T110" fmla="*/ 564277 w 1535"/>
                <a:gd name="T111" fmla="*/ 388747 h 1109"/>
                <a:gd name="T112" fmla="*/ 581693 w 1535"/>
                <a:gd name="T113" fmla="*/ 363075 h 1109"/>
                <a:gd name="T114" fmla="*/ 655710 w 1535"/>
                <a:gd name="T115" fmla="*/ 355216 h 1109"/>
                <a:gd name="T116" fmla="*/ 654404 w 1535"/>
                <a:gd name="T117" fmla="*/ 381936 h 1109"/>
                <a:gd name="T118" fmla="*/ 639165 w 1535"/>
                <a:gd name="T119" fmla="*/ 430137 h 1109"/>
                <a:gd name="T120" fmla="*/ 596061 w 1535"/>
                <a:gd name="T121" fmla="*/ 465239 h 110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76" name="Freeform 194">
              <a:extLst>
                <a:ext uri="{FF2B5EF4-FFF2-40B4-BE49-F238E27FC236}">
                  <a16:creationId xmlns:a16="http://schemas.microsoft.com/office/drawing/2014/main" id="{2BF05D01-6B3E-4D49-BDDF-BF40D3186707}"/>
                </a:ext>
              </a:extLst>
            </p:cNvPr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4010025" y="4283076"/>
              <a:ext cx="211138" cy="265113"/>
            </a:xfrm>
            <a:custGeom>
              <a:avLst/>
              <a:gdLst>
                <a:gd name="T0" fmla="*/ 6082 w 486"/>
                <a:gd name="T1" fmla="*/ 92396 h 505"/>
                <a:gd name="T2" fmla="*/ 13468 w 486"/>
                <a:gd name="T3" fmla="*/ 103945 h 505"/>
                <a:gd name="T4" fmla="*/ 22156 w 486"/>
                <a:gd name="T5" fmla="*/ 121794 h 505"/>
                <a:gd name="T6" fmla="*/ 35624 w 486"/>
                <a:gd name="T7" fmla="*/ 139644 h 505"/>
                <a:gd name="T8" fmla="*/ 54739 w 486"/>
                <a:gd name="T9" fmla="*/ 153818 h 505"/>
                <a:gd name="T10" fmla="*/ 73855 w 486"/>
                <a:gd name="T11" fmla="*/ 162743 h 505"/>
                <a:gd name="T12" fmla="*/ 106872 w 486"/>
                <a:gd name="T13" fmla="*/ 172192 h 505"/>
                <a:gd name="T14" fmla="*/ 128160 w 486"/>
                <a:gd name="T15" fmla="*/ 180592 h 505"/>
                <a:gd name="T16" fmla="*/ 129898 w 486"/>
                <a:gd name="T17" fmla="*/ 200016 h 505"/>
                <a:gd name="T18" fmla="*/ 120340 w 486"/>
                <a:gd name="T19" fmla="*/ 219440 h 505"/>
                <a:gd name="T20" fmla="*/ 115996 w 486"/>
                <a:gd name="T21" fmla="*/ 232564 h 505"/>
                <a:gd name="T22" fmla="*/ 115561 w 486"/>
                <a:gd name="T23" fmla="*/ 243064 h 505"/>
                <a:gd name="T24" fmla="*/ 120774 w 486"/>
                <a:gd name="T25" fmla="*/ 253039 h 505"/>
                <a:gd name="T26" fmla="*/ 129898 w 486"/>
                <a:gd name="T27" fmla="*/ 259338 h 505"/>
                <a:gd name="T28" fmla="*/ 149447 w 486"/>
                <a:gd name="T29" fmla="*/ 264588 h 505"/>
                <a:gd name="T30" fmla="*/ 168128 w 486"/>
                <a:gd name="T31" fmla="*/ 264588 h 505"/>
                <a:gd name="T32" fmla="*/ 180293 w 486"/>
                <a:gd name="T33" fmla="*/ 259338 h 505"/>
                <a:gd name="T34" fmla="*/ 193760 w 486"/>
                <a:gd name="T35" fmla="*/ 248839 h 505"/>
                <a:gd name="T36" fmla="*/ 205490 w 486"/>
                <a:gd name="T37" fmla="*/ 234664 h 505"/>
                <a:gd name="T38" fmla="*/ 210704 w 486"/>
                <a:gd name="T39" fmla="*/ 219440 h 505"/>
                <a:gd name="T40" fmla="*/ 210269 w 486"/>
                <a:gd name="T41" fmla="*/ 208416 h 505"/>
                <a:gd name="T42" fmla="*/ 207662 w 486"/>
                <a:gd name="T43" fmla="*/ 187941 h 505"/>
                <a:gd name="T44" fmla="*/ 204621 w 486"/>
                <a:gd name="T45" fmla="*/ 165892 h 505"/>
                <a:gd name="T46" fmla="*/ 202015 w 486"/>
                <a:gd name="T47" fmla="*/ 141744 h 505"/>
                <a:gd name="T48" fmla="*/ 198105 w 486"/>
                <a:gd name="T49" fmla="*/ 132294 h 505"/>
                <a:gd name="T50" fmla="*/ 190719 w 486"/>
                <a:gd name="T51" fmla="*/ 125469 h 505"/>
                <a:gd name="T52" fmla="*/ 179424 w 486"/>
                <a:gd name="T53" fmla="*/ 121794 h 505"/>
                <a:gd name="T54" fmla="*/ 170301 w 486"/>
                <a:gd name="T55" fmla="*/ 116545 h 505"/>
                <a:gd name="T56" fmla="*/ 160743 w 486"/>
                <a:gd name="T57" fmla="*/ 108670 h 505"/>
                <a:gd name="T58" fmla="*/ 143365 w 486"/>
                <a:gd name="T59" fmla="*/ 98696 h 505"/>
                <a:gd name="T60" fmla="*/ 125988 w 486"/>
                <a:gd name="T61" fmla="*/ 90296 h 505"/>
                <a:gd name="T62" fmla="*/ 118602 w 486"/>
                <a:gd name="T63" fmla="*/ 83996 h 505"/>
                <a:gd name="T64" fmla="*/ 114692 w 486"/>
                <a:gd name="T65" fmla="*/ 79271 h 505"/>
                <a:gd name="T66" fmla="*/ 113389 w 486"/>
                <a:gd name="T67" fmla="*/ 65622 h 505"/>
                <a:gd name="T68" fmla="*/ 113389 w 486"/>
                <a:gd name="T69" fmla="*/ 47248 h 505"/>
                <a:gd name="T70" fmla="*/ 110782 w 486"/>
                <a:gd name="T71" fmla="*/ 37273 h 505"/>
                <a:gd name="T72" fmla="*/ 104700 w 486"/>
                <a:gd name="T73" fmla="*/ 28874 h 505"/>
                <a:gd name="T74" fmla="*/ 101659 w 486"/>
                <a:gd name="T75" fmla="*/ 19424 h 505"/>
                <a:gd name="T76" fmla="*/ 86454 w 486"/>
                <a:gd name="T77" fmla="*/ 6300 h 505"/>
                <a:gd name="T78" fmla="*/ 80806 w 486"/>
                <a:gd name="T79" fmla="*/ 4200 h 505"/>
                <a:gd name="T80" fmla="*/ 75158 w 486"/>
                <a:gd name="T81" fmla="*/ 1050 h 505"/>
                <a:gd name="T82" fmla="*/ 60387 w 486"/>
                <a:gd name="T83" fmla="*/ 525 h 505"/>
                <a:gd name="T84" fmla="*/ 30411 w 486"/>
                <a:gd name="T85" fmla="*/ 5775 h 505"/>
                <a:gd name="T86" fmla="*/ 18246 w 486"/>
                <a:gd name="T87" fmla="*/ 11025 h 505"/>
                <a:gd name="T88" fmla="*/ 10427 w 486"/>
                <a:gd name="T89" fmla="*/ 19424 h 505"/>
                <a:gd name="T90" fmla="*/ 8689 w 486"/>
                <a:gd name="T91" fmla="*/ 33598 h 5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77" name="Freeform 195">
              <a:extLst>
                <a:ext uri="{FF2B5EF4-FFF2-40B4-BE49-F238E27FC236}">
                  <a16:creationId xmlns:a16="http://schemas.microsoft.com/office/drawing/2014/main" id="{E71BAEAE-B31D-4523-90EF-E56E3D1149B3}"/>
                </a:ext>
              </a:extLst>
            </p:cNvPr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4179889" y="3487739"/>
              <a:ext cx="73025" cy="109537"/>
            </a:xfrm>
            <a:custGeom>
              <a:avLst/>
              <a:gdLst>
                <a:gd name="T0" fmla="*/ 3079 w 166"/>
                <a:gd name="T1" fmla="*/ 96371 h 208"/>
                <a:gd name="T2" fmla="*/ 34753 w 166"/>
                <a:gd name="T3" fmla="*/ 109537 h 208"/>
                <a:gd name="T4" fmla="*/ 37392 w 166"/>
                <a:gd name="T5" fmla="*/ 109010 h 208"/>
                <a:gd name="T6" fmla="*/ 39592 w 166"/>
                <a:gd name="T7" fmla="*/ 107431 h 208"/>
                <a:gd name="T8" fmla="*/ 42671 w 166"/>
                <a:gd name="T9" fmla="*/ 104271 h 208"/>
                <a:gd name="T10" fmla="*/ 45751 w 166"/>
                <a:gd name="T11" fmla="*/ 101111 h 208"/>
                <a:gd name="T12" fmla="*/ 51469 w 166"/>
                <a:gd name="T13" fmla="*/ 92685 h 208"/>
                <a:gd name="T14" fmla="*/ 57188 w 166"/>
                <a:gd name="T15" fmla="*/ 83206 h 208"/>
                <a:gd name="T16" fmla="*/ 67746 w 166"/>
                <a:gd name="T17" fmla="*/ 64248 h 208"/>
                <a:gd name="T18" fmla="*/ 73025 w 166"/>
                <a:gd name="T19" fmla="*/ 54242 h 208"/>
                <a:gd name="T20" fmla="*/ 63347 w 166"/>
                <a:gd name="T21" fmla="*/ 49502 h 208"/>
                <a:gd name="T22" fmla="*/ 55429 w 166"/>
                <a:gd name="T23" fmla="*/ 44236 h 208"/>
                <a:gd name="T24" fmla="*/ 47510 w 166"/>
                <a:gd name="T25" fmla="*/ 38970 h 208"/>
                <a:gd name="T26" fmla="*/ 40912 w 166"/>
                <a:gd name="T27" fmla="*/ 33704 h 208"/>
                <a:gd name="T28" fmla="*/ 37832 w 166"/>
                <a:gd name="T29" fmla="*/ 30544 h 208"/>
                <a:gd name="T30" fmla="*/ 35633 w 166"/>
                <a:gd name="T31" fmla="*/ 27911 h 208"/>
                <a:gd name="T32" fmla="*/ 32993 w 166"/>
                <a:gd name="T33" fmla="*/ 24751 h 208"/>
                <a:gd name="T34" fmla="*/ 31234 w 166"/>
                <a:gd name="T35" fmla="*/ 21065 h 208"/>
                <a:gd name="T36" fmla="*/ 29474 w 166"/>
                <a:gd name="T37" fmla="*/ 17378 h 208"/>
                <a:gd name="T38" fmla="*/ 28154 w 166"/>
                <a:gd name="T39" fmla="*/ 13692 h 208"/>
                <a:gd name="T40" fmla="*/ 27274 w 166"/>
                <a:gd name="T41" fmla="*/ 9479 h 208"/>
                <a:gd name="T42" fmla="*/ 26395 w 166"/>
                <a:gd name="T43" fmla="*/ 5793 h 208"/>
                <a:gd name="T44" fmla="*/ 21995 w 166"/>
                <a:gd name="T45" fmla="*/ 5266 h 208"/>
                <a:gd name="T46" fmla="*/ 18916 w 166"/>
                <a:gd name="T47" fmla="*/ 4213 h 208"/>
                <a:gd name="T48" fmla="*/ 17596 w 166"/>
                <a:gd name="T49" fmla="*/ 2633 h 208"/>
                <a:gd name="T50" fmla="*/ 17156 w 166"/>
                <a:gd name="T51" fmla="*/ 1580 h 208"/>
                <a:gd name="T52" fmla="*/ 16717 w 166"/>
                <a:gd name="T53" fmla="*/ 527 h 208"/>
                <a:gd name="T54" fmla="*/ 15837 w 166"/>
                <a:gd name="T55" fmla="*/ 0 h 208"/>
                <a:gd name="T56" fmla="*/ 14077 w 166"/>
                <a:gd name="T57" fmla="*/ 527 h 208"/>
                <a:gd name="T58" fmla="*/ 11878 w 166"/>
                <a:gd name="T59" fmla="*/ 2633 h 208"/>
                <a:gd name="T60" fmla="*/ 8798 w 166"/>
                <a:gd name="T61" fmla="*/ 5793 h 208"/>
                <a:gd name="T62" fmla="*/ 4839 w 166"/>
                <a:gd name="T63" fmla="*/ 11586 h 208"/>
                <a:gd name="T64" fmla="*/ 3079 w 166"/>
                <a:gd name="T65" fmla="*/ 15272 h 208"/>
                <a:gd name="T66" fmla="*/ 1760 w 166"/>
                <a:gd name="T67" fmla="*/ 19485 h 208"/>
                <a:gd name="T68" fmla="*/ 880 w 166"/>
                <a:gd name="T69" fmla="*/ 23698 h 208"/>
                <a:gd name="T70" fmla="*/ 0 w 166"/>
                <a:gd name="T71" fmla="*/ 28437 h 208"/>
                <a:gd name="T72" fmla="*/ 0 w 166"/>
                <a:gd name="T73" fmla="*/ 31597 h 208"/>
                <a:gd name="T74" fmla="*/ 880 w 166"/>
                <a:gd name="T75" fmla="*/ 34230 h 208"/>
                <a:gd name="T76" fmla="*/ 1320 w 166"/>
                <a:gd name="T77" fmla="*/ 36863 h 208"/>
                <a:gd name="T78" fmla="*/ 2200 w 166"/>
                <a:gd name="T79" fmla="*/ 40023 h 208"/>
                <a:gd name="T80" fmla="*/ 4399 w 166"/>
                <a:gd name="T81" fmla="*/ 45289 h 208"/>
                <a:gd name="T82" fmla="*/ 7478 w 166"/>
                <a:gd name="T83" fmla="*/ 51609 h 208"/>
                <a:gd name="T84" fmla="*/ 9678 w 166"/>
                <a:gd name="T85" fmla="*/ 57402 h 208"/>
                <a:gd name="T86" fmla="*/ 12317 w 166"/>
                <a:gd name="T87" fmla="*/ 63194 h 208"/>
                <a:gd name="T88" fmla="*/ 13197 w 166"/>
                <a:gd name="T89" fmla="*/ 66354 h 208"/>
                <a:gd name="T90" fmla="*/ 14077 w 166"/>
                <a:gd name="T91" fmla="*/ 70040 h 208"/>
                <a:gd name="T92" fmla="*/ 14517 w 166"/>
                <a:gd name="T93" fmla="*/ 73200 h 208"/>
                <a:gd name="T94" fmla="*/ 14517 w 166"/>
                <a:gd name="T95" fmla="*/ 77413 h 208"/>
                <a:gd name="T96" fmla="*/ 14077 w 166"/>
                <a:gd name="T97" fmla="*/ 80573 h 208"/>
                <a:gd name="T98" fmla="*/ 13637 w 166"/>
                <a:gd name="T99" fmla="*/ 83733 h 208"/>
                <a:gd name="T100" fmla="*/ 12317 w 166"/>
                <a:gd name="T101" fmla="*/ 86892 h 208"/>
                <a:gd name="T102" fmla="*/ 10998 w 166"/>
                <a:gd name="T103" fmla="*/ 88999 h 208"/>
                <a:gd name="T104" fmla="*/ 9238 w 166"/>
                <a:gd name="T105" fmla="*/ 91632 h 208"/>
                <a:gd name="T106" fmla="*/ 7478 w 166"/>
                <a:gd name="T107" fmla="*/ 93212 h 208"/>
                <a:gd name="T108" fmla="*/ 4839 w 166"/>
                <a:gd name="T109" fmla="*/ 94792 h 208"/>
                <a:gd name="T110" fmla="*/ 3079 w 166"/>
                <a:gd name="T111" fmla="*/ 96371 h 20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78" name="Freeform 196">
              <a:extLst>
                <a:ext uri="{FF2B5EF4-FFF2-40B4-BE49-F238E27FC236}">
                  <a16:creationId xmlns:a16="http://schemas.microsoft.com/office/drawing/2014/main" id="{06CA5E2B-F24E-4DB4-AA80-83C6440EF3F3}"/>
                </a:ext>
              </a:extLst>
            </p:cNvPr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3694113" y="3046414"/>
              <a:ext cx="69850" cy="58737"/>
            </a:xfrm>
            <a:custGeom>
              <a:avLst/>
              <a:gdLst>
                <a:gd name="T0" fmla="*/ 65165 w 164"/>
                <a:gd name="T1" fmla="*/ 58737 h 104"/>
                <a:gd name="T2" fmla="*/ 57073 w 164"/>
                <a:gd name="T3" fmla="*/ 57607 h 104"/>
                <a:gd name="T4" fmla="*/ 46851 w 164"/>
                <a:gd name="T5" fmla="*/ 54784 h 104"/>
                <a:gd name="T6" fmla="*/ 40888 w 164"/>
                <a:gd name="T7" fmla="*/ 53089 h 104"/>
                <a:gd name="T8" fmla="*/ 34073 w 164"/>
                <a:gd name="T9" fmla="*/ 52524 h 104"/>
                <a:gd name="T10" fmla="*/ 31092 w 164"/>
                <a:gd name="T11" fmla="*/ 52524 h 104"/>
                <a:gd name="T12" fmla="*/ 27259 w 164"/>
                <a:gd name="T13" fmla="*/ 53089 h 104"/>
                <a:gd name="T14" fmla="*/ 23425 w 164"/>
                <a:gd name="T15" fmla="*/ 54219 h 104"/>
                <a:gd name="T16" fmla="*/ 20018 w 164"/>
                <a:gd name="T17" fmla="*/ 55348 h 104"/>
                <a:gd name="T18" fmla="*/ 17463 w 164"/>
                <a:gd name="T19" fmla="*/ 56478 h 104"/>
                <a:gd name="T20" fmla="*/ 14481 w 164"/>
                <a:gd name="T21" fmla="*/ 56478 h 104"/>
                <a:gd name="T22" fmla="*/ 11500 w 164"/>
                <a:gd name="T23" fmla="*/ 55913 h 104"/>
                <a:gd name="T24" fmla="*/ 8092 w 164"/>
                <a:gd name="T25" fmla="*/ 54219 h 104"/>
                <a:gd name="T26" fmla="*/ 4685 w 164"/>
                <a:gd name="T27" fmla="*/ 51960 h 104"/>
                <a:gd name="T28" fmla="*/ 2555 w 164"/>
                <a:gd name="T29" fmla="*/ 49701 h 104"/>
                <a:gd name="T30" fmla="*/ 1278 w 164"/>
                <a:gd name="T31" fmla="*/ 48571 h 104"/>
                <a:gd name="T32" fmla="*/ 426 w 164"/>
                <a:gd name="T33" fmla="*/ 47441 h 104"/>
                <a:gd name="T34" fmla="*/ 0 w 164"/>
                <a:gd name="T35" fmla="*/ 45747 h 104"/>
                <a:gd name="T36" fmla="*/ 0 w 164"/>
                <a:gd name="T37" fmla="*/ 44618 h 104"/>
                <a:gd name="T38" fmla="*/ 0 w 164"/>
                <a:gd name="T39" fmla="*/ 42923 h 104"/>
                <a:gd name="T40" fmla="*/ 426 w 164"/>
                <a:gd name="T41" fmla="*/ 41794 h 104"/>
                <a:gd name="T42" fmla="*/ 1278 w 164"/>
                <a:gd name="T43" fmla="*/ 40099 h 104"/>
                <a:gd name="T44" fmla="*/ 2555 w 164"/>
                <a:gd name="T45" fmla="*/ 39535 h 104"/>
                <a:gd name="T46" fmla="*/ 5111 w 164"/>
                <a:gd name="T47" fmla="*/ 37840 h 104"/>
                <a:gd name="T48" fmla="*/ 8518 w 164"/>
                <a:gd name="T49" fmla="*/ 37275 h 104"/>
                <a:gd name="T50" fmla="*/ 17037 w 164"/>
                <a:gd name="T51" fmla="*/ 37275 h 104"/>
                <a:gd name="T52" fmla="*/ 25981 w 164"/>
                <a:gd name="T53" fmla="*/ 37840 h 104"/>
                <a:gd name="T54" fmla="*/ 29814 w 164"/>
                <a:gd name="T55" fmla="*/ 37840 h 104"/>
                <a:gd name="T56" fmla="*/ 33647 w 164"/>
                <a:gd name="T57" fmla="*/ 37840 h 104"/>
                <a:gd name="T58" fmla="*/ 37055 w 164"/>
                <a:gd name="T59" fmla="*/ 37840 h 104"/>
                <a:gd name="T60" fmla="*/ 40036 w 164"/>
                <a:gd name="T61" fmla="*/ 37840 h 104"/>
                <a:gd name="T62" fmla="*/ 40036 w 164"/>
                <a:gd name="T63" fmla="*/ 31628 h 104"/>
                <a:gd name="T64" fmla="*/ 40036 w 164"/>
                <a:gd name="T65" fmla="*/ 24285 h 104"/>
                <a:gd name="T66" fmla="*/ 40036 w 164"/>
                <a:gd name="T67" fmla="*/ 16379 h 104"/>
                <a:gd name="T68" fmla="*/ 40036 w 164"/>
                <a:gd name="T69" fmla="*/ 10166 h 104"/>
                <a:gd name="T70" fmla="*/ 33647 w 164"/>
                <a:gd name="T71" fmla="*/ 9601 h 104"/>
                <a:gd name="T72" fmla="*/ 28536 w 164"/>
                <a:gd name="T73" fmla="*/ 8472 h 104"/>
                <a:gd name="T74" fmla="*/ 26407 w 164"/>
                <a:gd name="T75" fmla="*/ 7342 h 104"/>
                <a:gd name="T76" fmla="*/ 24277 w 164"/>
                <a:gd name="T77" fmla="*/ 5648 h 104"/>
                <a:gd name="T78" fmla="*/ 22148 w 164"/>
                <a:gd name="T79" fmla="*/ 3389 h 104"/>
                <a:gd name="T80" fmla="*/ 20018 w 164"/>
                <a:gd name="T81" fmla="*/ 0 h 104"/>
                <a:gd name="T82" fmla="*/ 62184 w 164"/>
                <a:gd name="T83" fmla="*/ 0 h 104"/>
                <a:gd name="T84" fmla="*/ 62609 w 164"/>
                <a:gd name="T85" fmla="*/ 3389 h 104"/>
                <a:gd name="T86" fmla="*/ 63035 w 164"/>
                <a:gd name="T87" fmla="*/ 7342 h 104"/>
                <a:gd name="T88" fmla="*/ 63887 w 164"/>
                <a:gd name="T89" fmla="*/ 10731 h 104"/>
                <a:gd name="T90" fmla="*/ 64739 w 164"/>
                <a:gd name="T91" fmla="*/ 14119 h 104"/>
                <a:gd name="T92" fmla="*/ 66443 w 164"/>
                <a:gd name="T93" fmla="*/ 19767 h 104"/>
                <a:gd name="T94" fmla="*/ 67720 w 164"/>
                <a:gd name="T95" fmla="*/ 25980 h 104"/>
                <a:gd name="T96" fmla="*/ 69424 w 164"/>
                <a:gd name="T97" fmla="*/ 30498 h 104"/>
                <a:gd name="T98" fmla="*/ 69850 w 164"/>
                <a:gd name="T99" fmla="*/ 35016 h 104"/>
                <a:gd name="T100" fmla="*/ 69424 w 164"/>
                <a:gd name="T101" fmla="*/ 36711 h 104"/>
                <a:gd name="T102" fmla="*/ 68146 w 164"/>
                <a:gd name="T103" fmla="*/ 38405 h 104"/>
                <a:gd name="T104" fmla="*/ 66869 w 164"/>
                <a:gd name="T105" fmla="*/ 40099 h 104"/>
                <a:gd name="T106" fmla="*/ 65165 w 164"/>
                <a:gd name="T107" fmla="*/ 41229 h 104"/>
                <a:gd name="T108" fmla="*/ 65165 w 164"/>
                <a:gd name="T109" fmla="*/ 58737 h 1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9" name="Freeform 197">
              <a:extLst>
                <a:ext uri="{FF2B5EF4-FFF2-40B4-BE49-F238E27FC236}">
                  <a16:creationId xmlns:a16="http://schemas.microsoft.com/office/drawing/2014/main" id="{CDFA78EB-BEFB-4A11-8C02-192BB95F4DCF}"/>
                </a:ext>
              </a:extLst>
            </p:cNvPr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4060826" y="5400675"/>
              <a:ext cx="23813" cy="57150"/>
            </a:xfrm>
            <a:custGeom>
              <a:avLst/>
              <a:gdLst>
                <a:gd name="T0" fmla="*/ 0 w 53"/>
                <a:gd name="T1" fmla="*/ 24063 h 19"/>
                <a:gd name="T2" fmla="*/ 3145 w 53"/>
                <a:gd name="T3" fmla="*/ 39103 h 19"/>
                <a:gd name="T4" fmla="*/ 6290 w 53"/>
                <a:gd name="T5" fmla="*/ 51134 h 19"/>
                <a:gd name="T6" fmla="*/ 9885 w 53"/>
                <a:gd name="T7" fmla="*/ 57150 h 19"/>
                <a:gd name="T8" fmla="*/ 13030 w 53"/>
                <a:gd name="T9" fmla="*/ 57150 h 19"/>
                <a:gd name="T10" fmla="*/ 15726 w 53"/>
                <a:gd name="T11" fmla="*/ 54142 h 19"/>
                <a:gd name="T12" fmla="*/ 18871 w 53"/>
                <a:gd name="T13" fmla="*/ 45118 h 19"/>
                <a:gd name="T14" fmla="*/ 21117 w 53"/>
                <a:gd name="T15" fmla="*/ 36095 h 19"/>
                <a:gd name="T16" fmla="*/ 23813 w 53"/>
                <a:gd name="T17" fmla="*/ 24063 h 19"/>
                <a:gd name="T18" fmla="*/ 21117 w 53"/>
                <a:gd name="T19" fmla="*/ 15039 h 19"/>
                <a:gd name="T20" fmla="*/ 18871 w 53"/>
                <a:gd name="T21" fmla="*/ 6016 h 19"/>
                <a:gd name="T22" fmla="*/ 15726 w 53"/>
                <a:gd name="T23" fmla="*/ 3008 h 19"/>
                <a:gd name="T24" fmla="*/ 13030 w 53"/>
                <a:gd name="T25" fmla="*/ 0 h 19"/>
                <a:gd name="T26" fmla="*/ 9885 w 53"/>
                <a:gd name="T27" fmla="*/ 0 h 19"/>
                <a:gd name="T28" fmla="*/ 6290 w 53"/>
                <a:gd name="T29" fmla="*/ 3008 h 19"/>
                <a:gd name="T30" fmla="*/ 3145 w 53"/>
                <a:gd name="T31" fmla="*/ 9024 h 19"/>
                <a:gd name="T32" fmla="*/ 0 w 53"/>
                <a:gd name="T33" fmla="*/ 24063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0" name="Freeform 198">
              <a:extLst>
                <a:ext uri="{FF2B5EF4-FFF2-40B4-BE49-F238E27FC236}">
                  <a16:creationId xmlns:a16="http://schemas.microsoft.com/office/drawing/2014/main" id="{F71F69A0-F2E6-4D0F-90F8-E5DC5E7A435C}"/>
                </a:ext>
              </a:extLst>
            </p:cNvPr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4025901" y="5380039"/>
              <a:ext cx="34925" cy="58737"/>
            </a:xfrm>
            <a:custGeom>
              <a:avLst/>
              <a:gdLst>
                <a:gd name="T0" fmla="*/ 0 w 80"/>
                <a:gd name="T1" fmla="*/ 0 h 18"/>
                <a:gd name="T2" fmla="*/ 437 w 80"/>
                <a:gd name="T3" fmla="*/ 19579 h 18"/>
                <a:gd name="T4" fmla="*/ 2183 w 80"/>
                <a:gd name="T5" fmla="*/ 39158 h 18"/>
                <a:gd name="T6" fmla="*/ 3493 w 80"/>
                <a:gd name="T7" fmla="*/ 45684 h 18"/>
                <a:gd name="T8" fmla="*/ 4802 w 80"/>
                <a:gd name="T9" fmla="*/ 52211 h 18"/>
                <a:gd name="T10" fmla="*/ 6548 w 80"/>
                <a:gd name="T11" fmla="*/ 58737 h 18"/>
                <a:gd name="T12" fmla="*/ 8731 w 80"/>
                <a:gd name="T13" fmla="*/ 58737 h 18"/>
                <a:gd name="T14" fmla="*/ 9604 w 80"/>
                <a:gd name="T15" fmla="*/ 48948 h 18"/>
                <a:gd name="T16" fmla="*/ 10478 w 80"/>
                <a:gd name="T17" fmla="*/ 42421 h 18"/>
                <a:gd name="T18" fmla="*/ 11351 w 80"/>
                <a:gd name="T19" fmla="*/ 35895 h 18"/>
                <a:gd name="T20" fmla="*/ 13533 w 80"/>
                <a:gd name="T21" fmla="*/ 32632 h 18"/>
                <a:gd name="T22" fmla="*/ 16589 w 80"/>
                <a:gd name="T23" fmla="*/ 26105 h 18"/>
                <a:gd name="T24" fmla="*/ 20518 w 80"/>
                <a:gd name="T25" fmla="*/ 22842 h 18"/>
                <a:gd name="T26" fmla="*/ 24884 w 80"/>
                <a:gd name="T27" fmla="*/ 22842 h 18"/>
                <a:gd name="T28" fmla="*/ 28813 w 80"/>
                <a:gd name="T29" fmla="*/ 19579 h 18"/>
                <a:gd name="T30" fmla="*/ 30559 w 80"/>
                <a:gd name="T31" fmla="*/ 16316 h 18"/>
                <a:gd name="T32" fmla="*/ 32306 w 80"/>
                <a:gd name="T33" fmla="*/ 13053 h 18"/>
                <a:gd name="T34" fmla="*/ 33615 w 80"/>
                <a:gd name="T35" fmla="*/ 6526 h 18"/>
                <a:gd name="T36" fmla="*/ 34925 w 80"/>
                <a:gd name="T37" fmla="*/ 0 h 18"/>
                <a:gd name="T38" fmla="*/ 0 w 80"/>
                <a:gd name="T39" fmla="*/ 0 h 1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1" name="Freeform 199">
              <a:extLst>
                <a:ext uri="{FF2B5EF4-FFF2-40B4-BE49-F238E27FC236}">
                  <a16:creationId xmlns:a16="http://schemas.microsoft.com/office/drawing/2014/main" id="{C0BA71DE-58C8-4C6E-970B-769E05CEB05B}"/>
                </a:ext>
              </a:extLst>
            </p:cNvPr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4025901" y="5359401"/>
              <a:ext cx="22225" cy="60325"/>
            </a:xfrm>
            <a:custGeom>
              <a:avLst/>
              <a:gdLst>
                <a:gd name="T0" fmla="*/ 9663 w 46"/>
                <a:gd name="T1" fmla="*/ 0 h 27"/>
                <a:gd name="T2" fmla="*/ 0 w 46"/>
                <a:gd name="T3" fmla="*/ 40217 h 27"/>
                <a:gd name="T4" fmla="*/ 4348 w 46"/>
                <a:gd name="T5" fmla="*/ 49154 h 27"/>
                <a:gd name="T6" fmla="*/ 7730 w 46"/>
                <a:gd name="T7" fmla="*/ 55856 h 27"/>
                <a:gd name="T8" fmla="*/ 11113 w 46"/>
                <a:gd name="T9" fmla="*/ 60325 h 27"/>
                <a:gd name="T10" fmla="*/ 14011 w 46"/>
                <a:gd name="T11" fmla="*/ 60325 h 27"/>
                <a:gd name="T12" fmla="*/ 15944 w 46"/>
                <a:gd name="T13" fmla="*/ 60325 h 27"/>
                <a:gd name="T14" fmla="*/ 17877 w 46"/>
                <a:gd name="T15" fmla="*/ 55856 h 27"/>
                <a:gd name="T16" fmla="*/ 20292 w 46"/>
                <a:gd name="T17" fmla="*/ 49154 h 27"/>
                <a:gd name="T18" fmla="*/ 22225 w 46"/>
                <a:gd name="T19" fmla="*/ 40217 h 27"/>
                <a:gd name="T20" fmla="*/ 19809 w 46"/>
                <a:gd name="T21" fmla="*/ 35748 h 27"/>
                <a:gd name="T22" fmla="*/ 15944 w 46"/>
                <a:gd name="T23" fmla="*/ 24577 h 27"/>
                <a:gd name="T24" fmla="*/ 12562 w 46"/>
                <a:gd name="T25" fmla="*/ 11171 h 27"/>
                <a:gd name="T26" fmla="*/ 9663 w 46"/>
                <a:gd name="T27" fmla="*/ 0 h 2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2" name="Freeform 200">
              <a:extLst>
                <a:ext uri="{FF2B5EF4-FFF2-40B4-BE49-F238E27FC236}">
                  <a16:creationId xmlns:a16="http://schemas.microsoft.com/office/drawing/2014/main" id="{576FECEA-E5D2-423D-8732-9558200F52E3}"/>
                </a:ext>
              </a:extLst>
            </p:cNvPr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3995738" y="5353051"/>
              <a:ext cx="25400" cy="60325"/>
            </a:xfrm>
            <a:custGeom>
              <a:avLst/>
              <a:gdLst>
                <a:gd name="T0" fmla="*/ 15993 w 54"/>
                <a:gd name="T1" fmla="*/ 0 h 39"/>
                <a:gd name="T2" fmla="*/ 9407 w 54"/>
                <a:gd name="T3" fmla="*/ 6187 h 39"/>
                <a:gd name="T4" fmla="*/ 4704 w 54"/>
                <a:gd name="T5" fmla="*/ 15468 h 39"/>
                <a:gd name="T6" fmla="*/ 2822 w 54"/>
                <a:gd name="T7" fmla="*/ 20108 h 39"/>
                <a:gd name="T8" fmla="*/ 1881 w 54"/>
                <a:gd name="T9" fmla="*/ 24749 h 39"/>
                <a:gd name="T10" fmla="*/ 941 w 54"/>
                <a:gd name="T11" fmla="*/ 30936 h 39"/>
                <a:gd name="T12" fmla="*/ 0 w 54"/>
                <a:gd name="T13" fmla="*/ 37123 h 39"/>
                <a:gd name="T14" fmla="*/ 941 w 54"/>
                <a:gd name="T15" fmla="*/ 43310 h 39"/>
                <a:gd name="T16" fmla="*/ 1411 w 54"/>
                <a:gd name="T17" fmla="*/ 49497 h 39"/>
                <a:gd name="T18" fmla="*/ 2352 w 54"/>
                <a:gd name="T19" fmla="*/ 54138 h 39"/>
                <a:gd name="T20" fmla="*/ 3763 w 54"/>
                <a:gd name="T21" fmla="*/ 57231 h 39"/>
                <a:gd name="T22" fmla="*/ 5174 w 54"/>
                <a:gd name="T23" fmla="*/ 58778 h 39"/>
                <a:gd name="T24" fmla="*/ 7526 w 54"/>
                <a:gd name="T25" fmla="*/ 60325 h 39"/>
                <a:gd name="T26" fmla="*/ 9407 w 54"/>
                <a:gd name="T27" fmla="*/ 60325 h 39"/>
                <a:gd name="T28" fmla="*/ 11759 w 54"/>
                <a:gd name="T29" fmla="*/ 60325 h 39"/>
                <a:gd name="T30" fmla="*/ 14111 w 54"/>
                <a:gd name="T31" fmla="*/ 58778 h 39"/>
                <a:gd name="T32" fmla="*/ 15993 w 54"/>
                <a:gd name="T33" fmla="*/ 57231 h 39"/>
                <a:gd name="T34" fmla="*/ 18344 w 54"/>
                <a:gd name="T35" fmla="*/ 54138 h 39"/>
                <a:gd name="T36" fmla="*/ 20226 w 54"/>
                <a:gd name="T37" fmla="*/ 51044 h 39"/>
                <a:gd name="T38" fmla="*/ 22107 w 54"/>
                <a:gd name="T39" fmla="*/ 46404 h 39"/>
                <a:gd name="T40" fmla="*/ 23519 w 54"/>
                <a:gd name="T41" fmla="*/ 40217 h 39"/>
                <a:gd name="T42" fmla="*/ 24459 w 54"/>
                <a:gd name="T43" fmla="*/ 34029 h 39"/>
                <a:gd name="T44" fmla="*/ 25400 w 54"/>
                <a:gd name="T45" fmla="*/ 27842 h 39"/>
                <a:gd name="T46" fmla="*/ 23989 w 54"/>
                <a:gd name="T47" fmla="*/ 26296 h 39"/>
                <a:gd name="T48" fmla="*/ 22578 w 54"/>
                <a:gd name="T49" fmla="*/ 24749 h 39"/>
                <a:gd name="T50" fmla="*/ 20696 w 54"/>
                <a:gd name="T51" fmla="*/ 21655 h 39"/>
                <a:gd name="T52" fmla="*/ 19756 w 54"/>
                <a:gd name="T53" fmla="*/ 17015 h 39"/>
                <a:gd name="T54" fmla="*/ 18344 w 54"/>
                <a:gd name="T55" fmla="*/ 12374 h 39"/>
                <a:gd name="T56" fmla="*/ 17404 w 54"/>
                <a:gd name="T57" fmla="*/ 7734 h 39"/>
                <a:gd name="T58" fmla="*/ 15993 w 54"/>
                <a:gd name="T59" fmla="*/ 3094 h 39"/>
                <a:gd name="T60" fmla="*/ 15993 w 54"/>
                <a:gd name="T61" fmla="*/ 0 h 3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3" name="Freeform 201">
              <a:extLst>
                <a:ext uri="{FF2B5EF4-FFF2-40B4-BE49-F238E27FC236}">
                  <a16:creationId xmlns:a16="http://schemas.microsoft.com/office/drawing/2014/main" id="{CAF112CB-BC50-42DA-BA7C-83DFCDF4645F}"/>
                </a:ext>
              </a:extLst>
            </p:cNvPr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3970339" y="5343525"/>
              <a:ext cx="28575" cy="58738"/>
            </a:xfrm>
            <a:custGeom>
              <a:avLst/>
              <a:gdLst>
                <a:gd name="T0" fmla="*/ 0 w 60"/>
                <a:gd name="T1" fmla="*/ 43075 h 15"/>
                <a:gd name="T2" fmla="*/ 4763 w 60"/>
                <a:gd name="T3" fmla="*/ 50906 h 15"/>
                <a:gd name="T4" fmla="*/ 8573 w 60"/>
                <a:gd name="T5" fmla="*/ 54822 h 15"/>
                <a:gd name="T6" fmla="*/ 12859 w 60"/>
                <a:gd name="T7" fmla="*/ 58738 h 15"/>
                <a:gd name="T8" fmla="*/ 16669 w 60"/>
                <a:gd name="T9" fmla="*/ 58738 h 15"/>
                <a:gd name="T10" fmla="*/ 19526 w 60"/>
                <a:gd name="T11" fmla="*/ 54822 h 15"/>
                <a:gd name="T12" fmla="*/ 22860 w 60"/>
                <a:gd name="T13" fmla="*/ 46990 h 15"/>
                <a:gd name="T14" fmla="*/ 26194 w 60"/>
                <a:gd name="T15" fmla="*/ 35243 h 15"/>
                <a:gd name="T16" fmla="*/ 28575 w 60"/>
                <a:gd name="T17" fmla="*/ 19579 h 15"/>
                <a:gd name="T18" fmla="*/ 27146 w 60"/>
                <a:gd name="T19" fmla="*/ 11748 h 15"/>
                <a:gd name="T20" fmla="*/ 25718 w 60"/>
                <a:gd name="T21" fmla="*/ 0 h 15"/>
                <a:gd name="T22" fmla="*/ 24289 w 60"/>
                <a:gd name="T23" fmla="*/ 0 h 15"/>
                <a:gd name="T24" fmla="*/ 22384 w 60"/>
                <a:gd name="T25" fmla="*/ 0 h 15"/>
                <a:gd name="T26" fmla="*/ 19050 w 60"/>
                <a:gd name="T27" fmla="*/ 0 h 15"/>
                <a:gd name="T28" fmla="*/ 15716 w 60"/>
                <a:gd name="T29" fmla="*/ 11748 h 15"/>
                <a:gd name="T30" fmla="*/ 11430 w 60"/>
                <a:gd name="T31" fmla="*/ 23495 h 15"/>
                <a:gd name="T32" fmla="*/ 7620 w 60"/>
                <a:gd name="T33" fmla="*/ 31327 h 15"/>
                <a:gd name="T34" fmla="*/ 3334 w 60"/>
                <a:gd name="T35" fmla="*/ 39159 h 15"/>
                <a:gd name="T36" fmla="*/ 0 w 60"/>
                <a:gd name="T37" fmla="*/ 43075 h 1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4" name="Freeform 202">
              <a:extLst>
                <a:ext uri="{FF2B5EF4-FFF2-40B4-BE49-F238E27FC236}">
                  <a16:creationId xmlns:a16="http://schemas.microsoft.com/office/drawing/2014/main" id="{3F59DE06-6F7A-47F9-88A2-0FE521606866}"/>
                </a:ext>
              </a:extLst>
            </p:cNvPr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3946525" y="5330825"/>
              <a:ext cx="33338" cy="57150"/>
            </a:xfrm>
            <a:custGeom>
              <a:avLst/>
              <a:gdLst>
                <a:gd name="T0" fmla="*/ 16880 w 79"/>
                <a:gd name="T1" fmla="*/ 0 h 32"/>
                <a:gd name="T2" fmla="*/ 14348 w 79"/>
                <a:gd name="T3" fmla="*/ 1786 h 32"/>
                <a:gd name="T4" fmla="*/ 12660 w 79"/>
                <a:gd name="T5" fmla="*/ 3572 h 32"/>
                <a:gd name="T6" fmla="*/ 10550 w 79"/>
                <a:gd name="T7" fmla="*/ 7144 h 32"/>
                <a:gd name="T8" fmla="*/ 8440 w 79"/>
                <a:gd name="T9" fmla="*/ 10716 h 32"/>
                <a:gd name="T10" fmla="*/ 6330 w 79"/>
                <a:gd name="T11" fmla="*/ 16073 h 32"/>
                <a:gd name="T12" fmla="*/ 4220 w 79"/>
                <a:gd name="T13" fmla="*/ 19645 h 32"/>
                <a:gd name="T14" fmla="*/ 2110 w 79"/>
                <a:gd name="T15" fmla="*/ 21431 h 32"/>
                <a:gd name="T16" fmla="*/ 0 w 79"/>
                <a:gd name="T17" fmla="*/ 23217 h 32"/>
                <a:gd name="T18" fmla="*/ 2110 w 79"/>
                <a:gd name="T19" fmla="*/ 37505 h 32"/>
                <a:gd name="T20" fmla="*/ 4220 w 79"/>
                <a:gd name="T21" fmla="*/ 46434 h 32"/>
                <a:gd name="T22" fmla="*/ 5064 w 79"/>
                <a:gd name="T23" fmla="*/ 51792 h 32"/>
                <a:gd name="T24" fmla="*/ 6330 w 79"/>
                <a:gd name="T25" fmla="*/ 55364 h 32"/>
                <a:gd name="T26" fmla="*/ 7596 w 79"/>
                <a:gd name="T27" fmla="*/ 55364 h 32"/>
                <a:gd name="T28" fmla="*/ 8440 w 79"/>
                <a:gd name="T29" fmla="*/ 57150 h 32"/>
                <a:gd name="T30" fmla="*/ 11394 w 79"/>
                <a:gd name="T31" fmla="*/ 55364 h 32"/>
                <a:gd name="T32" fmla="*/ 14348 w 79"/>
                <a:gd name="T33" fmla="*/ 53578 h 32"/>
                <a:gd name="T34" fmla="*/ 17302 w 79"/>
                <a:gd name="T35" fmla="*/ 48220 h 32"/>
                <a:gd name="T36" fmla="*/ 20256 w 79"/>
                <a:gd name="T37" fmla="*/ 42863 h 32"/>
                <a:gd name="T38" fmla="*/ 26164 w 79"/>
                <a:gd name="T39" fmla="*/ 32147 h 32"/>
                <a:gd name="T40" fmla="*/ 33338 w 79"/>
                <a:gd name="T41" fmla="*/ 23217 h 32"/>
                <a:gd name="T42" fmla="*/ 28274 w 79"/>
                <a:gd name="T43" fmla="*/ 10716 h 32"/>
                <a:gd name="T44" fmla="*/ 24476 w 79"/>
                <a:gd name="T45" fmla="*/ 3572 h 32"/>
                <a:gd name="T46" fmla="*/ 20678 w 79"/>
                <a:gd name="T47" fmla="*/ 1786 h 32"/>
                <a:gd name="T48" fmla="*/ 16880 w 79"/>
                <a:gd name="T49" fmla="*/ 0 h 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5" name="Freeform 203">
              <a:extLst>
                <a:ext uri="{FF2B5EF4-FFF2-40B4-BE49-F238E27FC236}">
                  <a16:creationId xmlns:a16="http://schemas.microsoft.com/office/drawing/2014/main" id="{17ACAEA3-E1DD-48FA-9CE5-03829EB9D9EB}"/>
                </a:ext>
              </a:extLst>
            </p:cNvPr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3940176" y="5311775"/>
              <a:ext cx="30163" cy="57150"/>
            </a:xfrm>
            <a:custGeom>
              <a:avLst/>
              <a:gdLst>
                <a:gd name="T0" fmla="*/ 15082 w 66"/>
                <a:gd name="T1" fmla="*/ 0 h 19"/>
                <a:gd name="T2" fmla="*/ 11425 w 66"/>
                <a:gd name="T3" fmla="*/ 3008 h 19"/>
                <a:gd name="T4" fmla="*/ 8683 w 66"/>
                <a:gd name="T5" fmla="*/ 6016 h 19"/>
                <a:gd name="T6" fmla="*/ 5941 w 66"/>
                <a:gd name="T7" fmla="*/ 12032 h 19"/>
                <a:gd name="T8" fmla="*/ 4113 w 66"/>
                <a:gd name="T9" fmla="*/ 21055 h 19"/>
                <a:gd name="T10" fmla="*/ 2285 w 66"/>
                <a:gd name="T11" fmla="*/ 33087 h 19"/>
                <a:gd name="T12" fmla="*/ 914 w 66"/>
                <a:gd name="T13" fmla="*/ 42111 h 19"/>
                <a:gd name="T14" fmla="*/ 0 w 66"/>
                <a:gd name="T15" fmla="*/ 51134 h 19"/>
                <a:gd name="T16" fmla="*/ 0 w 66"/>
                <a:gd name="T17" fmla="*/ 57150 h 19"/>
                <a:gd name="T18" fmla="*/ 8683 w 66"/>
                <a:gd name="T19" fmla="*/ 57150 h 19"/>
                <a:gd name="T20" fmla="*/ 17367 w 66"/>
                <a:gd name="T21" fmla="*/ 57150 h 19"/>
                <a:gd name="T22" fmla="*/ 21023 w 66"/>
                <a:gd name="T23" fmla="*/ 54142 h 19"/>
                <a:gd name="T24" fmla="*/ 24679 w 66"/>
                <a:gd name="T25" fmla="*/ 51134 h 19"/>
                <a:gd name="T26" fmla="*/ 27878 w 66"/>
                <a:gd name="T27" fmla="*/ 45118 h 19"/>
                <a:gd name="T28" fmla="*/ 30163 w 66"/>
                <a:gd name="T29" fmla="*/ 39103 h 19"/>
                <a:gd name="T30" fmla="*/ 26050 w 66"/>
                <a:gd name="T31" fmla="*/ 24063 h 19"/>
                <a:gd name="T32" fmla="*/ 22851 w 66"/>
                <a:gd name="T33" fmla="*/ 12032 h 19"/>
                <a:gd name="T34" fmla="*/ 19195 w 66"/>
                <a:gd name="T35" fmla="*/ 3008 h 19"/>
                <a:gd name="T36" fmla="*/ 15082 w 66"/>
                <a:gd name="T37" fmla="*/ 0 h 1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6" name="Freeform 204">
              <a:extLst>
                <a:ext uri="{FF2B5EF4-FFF2-40B4-BE49-F238E27FC236}">
                  <a16:creationId xmlns:a16="http://schemas.microsoft.com/office/drawing/2014/main" id="{5FC27266-6F61-40E1-ABE2-35448E046DDA}"/>
                </a:ext>
              </a:extLst>
            </p:cNvPr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3840163" y="5002214"/>
              <a:ext cx="25400" cy="60325"/>
            </a:xfrm>
            <a:custGeom>
              <a:avLst/>
              <a:gdLst>
                <a:gd name="T0" fmla="*/ 6230 w 53"/>
                <a:gd name="T1" fmla="*/ 0 h 80"/>
                <a:gd name="T2" fmla="*/ 3834 w 53"/>
                <a:gd name="T3" fmla="*/ 3770 h 80"/>
                <a:gd name="T4" fmla="*/ 1917 w 53"/>
                <a:gd name="T5" fmla="*/ 7541 h 80"/>
                <a:gd name="T6" fmla="*/ 958 w 53"/>
                <a:gd name="T7" fmla="*/ 9803 h 80"/>
                <a:gd name="T8" fmla="*/ 479 w 53"/>
                <a:gd name="T9" fmla="*/ 12065 h 80"/>
                <a:gd name="T10" fmla="*/ 0 w 53"/>
                <a:gd name="T11" fmla="*/ 15081 h 80"/>
                <a:gd name="T12" fmla="*/ 0 w 53"/>
                <a:gd name="T13" fmla="*/ 18852 h 80"/>
                <a:gd name="T14" fmla="*/ 0 w 53"/>
                <a:gd name="T15" fmla="*/ 22622 h 80"/>
                <a:gd name="T16" fmla="*/ 958 w 53"/>
                <a:gd name="T17" fmla="*/ 29408 h 80"/>
                <a:gd name="T18" fmla="*/ 2875 w 53"/>
                <a:gd name="T19" fmla="*/ 36195 h 80"/>
                <a:gd name="T20" fmla="*/ 4313 w 53"/>
                <a:gd name="T21" fmla="*/ 42982 h 80"/>
                <a:gd name="T22" fmla="*/ 6230 w 53"/>
                <a:gd name="T23" fmla="*/ 49768 h 80"/>
                <a:gd name="T24" fmla="*/ 9585 w 53"/>
                <a:gd name="T25" fmla="*/ 55047 h 80"/>
                <a:gd name="T26" fmla="*/ 10543 w 53"/>
                <a:gd name="T27" fmla="*/ 57309 h 80"/>
                <a:gd name="T28" fmla="*/ 12460 w 53"/>
                <a:gd name="T29" fmla="*/ 58817 h 80"/>
                <a:gd name="T30" fmla="*/ 14377 w 53"/>
                <a:gd name="T31" fmla="*/ 60325 h 80"/>
                <a:gd name="T32" fmla="*/ 15815 w 53"/>
                <a:gd name="T33" fmla="*/ 60325 h 80"/>
                <a:gd name="T34" fmla="*/ 17253 w 53"/>
                <a:gd name="T35" fmla="*/ 59571 h 80"/>
                <a:gd name="T36" fmla="*/ 18211 w 53"/>
                <a:gd name="T37" fmla="*/ 58817 h 80"/>
                <a:gd name="T38" fmla="*/ 20128 w 53"/>
                <a:gd name="T39" fmla="*/ 57309 h 80"/>
                <a:gd name="T40" fmla="*/ 21566 w 53"/>
                <a:gd name="T41" fmla="*/ 55047 h 80"/>
                <a:gd name="T42" fmla="*/ 23004 w 53"/>
                <a:gd name="T43" fmla="*/ 52784 h 80"/>
                <a:gd name="T44" fmla="*/ 24442 w 53"/>
                <a:gd name="T45" fmla="*/ 50522 h 80"/>
                <a:gd name="T46" fmla="*/ 25400 w 53"/>
                <a:gd name="T47" fmla="*/ 48260 h 80"/>
                <a:gd name="T48" fmla="*/ 25400 w 53"/>
                <a:gd name="T49" fmla="*/ 46752 h 80"/>
                <a:gd name="T50" fmla="*/ 24921 w 53"/>
                <a:gd name="T51" fmla="*/ 40719 h 80"/>
                <a:gd name="T52" fmla="*/ 23483 w 53"/>
                <a:gd name="T53" fmla="*/ 35441 h 80"/>
                <a:gd name="T54" fmla="*/ 22045 w 53"/>
                <a:gd name="T55" fmla="*/ 31671 h 80"/>
                <a:gd name="T56" fmla="*/ 20608 w 53"/>
                <a:gd name="T57" fmla="*/ 27900 h 80"/>
                <a:gd name="T58" fmla="*/ 19170 w 53"/>
                <a:gd name="T59" fmla="*/ 24130 h 80"/>
                <a:gd name="T60" fmla="*/ 17253 w 53"/>
                <a:gd name="T61" fmla="*/ 20360 h 80"/>
                <a:gd name="T62" fmla="*/ 16294 w 53"/>
                <a:gd name="T63" fmla="*/ 15081 h 80"/>
                <a:gd name="T64" fmla="*/ 15815 w 53"/>
                <a:gd name="T65" fmla="*/ 9049 h 80"/>
                <a:gd name="T66" fmla="*/ 15815 w 53"/>
                <a:gd name="T67" fmla="*/ 7541 h 80"/>
                <a:gd name="T68" fmla="*/ 14857 w 53"/>
                <a:gd name="T69" fmla="*/ 6033 h 80"/>
                <a:gd name="T70" fmla="*/ 13898 w 53"/>
                <a:gd name="T71" fmla="*/ 4524 h 80"/>
                <a:gd name="T72" fmla="*/ 11981 w 53"/>
                <a:gd name="T73" fmla="*/ 3016 h 80"/>
                <a:gd name="T74" fmla="*/ 9106 w 53"/>
                <a:gd name="T75" fmla="*/ 754 h 80"/>
                <a:gd name="T76" fmla="*/ 6230 w 53"/>
                <a:gd name="T77" fmla="*/ 0 h 8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7" name="Freeform 205">
              <a:extLst>
                <a:ext uri="{FF2B5EF4-FFF2-40B4-BE49-F238E27FC236}">
                  <a16:creationId xmlns:a16="http://schemas.microsoft.com/office/drawing/2014/main" id="{B2D76AFC-FF1C-4B92-A90D-70EF3948164B}"/>
                </a:ext>
              </a:extLst>
            </p:cNvPr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3870326" y="5097464"/>
              <a:ext cx="17463" cy="53975"/>
            </a:xfrm>
            <a:custGeom>
              <a:avLst/>
              <a:gdLst>
                <a:gd name="T0" fmla="*/ 0 w 41"/>
                <a:gd name="T1" fmla="*/ 53975 h 43"/>
                <a:gd name="T2" fmla="*/ 11500 w 41"/>
                <a:gd name="T3" fmla="*/ 53975 h 43"/>
                <a:gd name="T4" fmla="*/ 17463 w 41"/>
                <a:gd name="T5" fmla="*/ 30126 h 43"/>
                <a:gd name="T6" fmla="*/ 16185 w 41"/>
                <a:gd name="T7" fmla="*/ 15063 h 43"/>
                <a:gd name="T8" fmla="*/ 14482 w 41"/>
                <a:gd name="T9" fmla="*/ 0 h 43"/>
                <a:gd name="T10" fmla="*/ 11500 w 41"/>
                <a:gd name="T11" fmla="*/ 5021 h 43"/>
                <a:gd name="T12" fmla="*/ 8519 w 41"/>
                <a:gd name="T13" fmla="*/ 11297 h 43"/>
                <a:gd name="T14" fmla="*/ 6389 w 41"/>
                <a:gd name="T15" fmla="*/ 17573 h 43"/>
                <a:gd name="T16" fmla="*/ 4259 w 41"/>
                <a:gd name="T17" fmla="*/ 23849 h 43"/>
                <a:gd name="T18" fmla="*/ 2556 w 41"/>
                <a:gd name="T19" fmla="*/ 30126 h 43"/>
                <a:gd name="T20" fmla="*/ 1278 w 41"/>
                <a:gd name="T21" fmla="*/ 37657 h 43"/>
                <a:gd name="T22" fmla="*/ 426 w 41"/>
                <a:gd name="T23" fmla="*/ 46444 h 43"/>
                <a:gd name="T24" fmla="*/ 0 w 41"/>
                <a:gd name="T25" fmla="*/ 53975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8" name="Freeform 206">
              <a:extLst>
                <a:ext uri="{FF2B5EF4-FFF2-40B4-BE49-F238E27FC236}">
                  <a16:creationId xmlns:a16="http://schemas.microsoft.com/office/drawing/2014/main" id="{64BD04FF-A271-4912-ABB7-F2D0EACE1810}"/>
                </a:ext>
              </a:extLst>
            </p:cNvPr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3875089" y="5119689"/>
              <a:ext cx="7937" cy="58737"/>
            </a:xfrm>
            <a:custGeom>
              <a:avLst/>
              <a:gdLst>
                <a:gd name="T0" fmla="*/ 7937 w 20"/>
                <a:gd name="T1" fmla="*/ 0 h 24"/>
                <a:gd name="T2" fmla="*/ 0 w 20"/>
                <a:gd name="T3" fmla="*/ 0 h 24"/>
                <a:gd name="T4" fmla="*/ 397 w 20"/>
                <a:gd name="T5" fmla="*/ 12237 h 24"/>
                <a:gd name="T6" fmla="*/ 794 w 20"/>
                <a:gd name="T7" fmla="*/ 22026 h 24"/>
                <a:gd name="T8" fmla="*/ 1587 w 20"/>
                <a:gd name="T9" fmla="*/ 31816 h 24"/>
                <a:gd name="T10" fmla="*/ 2778 w 20"/>
                <a:gd name="T11" fmla="*/ 41605 h 24"/>
                <a:gd name="T12" fmla="*/ 3969 w 20"/>
                <a:gd name="T13" fmla="*/ 48948 h 24"/>
                <a:gd name="T14" fmla="*/ 5556 w 20"/>
                <a:gd name="T15" fmla="*/ 53842 h 24"/>
                <a:gd name="T16" fmla="*/ 6746 w 20"/>
                <a:gd name="T17" fmla="*/ 58737 h 24"/>
                <a:gd name="T18" fmla="*/ 7937 w 20"/>
                <a:gd name="T19" fmla="*/ 58737 h 24"/>
                <a:gd name="T20" fmla="*/ 7937 w 20"/>
                <a:gd name="T21" fmla="*/ 0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9" name="Freeform 207">
              <a:extLst>
                <a:ext uri="{FF2B5EF4-FFF2-40B4-BE49-F238E27FC236}">
                  <a16:creationId xmlns:a16="http://schemas.microsoft.com/office/drawing/2014/main" id="{5CD26AA6-5C61-4E93-8C3E-2686B21ED2A4}"/>
                </a:ext>
              </a:extLst>
            </p:cNvPr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3889376" y="5181601"/>
              <a:ext cx="17463" cy="60325"/>
            </a:xfrm>
            <a:custGeom>
              <a:avLst/>
              <a:gdLst>
                <a:gd name="T0" fmla="*/ 0 w 39"/>
                <a:gd name="T1" fmla="*/ 16835 h 43"/>
                <a:gd name="T2" fmla="*/ 896 w 39"/>
                <a:gd name="T3" fmla="*/ 23849 h 43"/>
                <a:gd name="T4" fmla="*/ 2687 w 39"/>
                <a:gd name="T5" fmla="*/ 30864 h 43"/>
                <a:gd name="T6" fmla="*/ 5373 w 39"/>
                <a:gd name="T7" fmla="*/ 37878 h 43"/>
                <a:gd name="T8" fmla="*/ 7164 w 39"/>
                <a:gd name="T9" fmla="*/ 44893 h 43"/>
                <a:gd name="T10" fmla="*/ 10299 w 39"/>
                <a:gd name="T11" fmla="*/ 51908 h 43"/>
                <a:gd name="T12" fmla="*/ 12538 w 39"/>
                <a:gd name="T13" fmla="*/ 56116 h 43"/>
                <a:gd name="T14" fmla="*/ 15224 w 39"/>
                <a:gd name="T15" fmla="*/ 60325 h 43"/>
                <a:gd name="T16" fmla="*/ 17463 w 39"/>
                <a:gd name="T17" fmla="*/ 60325 h 43"/>
                <a:gd name="T18" fmla="*/ 17015 w 39"/>
                <a:gd name="T19" fmla="*/ 44893 h 43"/>
                <a:gd name="T20" fmla="*/ 16120 w 39"/>
                <a:gd name="T21" fmla="*/ 26655 h 43"/>
                <a:gd name="T22" fmla="*/ 15224 w 39"/>
                <a:gd name="T23" fmla="*/ 11223 h 43"/>
                <a:gd name="T24" fmla="*/ 14329 w 39"/>
                <a:gd name="T25" fmla="*/ 0 h 43"/>
                <a:gd name="T26" fmla="*/ 8508 w 39"/>
                <a:gd name="T27" fmla="*/ 4209 h 43"/>
                <a:gd name="T28" fmla="*/ 2687 w 39"/>
                <a:gd name="T29" fmla="*/ 8417 h 43"/>
                <a:gd name="T30" fmla="*/ 0 w 39"/>
                <a:gd name="T31" fmla="*/ 16835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90" name="Freeform 208">
              <a:extLst>
                <a:ext uri="{FF2B5EF4-FFF2-40B4-BE49-F238E27FC236}">
                  <a16:creationId xmlns:a16="http://schemas.microsoft.com/office/drawing/2014/main" id="{8E9A3F18-0094-4517-8829-5D51E09CAC02}"/>
                </a:ext>
              </a:extLst>
            </p:cNvPr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3876675" y="5194300"/>
              <a:ext cx="26988" cy="58738"/>
            </a:xfrm>
            <a:custGeom>
              <a:avLst/>
              <a:gdLst>
                <a:gd name="T0" fmla="*/ 14230 w 55"/>
                <a:gd name="T1" fmla="*/ 24632 h 62"/>
                <a:gd name="T2" fmla="*/ 3926 w 55"/>
                <a:gd name="T3" fmla="*/ 0 h 62"/>
                <a:gd name="T4" fmla="*/ 1963 w 55"/>
                <a:gd name="T5" fmla="*/ 4737 h 62"/>
                <a:gd name="T6" fmla="*/ 491 w 55"/>
                <a:gd name="T7" fmla="*/ 10421 h 62"/>
                <a:gd name="T8" fmla="*/ 0 w 55"/>
                <a:gd name="T9" fmla="*/ 15158 h 62"/>
                <a:gd name="T10" fmla="*/ 0 w 55"/>
                <a:gd name="T11" fmla="*/ 19895 h 62"/>
                <a:gd name="T12" fmla="*/ 981 w 55"/>
                <a:gd name="T13" fmla="*/ 24632 h 62"/>
                <a:gd name="T14" fmla="*/ 1963 w 55"/>
                <a:gd name="T15" fmla="*/ 29369 h 62"/>
                <a:gd name="T16" fmla="*/ 3926 w 55"/>
                <a:gd name="T17" fmla="*/ 34106 h 62"/>
                <a:gd name="T18" fmla="*/ 5398 w 55"/>
                <a:gd name="T19" fmla="*/ 38843 h 62"/>
                <a:gd name="T20" fmla="*/ 7851 w 55"/>
                <a:gd name="T21" fmla="*/ 42632 h 62"/>
                <a:gd name="T22" fmla="*/ 10305 w 55"/>
                <a:gd name="T23" fmla="*/ 46422 h 62"/>
                <a:gd name="T24" fmla="*/ 12758 w 55"/>
                <a:gd name="T25" fmla="*/ 50212 h 62"/>
                <a:gd name="T26" fmla="*/ 16193 w 55"/>
                <a:gd name="T27" fmla="*/ 53054 h 62"/>
                <a:gd name="T28" fmla="*/ 18646 w 55"/>
                <a:gd name="T29" fmla="*/ 54948 h 62"/>
                <a:gd name="T30" fmla="*/ 21590 w 55"/>
                <a:gd name="T31" fmla="*/ 56843 h 62"/>
                <a:gd name="T32" fmla="*/ 24044 w 55"/>
                <a:gd name="T33" fmla="*/ 57791 h 62"/>
                <a:gd name="T34" fmla="*/ 26988 w 55"/>
                <a:gd name="T35" fmla="*/ 58738 h 62"/>
                <a:gd name="T36" fmla="*/ 26497 w 55"/>
                <a:gd name="T37" fmla="*/ 50212 h 62"/>
                <a:gd name="T38" fmla="*/ 26007 w 55"/>
                <a:gd name="T39" fmla="*/ 43580 h 62"/>
                <a:gd name="T40" fmla="*/ 24044 w 55"/>
                <a:gd name="T41" fmla="*/ 37895 h 62"/>
                <a:gd name="T42" fmla="*/ 22572 w 55"/>
                <a:gd name="T43" fmla="*/ 33159 h 62"/>
                <a:gd name="T44" fmla="*/ 21100 w 55"/>
                <a:gd name="T45" fmla="*/ 29369 h 62"/>
                <a:gd name="T46" fmla="*/ 18646 w 55"/>
                <a:gd name="T47" fmla="*/ 26527 h 62"/>
                <a:gd name="T48" fmla="*/ 16193 w 55"/>
                <a:gd name="T49" fmla="*/ 24632 h 62"/>
                <a:gd name="T50" fmla="*/ 14230 w 55"/>
                <a:gd name="T51" fmla="*/ 24632 h 6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91" name="Freeform 209">
              <a:extLst>
                <a:ext uri="{FF2B5EF4-FFF2-40B4-BE49-F238E27FC236}">
                  <a16:creationId xmlns:a16="http://schemas.microsoft.com/office/drawing/2014/main" id="{F023B017-3817-46C0-9853-B502ADF60DC6}"/>
                </a:ext>
              </a:extLst>
            </p:cNvPr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3906838" y="5227639"/>
              <a:ext cx="11112" cy="58737"/>
            </a:xfrm>
            <a:custGeom>
              <a:avLst/>
              <a:gdLst>
                <a:gd name="T0" fmla="*/ 10477 w 35"/>
                <a:gd name="T1" fmla="*/ 17758 h 43"/>
                <a:gd name="T2" fmla="*/ 2222 w 35"/>
                <a:gd name="T3" fmla="*/ 0 h 43"/>
                <a:gd name="T4" fmla="*/ 1270 w 35"/>
                <a:gd name="T5" fmla="*/ 10928 h 43"/>
                <a:gd name="T6" fmla="*/ 0 w 35"/>
                <a:gd name="T7" fmla="*/ 25954 h 43"/>
                <a:gd name="T8" fmla="*/ 635 w 35"/>
                <a:gd name="T9" fmla="*/ 38247 h 43"/>
                <a:gd name="T10" fmla="*/ 1587 w 35"/>
                <a:gd name="T11" fmla="*/ 49175 h 43"/>
                <a:gd name="T12" fmla="*/ 1905 w 35"/>
                <a:gd name="T13" fmla="*/ 53273 h 43"/>
                <a:gd name="T14" fmla="*/ 2540 w 35"/>
                <a:gd name="T15" fmla="*/ 56005 h 43"/>
                <a:gd name="T16" fmla="*/ 3492 w 35"/>
                <a:gd name="T17" fmla="*/ 58737 h 43"/>
                <a:gd name="T18" fmla="*/ 4445 w 35"/>
                <a:gd name="T19" fmla="*/ 58737 h 43"/>
                <a:gd name="T20" fmla="*/ 5715 w 35"/>
                <a:gd name="T21" fmla="*/ 58737 h 43"/>
                <a:gd name="T22" fmla="*/ 6985 w 35"/>
                <a:gd name="T23" fmla="*/ 57371 h 43"/>
                <a:gd name="T24" fmla="*/ 8255 w 35"/>
                <a:gd name="T25" fmla="*/ 56005 h 43"/>
                <a:gd name="T26" fmla="*/ 8890 w 35"/>
                <a:gd name="T27" fmla="*/ 53273 h 43"/>
                <a:gd name="T28" fmla="*/ 9842 w 35"/>
                <a:gd name="T29" fmla="*/ 47809 h 43"/>
                <a:gd name="T30" fmla="*/ 10477 w 35"/>
                <a:gd name="T31" fmla="*/ 40979 h 43"/>
                <a:gd name="T32" fmla="*/ 11112 w 35"/>
                <a:gd name="T33" fmla="*/ 27320 h 43"/>
                <a:gd name="T34" fmla="*/ 10477 w 35"/>
                <a:gd name="T35" fmla="*/ 17758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92" name="Freeform 210">
              <a:extLst>
                <a:ext uri="{FF2B5EF4-FFF2-40B4-BE49-F238E27FC236}">
                  <a16:creationId xmlns:a16="http://schemas.microsoft.com/office/drawing/2014/main" id="{EE8F0AE2-0E19-40BE-AADB-A2AE529E91F2}"/>
                </a:ext>
              </a:extLst>
            </p:cNvPr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3903664" y="5260976"/>
              <a:ext cx="20637" cy="55563"/>
            </a:xfrm>
            <a:custGeom>
              <a:avLst/>
              <a:gdLst>
                <a:gd name="T0" fmla="*/ 20637 w 53"/>
                <a:gd name="T1" fmla="*/ 0 h 21"/>
                <a:gd name="T2" fmla="*/ 15964 w 53"/>
                <a:gd name="T3" fmla="*/ 2646 h 21"/>
                <a:gd name="T4" fmla="*/ 12460 w 53"/>
                <a:gd name="T5" fmla="*/ 5292 h 21"/>
                <a:gd name="T6" fmla="*/ 9734 w 53"/>
                <a:gd name="T7" fmla="*/ 13229 h 21"/>
                <a:gd name="T8" fmla="*/ 8177 w 53"/>
                <a:gd name="T9" fmla="*/ 18521 h 21"/>
                <a:gd name="T10" fmla="*/ 6619 w 53"/>
                <a:gd name="T11" fmla="*/ 26459 h 21"/>
                <a:gd name="T12" fmla="*/ 5062 w 53"/>
                <a:gd name="T13" fmla="*/ 34396 h 21"/>
                <a:gd name="T14" fmla="*/ 3115 w 53"/>
                <a:gd name="T15" fmla="*/ 42334 h 21"/>
                <a:gd name="T16" fmla="*/ 0 w 53"/>
                <a:gd name="T17" fmla="*/ 47625 h 21"/>
                <a:gd name="T18" fmla="*/ 1947 w 53"/>
                <a:gd name="T19" fmla="*/ 52917 h 21"/>
                <a:gd name="T20" fmla="*/ 4283 w 53"/>
                <a:gd name="T21" fmla="*/ 55563 h 21"/>
                <a:gd name="T22" fmla="*/ 6619 w 53"/>
                <a:gd name="T23" fmla="*/ 55563 h 21"/>
                <a:gd name="T24" fmla="*/ 9345 w 53"/>
                <a:gd name="T25" fmla="*/ 55563 h 21"/>
                <a:gd name="T26" fmla="*/ 14796 w 53"/>
                <a:gd name="T27" fmla="*/ 50271 h 21"/>
                <a:gd name="T28" fmla="*/ 20637 w 53"/>
                <a:gd name="T29" fmla="*/ 47625 h 21"/>
                <a:gd name="T30" fmla="*/ 20637 w 53"/>
                <a:gd name="T31" fmla="*/ 0 h 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93" name="Freeform 211">
              <a:extLst>
                <a:ext uri="{FF2B5EF4-FFF2-40B4-BE49-F238E27FC236}">
                  <a16:creationId xmlns:a16="http://schemas.microsoft.com/office/drawing/2014/main" id="{AA346C79-64C5-4244-8BF3-E26379C2F412}"/>
                </a:ext>
              </a:extLst>
            </p:cNvPr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3927476" y="5275263"/>
              <a:ext cx="17463" cy="57150"/>
            </a:xfrm>
            <a:custGeom>
              <a:avLst/>
              <a:gdLst>
                <a:gd name="T0" fmla="*/ 8935 w 43"/>
                <a:gd name="T1" fmla="*/ 0 h 38"/>
                <a:gd name="T2" fmla="*/ 4873 w 43"/>
                <a:gd name="T3" fmla="*/ 0 h 38"/>
                <a:gd name="T4" fmla="*/ 812 w 43"/>
                <a:gd name="T5" fmla="*/ 0 h 38"/>
                <a:gd name="T6" fmla="*/ 406 w 43"/>
                <a:gd name="T7" fmla="*/ 0 h 38"/>
                <a:gd name="T8" fmla="*/ 0 w 43"/>
                <a:gd name="T9" fmla="*/ 1504 h 38"/>
                <a:gd name="T10" fmla="*/ 0 w 43"/>
                <a:gd name="T11" fmla="*/ 4512 h 38"/>
                <a:gd name="T12" fmla="*/ 0 w 43"/>
                <a:gd name="T13" fmla="*/ 9024 h 38"/>
                <a:gd name="T14" fmla="*/ 406 w 43"/>
                <a:gd name="T15" fmla="*/ 15039 h 38"/>
                <a:gd name="T16" fmla="*/ 812 w 43"/>
                <a:gd name="T17" fmla="*/ 18047 h 38"/>
                <a:gd name="T18" fmla="*/ 1218 w 43"/>
                <a:gd name="T19" fmla="*/ 27071 h 38"/>
                <a:gd name="T20" fmla="*/ 2031 w 43"/>
                <a:gd name="T21" fmla="*/ 37599 h 38"/>
                <a:gd name="T22" fmla="*/ 4061 w 43"/>
                <a:gd name="T23" fmla="*/ 45118 h 38"/>
                <a:gd name="T24" fmla="*/ 6092 w 43"/>
                <a:gd name="T25" fmla="*/ 51134 h 38"/>
                <a:gd name="T26" fmla="*/ 8528 w 43"/>
                <a:gd name="T27" fmla="*/ 55646 h 38"/>
                <a:gd name="T28" fmla="*/ 10965 w 43"/>
                <a:gd name="T29" fmla="*/ 57150 h 38"/>
                <a:gd name="T30" fmla="*/ 14214 w 43"/>
                <a:gd name="T31" fmla="*/ 57150 h 38"/>
                <a:gd name="T32" fmla="*/ 17463 w 43"/>
                <a:gd name="T33" fmla="*/ 55646 h 38"/>
                <a:gd name="T34" fmla="*/ 16245 w 43"/>
                <a:gd name="T35" fmla="*/ 43614 h 38"/>
                <a:gd name="T36" fmla="*/ 14620 w 43"/>
                <a:gd name="T37" fmla="*/ 34591 h 38"/>
                <a:gd name="T38" fmla="*/ 13402 w 43"/>
                <a:gd name="T39" fmla="*/ 25567 h 38"/>
                <a:gd name="T40" fmla="*/ 12183 w 43"/>
                <a:gd name="T41" fmla="*/ 19551 h 38"/>
                <a:gd name="T42" fmla="*/ 10965 w 43"/>
                <a:gd name="T43" fmla="*/ 15039 h 38"/>
                <a:gd name="T44" fmla="*/ 9747 w 43"/>
                <a:gd name="T45" fmla="*/ 10528 h 38"/>
                <a:gd name="T46" fmla="*/ 9341 w 43"/>
                <a:gd name="T47" fmla="*/ 6016 h 38"/>
                <a:gd name="T48" fmla="*/ 8935 w 43"/>
                <a:gd name="T49" fmla="*/ 0 h 3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94" name="Freeform 212">
              <a:extLst>
                <a:ext uri="{FF2B5EF4-FFF2-40B4-BE49-F238E27FC236}">
                  <a16:creationId xmlns:a16="http://schemas.microsoft.com/office/drawing/2014/main" id="{40C0B243-4599-4AE2-9090-38184F35E638}"/>
                </a:ext>
              </a:extLst>
            </p:cNvPr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3929063" y="5303838"/>
              <a:ext cx="6350" cy="57150"/>
            </a:xfrm>
            <a:custGeom>
              <a:avLst/>
              <a:gdLst>
                <a:gd name="T0" fmla="*/ 0 w 20"/>
                <a:gd name="T1" fmla="*/ 0 h 5"/>
                <a:gd name="T2" fmla="*/ 318 w 20"/>
                <a:gd name="T3" fmla="*/ 22860 h 5"/>
                <a:gd name="T4" fmla="*/ 635 w 20"/>
                <a:gd name="T5" fmla="*/ 34290 h 5"/>
                <a:gd name="T6" fmla="*/ 1270 w 20"/>
                <a:gd name="T7" fmla="*/ 45720 h 5"/>
                <a:gd name="T8" fmla="*/ 2223 w 20"/>
                <a:gd name="T9" fmla="*/ 57150 h 5"/>
                <a:gd name="T10" fmla="*/ 3493 w 20"/>
                <a:gd name="T11" fmla="*/ 45720 h 5"/>
                <a:gd name="T12" fmla="*/ 4445 w 20"/>
                <a:gd name="T13" fmla="*/ 34290 h 5"/>
                <a:gd name="T14" fmla="*/ 5398 w 20"/>
                <a:gd name="T15" fmla="*/ 22860 h 5"/>
                <a:gd name="T16" fmla="*/ 6350 w 20"/>
                <a:gd name="T17" fmla="*/ 0 h 5"/>
                <a:gd name="T18" fmla="*/ 0 w 20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95" name="Freeform 213">
              <a:extLst>
                <a:ext uri="{FF2B5EF4-FFF2-40B4-BE49-F238E27FC236}">
                  <a16:creationId xmlns:a16="http://schemas.microsoft.com/office/drawing/2014/main" id="{6B207F95-DF70-4FB7-9985-6CB6B9BED39E}"/>
                </a:ext>
              </a:extLst>
            </p:cNvPr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4003676" y="5373688"/>
              <a:ext cx="34925" cy="57150"/>
            </a:xfrm>
            <a:custGeom>
              <a:avLst/>
              <a:gdLst>
                <a:gd name="T0" fmla="*/ 19137 w 73"/>
                <a:gd name="T1" fmla="*/ 0 h 22"/>
                <a:gd name="T2" fmla="*/ 15310 w 73"/>
                <a:gd name="T3" fmla="*/ 2598 h 22"/>
                <a:gd name="T4" fmla="*/ 12439 w 73"/>
                <a:gd name="T5" fmla="*/ 5195 h 22"/>
                <a:gd name="T6" fmla="*/ 9568 w 73"/>
                <a:gd name="T7" fmla="*/ 12989 h 22"/>
                <a:gd name="T8" fmla="*/ 7176 w 73"/>
                <a:gd name="T9" fmla="*/ 20782 h 22"/>
                <a:gd name="T10" fmla="*/ 2871 w 73"/>
                <a:gd name="T11" fmla="*/ 36368 h 22"/>
                <a:gd name="T12" fmla="*/ 0 w 73"/>
                <a:gd name="T13" fmla="*/ 49357 h 22"/>
                <a:gd name="T14" fmla="*/ 9568 w 73"/>
                <a:gd name="T15" fmla="*/ 51955 h 22"/>
                <a:gd name="T16" fmla="*/ 18659 w 73"/>
                <a:gd name="T17" fmla="*/ 57150 h 22"/>
                <a:gd name="T18" fmla="*/ 23443 w 73"/>
                <a:gd name="T19" fmla="*/ 57150 h 22"/>
                <a:gd name="T20" fmla="*/ 27270 w 73"/>
                <a:gd name="T21" fmla="*/ 57150 h 22"/>
                <a:gd name="T22" fmla="*/ 31098 w 73"/>
                <a:gd name="T23" fmla="*/ 54552 h 22"/>
                <a:gd name="T24" fmla="*/ 34925 w 73"/>
                <a:gd name="T25" fmla="*/ 49357 h 22"/>
                <a:gd name="T26" fmla="*/ 30619 w 73"/>
                <a:gd name="T27" fmla="*/ 36368 h 22"/>
                <a:gd name="T28" fmla="*/ 26792 w 73"/>
                <a:gd name="T29" fmla="*/ 20782 h 22"/>
                <a:gd name="T30" fmla="*/ 25357 w 73"/>
                <a:gd name="T31" fmla="*/ 12989 h 22"/>
                <a:gd name="T32" fmla="*/ 23443 w 73"/>
                <a:gd name="T33" fmla="*/ 5195 h 22"/>
                <a:gd name="T34" fmla="*/ 21051 w 73"/>
                <a:gd name="T35" fmla="*/ 2598 h 22"/>
                <a:gd name="T36" fmla="*/ 19137 w 73"/>
                <a:gd name="T37" fmla="*/ 0 h 2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96" name="Freeform 214">
              <a:extLst>
                <a:ext uri="{FF2B5EF4-FFF2-40B4-BE49-F238E27FC236}">
                  <a16:creationId xmlns:a16="http://schemas.microsoft.com/office/drawing/2014/main" id="{22C746A3-75EB-4752-AAF5-296D6D96AB96}"/>
                </a:ext>
              </a:extLst>
            </p:cNvPr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4041776" y="5314951"/>
              <a:ext cx="123825" cy="100013"/>
            </a:xfrm>
            <a:custGeom>
              <a:avLst/>
              <a:gdLst>
                <a:gd name="T0" fmla="*/ 103555 w 281"/>
                <a:gd name="T1" fmla="*/ 87058 h 193"/>
                <a:gd name="T2" fmla="*/ 82844 w 281"/>
                <a:gd name="T3" fmla="*/ 88613 h 193"/>
                <a:gd name="T4" fmla="*/ 74031 w 281"/>
                <a:gd name="T5" fmla="*/ 87058 h 193"/>
                <a:gd name="T6" fmla="*/ 68302 w 281"/>
                <a:gd name="T7" fmla="*/ 84985 h 193"/>
                <a:gd name="T8" fmla="*/ 57286 w 281"/>
                <a:gd name="T9" fmla="*/ 69957 h 193"/>
                <a:gd name="T10" fmla="*/ 45828 w 281"/>
                <a:gd name="T11" fmla="*/ 48711 h 193"/>
                <a:gd name="T12" fmla="*/ 41422 w 281"/>
                <a:gd name="T13" fmla="*/ 38347 h 193"/>
                <a:gd name="T14" fmla="*/ 38337 w 281"/>
                <a:gd name="T15" fmla="*/ 26428 h 193"/>
                <a:gd name="T16" fmla="*/ 36575 w 281"/>
                <a:gd name="T17" fmla="*/ 13991 h 193"/>
                <a:gd name="T18" fmla="*/ 18948 w 281"/>
                <a:gd name="T19" fmla="*/ 0 h 193"/>
                <a:gd name="T20" fmla="*/ 12338 w 281"/>
                <a:gd name="T21" fmla="*/ 26947 h 193"/>
                <a:gd name="T22" fmla="*/ 7932 w 281"/>
                <a:gd name="T23" fmla="*/ 31610 h 193"/>
                <a:gd name="T24" fmla="*/ 2644 w 281"/>
                <a:gd name="T25" fmla="*/ 35756 h 193"/>
                <a:gd name="T26" fmla="*/ 0 w 281"/>
                <a:gd name="T27" fmla="*/ 37829 h 193"/>
                <a:gd name="T28" fmla="*/ 441 w 281"/>
                <a:gd name="T29" fmla="*/ 38865 h 193"/>
                <a:gd name="T30" fmla="*/ 3966 w 281"/>
                <a:gd name="T31" fmla="*/ 41974 h 193"/>
                <a:gd name="T32" fmla="*/ 16304 w 281"/>
                <a:gd name="T33" fmla="*/ 57520 h 193"/>
                <a:gd name="T34" fmla="*/ 19830 w 281"/>
                <a:gd name="T35" fmla="*/ 63221 h 193"/>
                <a:gd name="T36" fmla="*/ 23355 w 281"/>
                <a:gd name="T37" fmla="*/ 66848 h 193"/>
                <a:gd name="T38" fmla="*/ 27321 w 281"/>
                <a:gd name="T39" fmla="*/ 69439 h 193"/>
                <a:gd name="T40" fmla="*/ 31287 w 281"/>
                <a:gd name="T41" fmla="*/ 70475 h 193"/>
                <a:gd name="T42" fmla="*/ 33490 w 281"/>
                <a:gd name="T43" fmla="*/ 73066 h 193"/>
                <a:gd name="T44" fmla="*/ 34812 w 281"/>
                <a:gd name="T45" fmla="*/ 76694 h 193"/>
                <a:gd name="T46" fmla="*/ 37897 w 281"/>
                <a:gd name="T47" fmla="*/ 79285 h 193"/>
                <a:gd name="T48" fmla="*/ 43625 w 281"/>
                <a:gd name="T49" fmla="*/ 79803 h 193"/>
                <a:gd name="T50" fmla="*/ 46710 w 281"/>
                <a:gd name="T51" fmla="*/ 81358 h 193"/>
                <a:gd name="T52" fmla="*/ 48032 w 281"/>
                <a:gd name="T53" fmla="*/ 84467 h 193"/>
                <a:gd name="T54" fmla="*/ 48032 w 281"/>
                <a:gd name="T55" fmla="*/ 92758 h 193"/>
                <a:gd name="T56" fmla="*/ 48913 w 281"/>
                <a:gd name="T57" fmla="*/ 97940 h 193"/>
                <a:gd name="T58" fmla="*/ 50676 w 281"/>
                <a:gd name="T59" fmla="*/ 100013 h 193"/>
                <a:gd name="T60" fmla="*/ 56845 w 281"/>
                <a:gd name="T61" fmla="*/ 100013 h 193"/>
                <a:gd name="T62" fmla="*/ 72268 w 281"/>
                <a:gd name="T63" fmla="*/ 98977 h 193"/>
                <a:gd name="T64" fmla="*/ 79319 w 281"/>
                <a:gd name="T65" fmla="*/ 97940 h 193"/>
                <a:gd name="T66" fmla="*/ 84606 w 281"/>
                <a:gd name="T67" fmla="*/ 96386 h 193"/>
                <a:gd name="T68" fmla="*/ 93420 w 281"/>
                <a:gd name="T69" fmla="*/ 97422 h 193"/>
                <a:gd name="T70" fmla="*/ 123825 w 281"/>
                <a:gd name="T71" fmla="*/ 86540 h 19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97" name="Freeform 215">
              <a:extLst>
                <a:ext uri="{FF2B5EF4-FFF2-40B4-BE49-F238E27FC236}">
                  <a16:creationId xmlns:a16="http://schemas.microsoft.com/office/drawing/2014/main" id="{BF08F117-3B21-4F90-80FF-3B097C15F235}"/>
                </a:ext>
              </a:extLst>
            </p:cNvPr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3594100" y="3081339"/>
              <a:ext cx="52388" cy="58737"/>
            </a:xfrm>
            <a:custGeom>
              <a:avLst/>
              <a:gdLst>
                <a:gd name="T0" fmla="*/ 0 w 120"/>
                <a:gd name="T1" fmla="*/ 18880 h 56"/>
                <a:gd name="T2" fmla="*/ 1746 w 120"/>
                <a:gd name="T3" fmla="*/ 27271 h 56"/>
                <a:gd name="T4" fmla="*/ 4366 w 120"/>
                <a:gd name="T5" fmla="*/ 34613 h 56"/>
                <a:gd name="T6" fmla="*/ 6549 w 120"/>
                <a:gd name="T7" fmla="*/ 38808 h 56"/>
                <a:gd name="T8" fmla="*/ 9168 w 120"/>
                <a:gd name="T9" fmla="*/ 43004 h 56"/>
                <a:gd name="T10" fmla="*/ 11787 w 120"/>
                <a:gd name="T11" fmla="*/ 46151 h 56"/>
                <a:gd name="T12" fmla="*/ 15280 w 120"/>
                <a:gd name="T13" fmla="*/ 48248 h 56"/>
                <a:gd name="T14" fmla="*/ 18772 w 120"/>
                <a:gd name="T15" fmla="*/ 50346 h 56"/>
                <a:gd name="T16" fmla="*/ 22265 w 120"/>
                <a:gd name="T17" fmla="*/ 51395 h 56"/>
                <a:gd name="T18" fmla="*/ 29250 w 120"/>
                <a:gd name="T19" fmla="*/ 52444 h 56"/>
                <a:gd name="T20" fmla="*/ 37108 w 120"/>
                <a:gd name="T21" fmla="*/ 53493 h 56"/>
                <a:gd name="T22" fmla="*/ 44530 w 120"/>
                <a:gd name="T23" fmla="*/ 54542 h 56"/>
                <a:gd name="T24" fmla="*/ 52388 w 120"/>
                <a:gd name="T25" fmla="*/ 58737 h 56"/>
                <a:gd name="T26" fmla="*/ 52388 w 120"/>
                <a:gd name="T27" fmla="*/ 38808 h 56"/>
                <a:gd name="T28" fmla="*/ 48459 w 120"/>
                <a:gd name="T29" fmla="*/ 35662 h 56"/>
                <a:gd name="T30" fmla="*/ 44530 w 120"/>
                <a:gd name="T31" fmla="*/ 31466 h 56"/>
                <a:gd name="T32" fmla="*/ 41037 w 120"/>
                <a:gd name="T33" fmla="*/ 25173 h 56"/>
                <a:gd name="T34" fmla="*/ 38418 w 120"/>
                <a:gd name="T35" fmla="*/ 18880 h 56"/>
                <a:gd name="T36" fmla="*/ 35362 w 120"/>
                <a:gd name="T37" fmla="*/ 13635 h 56"/>
                <a:gd name="T38" fmla="*/ 32743 w 120"/>
                <a:gd name="T39" fmla="*/ 7342 h 56"/>
                <a:gd name="T40" fmla="*/ 29250 w 120"/>
                <a:gd name="T41" fmla="*/ 3147 h 56"/>
                <a:gd name="T42" fmla="*/ 26194 w 120"/>
                <a:gd name="T43" fmla="*/ 0 h 56"/>
                <a:gd name="T44" fmla="*/ 24011 w 120"/>
                <a:gd name="T45" fmla="*/ 1049 h 56"/>
                <a:gd name="T46" fmla="*/ 20955 w 120"/>
                <a:gd name="T47" fmla="*/ 3147 h 56"/>
                <a:gd name="T48" fmla="*/ 17899 w 120"/>
                <a:gd name="T49" fmla="*/ 6293 h 56"/>
                <a:gd name="T50" fmla="*/ 14407 w 120"/>
                <a:gd name="T51" fmla="*/ 9440 h 56"/>
                <a:gd name="T52" fmla="*/ 10478 w 120"/>
                <a:gd name="T53" fmla="*/ 13635 h 56"/>
                <a:gd name="T54" fmla="*/ 6985 w 120"/>
                <a:gd name="T55" fmla="*/ 15733 h 56"/>
                <a:gd name="T56" fmla="*/ 3493 w 120"/>
                <a:gd name="T57" fmla="*/ 18880 h 56"/>
                <a:gd name="T58" fmla="*/ 0 w 120"/>
                <a:gd name="T59" fmla="*/ 18880 h 5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98" name="Freeform 216">
              <a:extLst>
                <a:ext uri="{FF2B5EF4-FFF2-40B4-BE49-F238E27FC236}">
                  <a16:creationId xmlns:a16="http://schemas.microsoft.com/office/drawing/2014/main" id="{6CDEAA67-AD3F-4D4D-B942-3C50EC113022}"/>
                </a:ext>
              </a:extLst>
            </p:cNvPr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3451226" y="2943225"/>
              <a:ext cx="250825" cy="109538"/>
            </a:xfrm>
            <a:custGeom>
              <a:avLst/>
              <a:gdLst>
                <a:gd name="T0" fmla="*/ 55496 w 574"/>
                <a:gd name="T1" fmla="*/ 537 h 204"/>
                <a:gd name="T2" fmla="*/ 41513 w 574"/>
                <a:gd name="T3" fmla="*/ 3222 h 204"/>
                <a:gd name="T4" fmla="*/ 28841 w 574"/>
                <a:gd name="T5" fmla="*/ 8591 h 204"/>
                <a:gd name="T6" fmla="*/ 18790 w 574"/>
                <a:gd name="T7" fmla="*/ 13961 h 204"/>
                <a:gd name="T8" fmla="*/ 13109 w 574"/>
                <a:gd name="T9" fmla="*/ 18793 h 204"/>
                <a:gd name="T10" fmla="*/ 6992 w 574"/>
                <a:gd name="T11" fmla="*/ 27385 h 204"/>
                <a:gd name="T12" fmla="*/ 1748 w 574"/>
                <a:gd name="T13" fmla="*/ 38124 h 204"/>
                <a:gd name="T14" fmla="*/ 0 w 574"/>
                <a:gd name="T15" fmla="*/ 44030 h 204"/>
                <a:gd name="T16" fmla="*/ 437 w 574"/>
                <a:gd name="T17" fmla="*/ 46178 h 204"/>
                <a:gd name="T18" fmla="*/ 5681 w 574"/>
                <a:gd name="T19" fmla="*/ 46178 h 204"/>
                <a:gd name="T20" fmla="*/ 12672 w 574"/>
                <a:gd name="T21" fmla="*/ 44567 h 204"/>
                <a:gd name="T22" fmla="*/ 22723 w 574"/>
                <a:gd name="T23" fmla="*/ 40271 h 204"/>
                <a:gd name="T24" fmla="*/ 34958 w 574"/>
                <a:gd name="T25" fmla="*/ 31143 h 204"/>
                <a:gd name="T26" fmla="*/ 44572 w 574"/>
                <a:gd name="T27" fmla="*/ 24700 h 204"/>
                <a:gd name="T28" fmla="*/ 52000 w 574"/>
                <a:gd name="T29" fmla="*/ 21478 h 204"/>
                <a:gd name="T30" fmla="*/ 76471 w 574"/>
                <a:gd name="T31" fmla="*/ 19867 h 204"/>
                <a:gd name="T32" fmla="*/ 76908 w 574"/>
                <a:gd name="T33" fmla="*/ 25774 h 204"/>
                <a:gd name="T34" fmla="*/ 78656 w 574"/>
                <a:gd name="T35" fmla="*/ 29532 h 204"/>
                <a:gd name="T36" fmla="*/ 80404 w 574"/>
                <a:gd name="T37" fmla="*/ 31680 h 204"/>
                <a:gd name="T38" fmla="*/ 83026 w 574"/>
                <a:gd name="T39" fmla="*/ 32754 h 204"/>
                <a:gd name="T40" fmla="*/ 100068 w 574"/>
                <a:gd name="T41" fmla="*/ 32754 h 204"/>
                <a:gd name="T42" fmla="*/ 117547 w 574"/>
                <a:gd name="T43" fmla="*/ 41882 h 204"/>
                <a:gd name="T44" fmla="*/ 131967 w 574"/>
                <a:gd name="T45" fmla="*/ 51010 h 204"/>
                <a:gd name="T46" fmla="*/ 146824 w 574"/>
                <a:gd name="T47" fmla="*/ 59602 h 204"/>
                <a:gd name="T48" fmla="*/ 163867 w 574"/>
                <a:gd name="T49" fmla="*/ 66045 h 204"/>
                <a:gd name="T50" fmla="*/ 164303 w 574"/>
                <a:gd name="T51" fmla="*/ 71951 h 204"/>
                <a:gd name="T52" fmla="*/ 166925 w 574"/>
                <a:gd name="T53" fmla="*/ 76247 h 204"/>
                <a:gd name="T54" fmla="*/ 173043 w 574"/>
                <a:gd name="T55" fmla="*/ 81617 h 204"/>
                <a:gd name="T56" fmla="*/ 187026 w 574"/>
                <a:gd name="T57" fmla="*/ 89134 h 204"/>
                <a:gd name="T58" fmla="*/ 175665 w 574"/>
                <a:gd name="T59" fmla="*/ 102558 h 204"/>
                <a:gd name="T60" fmla="*/ 177850 w 574"/>
                <a:gd name="T61" fmla="*/ 105779 h 204"/>
                <a:gd name="T62" fmla="*/ 180909 w 574"/>
                <a:gd name="T63" fmla="*/ 107927 h 204"/>
                <a:gd name="T64" fmla="*/ 187463 w 574"/>
                <a:gd name="T65" fmla="*/ 109538 h 204"/>
                <a:gd name="T66" fmla="*/ 201447 w 574"/>
                <a:gd name="T67" fmla="*/ 109538 h 204"/>
                <a:gd name="T68" fmla="*/ 242522 w 574"/>
                <a:gd name="T69" fmla="*/ 101484 h 204"/>
                <a:gd name="T70" fmla="*/ 244270 w 574"/>
                <a:gd name="T71" fmla="*/ 98262 h 204"/>
                <a:gd name="T72" fmla="*/ 246892 w 574"/>
                <a:gd name="T73" fmla="*/ 95040 h 204"/>
                <a:gd name="T74" fmla="*/ 249951 w 574"/>
                <a:gd name="T75" fmla="*/ 92893 h 204"/>
                <a:gd name="T76" fmla="*/ 250825 w 574"/>
                <a:gd name="T77" fmla="*/ 86449 h 204"/>
                <a:gd name="T78" fmla="*/ 245144 w 574"/>
                <a:gd name="T79" fmla="*/ 82154 h 204"/>
                <a:gd name="T80" fmla="*/ 232472 w 574"/>
                <a:gd name="T81" fmla="*/ 79469 h 204"/>
                <a:gd name="T82" fmla="*/ 220237 w 574"/>
                <a:gd name="T83" fmla="*/ 74099 h 204"/>
                <a:gd name="T84" fmla="*/ 207564 w 574"/>
                <a:gd name="T85" fmla="*/ 66582 h 204"/>
                <a:gd name="T86" fmla="*/ 189211 w 574"/>
                <a:gd name="T87" fmla="*/ 53695 h 204"/>
                <a:gd name="T88" fmla="*/ 167362 w 574"/>
                <a:gd name="T89" fmla="*/ 36513 h 204"/>
                <a:gd name="T90" fmla="*/ 156438 w 574"/>
                <a:gd name="T91" fmla="*/ 28995 h 204"/>
                <a:gd name="T92" fmla="*/ 152068 w 574"/>
                <a:gd name="T93" fmla="*/ 27921 h 204"/>
                <a:gd name="T94" fmla="*/ 144203 w 574"/>
                <a:gd name="T95" fmla="*/ 27921 h 204"/>
                <a:gd name="T96" fmla="*/ 136337 w 574"/>
                <a:gd name="T97" fmla="*/ 27385 h 204"/>
                <a:gd name="T98" fmla="*/ 131967 w 574"/>
                <a:gd name="T99" fmla="*/ 26311 h 204"/>
                <a:gd name="T100" fmla="*/ 128471 w 574"/>
                <a:gd name="T101" fmla="*/ 23089 h 204"/>
                <a:gd name="T102" fmla="*/ 126723 w 574"/>
                <a:gd name="T103" fmla="*/ 17182 h 204"/>
                <a:gd name="T104" fmla="*/ 62051 w 574"/>
                <a:gd name="T105" fmla="*/ 0 h 20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99" name="Freeform 217">
              <a:extLst>
                <a:ext uri="{FF2B5EF4-FFF2-40B4-BE49-F238E27FC236}">
                  <a16:creationId xmlns:a16="http://schemas.microsoft.com/office/drawing/2014/main" id="{5779F6F8-9FDE-4FA5-B733-EC20F84B6696}"/>
                </a:ext>
              </a:extLst>
            </p:cNvPr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3756025" y="3046413"/>
              <a:ext cx="88900" cy="69850"/>
            </a:xfrm>
            <a:custGeom>
              <a:avLst/>
              <a:gdLst>
                <a:gd name="T0" fmla="*/ 17608 w 207"/>
                <a:gd name="T1" fmla="*/ 69850 h 129"/>
                <a:gd name="T2" fmla="*/ 21473 w 207"/>
                <a:gd name="T3" fmla="*/ 65518 h 129"/>
                <a:gd name="T4" fmla="*/ 25768 w 207"/>
                <a:gd name="T5" fmla="*/ 62269 h 129"/>
                <a:gd name="T6" fmla="*/ 30063 w 207"/>
                <a:gd name="T7" fmla="*/ 59562 h 129"/>
                <a:gd name="T8" fmla="*/ 34787 w 207"/>
                <a:gd name="T9" fmla="*/ 56855 h 129"/>
                <a:gd name="T10" fmla="*/ 45094 w 207"/>
                <a:gd name="T11" fmla="*/ 53606 h 129"/>
                <a:gd name="T12" fmla="*/ 55401 w 207"/>
                <a:gd name="T13" fmla="*/ 49816 h 129"/>
                <a:gd name="T14" fmla="*/ 65279 w 207"/>
                <a:gd name="T15" fmla="*/ 47108 h 129"/>
                <a:gd name="T16" fmla="*/ 74298 w 207"/>
                <a:gd name="T17" fmla="*/ 43859 h 129"/>
                <a:gd name="T18" fmla="*/ 78163 w 207"/>
                <a:gd name="T19" fmla="*/ 41693 h 129"/>
                <a:gd name="T20" fmla="*/ 82029 w 207"/>
                <a:gd name="T21" fmla="*/ 39528 h 129"/>
                <a:gd name="T22" fmla="*/ 85894 w 207"/>
                <a:gd name="T23" fmla="*/ 36279 h 129"/>
                <a:gd name="T24" fmla="*/ 88900 w 207"/>
                <a:gd name="T25" fmla="*/ 33030 h 129"/>
                <a:gd name="T26" fmla="*/ 85035 w 207"/>
                <a:gd name="T27" fmla="*/ 29240 h 129"/>
                <a:gd name="T28" fmla="*/ 80740 w 207"/>
                <a:gd name="T29" fmla="*/ 25449 h 129"/>
                <a:gd name="T30" fmla="*/ 76875 w 207"/>
                <a:gd name="T31" fmla="*/ 22742 h 129"/>
                <a:gd name="T32" fmla="*/ 72580 w 207"/>
                <a:gd name="T33" fmla="*/ 19493 h 129"/>
                <a:gd name="T34" fmla="*/ 64420 w 207"/>
                <a:gd name="T35" fmla="*/ 15703 h 129"/>
                <a:gd name="T36" fmla="*/ 55401 w 207"/>
                <a:gd name="T37" fmla="*/ 12454 h 129"/>
                <a:gd name="T38" fmla="*/ 45953 w 207"/>
                <a:gd name="T39" fmla="*/ 9747 h 129"/>
                <a:gd name="T40" fmla="*/ 36505 w 207"/>
                <a:gd name="T41" fmla="*/ 7039 h 129"/>
                <a:gd name="T42" fmla="*/ 27057 w 207"/>
                <a:gd name="T43" fmla="*/ 3790 h 129"/>
                <a:gd name="T44" fmla="*/ 17608 w 207"/>
                <a:gd name="T45" fmla="*/ 0 h 129"/>
                <a:gd name="T46" fmla="*/ 0 w 207"/>
                <a:gd name="T47" fmla="*/ 0 h 129"/>
                <a:gd name="T48" fmla="*/ 429 w 207"/>
                <a:gd name="T49" fmla="*/ 3249 h 129"/>
                <a:gd name="T50" fmla="*/ 859 w 207"/>
                <a:gd name="T51" fmla="*/ 7039 h 129"/>
                <a:gd name="T52" fmla="*/ 1718 w 207"/>
                <a:gd name="T53" fmla="*/ 10288 h 129"/>
                <a:gd name="T54" fmla="*/ 2577 w 207"/>
                <a:gd name="T55" fmla="*/ 13537 h 129"/>
                <a:gd name="T56" fmla="*/ 4295 w 207"/>
                <a:gd name="T57" fmla="*/ 18952 h 129"/>
                <a:gd name="T58" fmla="*/ 5583 w 207"/>
                <a:gd name="T59" fmla="*/ 24908 h 129"/>
                <a:gd name="T60" fmla="*/ 7301 w 207"/>
                <a:gd name="T61" fmla="*/ 29240 h 129"/>
                <a:gd name="T62" fmla="*/ 7730 w 207"/>
                <a:gd name="T63" fmla="*/ 33571 h 129"/>
                <a:gd name="T64" fmla="*/ 7301 w 207"/>
                <a:gd name="T65" fmla="*/ 35196 h 129"/>
                <a:gd name="T66" fmla="*/ 6013 w 207"/>
                <a:gd name="T67" fmla="*/ 36820 h 129"/>
                <a:gd name="T68" fmla="*/ 4724 w 207"/>
                <a:gd name="T69" fmla="*/ 38445 h 129"/>
                <a:gd name="T70" fmla="*/ 3006 w 207"/>
                <a:gd name="T71" fmla="*/ 39528 h 129"/>
                <a:gd name="T72" fmla="*/ 0 w 207"/>
                <a:gd name="T73" fmla="*/ 56313 h 129"/>
                <a:gd name="T74" fmla="*/ 1718 w 207"/>
                <a:gd name="T75" fmla="*/ 57396 h 129"/>
                <a:gd name="T76" fmla="*/ 5583 w 207"/>
                <a:gd name="T77" fmla="*/ 59562 h 129"/>
                <a:gd name="T78" fmla="*/ 8160 w 207"/>
                <a:gd name="T79" fmla="*/ 61186 h 129"/>
                <a:gd name="T80" fmla="*/ 10737 w 207"/>
                <a:gd name="T81" fmla="*/ 63352 h 129"/>
                <a:gd name="T82" fmla="*/ 14172 w 207"/>
                <a:gd name="T83" fmla="*/ 66060 h 129"/>
                <a:gd name="T84" fmla="*/ 17608 w 207"/>
                <a:gd name="T85" fmla="*/ 69850 h 12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00" name="Freeform 218">
              <a:extLst>
                <a:ext uri="{FF2B5EF4-FFF2-40B4-BE49-F238E27FC236}">
                  <a16:creationId xmlns:a16="http://schemas.microsoft.com/office/drawing/2014/main" id="{A1EBE762-0D9D-4E6C-B18A-7FA733A3CF9B}"/>
                </a:ext>
              </a:extLst>
            </p:cNvPr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3324225" y="3106739"/>
              <a:ext cx="33338" cy="84137"/>
            </a:xfrm>
            <a:custGeom>
              <a:avLst/>
              <a:gdLst>
                <a:gd name="T0" fmla="*/ 33338 w 72"/>
                <a:gd name="T1" fmla="*/ 0 h 154"/>
                <a:gd name="T2" fmla="*/ 31949 w 72"/>
                <a:gd name="T3" fmla="*/ 2185 h 154"/>
                <a:gd name="T4" fmla="*/ 31023 w 72"/>
                <a:gd name="T5" fmla="*/ 4917 h 154"/>
                <a:gd name="T6" fmla="*/ 30560 w 72"/>
                <a:gd name="T7" fmla="*/ 7102 h 154"/>
                <a:gd name="T8" fmla="*/ 30560 w 72"/>
                <a:gd name="T9" fmla="*/ 9834 h 154"/>
                <a:gd name="T10" fmla="*/ 30560 w 72"/>
                <a:gd name="T11" fmla="*/ 14751 h 154"/>
                <a:gd name="T12" fmla="*/ 30560 w 72"/>
                <a:gd name="T13" fmla="*/ 20215 h 154"/>
                <a:gd name="T14" fmla="*/ 31949 w 72"/>
                <a:gd name="T15" fmla="*/ 23493 h 154"/>
                <a:gd name="T16" fmla="*/ 32875 w 72"/>
                <a:gd name="T17" fmla="*/ 27317 h 154"/>
                <a:gd name="T18" fmla="*/ 32875 w 72"/>
                <a:gd name="T19" fmla="*/ 31142 h 154"/>
                <a:gd name="T20" fmla="*/ 32875 w 72"/>
                <a:gd name="T21" fmla="*/ 35512 h 154"/>
                <a:gd name="T22" fmla="*/ 31949 w 72"/>
                <a:gd name="T23" fmla="*/ 39883 h 154"/>
                <a:gd name="T24" fmla="*/ 31023 w 72"/>
                <a:gd name="T25" fmla="*/ 44800 h 154"/>
                <a:gd name="T26" fmla="*/ 30097 w 72"/>
                <a:gd name="T27" fmla="*/ 49717 h 154"/>
                <a:gd name="T28" fmla="*/ 28245 w 72"/>
                <a:gd name="T29" fmla="*/ 54634 h 154"/>
                <a:gd name="T30" fmla="*/ 24540 w 72"/>
                <a:gd name="T31" fmla="*/ 63376 h 154"/>
                <a:gd name="T32" fmla="*/ 20373 w 72"/>
                <a:gd name="T33" fmla="*/ 71571 h 154"/>
                <a:gd name="T34" fmla="*/ 15743 w 72"/>
                <a:gd name="T35" fmla="*/ 78674 h 154"/>
                <a:gd name="T36" fmla="*/ 12039 w 72"/>
                <a:gd name="T37" fmla="*/ 84137 h 154"/>
                <a:gd name="T38" fmla="*/ 12039 w 72"/>
                <a:gd name="T39" fmla="*/ 77035 h 154"/>
                <a:gd name="T40" fmla="*/ 6945 w 72"/>
                <a:gd name="T41" fmla="*/ 78674 h 154"/>
                <a:gd name="T42" fmla="*/ 0 w 72"/>
                <a:gd name="T43" fmla="*/ 80859 h 154"/>
                <a:gd name="T44" fmla="*/ 1389 w 72"/>
                <a:gd name="T45" fmla="*/ 70478 h 154"/>
                <a:gd name="T46" fmla="*/ 3704 w 72"/>
                <a:gd name="T47" fmla="*/ 57366 h 154"/>
                <a:gd name="T48" fmla="*/ 4167 w 72"/>
                <a:gd name="T49" fmla="*/ 50264 h 154"/>
                <a:gd name="T50" fmla="*/ 5556 w 72"/>
                <a:gd name="T51" fmla="*/ 42069 h 154"/>
                <a:gd name="T52" fmla="*/ 6945 w 72"/>
                <a:gd name="T53" fmla="*/ 34420 h 154"/>
                <a:gd name="T54" fmla="*/ 9261 w 72"/>
                <a:gd name="T55" fmla="*/ 26771 h 154"/>
                <a:gd name="T56" fmla="*/ 9261 w 72"/>
                <a:gd name="T57" fmla="*/ 0 h 154"/>
                <a:gd name="T58" fmla="*/ 11576 w 72"/>
                <a:gd name="T59" fmla="*/ 0 h 154"/>
                <a:gd name="T60" fmla="*/ 17595 w 72"/>
                <a:gd name="T61" fmla="*/ 0 h 154"/>
                <a:gd name="T62" fmla="*/ 25930 w 72"/>
                <a:gd name="T63" fmla="*/ 0 h 154"/>
                <a:gd name="T64" fmla="*/ 33338 w 72"/>
                <a:gd name="T65" fmla="*/ 0 h 15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01" name="Freeform 219">
              <a:extLst>
                <a:ext uri="{FF2B5EF4-FFF2-40B4-BE49-F238E27FC236}">
                  <a16:creationId xmlns:a16="http://schemas.microsoft.com/office/drawing/2014/main" id="{791E0A43-D5DB-4A3A-8D16-3BEAA0641E00}"/>
                </a:ext>
              </a:extLst>
            </p:cNvPr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3244851" y="3106738"/>
              <a:ext cx="93663" cy="146050"/>
            </a:xfrm>
            <a:custGeom>
              <a:avLst/>
              <a:gdLst>
                <a:gd name="T0" fmla="*/ 3501 w 214"/>
                <a:gd name="T1" fmla="*/ 111558 h 271"/>
                <a:gd name="T2" fmla="*/ 5252 w 214"/>
                <a:gd name="T3" fmla="*/ 97546 h 271"/>
                <a:gd name="T4" fmla="*/ 10504 w 214"/>
                <a:gd name="T5" fmla="*/ 79762 h 271"/>
                <a:gd name="T6" fmla="*/ 15319 w 214"/>
                <a:gd name="T7" fmla="*/ 63594 h 271"/>
                <a:gd name="T8" fmla="*/ 19258 w 214"/>
                <a:gd name="T9" fmla="*/ 60360 h 271"/>
                <a:gd name="T10" fmla="*/ 28449 w 214"/>
                <a:gd name="T11" fmla="*/ 59821 h 271"/>
                <a:gd name="T12" fmla="*/ 38953 w 214"/>
                <a:gd name="T13" fmla="*/ 59821 h 271"/>
                <a:gd name="T14" fmla="*/ 46394 w 214"/>
                <a:gd name="T15" fmla="*/ 59282 h 271"/>
                <a:gd name="T16" fmla="*/ 52521 w 214"/>
                <a:gd name="T17" fmla="*/ 56588 h 271"/>
                <a:gd name="T18" fmla="*/ 56898 w 214"/>
                <a:gd name="T19" fmla="*/ 50659 h 271"/>
                <a:gd name="T20" fmla="*/ 49458 w 214"/>
                <a:gd name="T21" fmla="*/ 39342 h 271"/>
                <a:gd name="T22" fmla="*/ 37640 w 214"/>
                <a:gd name="T23" fmla="*/ 31258 h 271"/>
                <a:gd name="T24" fmla="*/ 33701 w 214"/>
                <a:gd name="T25" fmla="*/ 26408 h 271"/>
                <a:gd name="T26" fmla="*/ 32388 w 214"/>
                <a:gd name="T27" fmla="*/ 22096 h 271"/>
                <a:gd name="T28" fmla="*/ 32826 w 214"/>
                <a:gd name="T29" fmla="*/ 18324 h 271"/>
                <a:gd name="T30" fmla="*/ 35890 w 214"/>
                <a:gd name="T31" fmla="*/ 15090 h 271"/>
                <a:gd name="T32" fmla="*/ 44205 w 214"/>
                <a:gd name="T33" fmla="*/ 10240 h 271"/>
                <a:gd name="T34" fmla="*/ 65652 w 214"/>
                <a:gd name="T35" fmla="*/ 1617 h 271"/>
                <a:gd name="T36" fmla="*/ 78782 w 214"/>
                <a:gd name="T37" fmla="*/ 0 h 271"/>
                <a:gd name="T38" fmla="*/ 86660 w 214"/>
                <a:gd name="T39" fmla="*/ 0 h 271"/>
                <a:gd name="T40" fmla="*/ 90599 w 214"/>
                <a:gd name="T41" fmla="*/ 26408 h 271"/>
                <a:gd name="T42" fmla="*/ 87098 w 214"/>
                <a:gd name="T43" fmla="*/ 41498 h 271"/>
                <a:gd name="T44" fmla="*/ 85347 w 214"/>
                <a:gd name="T45" fmla="*/ 56588 h 271"/>
                <a:gd name="T46" fmla="*/ 81846 w 214"/>
                <a:gd name="T47" fmla="*/ 79762 h 271"/>
                <a:gd name="T48" fmla="*/ 93225 w 214"/>
                <a:gd name="T49" fmla="*/ 82995 h 271"/>
                <a:gd name="T50" fmla="*/ 93663 w 214"/>
                <a:gd name="T51" fmla="*/ 89462 h 271"/>
                <a:gd name="T52" fmla="*/ 91912 w 214"/>
                <a:gd name="T53" fmla="*/ 93774 h 271"/>
                <a:gd name="T54" fmla="*/ 90599 w 214"/>
                <a:gd name="T55" fmla="*/ 95391 h 271"/>
                <a:gd name="T56" fmla="*/ 87536 w 214"/>
                <a:gd name="T57" fmla="*/ 95930 h 271"/>
                <a:gd name="T58" fmla="*/ 84034 w 214"/>
                <a:gd name="T59" fmla="*/ 105630 h 271"/>
                <a:gd name="T60" fmla="*/ 79220 w 214"/>
                <a:gd name="T61" fmla="*/ 115331 h 271"/>
                <a:gd name="T62" fmla="*/ 67840 w 214"/>
                <a:gd name="T63" fmla="*/ 130960 h 271"/>
                <a:gd name="T64" fmla="*/ 52521 w 214"/>
                <a:gd name="T65" fmla="*/ 146050 h 271"/>
                <a:gd name="T66" fmla="*/ 38078 w 214"/>
                <a:gd name="T67" fmla="*/ 140661 h 271"/>
                <a:gd name="T68" fmla="*/ 24072 w 214"/>
                <a:gd name="T69" fmla="*/ 133655 h 271"/>
                <a:gd name="T70" fmla="*/ 0 w 214"/>
                <a:gd name="T71" fmla="*/ 119104 h 27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02" name="Freeform 220">
              <a:extLst>
                <a:ext uri="{FF2B5EF4-FFF2-40B4-BE49-F238E27FC236}">
                  <a16:creationId xmlns:a16="http://schemas.microsoft.com/office/drawing/2014/main" id="{8708DC43-DA26-4ED9-BD9B-75B32345D358}"/>
                </a:ext>
              </a:extLst>
            </p:cNvPr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3292475" y="3217863"/>
              <a:ext cx="71438" cy="57150"/>
            </a:xfrm>
            <a:custGeom>
              <a:avLst/>
              <a:gdLst>
                <a:gd name="T0" fmla="*/ 28015 w 153"/>
                <a:gd name="T1" fmla="*/ 0 h 80"/>
                <a:gd name="T2" fmla="*/ 38754 w 153"/>
                <a:gd name="T3" fmla="*/ 10001 h 80"/>
                <a:gd name="T4" fmla="*/ 48559 w 153"/>
                <a:gd name="T5" fmla="*/ 17145 h 80"/>
                <a:gd name="T6" fmla="*/ 53695 w 153"/>
                <a:gd name="T7" fmla="*/ 20003 h 80"/>
                <a:gd name="T8" fmla="*/ 58831 w 153"/>
                <a:gd name="T9" fmla="*/ 22146 h 80"/>
                <a:gd name="T10" fmla="*/ 62100 w 153"/>
                <a:gd name="T11" fmla="*/ 22860 h 80"/>
                <a:gd name="T12" fmla="*/ 64901 w 153"/>
                <a:gd name="T13" fmla="*/ 22860 h 80"/>
                <a:gd name="T14" fmla="*/ 68170 w 153"/>
                <a:gd name="T15" fmla="*/ 22146 h 80"/>
                <a:gd name="T16" fmla="*/ 71438 w 153"/>
                <a:gd name="T17" fmla="*/ 21431 h 80"/>
                <a:gd name="T18" fmla="*/ 71438 w 153"/>
                <a:gd name="T19" fmla="*/ 40005 h 80"/>
                <a:gd name="T20" fmla="*/ 69570 w 153"/>
                <a:gd name="T21" fmla="*/ 42863 h 80"/>
                <a:gd name="T22" fmla="*/ 67703 w 153"/>
                <a:gd name="T23" fmla="*/ 46434 h 80"/>
                <a:gd name="T24" fmla="*/ 64434 w 153"/>
                <a:gd name="T25" fmla="*/ 49292 h 80"/>
                <a:gd name="T26" fmla="*/ 61633 w 153"/>
                <a:gd name="T27" fmla="*/ 51435 h 80"/>
                <a:gd name="T28" fmla="*/ 58364 w 153"/>
                <a:gd name="T29" fmla="*/ 53578 h 80"/>
                <a:gd name="T30" fmla="*/ 55563 w 153"/>
                <a:gd name="T31" fmla="*/ 55721 h 80"/>
                <a:gd name="T32" fmla="*/ 52294 w 153"/>
                <a:gd name="T33" fmla="*/ 56436 h 80"/>
                <a:gd name="T34" fmla="*/ 49493 w 153"/>
                <a:gd name="T35" fmla="*/ 57150 h 80"/>
                <a:gd name="T36" fmla="*/ 42022 w 153"/>
                <a:gd name="T37" fmla="*/ 52864 h 80"/>
                <a:gd name="T38" fmla="*/ 35486 w 153"/>
                <a:gd name="T39" fmla="*/ 50721 h 80"/>
                <a:gd name="T40" fmla="*/ 29416 w 153"/>
                <a:gd name="T41" fmla="*/ 49292 h 80"/>
                <a:gd name="T42" fmla="*/ 23346 w 153"/>
                <a:gd name="T43" fmla="*/ 49292 h 80"/>
                <a:gd name="T44" fmla="*/ 18210 w 153"/>
                <a:gd name="T45" fmla="*/ 48578 h 80"/>
                <a:gd name="T46" fmla="*/ 12607 w 153"/>
                <a:gd name="T47" fmla="*/ 47863 h 80"/>
                <a:gd name="T48" fmla="*/ 6537 w 153"/>
                <a:gd name="T49" fmla="*/ 46434 h 80"/>
                <a:gd name="T50" fmla="*/ 0 w 153"/>
                <a:gd name="T51" fmla="*/ 44291 h 80"/>
                <a:gd name="T52" fmla="*/ 3268 w 153"/>
                <a:gd name="T53" fmla="*/ 41434 h 80"/>
                <a:gd name="T54" fmla="*/ 10739 w 153"/>
                <a:gd name="T55" fmla="*/ 32147 h 80"/>
                <a:gd name="T56" fmla="*/ 15875 w 153"/>
                <a:gd name="T57" fmla="*/ 26432 h 80"/>
                <a:gd name="T58" fmla="*/ 21011 w 153"/>
                <a:gd name="T59" fmla="*/ 20003 h 80"/>
                <a:gd name="T60" fmla="*/ 26147 w 153"/>
                <a:gd name="T61" fmla="*/ 12144 h 80"/>
                <a:gd name="T62" fmla="*/ 31283 w 153"/>
                <a:gd name="T63" fmla="*/ 4286 h 80"/>
                <a:gd name="T64" fmla="*/ 28015 w 153"/>
                <a:gd name="T65" fmla="*/ 0 h 8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03" name="Freeform 221">
              <a:extLst>
                <a:ext uri="{FF2B5EF4-FFF2-40B4-BE49-F238E27FC236}">
                  <a16:creationId xmlns:a16="http://schemas.microsoft.com/office/drawing/2014/main" id="{9E690BA3-B1FC-4A62-91EC-535E4C1C8099}"/>
                </a:ext>
              </a:extLst>
            </p:cNvPr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3324226" y="3179763"/>
              <a:ext cx="142875" cy="87312"/>
            </a:xfrm>
            <a:custGeom>
              <a:avLst/>
              <a:gdLst>
                <a:gd name="T0" fmla="*/ 0 w 332"/>
                <a:gd name="T1" fmla="*/ 39781 h 169"/>
                <a:gd name="T2" fmla="*/ 18935 w 332"/>
                <a:gd name="T3" fmla="*/ 52181 h 169"/>
                <a:gd name="T4" fmla="*/ 28403 w 332"/>
                <a:gd name="T5" fmla="*/ 55797 h 169"/>
                <a:gd name="T6" fmla="*/ 33997 w 332"/>
                <a:gd name="T7" fmla="*/ 56314 h 169"/>
                <a:gd name="T8" fmla="*/ 40022 w 332"/>
                <a:gd name="T9" fmla="*/ 55280 h 169"/>
                <a:gd name="T10" fmla="*/ 38731 w 332"/>
                <a:gd name="T11" fmla="*/ 74396 h 169"/>
                <a:gd name="T12" fmla="*/ 40883 w 332"/>
                <a:gd name="T13" fmla="*/ 79562 h 169"/>
                <a:gd name="T14" fmla="*/ 42604 w 332"/>
                <a:gd name="T15" fmla="*/ 84212 h 169"/>
                <a:gd name="T16" fmla="*/ 46047 w 332"/>
                <a:gd name="T17" fmla="*/ 86795 h 169"/>
                <a:gd name="T18" fmla="*/ 50351 w 332"/>
                <a:gd name="T19" fmla="*/ 87312 h 169"/>
                <a:gd name="T20" fmla="*/ 52933 w 332"/>
                <a:gd name="T21" fmla="*/ 85762 h 169"/>
                <a:gd name="T22" fmla="*/ 56806 w 332"/>
                <a:gd name="T23" fmla="*/ 81112 h 169"/>
                <a:gd name="T24" fmla="*/ 62831 w 332"/>
                <a:gd name="T25" fmla="*/ 70263 h 169"/>
                <a:gd name="T26" fmla="*/ 74880 w 332"/>
                <a:gd name="T27" fmla="*/ 59413 h 169"/>
                <a:gd name="T28" fmla="*/ 92094 w 332"/>
                <a:gd name="T29" fmla="*/ 49597 h 169"/>
                <a:gd name="T30" fmla="*/ 110169 w 332"/>
                <a:gd name="T31" fmla="*/ 41331 h 169"/>
                <a:gd name="T32" fmla="*/ 130825 w 332"/>
                <a:gd name="T33" fmla="*/ 33582 h 169"/>
                <a:gd name="T34" fmla="*/ 142875 w 332"/>
                <a:gd name="T35" fmla="*/ 23765 h 169"/>
                <a:gd name="T36" fmla="*/ 142875 w 332"/>
                <a:gd name="T37" fmla="*/ 11366 h 169"/>
                <a:gd name="T38" fmla="*/ 137711 w 332"/>
                <a:gd name="T39" fmla="*/ 1033 h 169"/>
                <a:gd name="T40" fmla="*/ 121788 w 332"/>
                <a:gd name="T41" fmla="*/ 517 h 169"/>
                <a:gd name="T42" fmla="*/ 100701 w 332"/>
                <a:gd name="T43" fmla="*/ 0 h 169"/>
                <a:gd name="T44" fmla="*/ 77462 w 332"/>
                <a:gd name="T45" fmla="*/ 517 h 169"/>
                <a:gd name="T46" fmla="*/ 56375 w 332"/>
                <a:gd name="T47" fmla="*/ 2067 h 169"/>
                <a:gd name="T48" fmla="*/ 38731 w 332"/>
                <a:gd name="T49" fmla="*/ 5166 h 169"/>
                <a:gd name="T50" fmla="*/ 25390 w 332"/>
                <a:gd name="T51" fmla="*/ 9816 h 169"/>
                <a:gd name="T52" fmla="*/ 18075 w 332"/>
                <a:gd name="T53" fmla="*/ 11366 h 169"/>
                <a:gd name="T54" fmla="*/ 15062 w 332"/>
                <a:gd name="T55" fmla="*/ 11883 h 169"/>
                <a:gd name="T56" fmla="*/ 14632 w 332"/>
                <a:gd name="T57" fmla="*/ 13433 h 169"/>
                <a:gd name="T58" fmla="*/ 14201 w 332"/>
                <a:gd name="T59" fmla="*/ 19632 h 169"/>
                <a:gd name="T60" fmla="*/ 12480 w 332"/>
                <a:gd name="T61" fmla="*/ 22732 h 169"/>
                <a:gd name="T62" fmla="*/ 9898 w 332"/>
                <a:gd name="T63" fmla="*/ 23765 h 169"/>
                <a:gd name="T64" fmla="*/ 8177 w 332"/>
                <a:gd name="T65" fmla="*/ 28415 h 169"/>
                <a:gd name="T66" fmla="*/ 4734 w 332"/>
                <a:gd name="T67" fmla="*/ 37198 h 169"/>
                <a:gd name="T68" fmla="*/ 3012 w 332"/>
                <a:gd name="T69" fmla="*/ 42881 h 16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04" name="Freeform 222">
              <a:extLst>
                <a:ext uri="{FF2B5EF4-FFF2-40B4-BE49-F238E27FC236}">
                  <a16:creationId xmlns:a16="http://schemas.microsoft.com/office/drawing/2014/main" id="{C88CC610-6C1A-4C3B-BC13-C812D73CAE6E}"/>
                </a:ext>
              </a:extLst>
            </p:cNvPr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3341688" y="3209925"/>
              <a:ext cx="125412" cy="122238"/>
            </a:xfrm>
            <a:custGeom>
              <a:avLst/>
              <a:gdLst>
                <a:gd name="T0" fmla="*/ 19294 w 286"/>
                <a:gd name="T1" fmla="*/ 44734 h 235"/>
                <a:gd name="T2" fmla="*/ 21487 w 286"/>
                <a:gd name="T3" fmla="*/ 49936 h 235"/>
                <a:gd name="T4" fmla="*/ 23241 w 286"/>
                <a:gd name="T5" fmla="*/ 54617 h 235"/>
                <a:gd name="T6" fmla="*/ 26749 w 286"/>
                <a:gd name="T7" fmla="*/ 57218 h 235"/>
                <a:gd name="T8" fmla="*/ 31134 w 286"/>
                <a:gd name="T9" fmla="*/ 57738 h 235"/>
                <a:gd name="T10" fmla="*/ 33765 w 286"/>
                <a:gd name="T11" fmla="*/ 56177 h 235"/>
                <a:gd name="T12" fmla="*/ 37711 w 286"/>
                <a:gd name="T13" fmla="*/ 51496 h 235"/>
                <a:gd name="T14" fmla="*/ 43850 w 286"/>
                <a:gd name="T15" fmla="*/ 40573 h 235"/>
                <a:gd name="T16" fmla="*/ 56128 w 286"/>
                <a:gd name="T17" fmla="*/ 29649 h 235"/>
                <a:gd name="T18" fmla="*/ 73669 w 286"/>
                <a:gd name="T19" fmla="*/ 19766 h 235"/>
                <a:gd name="T20" fmla="*/ 92086 w 286"/>
                <a:gd name="T21" fmla="*/ 11444 h 235"/>
                <a:gd name="T22" fmla="*/ 113134 w 286"/>
                <a:gd name="T23" fmla="*/ 3641 h 235"/>
                <a:gd name="T24" fmla="*/ 125412 w 286"/>
                <a:gd name="T25" fmla="*/ 5722 h 235"/>
                <a:gd name="T26" fmla="*/ 123658 w 286"/>
                <a:gd name="T27" fmla="*/ 16645 h 235"/>
                <a:gd name="T28" fmla="*/ 119273 w 286"/>
                <a:gd name="T29" fmla="*/ 36411 h 235"/>
                <a:gd name="T30" fmla="*/ 111380 w 286"/>
                <a:gd name="T31" fmla="*/ 66581 h 235"/>
                <a:gd name="T32" fmla="*/ 106995 w 286"/>
                <a:gd name="T33" fmla="*/ 90508 h 235"/>
                <a:gd name="T34" fmla="*/ 105241 w 286"/>
                <a:gd name="T35" fmla="*/ 107153 h 235"/>
                <a:gd name="T36" fmla="*/ 64022 w 286"/>
                <a:gd name="T37" fmla="*/ 112355 h 235"/>
                <a:gd name="T38" fmla="*/ 60513 w 286"/>
                <a:gd name="T39" fmla="*/ 113395 h 235"/>
                <a:gd name="T40" fmla="*/ 57882 w 286"/>
                <a:gd name="T41" fmla="*/ 115996 h 235"/>
                <a:gd name="T42" fmla="*/ 55690 w 286"/>
                <a:gd name="T43" fmla="*/ 122238 h 235"/>
                <a:gd name="T44" fmla="*/ 47797 w 286"/>
                <a:gd name="T45" fmla="*/ 112875 h 235"/>
                <a:gd name="T46" fmla="*/ 41219 w 286"/>
                <a:gd name="T47" fmla="*/ 103512 h 235"/>
                <a:gd name="T48" fmla="*/ 30257 w 286"/>
                <a:gd name="T49" fmla="*/ 83226 h 235"/>
                <a:gd name="T50" fmla="*/ 24118 w 286"/>
                <a:gd name="T51" fmla="*/ 73863 h 235"/>
                <a:gd name="T52" fmla="*/ 17979 w 286"/>
                <a:gd name="T53" fmla="*/ 65020 h 235"/>
                <a:gd name="T54" fmla="*/ 9647 w 286"/>
                <a:gd name="T55" fmla="*/ 57218 h 235"/>
                <a:gd name="T56" fmla="*/ 0 w 286"/>
                <a:gd name="T57" fmla="*/ 51496 h 235"/>
                <a:gd name="T58" fmla="*/ 5701 w 286"/>
                <a:gd name="T59" fmla="*/ 50456 h 235"/>
                <a:gd name="T60" fmla="*/ 11401 w 286"/>
                <a:gd name="T61" fmla="*/ 47335 h 235"/>
                <a:gd name="T62" fmla="*/ 17102 w 286"/>
                <a:gd name="T63" fmla="*/ 43694 h 235"/>
                <a:gd name="T64" fmla="*/ 20610 w 286"/>
                <a:gd name="T65" fmla="*/ 39012 h 2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05" name="Freeform 223">
              <a:extLst>
                <a:ext uri="{FF2B5EF4-FFF2-40B4-BE49-F238E27FC236}">
                  <a16:creationId xmlns:a16="http://schemas.microsoft.com/office/drawing/2014/main" id="{EFF25033-F1C7-4B8E-BF05-1CDA5892A8AE}"/>
                </a:ext>
              </a:extLst>
            </p:cNvPr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3392489" y="3322638"/>
              <a:ext cx="84137" cy="100012"/>
            </a:xfrm>
            <a:custGeom>
              <a:avLst/>
              <a:gdLst>
                <a:gd name="T0" fmla="*/ 77160 w 205"/>
                <a:gd name="T1" fmla="*/ 96870 h 191"/>
                <a:gd name="T2" fmla="*/ 71824 w 205"/>
                <a:gd name="T3" fmla="*/ 96870 h 191"/>
                <a:gd name="T4" fmla="*/ 64847 w 205"/>
                <a:gd name="T5" fmla="*/ 96870 h 191"/>
                <a:gd name="T6" fmla="*/ 59101 w 205"/>
                <a:gd name="T7" fmla="*/ 94252 h 191"/>
                <a:gd name="T8" fmla="*/ 55818 w 205"/>
                <a:gd name="T9" fmla="*/ 90587 h 191"/>
                <a:gd name="T10" fmla="*/ 52945 w 205"/>
                <a:gd name="T11" fmla="*/ 85351 h 191"/>
                <a:gd name="T12" fmla="*/ 49251 w 205"/>
                <a:gd name="T13" fmla="*/ 76973 h 191"/>
                <a:gd name="T14" fmla="*/ 45147 w 205"/>
                <a:gd name="T15" fmla="*/ 68595 h 191"/>
                <a:gd name="T16" fmla="*/ 40632 w 205"/>
                <a:gd name="T17" fmla="*/ 63358 h 191"/>
                <a:gd name="T18" fmla="*/ 38169 w 205"/>
                <a:gd name="T19" fmla="*/ 65977 h 191"/>
                <a:gd name="T20" fmla="*/ 36938 w 205"/>
                <a:gd name="T21" fmla="*/ 70689 h 191"/>
                <a:gd name="T22" fmla="*/ 34476 w 205"/>
                <a:gd name="T23" fmla="*/ 68071 h 191"/>
                <a:gd name="T24" fmla="*/ 29551 w 205"/>
                <a:gd name="T25" fmla="*/ 59169 h 191"/>
                <a:gd name="T26" fmla="*/ 22984 w 205"/>
                <a:gd name="T27" fmla="*/ 45555 h 191"/>
                <a:gd name="T28" fmla="*/ 16827 w 205"/>
                <a:gd name="T29" fmla="*/ 35083 h 191"/>
                <a:gd name="T30" fmla="*/ 12723 w 205"/>
                <a:gd name="T31" fmla="*/ 30370 h 191"/>
                <a:gd name="T32" fmla="*/ 10671 w 205"/>
                <a:gd name="T33" fmla="*/ 31417 h 191"/>
                <a:gd name="T34" fmla="*/ 11902 w 205"/>
                <a:gd name="T35" fmla="*/ 36130 h 191"/>
                <a:gd name="T36" fmla="*/ 13954 w 205"/>
                <a:gd name="T37" fmla="*/ 40843 h 191"/>
                <a:gd name="T38" fmla="*/ 16827 w 205"/>
                <a:gd name="T39" fmla="*/ 43984 h 191"/>
                <a:gd name="T40" fmla="*/ 18880 w 205"/>
                <a:gd name="T41" fmla="*/ 54980 h 191"/>
                <a:gd name="T42" fmla="*/ 5336 w 205"/>
                <a:gd name="T43" fmla="*/ 51315 h 191"/>
                <a:gd name="T44" fmla="*/ 1642 w 205"/>
                <a:gd name="T45" fmla="*/ 43984 h 191"/>
                <a:gd name="T46" fmla="*/ 0 w 205"/>
                <a:gd name="T47" fmla="*/ 31417 h 191"/>
                <a:gd name="T48" fmla="*/ 0 w 205"/>
                <a:gd name="T49" fmla="*/ 19898 h 191"/>
                <a:gd name="T50" fmla="*/ 1231 w 205"/>
                <a:gd name="T51" fmla="*/ 14661 h 191"/>
                <a:gd name="T52" fmla="*/ 3283 w 205"/>
                <a:gd name="T53" fmla="*/ 11520 h 191"/>
                <a:gd name="T54" fmla="*/ 5746 w 205"/>
                <a:gd name="T55" fmla="*/ 6807 h 191"/>
                <a:gd name="T56" fmla="*/ 8208 w 205"/>
                <a:gd name="T57" fmla="*/ 2094 h 191"/>
                <a:gd name="T58" fmla="*/ 11492 w 205"/>
                <a:gd name="T59" fmla="*/ 0 h 191"/>
                <a:gd name="T60" fmla="*/ 51713 w 205"/>
                <a:gd name="T61" fmla="*/ 3142 h 191"/>
                <a:gd name="T62" fmla="*/ 52124 w 205"/>
                <a:gd name="T63" fmla="*/ 10996 h 191"/>
                <a:gd name="T64" fmla="*/ 53355 w 205"/>
                <a:gd name="T65" fmla="*/ 19374 h 191"/>
                <a:gd name="T66" fmla="*/ 58691 w 205"/>
                <a:gd name="T67" fmla="*/ 36654 h 191"/>
                <a:gd name="T68" fmla="*/ 67720 w 205"/>
                <a:gd name="T69" fmla="*/ 53410 h 191"/>
                <a:gd name="T70" fmla="*/ 72645 w 205"/>
                <a:gd name="T71" fmla="*/ 61264 h 191"/>
                <a:gd name="T72" fmla="*/ 78801 w 205"/>
                <a:gd name="T73" fmla="*/ 68071 h 191"/>
                <a:gd name="T74" fmla="*/ 77570 w 205"/>
                <a:gd name="T75" fmla="*/ 74878 h 191"/>
                <a:gd name="T76" fmla="*/ 77570 w 205"/>
                <a:gd name="T77" fmla="*/ 81685 h 191"/>
                <a:gd name="T78" fmla="*/ 78801 w 205"/>
                <a:gd name="T79" fmla="*/ 100012 h 191"/>
                <a:gd name="T80" fmla="*/ 84137 w 205"/>
                <a:gd name="T81" fmla="*/ 96870 h 19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06" name="Freeform 224">
              <a:extLst>
                <a:ext uri="{FF2B5EF4-FFF2-40B4-BE49-F238E27FC236}">
                  <a16:creationId xmlns:a16="http://schemas.microsoft.com/office/drawing/2014/main" id="{47F7414E-6845-4FA0-B9C6-BEBB096B5F6C}"/>
                </a:ext>
              </a:extLst>
            </p:cNvPr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3473451" y="3376614"/>
              <a:ext cx="142875" cy="79375"/>
            </a:xfrm>
            <a:custGeom>
              <a:avLst/>
              <a:gdLst>
                <a:gd name="T0" fmla="*/ 1303 w 329"/>
                <a:gd name="T1" fmla="*/ 29894 h 154"/>
                <a:gd name="T2" fmla="*/ 0 w 329"/>
                <a:gd name="T3" fmla="*/ 21648 h 154"/>
                <a:gd name="T4" fmla="*/ 869 w 329"/>
                <a:gd name="T5" fmla="*/ 15978 h 154"/>
                <a:gd name="T6" fmla="*/ 7383 w 329"/>
                <a:gd name="T7" fmla="*/ 17009 h 154"/>
                <a:gd name="T8" fmla="*/ 15634 w 329"/>
                <a:gd name="T9" fmla="*/ 21132 h 154"/>
                <a:gd name="T10" fmla="*/ 21279 w 329"/>
                <a:gd name="T11" fmla="*/ 22163 h 154"/>
                <a:gd name="T12" fmla="*/ 29096 w 329"/>
                <a:gd name="T13" fmla="*/ 22163 h 154"/>
                <a:gd name="T14" fmla="*/ 37347 w 329"/>
                <a:gd name="T15" fmla="*/ 20101 h 154"/>
                <a:gd name="T16" fmla="*/ 47770 w 329"/>
                <a:gd name="T17" fmla="*/ 15463 h 154"/>
                <a:gd name="T18" fmla="*/ 60798 w 329"/>
                <a:gd name="T19" fmla="*/ 6700 h 154"/>
                <a:gd name="T20" fmla="*/ 70352 w 329"/>
                <a:gd name="T21" fmla="*/ 2062 h 154"/>
                <a:gd name="T22" fmla="*/ 77734 w 329"/>
                <a:gd name="T23" fmla="*/ 0 h 154"/>
                <a:gd name="T24" fmla="*/ 88157 w 329"/>
                <a:gd name="T25" fmla="*/ 0 h 154"/>
                <a:gd name="T26" fmla="*/ 97277 w 329"/>
                <a:gd name="T27" fmla="*/ 3093 h 154"/>
                <a:gd name="T28" fmla="*/ 105528 w 329"/>
                <a:gd name="T29" fmla="*/ 7731 h 154"/>
                <a:gd name="T30" fmla="*/ 112476 w 329"/>
                <a:gd name="T31" fmla="*/ 14432 h 154"/>
                <a:gd name="T32" fmla="*/ 121596 w 329"/>
                <a:gd name="T33" fmla="*/ 23709 h 154"/>
                <a:gd name="T34" fmla="*/ 131150 w 329"/>
                <a:gd name="T35" fmla="*/ 31441 h 154"/>
                <a:gd name="T36" fmla="*/ 138532 w 329"/>
                <a:gd name="T37" fmla="*/ 34533 h 154"/>
                <a:gd name="T38" fmla="*/ 135927 w 329"/>
                <a:gd name="T39" fmla="*/ 42265 h 154"/>
                <a:gd name="T40" fmla="*/ 127241 w 329"/>
                <a:gd name="T41" fmla="*/ 54635 h 154"/>
                <a:gd name="T42" fmla="*/ 120293 w 329"/>
                <a:gd name="T43" fmla="*/ 71128 h 154"/>
                <a:gd name="T44" fmla="*/ 115082 w 329"/>
                <a:gd name="T45" fmla="*/ 78860 h 154"/>
                <a:gd name="T46" fmla="*/ 109870 w 329"/>
                <a:gd name="T47" fmla="*/ 75252 h 154"/>
                <a:gd name="T48" fmla="*/ 104225 w 329"/>
                <a:gd name="T49" fmla="*/ 70097 h 154"/>
                <a:gd name="T50" fmla="*/ 99882 w 329"/>
                <a:gd name="T51" fmla="*/ 64943 h 154"/>
                <a:gd name="T52" fmla="*/ 99882 w 329"/>
                <a:gd name="T53" fmla="*/ 58758 h 154"/>
                <a:gd name="T54" fmla="*/ 102054 w 329"/>
                <a:gd name="T55" fmla="*/ 51542 h 154"/>
                <a:gd name="T56" fmla="*/ 108133 w 329"/>
                <a:gd name="T57" fmla="*/ 44326 h 154"/>
                <a:gd name="T58" fmla="*/ 101185 w 329"/>
                <a:gd name="T59" fmla="*/ 35049 h 154"/>
                <a:gd name="T60" fmla="*/ 89894 w 329"/>
                <a:gd name="T61" fmla="*/ 28348 h 154"/>
                <a:gd name="T62" fmla="*/ 84683 w 329"/>
                <a:gd name="T63" fmla="*/ 21132 h 154"/>
                <a:gd name="T64" fmla="*/ 77734 w 329"/>
                <a:gd name="T65" fmla="*/ 17524 h 154"/>
                <a:gd name="T66" fmla="*/ 70786 w 329"/>
                <a:gd name="T67" fmla="*/ 21132 h 154"/>
                <a:gd name="T68" fmla="*/ 65141 w 329"/>
                <a:gd name="T69" fmla="*/ 25771 h 154"/>
                <a:gd name="T70" fmla="*/ 60798 w 329"/>
                <a:gd name="T71" fmla="*/ 31441 h 154"/>
                <a:gd name="T72" fmla="*/ 57324 w 329"/>
                <a:gd name="T73" fmla="*/ 38141 h 154"/>
                <a:gd name="T74" fmla="*/ 55587 w 329"/>
                <a:gd name="T75" fmla="*/ 45357 h 154"/>
                <a:gd name="T76" fmla="*/ 53415 w 329"/>
                <a:gd name="T77" fmla="*/ 56181 h 154"/>
                <a:gd name="T78" fmla="*/ 52981 w 329"/>
                <a:gd name="T79" fmla="*/ 64428 h 154"/>
                <a:gd name="T80" fmla="*/ 51244 w 329"/>
                <a:gd name="T81" fmla="*/ 66489 h 154"/>
                <a:gd name="T82" fmla="*/ 46901 w 329"/>
                <a:gd name="T83" fmla="*/ 69582 h 154"/>
                <a:gd name="T84" fmla="*/ 41690 w 329"/>
                <a:gd name="T85" fmla="*/ 69582 h 154"/>
                <a:gd name="T86" fmla="*/ 36044 w 329"/>
                <a:gd name="T87" fmla="*/ 66489 h 154"/>
                <a:gd name="T88" fmla="*/ 28662 w 329"/>
                <a:gd name="T89" fmla="*/ 59789 h 154"/>
                <a:gd name="T90" fmla="*/ 20845 w 329"/>
                <a:gd name="T91" fmla="*/ 48450 h 154"/>
                <a:gd name="T92" fmla="*/ 14331 w 329"/>
                <a:gd name="T93" fmla="*/ 41234 h 154"/>
                <a:gd name="T94" fmla="*/ 9554 w 329"/>
                <a:gd name="T95" fmla="*/ 38141 h 154"/>
                <a:gd name="T96" fmla="*/ 1303 w 329"/>
                <a:gd name="T97" fmla="*/ 37626 h 15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07" name="Freeform 225">
              <a:extLst>
                <a:ext uri="{FF2B5EF4-FFF2-40B4-BE49-F238E27FC236}">
                  <a16:creationId xmlns:a16="http://schemas.microsoft.com/office/drawing/2014/main" id="{91B1C8F8-C9D2-4253-8E85-5B230BA7590B}"/>
                </a:ext>
              </a:extLst>
            </p:cNvPr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4154488" y="4630739"/>
              <a:ext cx="133350" cy="155575"/>
            </a:xfrm>
            <a:custGeom>
              <a:avLst/>
              <a:gdLst>
                <a:gd name="T0" fmla="*/ 129428 w 306"/>
                <a:gd name="T1" fmla="*/ 96106 h 293"/>
                <a:gd name="T2" fmla="*/ 128992 w 306"/>
                <a:gd name="T3" fmla="*/ 98230 h 293"/>
                <a:gd name="T4" fmla="*/ 126813 w 306"/>
                <a:gd name="T5" fmla="*/ 103009 h 293"/>
                <a:gd name="T6" fmla="*/ 122891 w 306"/>
                <a:gd name="T7" fmla="*/ 105664 h 293"/>
                <a:gd name="T8" fmla="*/ 118533 w 306"/>
                <a:gd name="T9" fmla="*/ 106726 h 293"/>
                <a:gd name="T10" fmla="*/ 114611 w 306"/>
                <a:gd name="T11" fmla="*/ 109911 h 293"/>
                <a:gd name="T12" fmla="*/ 110253 w 306"/>
                <a:gd name="T13" fmla="*/ 121593 h 293"/>
                <a:gd name="T14" fmla="*/ 105460 w 306"/>
                <a:gd name="T15" fmla="*/ 134867 h 293"/>
                <a:gd name="T16" fmla="*/ 100666 w 306"/>
                <a:gd name="T17" fmla="*/ 141770 h 293"/>
                <a:gd name="T18" fmla="*/ 96308 w 306"/>
                <a:gd name="T19" fmla="*/ 144956 h 293"/>
                <a:gd name="T20" fmla="*/ 87157 w 306"/>
                <a:gd name="T21" fmla="*/ 149203 h 293"/>
                <a:gd name="T22" fmla="*/ 71469 w 306"/>
                <a:gd name="T23" fmla="*/ 153982 h 293"/>
                <a:gd name="T24" fmla="*/ 60574 w 306"/>
                <a:gd name="T25" fmla="*/ 155575 h 293"/>
                <a:gd name="T26" fmla="*/ 53601 w 306"/>
                <a:gd name="T27" fmla="*/ 155575 h 293"/>
                <a:gd name="T28" fmla="*/ 46193 w 306"/>
                <a:gd name="T29" fmla="*/ 153982 h 293"/>
                <a:gd name="T30" fmla="*/ 40092 w 306"/>
                <a:gd name="T31" fmla="*/ 151858 h 293"/>
                <a:gd name="T32" fmla="*/ 34863 w 306"/>
                <a:gd name="T33" fmla="*/ 147610 h 293"/>
                <a:gd name="T34" fmla="*/ 30941 w 306"/>
                <a:gd name="T35" fmla="*/ 142301 h 293"/>
                <a:gd name="T36" fmla="*/ 436 w 306"/>
                <a:gd name="T37" fmla="*/ 125310 h 293"/>
                <a:gd name="T38" fmla="*/ 0 w 306"/>
                <a:gd name="T39" fmla="*/ 46726 h 293"/>
                <a:gd name="T40" fmla="*/ 436 w 306"/>
                <a:gd name="T41" fmla="*/ 26018 h 293"/>
                <a:gd name="T42" fmla="*/ 1743 w 306"/>
                <a:gd name="T43" fmla="*/ 18584 h 293"/>
                <a:gd name="T44" fmla="*/ 4794 w 306"/>
                <a:gd name="T45" fmla="*/ 11150 h 293"/>
                <a:gd name="T46" fmla="*/ 8716 w 306"/>
                <a:gd name="T47" fmla="*/ 4248 h 293"/>
                <a:gd name="T48" fmla="*/ 17867 w 306"/>
                <a:gd name="T49" fmla="*/ 1062 h 293"/>
                <a:gd name="T50" fmla="*/ 23097 w 306"/>
                <a:gd name="T51" fmla="*/ 0 h 293"/>
                <a:gd name="T52" fmla="*/ 31376 w 306"/>
                <a:gd name="T53" fmla="*/ 3186 h 293"/>
                <a:gd name="T54" fmla="*/ 34863 w 306"/>
                <a:gd name="T55" fmla="*/ 3717 h 293"/>
                <a:gd name="T56" fmla="*/ 36606 w 306"/>
                <a:gd name="T57" fmla="*/ 2124 h 293"/>
                <a:gd name="T58" fmla="*/ 37913 w 306"/>
                <a:gd name="T59" fmla="*/ 2655 h 293"/>
                <a:gd name="T60" fmla="*/ 39221 w 306"/>
                <a:gd name="T61" fmla="*/ 5841 h 293"/>
                <a:gd name="T62" fmla="*/ 43143 w 306"/>
                <a:gd name="T63" fmla="*/ 10088 h 293"/>
                <a:gd name="T64" fmla="*/ 52730 w 306"/>
                <a:gd name="T65" fmla="*/ 16460 h 293"/>
                <a:gd name="T66" fmla="*/ 64496 w 306"/>
                <a:gd name="T67" fmla="*/ 21770 h 293"/>
                <a:gd name="T68" fmla="*/ 79313 w 306"/>
                <a:gd name="T69" fmla="*/ 31327 h 293"/>
                <a:gd name="T70" fmla="*/ 91515 w 306"/>
                <a:gd name="T71" fmla="*/ 41947 h 293"/>
                <a:gd name="T72" fmla="*/ 105024 w 306"/>
                <a:gd name="T73" fmla="*/ 54159 h 293"/>
                <a:gd name="T74" fmla="*/ 113740 w 306"/>
                <a:gd name="T75" fmla="*/ 62124 h 293"/>
                <a:gd name="T76" fmla="*/ 115919 w 306"/>
                <a:gd name="T77" fmla="*/ 65841 h 293"/>
                <a:gd name="T78" fmla="*/ 122020 w 306"/>
                <a:gd name="T79" fmla="*/ 71681 h 293"/>
                <a:gd name="T80" fmla="*/ 130300 w 306"/>
                <a:gd name="T81" fmla="*/ 80177 h 293"/>
                <a:gd name="T82" fmla="*/ 133350 w 306"/>
                <a:gd name="T83" fmla="*/ 85487 h 293"/>
                <a:gd name="T84" fmla="*/ 132478 w 306"/>
                <a:gd name="T85" fmla="*/ 88141 h 29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08" name="Freeform 226">
              <a:extLst>
                <a:ext uri="{FF2B5EF4-FFF2-40B4-BE49-F238E27FC236}">
                  <a16:creationId xmlns:a16="http://schemas.microsoft.com/office/drawing/2014/main" id="{6420D6B6-6872-4FC1-8ABE-3A4871C73A6F}"/>
                </a:ext>
              </a:extLst>
            </p:cNvPr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5700714" y="1247776"/>
              <a:ext cx="236537" cy="92075"/>
            </a:xfrm>
            <a:custGeom>
              <a:avLst/>
              <a:gdLst>
                <a:gd name="T0" fmla="*/ 32058 w 546"/>
                <a:gd name="T1" fmla="*/ 10112 h 173"/>
                <a:gd name="T2" fmla="*/ 40722 w 546"/>
                <a:gd name="T3" fmla="*/ 18096 h 173"/>
                <a:gd name="T4" fmla="*/ 47654 w 546"/>
                <a:gd name="T5" fmla="*/ 14370 h 173"/>
                <a:gd name="T6" fmla="*/ 57185 w 546"/>
                <a:gd name="T7" fmla="*/ 14370 h 173"/>
                <a:gd name="T8" fmla="*/ 69748 w 546"/>
                <a:gd name="T9" fmla="*/ 23418 h 173"/>
                <a:gd name="T10" fmla="*/ 90543 w 546"/>
                <a:gd name="T11" fmla="*/ 10112 h 173"/>
                <a:gd name="T12" fmla="*/ 105272 w 546"/>
                <a:gd name="T13" fmla="*/ 10112 h 173"/>
                <a:gd name="T14" fmla="*/ 112637 w 546"/>
                <a:gd name="T15" fmla="*/ 8516 h 173"/>
                <a:gd name="T16" fmla="*/ 116536 w 546"/>
                <a:gd name="T17" fmla="*/ 7451 h 173"/>
                <a:gd name="T18" fmla="*/ 120868 w 546"/>
                <a:gd name="T19" fmla="*/ 5854 h 173"/>
                <a:gd name="T20" fmla="*/ 123900 w 546"/>
                <a:gd name="T21" fmla="*/ 1597 h 173"/>
                <a:gd name="T22" fmla="*/ 139063 w 546"/>
                <a:gd name="T23" fmla="*/ 2661 h 173"/>
                <a:gd name="T24" fmla="*/ 144262 w 546"/>
                <a:gd name="T25" fmla="*/ 6387 h 173"/>
                <a:gd name="T26" fmla="*/ 150760 w 546"/>
                <a:gd name="T27" fmla="*/ 3726 h 173"/>
                <a:gd name="T28" fmla="*/ 152926 w 546"/>
                <a:gd name="T29" fmla="*/ 0 h 173"/>
                <a:gd name="T30" fmla="*/ 158991 w 546"/>
                <a:gd name="T31" fmla="*/ 3726 h 173"/>
                <a:gd name="T32" fmla="*/ 168522 w 546"/>
                <a:gd name="T33" fmla="*/ 3726 h 173"/>
                <a:gd name="T34" fmla="*/ 188883 w 546"/>
                <a:gd name="T35" fmla="*/ 532 h 173"/>
                <a:gd name="T36" fmla="*/ 208811 w 546"/>
                <a:gd name="T37" fmla="*/ 3193 h 173"/>
                <a:gd name="T38" fmla="*/ 228739 w 546"/>
                <a:gd name="T39" fmla="*/ 6387 h 173"/>
                <a:gd name="T40" fmla="*/ 236104 w 546"/>
                <a:gd name="T41" fmla="*/ 26079 h 173"/>
                <a:gd name="T42" fmla="*/ 232638 w 546"/>
                <a:gd name="T43" fmla="*/ 31934 h 173"/>
                <a:gd name="T44" fmla="*/ 222241 w 546"/>
                <a:gd name="T45" fmla="*/ 32998 h 173"/>
                <a:gd name="T46" fmla="*/ 209244 w 546"/>
                <a:gd name="T47" fmla="*/ 28740 h 173"/>
                <a:gd name="T48" fmla="*/ 178919 w 546"/>
                <a:gd name="T49" fmla="*/ 23418 h 173"/>
                <a:gd name="T50" fmla="*/ 189749 w 546"/>
                <a:gd name="T51" fmla="*/ 43110 h 173"/>
                <a:gd name="T52" fmla="*/ 204046 w 546"/>
                <a:gd name="T53" fmla="*/ 54287 h 173"/>
                <a:gd name="T54" fmla="*/ 213576 w 546"/>
                <a:gd name="T55" fmla="*/ 63335 h 173"/>
                <a:gd name="T56" fmla="*/ 205779 w 546"/>
                <a:gd name="T57" fmla="*/ 72383 h 173"/>
                <a:gd name="T58" fmla="*/ 194515 w 546"/>
                <a:gd name="T59" fmla="*/ 75576 h 173"/>
                <a:gd name="T60" fmla="*/ 184551 w 546"/>
                <a:gd name="T61" fmla="*/ 75044 h 173"/>
                <a:gd name="T62" fmla="*/ 178486 w 546"/>
                <a:gd name="T63" fmla="*/ 71318 h 173"/>
                <a:gd name="T64" fmla="*/ 172854 w 546"/>
                <a:gd name="T65" fmla="*/ 69189 h 173"/>
                <a:gd name="T66" fmla="*/ 166789 w 546"/>
                <a:gd name="T67" fmla="*/ 64399 h 173"/>
                <a:gd name="T68" fmla="*/ 162457 w 546"/>
                <a:gd name="T69" fmla="*/ 55351 h 173"/>
                <a:gd name="T70" fmla="*/ 158125 w 546"/>
                <a:gd name="T71" fmla="*/ 48965 h 173"/>
                <a:gd name="T72" fmla="*/ 149027 w 546"/>
                <a:gd name="T73" fmla="*/ 44707 h 173"/>
                <a:gd name="T74" fmla="*/ 140796 w 546"/>
                <a:gd name="T75" fmla="*/ 40449 h 173"/>
                <a:gd name="T76" fmla="*/ 131265 w 546"/>
                <a:gd name="T77" fmla="*/ 46304 h 173"/>
                <a:gd name="T78" fmla="*/ 111770 w 546"/>
                <a:gd name="T79" fmla="*/ 71318 h 173"/>
                <a:gd name="T80" fmla="*/ 102239 w 546"/>
                <a:gd name="T81" fmla="*/ 86753 h 173"/>
                <a:gd name="T82" fmla="*/ 95308 w 546"/>
                <a:gd name="T83" fmla="*/ 91543 h 173"/>
                <a:gd name="T84" fmla="*/ 81445 w 546"/>
                <a:gd name="T85" fmla="*/ 88882 h 173"/>
                <a:gd name="T86" fmla="*/ 71481 w 546"/>
                <a:gd name="T87" fmla="*/ 82495 h 173"/>
                <a:gd name="T88" fmla="*/ 48954 w 546"/>
                <a:gd name="T89" fmla="*/ 55884 h 173"/>
                <a:gd name="T90" fmla="*/ 41156 w 546"/>
                <a:gd name="T91" fmla="*/ 48433 h 173"/>
                <a:gd name="T92" fmla="*/ 25993 w 546"/>
                <a:gd name="T93" fmla="*/ 40449 h 173"/>
                <a:gd name="T94" fmla="*/ 6931 w 546"/>
                <a:gd name="T95" fmla="*/ 30869 h 173"/>
                <a:gd name="T96" fmla="*/ 4765 w 546"/>
                <a:gd name="T97" fmla="*/ 18096 h 173"/>
                <a:gd name="T98" fmla="*/ 12130 w 546"/>
                <a:gd name="T99" fmla="*/ 10112 h 173"/>
                <a:gd name="T100" fmla="*/ 20361 w 546"/>
                <a:gd name="T101" fmla="*/ 638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09" name="Freeform 227">
              <a:extLst>
                <a:ext uri="{FF2B5EF4-FFF2-40B4-BE49-F238E27FC236}">
                  <a16:creationId xmlns:a16="http://schemas.microsoft.com/office/drawing/2014/main" id="{989E4C0E-BFA0-4565-A8E7-2E942D5AC6DF}"/>
                </a:ext>
              </a:extLst>
            </p:cNvPr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5627688" y="1477963"/>
              <a:ext cx="449262" cy="361950"/>
            </a:xfrm>
            <a:custGeom>
              <a:avLst/>
              <a:gdLst>
                <a:gd name="T0" fmla="*/ 103976 w 1037"/>
                <a:gd name="T1" fmla="*/ 326280 h 690"/>
                <a:gd name="T2" fmla="*/ 67151 w 1037"/>
                <a:gd name="T3" fmla="*/ 358278 h 690"/>
                <a:gd name="T4" fmla="*/ 13863 w 1037"/>
                <a:gd name="T5" fmla="*/ 343066 h 690"/>
                <a:gd name="T6" fmla="*/ 29027 w 1037"/>
                <a:gd name="T7" fmla="*/ 332574 h 690"/>
                <a:gd name="T8" fmla="*/ 7798 w 1037"/>
                <a:gd name="T9" fmla="*/ 312641 h 690"/>
                <a:gd name="T10" fmla="*/ 19062 w 1037"/>
                <a:gd name="T11" fmla="*/ 312116 h 690"/>
                <a:gd name="T12" fmla="*/ 29027 w 1037"/>
                <a:gd name="T13" fmla="*/ 297428 h 690"/>
                <a:gd name="T14" fmla="*/ 3466 w 1037"/>
                <a:gd name="T15" fmla="*/ 286413 h 690"/>
                <a:gd name="T16" fmla="*/ 32059 w 1037"/>
                <a:gd name="T17" fmla="*/ 274348 h 690"/>
                <a:gd name="T18" fmla="*/ 0 w 1037"/>
                <a:gd name="T19" fmla="*/ 261758 h 690"/>
                <a:gd name="T20" fmla="*/ 8665 w 1037"/>
                <a:gd name="T21" fmla="*/ 239202 h 690"/>
                <a:gd name="T22" fmla="*/ 16030 w 1037"/>
                <a:gd name="T23" fmla="*/ 241825 h 690"/>
                <a:gd name="T24" fmla="*/ 33359 w 1037"/>
                <a:gd name="T25" fmla="*/ 235530 h 690"/>
                <a:gd name="T26" fmla="*/ 39857 w 1037"/>
                <a:gd name="T27" fmla="*/ 222416 h 690"/>
                <a:gd name="T28" fmla="*/ 56320 w 1037"/>
                <a:gd name="T29" fmla="*/ 214547 h 690"/>
                <a:gd name="T30" fmla="*/ 95311 w 1037"/>
                <a:gd name="T31" fmla="*/ 200384 h 690"/>
                <a:gd name="T32" fmla="*/ 98344 w 1037"/>
                <a:gd name="T33" fmla="*/ 177828 h 690"/>
                <a:gd name="T34" fmla="*/ 122605 w 1037"/>
                <a:gd name="T35" fmla="*/ 170484 h 690"/>
                <a:gd name="T36" fmla="*/ 122172 w 1037"/>
                <a:gd name="T37" fmla="*/ 162615 h 690"/>
                <a:gd name="T38" fmla="*/ 129103 w 1037"/>
                <a:gd name="T39" fmla="*/ 149501 h 690"/>
                <a:gd name="T40" fmla="*/ 145133 w 1037"/>
                <a:gd name="T41" fmla="*/ 127469 h 690"/>
                <a:gd name="T42" fmla="*/ 148599 w 1037"/>
                <a:gd name="T43" fmla="*/ 118552 h 690"/>
                <a:gd name="T44" fmla="*/ 168961 w 1037"/>
                <a:gd name="T45" fmla="*/ 104913 h 690"/>
                <a:gd name="T46" fmla="*/ 167661 w 1037"/>
                <a:gd name="T47" fmla="*/ 82357 h 690"/>
                <a:gd name="T48" fmla="*/ 161596 w 1037"/>
                <a:gd name="T49" fmla="*/ 74488 h 690"/>
                <a:gd name="T50" fmla="*/ 144700 w 1037"/>
                <a:gd name="T51" fmla="*/ 80783 h 690"/>
                <a:gd name="T52" fmla="*/ 168961 w 1037"/>
                <a:gd name="T53" fmla="*/ 54030 h 690"/>
                <a:gd name="T54" fmla="*/ 178059 w 1037"/>
                <a:gd name="T55" fmla="*/ 50358 h 690"/>
                <a:gd name="T56" fmla="*/ 200587 w 1037"/>
                <a:gd name="T57" fmla="*/ 59800 h 690"/>
                <a:gd name="T58" fmla="*/ 201886 w 1037"/>
                <a:gd name="T59" fmla="*/ 47735 h 690"/>
                <a:gd name="T60" fmla="*/ 241744 w 1037"/>
                <a:gd name="T61" fmla="*/ 31998 h 690"/>
                <a:gd name="T62" fmla="*/ 256040 w 1037"/>
                <a:gd name="T63" fmla="*/ 33048 h 690"/>
                <a:gd name="T64" fmla="*/ 279435 w 1037"/>
                <a:gd name="T65" fmla="*/ 28851 h 690"/>
                <a:gd name="T66" fmla="*/ 279435 w 1037"/>
                <a:gd name="T67" fmla="*/ 17311 h 690"/>
                <a:gd name="T68" fmla="*/ 302829 w 1037"/>
                <a:gd name="T69" fmla="*/ 6819 h 690"/>
                <a:gd name="T70" fmla="*/ 305429 w 1037"/>
                <a:gd name="T71" fmla="*/ 15212 h 690"/>
                <a:gd name="T72" fmla="*/ 308461 w 1037"/>
                <a:gd name="T73" fmla="*/ 20983 h 690"/>
                <a:gd name="T74" fmla="*/ 328390 w 1037"/>
                <a:gd name="T75" fmla="*/ 6295 h 690"/>
                <a:gd name="T76" fmla="*/ 353951 w 1037"/>
                <a:gd name="T77" fmla="*/ 3147 h 690"/>
                <a:gd name="T78" fmla="*/ 365648 w 1037"/>
                <a:gd name="T79" fmla="*/ 4197 h 690"/>
                <a:gd name="T80" fmla="*/ 373446 w 1037"/>
                <a:gd name="T81" fmla="*/ 5770 h 690"/>
                <a:gd name="T82" fmla="*/ 400307 w 1037"/>
                <a:gd name="T83" fmla="*/ 3147 h 690"/>
                <a:gd name="T84" fmla="*/ 449262 w 1037"/>
                <a:gd name="T85" fmla="*/ 22556 h 690"/>
                <a:gd name="T86" fmla="*/ 435399 w 1037"/>
                <a:gd name="T87" fmla="*/ 41441 h 690"/>
                <a:gd name="T88" fmla="*/ 402906 w 1037"/>
                <a:gd name="T89" fmla="*/ 28851 h 690"/>
                <a:gd name="T90" fmla="*/ 378212 w 1037"/>
                <a:gd name="T91" fmla="*/ 38818 h 690"/>
                <a:gd name="T92" fmla="*/ 367381 w 1037"/>
                <a:gd name="T93" fmla="*/ 60850 h 690"/>
                <a:gd name="T94" fmla="*/ 351351 w 1037"/>
                <a:gd name="T95" fmla="*/ 58227 h 690"/>
                <a:gd name="T96" fmla="*/ 322758 w 1037"/>
                <a:gd name="T97" fmla="*/ 67144 h 690"/>
                <a:gd name="T98" fmla="*/ 300663 w 1037"/>
                <a:gd name="T99" fmla="*/ 48260 h 690"/>
                <a:gd name="T100" fmla="*/ 268604 w 1037"/>
                <a:gd name="T101" fmla="*/ 58751 h 690"/>
                <a:gd name="T102" fmla="*/ 231346 w 1037"/>
                <a:gd name="T103" fmla="*/ 70292 h 690"/>
                <a:gd name="T104" fmla="*/ 210551 w 1037"/>
                <a:gd name="T105" fmla="*/ 110159 h 690"/>
                <a:gd name="T106" fmla="*/ 186290 w 1037"/>
                <a:gd name="T107" fmla="*/ 146354 h 690"/>
                <a:gd name="T108" fmla="*/ 172860 w 1037"/>
                <a:gd name="T109" fmla="*/ 190942 h 690"/>
                <a:gd name="T110" fmla="*/ 144266 w 1037"/>
                <a:gd name="T111" fmla="*/ 222940 h 690"/>
                <a:gd name="T112" fmla="*/ 153798 w 1037"/>
                <a:gd name="T113" fmla="*/ 260709 h 690"/>
                <a:gd name="T114" fmla="*/ 153364 w 1037"/>
                <a:gd name="T115" fmla="*/ 292707 h 690"/>
                <a:gd name="T116" fmla="*/ 143400 w 1037"/>
                <a:gd name="T117" fmla="*/ 322608 h 690"/>
                <a:gd name="T118" fmla="*/ 127804 w 1037"/>
                <a:gd name="T119" fmla="*/ 338345 h 6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10" name="Freeform 228">
              <a:extLst>
                <a:ext uri="{FF2B5EF4-FFF2-40B4-BE49-F238E27FC236}">
                  <a16:creationId xmlns:a16="http://schemas.microsoft.com/office/drawing/2014/main" id="{CD76091F-BDAB-4F58-82AF-FA53AA01F7D0}"/>
                </a:ext>
              </a:extLst>
            </p:cNvPr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5967413" y="2319339"/>
              <a:ext cx="49212" cy="90487"/>
            </a:xfrm>
            <a:custGeom>
              <a:avLst/>
              <a:gdLst>
                <a:gd name="T0" fmla="*/ 49212 w 120"/>
                <a:gd name="T1" fmla="*/ 51782 h 173"/>
                <a:gd name="T2" fmla="*/ 37729 w 120"/>
                <a:gd name="T3" fmla="*/ 31383 h 173"/>
                <a:gd name="T4" fmla="*/ 28707 w 120"/>
                <a:gd name="T5" fmla="*/ 14645 h 173"/>
                <a:gd name="T6" fmla="*/ 24606 w 120"/>
                <a:gd name="T7" fmla="*/ 8369 h 173"/>
                <a:gd name="T8" fmla="*/ 21735 w 120"/>
                <a:gd name="T9" fmla="*/ 4184 h 173"/>
                <a:gd name="T10" fmla="*/ 19685 w 120"/>
                <a:gd name="T11" fmla="*/ 2092 h 173"/>
                <a:gd name="T12" fmla="*/ 18455 w 120"/>
                <a:gd name="T13" fmla="*/ 1046 h 173"/>
                <a:gd name="T14" fmla="*/ 17634 w 120"/>
                <a:gd name="T15" fmla="*/ 523 h 173"/>
                <a:gd name="T16" fmla="*/ 15994 w 120"/>
                <a:gd name="T17" fmla="*/ 0 h 173"/>
                <a:gd name="T18" fmla="*/ 13533 w 120"/>
                <a:gd name="T19" fmla="*/ 0 h 173"/>
                <a:gd name="T20" fmla="*/ 11073 w 120"/>
                <a:gd name="T21" fmla="*/ 523 h 173"/>
                <a:gd name="T22" fmla="*/ 9842 w 120"/>
                <a:gd name="T23" fmla="*/ 1569 h 173"/>
                <a:gd name="T24" fmla="*/ 8612 w 120"/>
                <a:gd name="T25" fmla="*/ 2615 h 173"/>
                <a:gd name="T26" fmla="*/ 7792 w 120"/>
                <a:gd name="T27" fmla="*/ 4184 h 173"/>
                <a:gd name="T28" fmla="*/ 6562 w 120"/>
                <a:gd name="T29" fmla="*/ 6277 h 173"/>
                <a:gd name="T30" fmla="*/ 6152 w 120"/>
                <a:gd name="T31" fmla="*/ 7846 h 173"/>
                <a:gd name="T32" fmla="*/ 6152 w 120"/>
                <a:gd name="T33" fmla="*/ 10461 h 173"/>
                <a:gd name="T34" fmla="*/ 5741 w 120"/>
                <a:gd name="T35" fmla="*/ 15691 h 173"/>
                <a:gd name="T36" fmla="*/ 4921 w 120"/>
                <a:gd name="T37" fmla="*/ 21968 h 173"/>
                <a:gd name="T38" fmla="*/ 4101 w 120"/>
                <a:gd name="T39" fmla="*/ 25106 h 173"/>
                <a:gd name="T40" fmla="*/ 3281 w 120"/>
                <a:gd name="T41" fmla="*/ 28244 h 173"/>
                <a:gd name="T42" fmla="*/ 1640 w 120"/>
                <a:gd name="T43" fmla="*/ 31906 h 173"/>
                <a:gd name="T44" fmla="*/ 0 w 120"/>
                <a:gd name="T45" fmla="*/ 35567 h 173"/>
                <a:gd name="T46" fmla="*/ 2051 w 120"/>
                <a:gd name="T47" fmla="*/ 42890 h 173"/>
                <a:gd name="T48" fmla="*/ 4101 w 120"/>
                <a:gd name="T49" fmla="*/ 51782 h 173"/>
                <a:gd name="T50" fmla="*/ 6152 w 120"/>
                <a:gd name="T51" fmla="*/ 60150 h 173"/>
                <a:gd name="T52" fmla="*/ 8202 w 120"/>
                <a:gd name="T53" fmla="*/ 67473 h 173"/>
                <a:gd name="T54" fmla="*/ 9842 w 120"/>
                <a:gd name="T55" fmla="*/ 70088 h 173"/>
                <a:gd name="T56" fmla="*/ 12303 w 120"/>
                <a:gd name="T57" fmla="*/ 72703 h 173"/>
                <a:gd name="T58" fmla="*/ 15174 w 120"/>
                <a:gd name="T59" fmla="*/ 75842 h 173"/>
                <a:gd name="T60" fmla="*/ 18865 w 120"/>
                <a:gd name="T61" fmla="*/ 78980 h 173"/>
                <a:gd name="T62" fmla="*/ 22145 w 120"/>
                <a:gd name="T63" fmla="*/ 82118 h 173"/>
                <a:gd name="T64" fmla="*/ 24606 w 120"/>
                <a:gd name="T65" fmla="*/ 85257 h 173"/>
                <a:gd name="T66" fmla="*/ 25426 w 120"/>
                <a:gd name="T67" fmla="*/ 86303 h 173"/>
                <a:gd name="T68" fmla="*/ 26657 w 120"/>
                <a:gd name="T69" fmla="*/ 87872 h 173"/>
                <a:gd name="T70" fmla="*/ 27067 w 120"/>
                <a:gd name="T71" fmla="*/ 88918 h 173"/>
                <a:gd name="T72" fmla="*/ 27477 w 120"/>
                <a:gd name="T73" fmla="*/ 90487 h 173"/>
                <a:gd name="T74" fmla="*/ 31168 w 120"/>
                <a:gd name="T75" fmla="*/ 87349 h 173"/>
                <a:gd name="T76" fmla="*/ 35269 w 120"/>
                <a:gd name="T77" fmla="*/ 83687 h 173"/>
                <a:gd name="T78" fmla="*/ 38139 w 120"/>
                <a:gd name="T79" fmla="*/ 79503 h 173"/>
                <a:gd name="T80" fmla="*/ 41420 w 120"/>
                <a:gd name="T81" fmla="*/ 74273 h 173"/>
                <a:gd name="T82" fmla="*/ 43471 w 120"/>
                <a:gd name="T83" fmla="*/ 69042 h 173"/>
                <a:gd name="T84" fmla="*/ 45931 w 120"/>
                <a:gd name="T85" fmla="*/ 63289 h 173"/>
                <a:gd name="T86" fmla="*/ 47572 w 120"/>
                <a:gd name="T87" fmla="*/ 57535 h 173"/>
                <a:gd name="T88" fmla="*/ 49212 w 120"/>
                <a:gd name="T89" fmla="*/ 51782 h 17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1" name="Freeform 229">
              <a:extLst>
                <a:ext uri="{FF2B5EF4-FFF2-40B4-BE49-F238E27FC236}">
                  <a16:creationId xmlns:a16="http://schemas.microsoft.com/office/drawing/2014/main" id="{1ACB7756-3C71-4C92-BB47-6B5308A0F7BC}"/>
                </a:ext>
              </a:extLst>
            </p:cNvPr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5675314" y="2159000"/>
              <a:ext cx="84137" cy="58738"/>
            </a:xfrm>
            <a:custGeom>
              <a:avLst/>
              <a:gdLst>
                <a:gd name="T0" fmla="*/ 84137 w 200"/>
                <a:gd name="T1" fmla="*/ 32965 h 98"/>
                <a:gd name="T2" fmla="*/ 82034 w 200"/>
                <a:gd name="T3" fmla="*/ 33565 h 98"/>
                <a:gd name="T4" fmla="*/ 78247 w 200"/>
                <a:gd name="T5" fmla="*/ 35962 h 98"/>
                <a:gd name="T6" fmla="*/ 74461 w 200"/>
                <a:gd name="T7" fmla="*/ 38959 h 98"/>
                <a:gd name="T8" fmla="*/ 69834 w 200"/>
                <a:gd name="T9" fmla="*/ 43754 h 98"/>
                <a:gd name="T10" fmla="*/ 65206 w 200"/>
                <a:gd name="T11" fmla="*/ 47949 h 98"/>
                <a:gd name="T12" fmla="*/ 60999 w 200"/>
                <a:gd name="T13" fmla="*/ 52145 h 98"/>
                <a:gd name="T14" fmla="*/ 57634 w 200"/>
                <a:gd name="T15" fmla="*/ 55741 h 98"/>
                <a:gd name="T16" fmla="*/ 55951 w 200"/>
                <a:gd name="T17" fmla="*/ 58738 h 98"/>
                <a:gd name="T18" fmla="*/ 53427 w 200"/>
                <a:gd name="T19" fmla="*/ 58738 h 98"/>
                <a:gd name="T20" fmla="*/ 51324 w 200"/>
                <a:gd name="T21" fmla="*/ 58738 h 98"/>
                <a:gd name="T22" fmla="*/ 48799 w 200"/>
                <a:gd name="T23" fmla="*/ 58139 h 98"/>
                <a:gd name="T24" fmla="*/ 46696 w 200"/>
                <a:gd name="T25" fmla="*/ 56940 h 98"/>
                <a:gd name="T26" fmla="*/ 44593 w 200"/>
                <a:gd name="T27" fmla="*/ 55741 h 98"/>
                <a:gd name="T28" fmla="*/ 43331 w 200"/>
                <a:gd name="T29" fmla="*/ 52744 h 98"/>
                <a:gd name="T30" fmla="*/ 42489 w 200"/>
                <a:gd name="T31" fmla="*/ 49148 h 98"/>
                <a:gd name="T32" fmla="*/ 42069 w 200"/>
                <a:gd name="T33" fmla="*/ 44353 h 98"/>
                <a:gd name="T34" fmla="*/ 38282 w 200"/>
                <a:gd name="T35" fmla="*/ 47949 h 98"/>
                <a:gd name="T36" fmla="*/ 34496 w 200"/>
                <a:gd name="T37" fmla="*/ 51546 h 98"/>
                <a:gd name="T38" fmla="*/ 32813 w 200"/>
                <a:gd name="T39" fmla="*/ 53943 h 98"/>
                <a:gd name="T40" fmla="*/ 30289 w 200"/>
                <a:gd name="T41" fmla="*/ 55741 h 98"/>
                <a:gd name="T42" fmla="*/ 28186 w 200"/>
                <a:gd name="T43" fmla="*/ 57539 h 98"/>
                <a:gd name="T44" fmla="*/ 25241 w 200"/>
                <a:gd name="T45" fmla="*/ 58738 h 98"/>
                <a:gd name="T46" fmla="*/ 16407 w 200"/>
                <a:gd name="T47" fmla="*/ 58738 h 98"/>
                <a:gd name="T48" fmla="*/ 14303 w 200"/>
                <a:gd name="T49" fmla="*/ 58738 h 98"/>
                <a:gd name="T50" fmla="*/ 11779 w 200"/>
                <a:gd name="T51" fmla="*/ 56940 h 98"/>
                <a:gd name="T52" fmla="*/ 9255 w 200"/>
                <a:gd name="T53" fmla="*/ 55142 h 98"/>
                <a:gd name="T54" fmla="*/ 6310 w 200"/>
                <a:gd name="T55" fmla="*/ 53344 h 98"/>
                <a:gd name="T56" fmla="*/ 3786 w 200"/>
                <a:gd name="T57" fmla="*/ 50946 h 98"/>
                <a:gd name="T58" fmla="*/ 1683 w 200"/>
                <a:gd name="T59" fmla="*/ 48549 h 98"/>
                <a:gd name="T60" fmla="*/ 421 w 200"/>
                <a:gd name="T61" fmla="*/ 46151 h 98"/>
                <a:gd name="T62" fmla="*/ 0 w 200"/>
                <a:gd name="T63" fmla="*/ 44353 h 98"/>
                <a:gd name="T64" fmla="*/ 2103 w 200"/>
                <a:gd name="T65" fmla="*/ 42555 h 98"/>
                <a:gd name="T66" fmla="*/ 4207 w 200"/>
                <a:gd name="T67" fmla="*/ 40158 h 98"/>
                <a:gd name="T68" fmla="*/ 5890 w 200"/>
                <a:gd name="T69" fmla="*/ 35962 h 98"/>
                <a:gd name="T70" fmla="*/ 8414 w 200"/>
                <a:gd name="T71" fmla="*/ 31766 h 98"/>
                <a:gd name="T72" fmla="*/ 9676 w 200"/>
                <a:gd name="T73" fmla="*/ 26972 h 98"/>
                <a:gd name="T74" fmla="*/ 11358 w 200"/>
                <a:gd name="T75" fmla="*/ 22177 h 98"/>
                <a:gd name="T76" fmla="*/ 12621 w 200"/>
                <a:gd name="T77" fmla="*/ 16782 h 98"/>
                <a:gd name="T78" fmla="*/ 13883 w 200"/>
                <a:gd name="T79" fmla="*/ 11388 h 98"/>
                <a:gd name="T80" fmla="*/ 27765 w 200"/>
                <a:gd name="T81" fmla="*/ 8391 h 98"/>
                <a:gd name="T82" fmla="*/ 43331 w 200"/>
                <a:gd name="T83" fmla="*/ 5394 h 98"/>
                <a:gd name="T84" fmla="*/ 60999 w 200"/>
                <a:gd name="T85" fmla="*/ 2397 h 98"/>
                <a:gd name="T86" fmla="*/ 81192 w 200"/>
                <a:gd name="T87" fmla="*/ 0 h 98"/>
                <a:gd name="T88" fmla="*/ 69834 w 200"/>
                <a:gd name="T89" fmla="*/ 18580 h 98"/>
                <a:gd name="T90" fmla="*/ 69834 w 200"/>
                <a:gd name="T91" fmla="*/ 20378 h 98"/>
                <a:gd name="T92" fmla="*/ 68992 w 200"/>
                <a:gd name="T93" fmla="*/ 22177 h 98"/>
                <a:gd name="T94" fmla="*/ 68151 w 200"/>
                <a:gd name="T95" fmla="*/ 23375 h 98"/>
                <a:gd name="T96" fmla="*/ 67730 w 200"/>
                <a:gd name="T97" fmla="*/ 24574 h 98"/>
                <a:gd name="T98" fmla="*/ 66048 w 200"/>
                <a:gd name="T99" fmla="*/ 26972 h 98"/>
                <a:gd name="T100" fmla="*/ 65627 w 200"/>
                <a:gd name="T101" fmla="*/ 28170 h 98"/>
                <a:gd name="T102" fmla="*/ 65627 w 200"/>
                <a:gd name="T103" fmla="*/ 29369 h 98"/>
                <a:gd name="T104" fmla="*/ 66048 w 200"/>
                <a:gd name="T105" fmla="*/ 29968 h 98"/>
                <a:gd name="T106" fmla="*/ 66889 w 200"/>
                <a:gd name="T107" fmla="*/ 29968 h 98"/>
                <a:gd name="T108" fmla="*/ 68572 w 200"/>
                <a:gd name="T109" fmla="*/ 30568 h 98"/>
                <a:gd name="T110" fmla="*/ 74461 w 200"/>
                <a:gd name="T111" fmla="*/ 31766 h 98"/>
                <a:gd name="T112" fmla="*/ 84137 w 200"/>
                <a:gd name="T113" fmla="*/ 32965 h 9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12" name="Freeform 230">
              <a:extLst>
                <a:ext uri="{FF2B5EF4-FFF2-40B4-BE49-F238E27FC236}">
                  <a16:creationId xmlns:a16="http://schemas.microsoft.com/office/drawing/2014/main" id="{841E4485-A7A8-4A1F-B5F8-852E7464F856}"/>
                </a:ext>
              </a:extLst>
            </p:cNvPr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5613400" y="1978026"/>
              <a:ext cx="84138" cy="73025"/>
            </a:xfrm>
            <a:custGeom>
              <a:avLst/>
              <a:gdLst>
                <a:gd name="T0" fmla="*/ 0 w 186"/>
                <a:gd name="T1" fmla="*/ 57597 h 142"/>
                <a:gd name="T2" fmla="*/ 905 w 186"/>
                <a:gd name="T3" fmla="*/ 59654 h 142"/>
                <a:gd name="T4" fmla="*/ 1357 w 186"/>
                <a:gd name="T5" fmla="*/ 55026 h 142"/>
                <a:gd name="T6" fmla="*/ 1357 w 186"/>
                <a:gd name="T7" fmla="*/ 47826 h 142"/>
                <a:gd name="T8" fmla="*/ 4071 w 186"/>
                <a:gd name="T9" fmla="*/ 42169 h 142"/>
                <a:gd name="T10" fmla="*/ 7690 w 186"/>
                <a:gd name="T11" fmla="*/ 35484 h 142"/>
                <a:gd name="T12" fmla="*/ 9047 w 186"/>
                <a:gd name="T13" fmla="*/ 28799 h 142"/>
                <a:gd name="T14" fmla="*/ 10404 w 186"/>
                <a:gd name="T15" fmla="*/ 23656 h 142"/>
                <a:gd name="T16" fmla="*/ 12666 w 186"/>
                <a:gd name="T17" fmla="*/ 19028 h 142"/>
                <a:gd name="T18" fmla="*/ 15832 w 186"/>
                <a:gd name="T19" fmla="*/ 16456 h 142"/>
                <a:gd name="T20" fmla="*/ 18547 w 186"/>
                <a:gd name="T21" fmla="*/ 19542 h 142"/>
                <a:gd name="T22" fmla="*/ 19451 w 186"/>
                <a:gd name="T23" fmla="*/ 25199 h 142"/>
                <a:gd name="T24" fmla="*/ 21261 w 186"/>
                <a:gd name="T25" fmla="*/ 29827 h 142"/>
                <a:gd name="T26" fmla="*/ 24880 w 186"/>
                <a:gd name="T27" fmla="*/ 33427 h 142"/>
                <a:gd name="T28" fmla="*/ 39355 w 186"/>
                <a:gd name="T29" fmla="*/ 34455 h 142"/>
                <a:gd name="T30" fmla="*/ 35736 w 186"/>
                <a:gd name="T31" fmla="*/ 21085 h 142"/>
                <a:gd name="T32" fmla="*/ 31212 w 186"/>
                <a:gd name="T33" fmla="*/ 18513 h 142"/>
                <a:gd name="T34" fmla="*/ 28498 w 186"/>
                <a:gd name="T35" fmla="*/ 15428 h 142"/>
                <a:gd name="T36" fmla="*/ 27594 w 186"/>
                <a:gd name="T37" fmla="*/ 11828 h 142"/>
                <a:gd name="T38" fmla="*/ 31665 w 186"/>
                <a:gd name="T39" fmla="*/ 8742 h 142"/>
                <a:gd name="T40" fmla="*/ 39355 w 186"/>
                <a:gd name="T41" fmla="*/ 7200 h 142"/>
                <a:gd name="T42" fmla="*/ 44331 w 186"/>
                <a:gd name="T43" fmla="*/ 5143 h 142"/>
                <a:gd name="T44" fmla="*/ 50211 w 186"/>
                <a:gd name="T45" fmla="*/ 3086 h 142"/>
                <a:gd name="T46" fmla="*/ 58806 w 186"/>
                <a:gd name="T47" fmla="*/ 1543 h 142"/>
                <a:gd name="T48" fmla="*/ 66496 w 186"/>
                <a:gd name="T49" fmla="*/ 514 h 142"/>
                <a:gd name="T50" fmla="*/ 71924 w 186"/>
                <a:gd name="T51" fmla="*/ 1029 h 142"/>
                <a:gd name="T52" fmla="*/ 79614 w 186"/>
                <a:gd name="T53" fmla="*/ 514 h 142"/>
                <a:gd name="T54" fmla="*/ 82781 w 186"/>
                <a:gd name="T55" fmla="*/ 5143 h 142"/>
                <a:gd name="T56" fmla="*/ 80519 w 186"/>
                <a:gd name="T57" fmla="*/ 13371 h 142"/>
                <a:gd name="T58" fmla="*/ 76448 w 186"/>
                <a:gd name="T59" fmla="*/ 20570 h 142"/>
                <a:gd name="T60" fmla="*/ 71924 w 186"/>
                <a:gd name="T61" fmla="*/ 26227 h 142"/>
                <a:gd name="T62" fmla="*/ 70115 w 186"/>
                <a:gd name="T63" fmla="*/ 32398 h 142"/>
                <a:gd name="T64" fmla="*/ 69210 w 186"/>
                <a:gd name="T65" fmla="*/ 39084 h 142"/>
                <a:gd name="T66" fmla="*/ 54283 w 186"/>
                <a:gd name="T67" fmla="*/ 73025 h 142"/>
                <a:gd name="T68" fmla="*/ 36188 w 186"/>
                <a:gd name="T69" fmla="*/ 62740 h 142"/>
                <a:gd name="T70" fmla="*/ 15832 w 186"/>
                <a:gd name="T71" fmla="*/ 60168 h 142"/>
                <a:gd name="T72" fmla="*/ 3619 w 186"/>
                <a:gd name="T73" fmla="*/ 58111 h 1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13" name="Freeform 231">
              <a:extLst>
                <a:ext uri="{FF2B5EF4-FFF2-40B4-BE49-F238E27FC236}">
                  <a16:creationId xmlns:a16="http://schemas.microsoft.com/office/drawing/2014/main" id="{0202174C-145F-44A5-9229-7DD519AD0205}"/>
                </a:ext>
              </a:extLst>
            </p:cNvPr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5594350" y="2041525"/>
              <a:ext cx="84138" cy="57150"/>
            </a:xfrm>
            <a:custGeom>
              <a:avLst/>
              <a:gdLst>
                <a:gd name="T0" fmla="*/ 84138 w 192"/>
                <a:gd name="T1" fmla="*/ 33201 h 105"/>
                <a:gd name="T2" fmla="*/ 82823 w 192"/>
                <a:gd name="T3" fmla="*/ 33746 h 105"/>
                <a:gd name="T4" fmla="*/ 80632 w 192"/>
                <a:gd name="T5" fmla="*/ 34290 h 105"/>
                <a:gd name="T6" fmla="*/ 78879 w 192"/>
                <a:gd name="T7" fmla="*/ 34834 h 105"/>
                <a:gd name="T8" fmla="*/ 77565 w 192"/>
                <a:gd name="T9" fmla="*/ 36467 h 105"/>
                <a:gd name="T10" fmla="*/ 73621 w 192"/>
                <a:gd name="T11" fmla="*/ 39189 h 105"/>
                <a:gd name="T12" fmla="*/ 70115 w 192"/>
                <a:gd name="T13" fmla="*/ 42999 h 105"/>
                <a:gd name="T14" fmla="*/ 67486 w 192"/>
                <a:gd name="T15" fmla="*/ 46809 h 105"/>
                <a:gd name="T16" fmla="*/ 64418 w 192"/>
                <a:gd name="T17" fmla="*/ 50619 h 105"/>
                <a:gd name="T18" fmla="*/ 62665 w 192"/>
                <a:gd name="T19" fmla="*/ 53884 h 105"/>
                <a:gd name="T20" fmla="*/ 60912 w 192"/>
                <a:gd name="T21" fmla="*/ 57150 h 105"/>
                <a:gd name="T22" fmla="*/ 52586 w 192"/>
                <a:gd name="T23" fmla="*/ 52796 h 105"/>
                <a:gd name="T24" fmla="*/ 44698 w 192"/>
                <a:gd name="T25" fmla="*/ 48441 h 105"/>
                <a:gd name="T26" fmla="*/ 37687 w 192"/>
                <a:gd name="T27" fmla="*/ 43543 h 105"/>
                <a:gd name="T28" fmla="*/ 30237 w 192"/>
                <a:gd name="T29" fmla="*/ 38644 h 105"/>
                <a:gd name="T30" fmla="*/ 23226 w 192"/>
                <a:gd name="T31" fmla="*/ 33201 h 105"/>
                <a:gd name="T32" fmla="*/ 15776 w 192"/>
                <a:gd name="T33" fmla="*/ 28847 h 105"/>
                <a:gd name="T34" fmla="*/ 8326 w 192"/>
                <a:gd name="T35" fmla="*/ 23949 h 105"/>
                <a:gd name="T36" fmla="*/ 0 w 192"/>
                <a:gd name="T37" fmla="*/ 20139 h 105"/>
                <a:gd name="T38" fmla="*/ 0 w 192"/>
                <a:gd name="T39" fmla="*/ 7076 h 105"/>
                <a:gd name="T40" fmla="*/ 3068 w 192"/>
                <a:gd name="T41" fmla="*/ 3810 h 105"/>
                <a:gd name="T42" fmla="*/ 7012 w 192"/>
                <a:gd name="T43" fmla="*/ 2177 h 105"/>
                <a:gd name="T44" fmla="*/ 12708 w 192"/>
                <a:gd name="T45" fmla="*/ 544 h 105"/>
                <a:gd name="T46" fmla="*/ 17529 w 192"/>
                <a:gd name="T47" fmla="*/ 0 h 105"/>
                <a:gd name="T48" fmla="*/ 26293 w 192"/>
                <a:gd name="T49" fmla="*/ 1089 h 105"/>
                <a:gd name="T50" fmla="*/ 40754 w 192"/>
                <a:gd name="T51" fmla="*/ 2721 h 105"/>
                <a:gd name="T52" fmla="*/ 48642 w 192"/>
                <a:gd name="T53" fmla="*/ 3810 h 105"/>
                <a:gd name="T54" fmla="*/ 56092 w 192"/>
                <a:gd name="T55" fmla="*/ 3810 h 105"/>
                <a:gd name="T56" fmla="*/ 62665 w 192"/>
                <a:gd name="T57" fmla="*/ 3810 h 105"/>
                <a:gd name="T58" fmla="*/ 67047 w 192"/>
                <a:gd name="T59" fmla="*/ 3266 h 105"/>
                <a:gd name="T60" fmla="*/ 67924 w 192"/>
                <a:gd name="T61" fmla="*/ 5987 h 105"/>
                <a:gd name="T62" fmla="*/ 69677 w 192"/>
                <a:gd name="T63" fmla="*/ 9253 h 105"/>
                <a:gd name="T64" fmla="*/ 70553 w 192"/>
                <a:gd name="T65" fmla="*/ 10886 h 105"/>
                <a:gd name="T66" fmla="*/ 71868 w 192"/>
                <a:gd name="T67" fmla="*/ 12519 h 105"/>
                <a:gd name="T68" fmla="*/ 72306 w 192"/>
                <a:gd name="T69" fmla="*/ 14696 h 105"/>
                <a:gd name="T70" fmla="*/ 72744 w 192"/>
                <a:gd name="T71" fmla="*/ 16873 h 105"/>
                <a:gd name="T72" fmla="*/ 74497 w 192"/>
                <a:gd name="T73" fmla="*/ 17417 h 105"/>
                <a:gd name="T74" fmla="*/ 77565 w 192"/>
                <a:gd name="T75" fmla="*/ 17961 h 105"/>
                <a:gd name="T76" fmla="*/ 78879 w 192"/>
                <a:gd name="T77" fmla="*/ 18506 h 105"/>
                <a:gd name="T78" fmla="*/ 80194 w 192"/>
                <a:gd name="T79" fmla="*/ 18506 h 105"/>
                <a:gd name="T80" fmla="*/ 82385 w 192"/>
                <a:gd name="T81" fmla="*/ 17961 h 105"/>
                <a:gd name="T82" fmla="*/ 84138 w 192"/>
                <a:gd name="T83" fmla="*/ 16873 h 105"/>
                <a:gd name="T84" fmla="*/ 84138 w 192"/>
                <a:gd name="T85" fmla="*/ 33201 h 10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14" name="Freeform 232">
              <a:extLst>
                <a:ext uri="{FF2B5EF4-FFF2-40B4-BE49-F238E27FC236}">
                  <a16:creationId xmlns:a16="http://schemas.microsoft.com/office/drawing/2014/main" id="{CE487419-485B-4332-881C-371B61294FFA}"/>
                </a:ext>
              </a:extLst>
            </p:cNvPr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6354764" y="2595563"/>
              <a:ext cx="33337" cy="131762"/>
            </a:xfrm>
            <a:custGeom>
              <a:avLst/>
              <a:gdLst>
                <a:gd name="T0" fmla="*/ 13752 w 80"/>
                <a:gd name="T1" fmla="*/ 0 h 254"/>
                <a:gd name="T2" fmla="*/ 15418 w 80"/>
                <a:gd name="T3" fmla="*/ 1037 h 254"/>
                <a:gd name="T4" fmla="*/ 16669 w 80"/>
                <a:gd name="T5" fmla="*/ 2075 h 254"/>
                <a:gd name="T6" fmla="*/ 17919 w 80"/>
                <a:gd name="T7" fmla="*/ 3631 h 254"/>
                <a:gd name="T8" fmla="*/ 19169 w 80"/>
                <a:gd name="T9" fmla="*/ 5187 h 254"/>
                <a:gd name="T10" fmla="*/ 21669 w 80"/>
                <a:gd name="T11" fmla="*/ 9337 h 254"/>
                <a:gd name="T12" fmla="*/ 23336 w 80"/>
                <a:gd name="T13" fmla="*/ 12969 h 254"/>
                <a:gd name="T14" fmla="*/ 25836 w 80"/>
                <a:gd name="T15" fmla="*/ 16600 h 254"/>
                <a:gd name="T16" fmla="*/ 27920 w 80"/>
                <a:gd name="T17" fmla="*/ 19712 h 254"/>
                <a:gd name="T18" fmla="*/ 29170 w 80"/>
                <a:gd name="T19" fmla="*/ 20750 h 254"/>
                <a:gd name="T20" fmla="*/ 30420 w 80"/>
                <a:gd name="T21" fmla="*/ 21787 h 254"/>
                <a:gd name="T22" fmla="*/ 31670 w 80"/>
                <a:gd name="T23" fmla="*/ 22306 h 254"/>
                <a:gd name="T24" fmla="*/ 33337 w 80"/>
                <a:gd name="T25" fmla="*/ 22825 h 254"/>
                <a:gd name="T26" fmla="*/ 33337 w 80"/>
                <a:gd name="T27" fmla="*/ 27494 h 254"/>
                <a:gd name="T28" fmla="*/ 33337 w 80"/>
                <a:gd name="T29" fmla="*/ 32162 h 254"/>
                <a:gd name="T30" fmla="*/ 22086 w 80"/>
                <a:gd name="T31" fmla="*/ 131762 h 254"/>
                <a:gd name="T32" fmla="*/ 0 w 80"/>
                <a:gd name="T33" fmla="*/ 48244 h 254"/>
                <a:gd name="T34" fmla="*/ 1667 w 80"/>
                <a:gd name="T35" fmla="*/ 45650 h 254"/>
                <a:gd name="T36" fmla="*/ 4584 w 80"/>
                <a:gd name="T37" fmla="*/ 36831 h 254"/>
                <a:gd name="T38" fmla="*/ 7084 w 80"/>
                <a:gd name="T39" fmla="*/ 29569 h 254"/>
                <a:gd name="T40" fmla="*/ 9168 w 80"/>
                <a:gd name="T41" fmla="*/ 21269 h 254"/>
                <a:gd name="T42" fmla="*/ 11668 w 80"/>
                <a:gd name="T43" fmla="*/ 11931 h 254"/>
                <a:gd name="T44" fmla="*/ 13752 w 80"/>
                <a:gd name="T45" fmla="*/ 0 h 25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5" name="Freeform 233">
              <a:extLst>
                <a:ext uri="{FF2B5EF4-FFF2-40B4-BE49-F238E27FC236}">
                  <a16:creationId xmlns:a16="http://schemas.microsoft.com/office/drawing/2014/main" id="{E2D817C3-DD2D-4499-9D94-B831BEF6892A}"/>
                </a:ext>
              </a:extLst>
            </p:cNvPr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6303963" y="2647951"/>
              <a:ext cx="69850" cy="130175"/>
            </a:xfrm>
            <a:custGeom>
              <a:avLst/>
              <a:gdLst>
                <a:gd name="T0" fmla="*/ 47682 w 167"/>
                <a:gd name="T1" fmla="*/ 0 h 259"/>
                <a:gd name="T2" fmla="*/ 69850 w 167"/>
                <a:gd name="T3" fmla="*/ 77904 h 259"/>
                <a:gd name="T4" fmla="*/ 50610 w 167"/>
                <a:gd name="T5" fmla="*/ 130175 h 259"/>
                <a:gd name="T6" fmla="*/ 47264 w 167"/>
                <a:gd name="T7" fmla="*/ 130175 h 259"/>
                <a:gd name="T8" fmla="*/ 44754 w 167"/>
                <a:gd name="T9" fmla="*/ 129170 h 259"/>
                <a:gd name="T10" fmla="*/ 41826 w 167"/>
                <a:gd name="T11" fmla="*/ 127662 h 259"/>
                <a:gd name="T12" fmla="*/ 39735 w 167"/>
                <a:gd name="T13" fmla="*/ 126154 h 259"/>
                <a:gd name="T14" fmla="*/ 37225 w 167"/>
                <a:gd name="T15" fmla="*/ 123139 h 259"/>
                <a:gd name="T16" fmla="*/ 35552 w 167"/>
                <a:gd name="T17" fmla="*/ 120625 h 259"/>
                <a:gd name="T18" fmla="*/ 33461 w 167"/>
                <a:gd name="T19" fmla="*/ 118112 h 259"/>
                <a:gd name="T20" fmla="*/ 31788 w 167"/>
                <a:gd name="T21" fmla="*/ 115097 h 259"/>
                <a:gd name="T22" fmla="*/ 28860 w 167"/>
                <a:gd name="T23" fmla="*/ 109066 h 259"/>
                <a:gd name="T24" fmla="*/ 27187 w 167"/>
                <a:gd name="T25" fmla="*/ 103034 h 259"/>
                <a:gd name="T26" fmla="*/ 25932 w 167"/>
                <a:gd name="T27" fmla="*/ 97506 h 259"/>
                <a:gd name="T28" fmla="*/ 25932 w 167"/>
                <a:gd name="T29" fmla="*/ 92982 h 259"/>
                <a:gd name="T30" fmla="*/ 23004 w 167"/>
                <a:gd name="T31" fmla="*/ 92480 h 259"/>
                <a:gd name="T32" fmla="*/ 21331 w 167"/>
                <a:gd name="T33" fmla="*/ 91977 h 259"/>
                <a:gd name="T34" fmla="*/ 18822 w 167"/>
                <a:gd name="T35" fmla="*/ 91474 h 259"/>
                <a:gd name="T36" fmla="*/ 17567 w 167"/>
                <a:gd name="T37" fmla="*/ 90469 h 259"/>
                <a:gd name="T38" fmla="*/ 16312 w 167"/>
                <a:gd name="T39" fmla="*/ 88961 h 259"/>
                <a:gd name="T40" fmla="*/ 15057 w 167"/>
                <a:gd name="T41" fmla="*/ 87453 h 259"/>
                <a:gd name="T42" fmla="*/ 14221 w 167"/>
                <a:gd name="T43" fmla="*/ 85443 h 259"/>
                <a:gd name="T44" fmla="*/ 13384 w 167"/>
                <a:gd name="T45" fmla="*/ 83935 h 259"/>
                <a:gd name="T46" fmla="*/ 12548 w 167"/>
                <a:gd name="T47" fmla="*/ 79412 h 259"/>
                <a:gd name="T48" fmla="*/ 12130 w 167"/>
                <a:gd name="T49" fmla="*/ 74888 h 259"/>
                <a:gd name="T50" fmla="*/ 11711 w 167"/>
                <a:gd name="T51" fmla="*/ 70365 h 259"/>
                <a:gd name="T52" fmla="*/ 11711 w 167"/>
                <a:gd name="T53" fmla="*/ 64836 h 259"/>
                <a:gd name="T54" fmla="*/ 8784 w 167"/>
                <a:gd name="T55" fmla="*/ 64836 h 259"/>
                <a:gd name="T56" fmla="*/ 6692 w 167"/>
                <a:gd name="T57" fmla="*/ 63831 h 259"/>
                <a:gd name="T58" fmla="*/ 4601 w 167"/>
                <a:gd name="T59" fmla="*/ 62826 h 259"/>
                <a:gd name="T60" fmla="*/ 2928 w 167"/>
                <a:gd name="T61" fmla="*/ 60815 h 259"/>
                <a:gd name="T62" fmla="*/ 2091 w 167"/>
                <a:gd name="T63" fmla="*/ 58805 h 259"/>
                <a:gd name="T64" fmla="*/ 837 w 167"/>
                <a:gd name="T65" fmla="*/ 56292 h 259"/>
                <a:gd name="T66" fmla="*/ 0 w 167"/>
                <a:gd name="T67" fmla="*/ 53779 h 259"/>
                <a:gd name="T68" fmla="*/ 0 w 167"/>
                <a:gd name="T69" fmla="*/ 50763 h 259"/>
                <a:gd name="T70" fmla="*/ 0 w 167"/>
                <a:gd name="T71" fmla="*/ 37695 h 259"/>
                <a:gd name="T72" fmla="*/ 418 w 167"/>
                <a:gd name="T73" fmla="*/ 25130 h 259"/>
                <a:gd name="T74" fmla="*/ 5019 w 167"/>
                <a:gd name="T75" fmla="*/ 26136 h 259"/>
                <a:gd name="T76" fmla="*/ 9202 w 167"/>
                <a:gd name="T77" fmla="*/ 26638 h 259"/>
                <a:gd name="T78" fmla="*/ 13384 w 167"/>
                <a:gd name="T79" fmla="*/ 26638 h 259"/>
                <a:gd name="T80" fmla="*/ 17567 w 167"/>
                <a:gd name="T81" fmla="*/ 26136 h 259"/>
                <a:gd name="T82" fmla="*/ 20913 w 167"/>
                <a:gd name="T83" fmla="*/ 25633 h 259"/>
                <a:gd name="T84" fmla="*/ 24259 w 167"/>
                <a:gd name="T85" fmla="*/ 24628 h 259"/>
                <a:gd name="T86" fmla="*/ 27605 w 167"/>
                <a:gd name="T87" fmla="*/ 23622 h 259"/>
                <a:gd name="T88" fmla="*/ 30533 w 167"/>
                <a:gd name="T89" fmla="*/ 22115 h 259"/>
                <a:gd name="T90" fmla="*/ 33043 w 167"/>
                <a:gd name="T91" fmla="*/ 20104 h 259"/>
                <a:gd name="T92" fmla="*/ 35971 w 167"/>
                <a:gd name="T93" fmla="*/ 18094 h 259"/>
                <a:gd name="T94" fmla="*/ 38062 w 167"/>
                <a:gd name="T95" fmla="*/ 15581 h 259"/>
                <a:gd name="T96" fmla="*/ 40572 w 167"/>
                <a:gd name="T97" fmla="*/ 13068 h 259"/>
                <a:gd name="T98" fmla="*/ 44754 w 167"/>
                <a:gd name="T99" fmla="*/ 6534 h 259"/>
                <a:gd name="T100" fmla="*/ 47682 w 167"/>
                <a:gd name="T101" fmla="*/ 0 h 2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6" name="Freeform 234">
              <a:extLst>
                <a:ext uri="{FF2B5EF4-FFF2-40B4-BE49-F238E27FC236}">
                  <a16:creationId xmlns:a16="http://schemas.microsoft.com/office/drawing/2014/main" id="{BAB67735-997E-4C92-9782-E252C83F0C40}"/>
                </a:ext>
              </a:extLst>
            </p:cNvPr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5305425" y="1901826"/>
              <a:ext cx="96838" cy="144463"/>
            </a:xfrm>
            <a:custGeom>
              <a:avLst/>
              <a:gdLst>
                <a:gd name="T0" fmla="*/ 79622 w 225"/>
                <a:gd name="T1" fmla="*/ 35454 h 273"/>
                <a:gd name="T2" fmla="*/ 74458 w 225"/>
                <a:gd name="T3" fmla="*/ 41275 h 273"/>
                <a:gd name="T4" fmla="*/ 68432 w 225"/>
                <a:gd name="T5" fmla="*/ 43392 h 273"/>
                <a:gd name="T6" fmla="*/ 70154 w 225"/>
                <a:gd name="T7" fmla="*/ 49213 h 273"/>
                <a:gd name="T8" fmla="*/ 74888 w 225"/>
                <a:gd name="T9" fmla="*/ 53446 h 273"/>
                <a:gd name="T10" fmla="*/ 83926 w 225"/>
                <a:gd name="T11" fmla="*/ 55563 h 273"/>
                <a:gd name="T12" fmla="*/ 96838 w 225"/>
                <a:gd name="T13" fmla="*/ 56092 h 273"/>
                <a:gd name="T14" fmla="*/ 96838 w 225"/>
                <a:gd name="T15" fmla="*/ 80434 h 273"/>
                <a:gd name="T16" fmla="*/ 96408 w 225"/>
                <a:gd name="T17" fmla="*/ 93134 h 273"/>
                <a:gd name="T18" fmla="*/ 92534 w 225"/>
                <a:gd name="T19" fmla="*/ 98955 h 273"/>
                <a:gd name="T20" fmla="*/ 84787 w 225"/>
                <a:gd name="T21" fmla="*/ 108480 h 273"/>
                <a:gd name="T22" fmla="*/ 82635 w 225"/>
                <a:gd name="T23" fmla="*/ 113242 h 273"/>
                <a:gd name="T24" fmla="*/ 77040 w 225"/>
                <a:gd name="T25" fmla="*/ 115359 h 273"/>
                <a:gd name="T26" fmla="*/ 70584 w 225"/>
                <a:gd name="T27" fmla="*/ 119063 h 273"/>
                <a:gd name="T28" fmla="*/ 68432 w 225"/>
                <a:gd name="T29" fmla="*/ 124884 h 273"/>
                <a:gd name="T30" fmla="*/ 60255 w 225"/>
                <a:gd name="T31" fmla="*/ 128059 h 273"/>
                <a:gd name="T32" fmla="*/ 55090 w 225"/>
                <a:gd name="T33" fmla="*/ 133350 h 273"/>
                <a:gd name="T34" fmla="*/ 43470 w 225"/>
                <a:gd name="T35" fmla="*/ 134938 h 273"/>
                <a:gd name="T36" fmla="*/ 25823 w 225"/>
                <a:gd name="T37" fmla="*/ 138113 h 273"/>
                <a:gd name="T38" fmla="*/ 8177 w 225"/>
                <a:gd name="T39" fmla="*/ 138113 h 273"/>
                <a:gd name="T40" fmla="*/ 0 w 225"/>
                <a:gd name="T41" fmla="*/ 114830 h 273"/>
                <a:gd name="T42" fmla="*/ 9038 w 225"/>
                <a:gd name="T43" fmla="*/ 112184 h 273"/>
                <a:gd name="T44" fmla="*/ 11190 w 225"/>
                <a:gd name="T45" fmla="*/ 108480 h 273"/>
                <a:gd name="T46" fmla="*/ 25823 w 225"/>
                <a:gd name="T47" fmla="*/ 106892 h 273"/>
                <a:gd name="T48" fmla="*/ 30988 w 225"/>
                <a:gd name="T49" fmla="*/ 102130 h 273"/>
                <a:gd name="T50" fmla="*/ 20659 w 225"/>
                <a:gd name="T51" fmla="*/ 104775 h 273"/>
                <a:gd name="T52" fmla="*/ 17216 w 225"/>
                <a:gd name="T53" fmla="*/ 104246 h 273"/>
                <a:gd name="T54" fmla="*/ 16785 w 225"/>
                <a:gd name="T55" fmla="*/ 99484 h 273"/>
                <a:gd name="T56" fmla="*/ 19798 w 225"/>
                <a:gd name="T57" fmla="*/ 91546 h 273"/>
                <a:gd name="T58" fmla="*/ 16785 w 225"/>
                <a:gd name="T59" fmla="*/ 84667 h 273"/>
                <a:gd name="T60" fmla="*/ 6025 w 225"/>
                <a:gd name="T61" fmla="*/ 79375 h 273"/>
                <a:gd name="T62" fmla="*/ 2582 w 225"/>
                <a:gd name="T63" fmla="*/ 68792 h 273"/>
                <a:gd name="T64" fmla="*/ 9469 w 225"/>
                <a:gd name="T65" fmla="*/ 60854 h 273"/>
                <a:gd name="T66" fmla="*/ 15064 w 225"/>
                <a:gd name="T67" fmla="*/ 53975 h 273"/>
                <a:gd name="T68" fmla="*/ 29267 w 225"/>
                <a:gd name="T69" fmla="*/ 49742 h 273"/>
                <a:gd name="T70" fmla="*/ 38735 w 225"/>
                <a:gd name="T71" fmla="*/ 49742 h 273"/>
                <a:gd name="T72" fmla="*/ 43039 w 225"/>
                <a:gd name="T73" fmla="*/ 46567 h 273"/>
                <a:gd name="T74" fmla="*/ 46482 w 225"/>
                <a:gd name="T75" fmla="*/ 27517 h 273"/>
                <a:gd name="T76" fmla="*/ 51647 w 225"/>
                <a:gd name="T77" fmla="*/ 16404 h 273"/>
                <a:gd name="T78" fmla="*/ 55951 w 225"/>
                <a:gd name="T79" fmla="*/ 10583 h 273"/>
                <a:gd name="T80" fmla="*/ 60685 w 225"/>
                <a:gd name="T81" fmla="*/ 3704 h 273"/>
                <a:gd name="T82" fmla="*/ 66711 w 225"/>
                <a:gd name="T83" fmla="*/ 529 h 273"/>
                <a:gd name="T84" fmla="*/ 77040 w 225"/>
                <a:gd name="T85" fmla="*/ 1588 h 273"/>
                <a:gd name="T86" fmla="*/ 83926 w 225"/>
                <a:gd name="T87" fmla="*/ 20108 h 273"/>
                <a:gd name="T88" fmla="*/ 84357 w 225"/>
                <a:gd name="T89" fmla="*/ 24871 h 273"/>
                <a:gd name="T90" fmla="*/ 81774 w 225"/>
                <a:gd name="T91" fmla="*/ 29633 h 27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17" name="Freeform 235">
              <a:extLst>
                <a:ext uri="{FF2B5EF4-FFF2-40B4-BE49-F238E27FC236}">
                  <a16:creationId xmlns:a16="http://schemas.microsoft.com/office/drawing/2014/main" id="{339F1242-BF46-4DFE-87BB-C46D6C451442}"/>
                </a:ext>
              </a:extLst>
            </p:cNvPr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5118100" y="2813051"/>
              <a:ext cx="306388" cy="390525"/>
            </a:xfrm>
            <a:custGeom>
              <a:avLst/>
              <a:gdLst>
                <a:gd name="T0" fmla="*/ 124140 w 232"/>
                <a:gd name="T1" fmla="*/ 387376 h 248"/>
                <a:gd name="T2" fmla="*/ 126781 w 232"/>
                <a:gd name="T3" fmla="*/ 382652 h 248"/>
                <a:gd name="T4" fmla="*/ 129423 w 232"/>
                <a:gd name="T5" fmla="*/ 374778 h 248"/>
                <a:gd name="T6" fmla="*/ 132064 w 232"/>
                <a:gd name="T7" fmla="*/ 365330 h 248"/>
                <a:gd name="T8" fmla="*/ 136026 w 232"/>
                <a:gd name="T9" fmla="*/ 363755 h 248"/>
                <a:gd name="T10" fmla="*/ 137346 w 232"/>
                <a:gd name="T11" fmla="*/ 374778 h 248"/>
                <a:gd name="T12" fmla="*/ 139988 w 232"/>
                <a:gd name="T13" fmla="*/ 379502 h 248"/>
                <a:gd name="T14" fmla="*/ 142629 w 232"/>
                <a:gd name="T15" fmla="*/ 381077 h 248"/>
                <a:gd name="T16" fmla="*/ 145270 w 232"/>
                <a:gd name="T17" fmla="*/ 381077 h 248"/>
                <a:gd name="T18" fmla="*/ 149232 w 232"/>
                <a:gd name="T19" fmla="*/ 379502 h 248"/>
                <a:gd name="T20" fmla="*/ 153194 w 232"/>
                <a:gd name="T21" fmla="*/ 374778 h 248"/>
                <a:gd name="T22" fmla="*/ 285258 w 232"/>
                <a:gd name="T23" fmla="*/ 368479 h 248"/>
                <a:gd name="T24" fmla="*/ 281296 w 232"/>
                <a:gd name="T25" fmla="*/ 321238 h 248"/>
                <a:gd name="T26" fmla="*/ 273372 w 232"/>
                <a:gd name="T27" fmla="*/ 217308 h 248"/>
                <a:gd name="T28" fmla="*/ 265448 w 232"/>
                <a:gd name="T29" fmla="*/ 114953 h 248"/>
                <a:gd name="T30" fmla="*/ 261486 w 232"/>
                <a:gd name="T31" fmla="*/ 67712 h 248"/>
                <a:gd name="T32" fmla="*/ 283937 w 232"/>
                <a:gd name="T33" fmla="*/ 69287 h 248"/>
                <a:gd name="T34" fmla="*/ 306388 w 232"/>
                <a:gd name="T35" fmla="*/ 72436 h 248"/>
                <a:gd name="T36" fmla="*/ 212623 w 232"/>
                <a:gd name="T37" fmla="*/ 3149 h 248"/>
                <a:gd name="T38" fmla="*/ 211302 w 232"/>
                <a:gd name="T39" fmla="*/ 12598 h 248"/>
                <a:gd name="T40" fmla="*/ 212623 w 232"/>
                <a:gd name="T41" fmla="*/ 28345 h 248"/>
                <a:gd name="T42" fmla="*/ 129423 w 232"/>
                <a:gd name="T43" fmla="*/ 37793 h 248"/>
                <a:gd name="T44" fmla="*/ 129423 w 232"/>
                <a:gd name="T45" fmla="*/ 116528 h 248"/>
                <a:gd name="T46" fmla="*/ 125461 w 232"/>
                <a:gd name="T47" fmla="*/ 119677 h 248"/>
                <a:gd name="T48" fmla="*/ 114896 w 232"/>
                <a:gd name="T49" fmla="*/ 122826 h 248"/>
                <a:gd name="T50" fmla="*/ 95086 w 232"/>
                <a:gd name="T51" fmla="*/ 129125 h 248"/>
                <a:gd name="T52" fmla="*/ 97727 w 232"/>
                <a:gd name="T53" fmla="*/ 138573 h 248"/>
                <a:gd name="T54" fmla="*/ 103010 w 232"/>
                <a:gd name="T55" fmla="*/ 151171 h 248"/>
                <a:gd name="T56" fmla="*/ 105651 w 232"/>
                <a:gd name="T57" fmla="*/ 165343 h 248"/>
                <a:gd name="T58" fmla="*/ 106972 w 232"/>
                <a:gd name="T59" fmla="*/ 181090 h 248"/>
                <a:gd name="T60" fmla="*/ 11886 w 232"/>
                <a:gd name="T61" fmla="*/ 187389 h 248"/>
                <a:gd name="T62" fmla="*/ 6603 w 232"/>
                <a:gd name="T63" fmla="*/ 204711 h 248"/>
                <a:gd name="T64" fmla="*/ 7924 w 232"/>
                <a:gd name="T65" fmla="*/ 225182 h 248"/>
                <a:gd name="T66" fmla="*/ 10565 w 232"/>
                <a:gd name="T67" fmla="*/ 244078 h 248"/>
                <a:gd name="T68" fmla="*/ 11886 w 232"/>
                <a:gd name="T69" fmla="*/ 264549 h 248"/>
                <a:gd name="T70" fmla="*/ 11886 w 232"/>
                <a:gd name="T71" fmla="*/ 286595 h 248"/>
                <a:gd name="T72" fmla="*/ 10565 w 232"/>
                <a:gd name="T73" fmla="*/ 305491 h 248"/>
                <a:gd name="T74" fmla="*/ 7924 w 232"/>
                <a:gd name="T75" fmla="*/ 324388 h 248"/>
                <a:gd name="T76" fmla="*/ 2641 w 232"/>
                <a:gd name="T77" fmla="*/ 340135 h 248"/>
                <a:gd name="T78" fmla="*/ 2641 w 232"/>
                <a:gd name="T79" fmla="*/ 344859 h 248"/>
                <a:gd name="T80" fmla="*/ 3962 w 232"/>
                <a:gd name="T81" fmla="*/ 346433 h 248"/>
                <a:gd name="T82" fmla="*/ 3962 w 232"/>
                <a:gd name="T83" fmla="*/ 349583 h 248"/>
                <a:gd name="T84" fmla="*/ 9244 w 232"/>
                <a:gd name="T85" fmla="*/ 341709 h 248"/>
                <a:gd name="T86" fmla="*/ 23771 w 232"/>
                <a:gd name="T87" fmla="*/ 335411 h 248"/>
                <a:gd name="T88" fmla="*/ 47543 w 232"/>
                <a:gd name="T89" fmla="*/ 325962 h 248"/>
                <a:gd name="T90" fmla="*/ 59429 w 232"/>
                <a:gd name="T91" fmla="*/ 327537 h 248"/>
                <a:gd name="T92" fmla="*/ 67353 w 232"/>
                <a:gd name="T93" fmla="*/ 333836 h 248"/>
                <a:gd name="T94" fmla="*/ 73956 w 232"/>
                <a:gd name="T95" fmla="*/ 336985 h 248"/>
                <a:gd name="T96" fmla="*/ 81880 w 232"/>
                <a:gd name="T97" fmla="*/ 338560 h 248"/>
                <a:gd name="T98" fmla="*/ 87162 w 232"/>
                <a:gd name="T99" fmla="*/ 344859 h 248"/>
                <a:gd name="T100" fmla="*/ 88483 w 232"/>
                <a:gd name="T101" fmla="*/ 354307 h 248"/>
                <a:gd name="T102" fmla="*/ 92445 w 232"/>
                <a:gd name="T103" fmla="*/ 363755 h 248"/>
                <a:gd name="T104" fmla="*/ 97727 w 232"/>
                <a:gd name="T105" fmla="*/ 370054 h 248"/>
                <a:gd name="T106" fmla="*/ 112254 w 232"/>
                <a:gd name="T107" fmla="*/ 382652 h 2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8" name="Freeform 236">
              <a:extLst>
                <a:ext uri="{FF2B5EF4-FFF2-40B4-BE49-F238E27FC236}">
                  <a16:creationId xmlns:a16="http://schemas.microsoft.com/office/drawing/2014/main" id="{8CE837A8-A8E0-49C6-A6CD-BD9041ED8A22}"/>
                </a:ext>
              </a:extLst>
            </p:cNvPr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5233989" y="2873376"/>
              <a:ext cx="414337" cy="468313"/>
            </a:xfrm>
            <a:custGeom>
              <a:avLst/>
              <a:gdLst>
                <a:gd name="T0" fmla="*/ 39336 w 948"/>
                <a:gd name="T1" fmla="*/ 413248 h 893"/>
                <a:gd name="T2" fmla="*/ 52885 w 948"/>
                <a:gd name="T3" fmla="*/ 413248 h 893"/>
                <a:gd name="T4" fmla="*/ 63811 w 948"/>
                <a:gd name="T5" fmla="*/ 410626 h 893"/>
                <a:gd name="T6" fmla="*/ 81294 w 948"/>
                <a:gd name="T7" fmla="*/ 406955 h 893"/>
                <a:gd name="T8" fmla="*/ 86102 w 948"/>
                <a:gd name="T9" fmla="*/ 426359 h 893"/>
                <a:gd name="T10" fmla="*/ 92658 w 948"/>
                <a:gd name="T11" fmla="*/ 437896 h 893"/>
                <a:gd name="T12" fmla="*/ 98777 w 948"/>
                <a:gd name="T13" fmla="*/ 443665 h 893"/>
                <a:gd name="T14" fmla="*/ 107518 w 948"/>
                <a:gd name="T15" fmla="*/ 445763 h 893"/>
                <a:gd name="T16" fmla="*/ 107518 w 948"/>
                <a:gd name="T17" fmla="*/ 462020 h 893"/>
                <a:gd name="T18" fmla="*/ 142483 w 948"/>
                <a:gd name="T19" fmla="*/ 466215 h 893"/>
                <a:gd name="T20" fmla="*/ 145979 w 948"/>
                <a:gd name="T21" fmla="*/ 459398 h 893"/>
                <a:gd name="T22" fmla="*/ 151661 w 948"/>
                <a:gd name="T23" fmla="*/ 456776 h 893"/>
                <a:gd name="T24" fmla="*/ 152098 w 948"/>
                <a:gd name="T25" fmla="*/ 465691 h 893"/>
                <a:gd name="T26" fmla="*/ 156469 w 948"/>
                <a:gd name="T27" fmla="*/ 468313 h 893"/>
                <a:gd name="T28" fmla="*/ 168270 w 948"/>
                <a:gd name="T29" fmla="*/ 468313 h 893"/>
                <a:gd name="T30" fmla="*/ 175263 w 948"/>
                <a:gd name="T31" fmla="*/ 447860 h 893"/>
                <a:gd name="T32" fmla="*/ 180071 w 948"/>
                <a:gd name="T33" fmla="*/ 413248 h 893"/>
                <a:gd name="T34" fmla="*/ 185315 w 948"/>
                <a:gd name="T35" fmla="*/ 404333 h 893"/>
                <a:gd name="T36" fmla="*/ 197553 w 948"/>
                <a:gd name="T37" fmla="*/ 395418 h 893"/>
                <a:gd name="T38" fmla="*/ 211976 w 948"/>
                <a:gd name="T39" fmla="*/ 389649 h 893"/>
                <a:gd name="T40" fmla="*/ 218969 w 948"/>
                <a:gd name="T41" fmla="*/ 382307 h 893"/>
                <a:gd name="T42" fmla="*/ 225088 w 948"/>
                <a:gd name="T43" fmla="*/ 368148 h 893"/>
                <a:gd name="T44" fmla="*/ 233829 w 948"/>
                <a:gd name="T45" fmla="*/ 350317 h 893"/>
                <a:gd name="T46" fmla="*/ 239074 w 948"/>
                <a:gd name="T47" fmla="*/ 346122 h 893"/>
                <a:gd name="T48" fmla="*/ 250001 w 948"/>
                <a:gd name="T49" fmla="*/ 345597 h 893"/>
                <a:gd name="T50" fmla="*/ 264424 w 948"/>
                <a:gd name="T51" fmla="*/ 337731 h 893"/>
                <a:gd name="T52" fmla="*/ 279284 w 948"/>
                <a:gd name="T53" fmla="*/ 327242 h 893"/>
                <a:gd name="T54" fmla="*/ 294581 w 948"/>
                <a:gd name="T55" fmla="*/ 321474 h 893"/>
                <a:gd name="T56" fmla="*/ 316435 w 948"/>
                <a:gd name="T57" fmla="*/ 319900 h 893"/>
                <a:gd name="T58" fmla="*/ 344407 w 948"/>
                <a:gd name="T59" fmla="*/ 315705 h 893"/>
                <a:gd name="T60" fmla="*/ 356207 w 948"/>
                <a:gd name="T61" fmla="*/ 311509 h 893"/>
                <a:gd name="T62" fmla="*/ 377187 w 948"/>
                <a:gd name="T63" fmla="*/ 309412 h 893"/>
                <a:gd name="T64" fmla="*/ 393795 w 948"/>
                <a:gd name="T65" fmla="*/ 305741 h 893"/>
                <a:gd name="T66" fmla="*/ 399040 w 948"/>
                <a:gd name="T67" fmla="*/ 301021 h 893"/>
                <a:gd name="T68" fmla="*/ 406907 w 948"/>
                <a:gd name="T69" fmla="*/ 285288 h 893"/>
                <a:gd name="T70" fmla="*/ 412152 w 948"/>
                <a:gd name="T71" fmla="*/ 264311 h 893"/>
                <a:gd name="T72" fmla="*/ 414337 w 948"/>
                <a:gd name="T73" fmla="*/ 241761 h 893"/>
                <a:gd name="T74" fmla="*/ 413900 w 948"/>
                <a:gd name="T75" fmla="*/ 220784 h 893"/>
                <a:gd name="T76" fmla="*/ 412152 w 948"/>
                <a:gd name="T77" fmla="*/ 190367 h 893"/>
                <a:gd name="T78" fmla="*/ 402973 w 948"/>
                <a:gd name="T79" fmla="*/ 186696 h 893"/>
                <a:gd name="T80" fmla="*/ 376749 w 948"/>
                <a:gd name="T81" fmla="*/ 168865 h 893"/>
                <a:gd name="T82" fmla="*/ 347029 w 948"/>
                <a:gd name="T83" fmla="*/ 145791 h 893"/>
                <a:gd name="T84" fmla="*/ 322553 w 948"/>
                <a:gd name="T85" fmla="*/ 113276 h 893"/>
                <a:gd name="T86" fmla="*/ 180071 w 948"/>
                <a:gd name="T87" fmla="*/ 6293 h 893"/>
                <a:gd name="T88" fmla="*/ 152098 w 948"/>
                <a:gd name="T89" fmla="*/ 53492 h 893"/>
                <a:gd name="T90" fmla="*/ 165647 w 948"/>
                <a:gd name="T91" fmla="*/ 212393 h 893"/>
                <a:gd name="T92" fmla="*/ 171329 w 948"/>
                <a:gd name="T93" fmla="*/ 296301 h 893"/>
                <a:gd name="T94" fmla="*/ 40647 w 948"/>
                <a:gd name="T95" fmla="*/ 309936 h 893"/>
                <a:gd name="T96" fmla="*/ 34528 w 948"/>
                <a:gd name="T97" fmla="*/ 317803 h 893"/>
                <a:gd name="T98" fmla="*/ 29283 w 948"/>
                <a:gd name="T99" fmla="*/ 319900 h 893"/>
                <a:gd name="T100" fmla="*/ 24913 w 948"/>
                <a:gd name="T101" fmla="*/ 318327 h 893"/>
                <a:gd name="T102" fmla="*/ 21416 w 948"/>
                <a:gd name="T103" fmla="*/ 309936 h 893"/>
                <a:gd name="T104" fmla="*/ 17483 w 948"/>
                <a:gd name="T105" fmla="*/ 304692 h 893"/>
                <a:gd name="T106" fmla="*/ 12675 w 948"/>
                <a:gd name="T107" fmla="*/ 317278 h 893"/>
                <a:gd name="T108" fmla="*/ 6556 w 948"/>
                <a:gd name="T109" fmla="*/ 326718 h 893"/>
                <a:gd name="T110" fmla="*/ 29283 w 948"/>
                <a:gd name="T111" fmla="*/ 384405 h 893"/>
                <a:gd name="T112" fmla="*/ 26661 w 948"/>
                <a:gd name="T113" fmla="*/ 392271 h 893"/>
                <a:gd name="T114" fmla="*/ 27098 w 948"/>
                <a:gd name="T115" fmla="*/ 398564 h 893"/>
                <a:gd name="T116" fmla="*/ 23601 w 948"/>
                <a:gd name="T117" fmla="*/ 413248 h 89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9" name="Freeform 237">
              <a:extLst>
                <a:ext uri="{FF2B5EF4-FFF2-40B4-BE49-F238E27FC236}">
                  <a16:creationId xmlns:a16="http://schemas.microsoft.com/office/drawing/2014/main" id="{F34D6DD3-4398-44F9-B2E6-E363B804C6E7}"/>
                </a:ext>
              </a:extLst>
            </p:cNvPr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5332413" y="2479675"/>
              <a:ext cx="493712" cy="579438"/>
            </a:xfrm>
            <a:custGeom>
              <a:avLst/>
              <a:gdLst>
                <a:gd name="T0" fmla="*/ 315023 w 373"/>
                <a:gd name="T1" fmla="*/ 574740 h 370"/>
                <a:gd name="T2" fmla="*/ 322964 w 373"/>
                <a:gd name="T3" fmla="*/ 571608 h 370"/>
                <a:gd name="T4" fmla="*/ 337524 w 373"/>
                <a:gd name="T5" fmla="*/ 576306 h 370"/>
                <a:gd name="T6" fmla="*/ 492388 w 373"/>
                <a:gd name="T7" fmla="*/ 433795 h 370"/>
                <a:gd name="T8" fmla="*/ 488418 w 373"/>
                <a:gd name="T9" fmla="*/ 422833 h 370"/>
                <a:gd name="T10" fmla="*/ 477829 w 373"/>
                <a:gd name="T11" fmla="*/ 413437 h 370"/>
                <a:gd name="T12" fmla="*/ 459298 w 373"/>
                <a:gd name="T13" fmla="*/ 405607 h 370"/>
                <a:gd name="T14" fmla="*/ 448709 w 373"/>
                <a:gd name="T15" fmla="*/ 397776 h 370"/>
                <a:gd name="T16" fmla="*/ 444738 w 373"/>
                <a:gd name="T17" fmla="*/ 386814 h 370"/>
                <a:gd name="T18" fmla="*/ 446062 w 373"/>
                <a:gd name="T19" fmla="*/ 357059 h 370"/>
                <a:gd name="T20" fmla="*/ 446062 w 373"/>
                <a:gd name="T21" fmla="*/ 306946 h 370"/>
                <a:gd name="T22" fmla="*/ 442091 w 373"/>
                <a:gd name="T23" fmla="*/ 263096 h 370"/>
                <a:gd name="T24" fmla="*/ 435473 w 373"/>
                <a:gd name="T25" fmla="*/ 242738 h 370"/>
                <a:gd name="T26" fmla="*/ 427531 w 373"/>
                <a:gd name="T27" fmla="*/ 222379 h 370"/>
                <a:gd name="T28" fmla="*/ 416942 w 373"/>
                <a:gd name="T29" fmla="*/ 170699 h 370"/>
                <a:gd name="T30" fmla="*/ 405029 w 373"/>
                <a:gd name="T31" fmla="*/ 140944 h 370"/>
                <a:gd name="T32" fmla="*/ 393117 w 373"/>
                <a:gd name="T33" fmla="*/ 122152 h 370"/>
                <a:gd name="T34" fmla="*/ 397087 w 373"/>
                <a:gd name="T35" fmla="*/ 98661 h 370"/>
                <a:gd name="T36" fmla="*/ 398411 w 373"/>
                <a:gd name="T37" fmla="*/ 67340 h 370"/>
                <a:gd name="T38" fmla="*/ 399735 w 373"/>
                <a:gd name="T39" fmla="*/ 36019 h 370"/>
                <a:gd name="T40" fmla="*/ 410324 w 373"/>
                <a:gd name="T41" fmla="*/ 10962 h 370"/>
                <a:gd name="T42" fmla="*/ 399735 w 373"/>
                <a:gd name="T43" fmla="*/ 9396 h 370"/>
                <a:gd name="T44" fmla="*/ 367968 w 373"/>
                <a:gd name="T45" fmla="*/ 18793 h 370"/>
                <a:gd name="T46" fmla="*/ 324288 w 373"/>
                <a:gd name="T47" fmla="*/ 18793 h 370"/>
                <a:gd name="T48" fmla="*/ 272667 w 373"/>
                <a:gd name="T49" fmla="*/ 21925 h 370"/>
                <a:gd name="T50" fmla="*/ 222369 w 373"/>
                <a:gd name="T51" fmla="*/ 37585 h 370"/>
                <a:gd name="T52" fmla="*/ 191926 w 373"/>
                <a:gd name="T53" fmla="*/ 50114 h 370"/>
                <a:gd name="T54" fmla="*/ 164129 w 373"/>
                <a:gd name="T55" fmla="*/ 68906 h 370"/>
                <a:gd name="T56" fmla="*/ 162806 w 373"/>
                <a:gd name="T57" fmla="*/ 81435 h 370"/>
                <a:gd name="T58" fmla="*/ 173395 w 373"/>
                <a:gd name="T59" fmla="*/ 139378 h 370"/>
                <a:gd name="T60" fmla="*/ 177366 w 373"/>
                <a:gd name="T61" fmla="*/ 145643 h 370"/>
                <a:gd name="T62" fmla="*/ 186631 w 373"/>
                <a:gd name="T63" fmla="*/ 153473 h 370"/>
                <a:gd name="T64" fmla="*/ 187955 w 373"/>
                <a:gd name="T65" fmla="*/ 159737 h 370"/>
                <a:gd name="T66" fmla="*/ 183984 w 373"/>
                <a:gd name="T67" fmla="*/ 167567 h 370"/>
                <a:gd name="T68" fmla="*/ 169424 w 373"/>
                <a:gd name="T69" fmla="*/ 167567 h 370"/>
                <a:gd name="T70" fmla="*/ 140304 w 373"/>
                <a:gd name="T71" fmla="*/ 176963 h 370"/>
                <a:gd name="T72" fmla="*/ 125744 w 373"/>
                <a:gd name="T73" fmla="*/ 191058 h 370"/>
                <a:gd name="T74" fmla="*/ 119126 w 373"/>
                <a:gd name="T75" fmla="*/ 205152 h 370"/>
                <a:gd name="T76" fmla="*/ 108537 w 373"/>
                <a:gd name="T77" fmla="*/ 214549 h 370"/>
                <a:gd name="T78" fmla="*/ 87359 w 373"/>
                <a:gd name="T79" fmla="*/ 234907 h 370"/>
                <a:gd name="T80" fmla="*/ 67505 w 373"/>
                <a:gd name="T81" fmla="*/ 247436 h 370"/>
                <a:gd name="T82" fmla="*/ 41032 w 373"/>
                <a:gd name="T83" fmla="*/ 250568 h 370"/>
                <a:gd name="T84" fmla="*/ 26472 w 373"/>
                <a:gd name="T85" fmla="*/ 256832 h 370"/>
                <a:gd name="T86" fmla="*/ 10589 w 373"/>
                <a:gd name="T87" fmla="*/ 272492 h 370"/>
                <a:gd name="T88" fmla="*/ 0 w 373"/>
                <a:gd name="T89" fmla="*/ 313210 h 370"/>
                <a:gd name="T90" fmla="*/ 236929 w 373"/>
                <a:gd name="T91" fmla="*/ 518362 h 370"/>
                <a:gd name="T92" fmla="*/ 266049 w 373"/>
                <a:gd name="T93" fmla="*/ 551249 h 370"/>
                <a:gd name="T94" fmla="*/ 303110 w 373"/>
                <a:gd name="T95" fmla="*/ 576306 h 3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0" name="Freeform 238">
              <a:extLst>
                <a:ext uri="{FF2B5EF4-FFF2-40B4-BE49-F238E27FC236}">
                  <a16:creationId xmlns:a16="http://schemas.microsoft.com/office/drawing/2014/main" id="{FDD01BC1-074B-4215-ABB7-4FF84D01A268}"/>
                </a:ext>
              </a:extLst>
            </p:cNvPr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5768976" y="2614613"/>
              <a:ext cx="384175" cy="436562"/>
            </a:xfrm>
            <a:custGeom>
              <a:avLst/>
              <a:gdLst>
                <a:gd name="T0" fmla="*/ 15770 w 877"/>
                <a:gd name="T1" fmla="*/ 74522 h 826"/>
                <a:gd name="T2" fmla="*/ 20151 w 877"/>
                <a:gd name="T3" fmla="*/ 57609 h 826"/>
                <a:gd name="T4" fmla="*/ 20151 w 877"/>
                <a:gd name="T5" fmla="*/ 36997 h 826"/>
                <a:gd name="T6" fmla="*/ 26721 w 877"/>
                <a:gd name="T7" fmla="*/ 33826 h 826"/>
                <a:gd name="T8" fmla="*/ 38987 w 877"/>
                <a:gd name="T9" fmla="*/ 29069 h 826"/>
                <a:gd name="T10" fmla="*/ 43368 w 877"/>
                <a:gd name="T11" fmla="*/ 10571 h 826"/>
                <a:gd name="T12" fmla="*/ 73593 w 877"/>
                <a:gd name="T13" fmla="*/ 3171 h 826"/>
                <a:gd name="T14" fmla="*/ 106010 w 877"/>
                <a:gd name="T15" fmla="*/ 12685 h 826"/>
                <a:gd name="T16" fmla="*/ 119589 w 877"/>
                <a:gd name="T17" fmla="*/ 22727 h 826"/>
                <a:gd name="T18" fmla="*/ 124846 w 877"/>
                <a:gd name="T19" fmla="*/ 41225 h 826"/>
                <a:gd name="T20" fmla="*/ 129226 w 877"/>
                <a:gd name="T21" fmla="*/ 53381 h 826"/>
                <a:gd name="T22" fmla="*/ 142368 w 877"/>
                <a:gd name="T23" fmla="*/ 58138 h 826"/>
                <a:gd name="T24" fmla="*/ 159014 w 877"/>
                <a:gd name="T25" fmla="*/ 57609 h 826"/>
                <a:gd name="T26" fmla="*/ 184422 w 877"/>
                <a:gd name="T27" fmla="*/ 70294 h 826"/>
                <a:gd name="T28" fmla="*/ 209391 w 877"/>
                <a:gd name="T29" fmla="*/ 85621 h 826"/>
                <a:gd name="T30" fmla="*/ 224723 w 877"/>
                <a:gd name="T31" fmla="*/ 87735 h 826"/>
                <a:gd name="T32" fmla="*/ 235674 w 877"/>
                <a:gd name="T33" fmla="*/ 83507 h 826"/>
                <a:gd name="T34" fmla="*/ 240493 w 877"/>
                <a:gd name="T35" fmla="*/ 66594 h 826"/>
                <a:gd name="T36" fmla="*/ 238302 w 877"/>
                <a:gd name="T37" fmla="*/ 54438 h 826"/>
                <a:gd name="T38" fmla="*/ 232608 w 877"/>
                <a:gd name="T39" fmla="*/ 42811 h 826"/>
                <a:gd name="T40" fmla="*/ 236112 w 877"/>
                <a:gd name="T41" fmla="*/ 25898 h 826"/>
                <a:gd name="T42" fmla="*/ 251444 w 877"/>
                <a:gd name="T43" fmla="*/ 17970 h 826"/>
                <a:gd name="T44" fmla="*/ 270280 w 877"/>
                <a:gd name="T45" fmla="*/ 2114 h 826"/>
                <a:gd name="T46" fmla="*/ 284736 w 877"/>
                <a:gd name="T47" fmla="*/ 0 h 826"/>
                <a:gd name="T48" fmla="*/ 298316 w 877"/>
                <a:gd name="T49" fmla="*/ 3171 h 826"/>
                <a:gd name="T50" fmla="*/ 304449 w 877"/>
                <a:gd name="T51" fmla="*/ 12685 h 826"/>
                <a:gd name="T52" fmla="*/ 309267 w 877"/>
                <a:gd name="T53" fmla="*/ 26426 h 826"/>
                <a:gd name="T54" fmla="*/ 318905 w 877"/>
                <a:gd name="T55" fmla="*/ 33297 h 826"/>
                <a:gd name="T56" fmla="*/ 349569 w 877"/>
                <a:gd name="T57" fmla="*/ 37525 h 826"/>
                <a:gd name="T58" fmla="*/ 363586 w 877"/>
                <a:gd name="T59" fmla="*/ 51267 h 826"/>
                <a:gd name="T60" fmla="*/ 365339 w 877"/>
                <a:gd name="T61" fmla="*/ 61837 h 826"/>
                <a:gd name="T62" fmla="*/ 369281 w 877"/>
                <a:gd name="T63" fmla="*/ 73994 h 826"/>
                <a:gd name="T64" fmla="*/ 366215 w 877"/>
                <a:gd name="T65" fmla="*/ 84036 h 826"/>
                <a:gd name="T66" fmla="*/ 360958 w 877"/>
                <a:gd name="T67" fmla="*/ 89849 h 826"/>
                <a:gd name="T68" fmla="*/ 363148 w 877"/>
                <a:gd name="T69" fmla="*/ 109405 h 826"/>
                <a:gd name="T70" fmla="*/ 375852 w 877"/>
                <a:gd name="T71" fmla="*/ 129489 h 826"/>
                <a:gd name="T72" fmla="*/ 383737 w 877"/>
                <a:gd name="T73" fmla="*/ 363097 h 826"/>
                <a:gd name="T74" fmla="*/ 384175 w 877"/>
                <a:gd name="T75" fmla="*/ 391637 h 826"/>
                <a:gd name="T76" fmla="*/ 381109 w 877"/>
                <a:gd name="T77" fmla="*/ 409607 h 826"/>
                <a:gd name="T78" fmla="*/ 371471 w 877"/>
                <a:gd name="T79" fmla="*/ 413835 h 826"/>
                <a:gd name="T80" fmla="*/ 363586 w 877"/>
                <a:gd name="T81" fmla="*/ 424934 h 826"/>
                <a:gd name="T82" fmla="*/ 160328 w 877"/>
                <a:gd name="T83" fmla="*/ 313416 h 826"/>
                <a:gd name="T84" fmla="*/ 144996 w 877"/>
                <a:gd name="T85" fmla="*/ 320815 h 826"/>
                <a:gd name="T86" fmla="*/ 127912 w 877"/>
                <a:gd name="T87" fmla="*/ 330857 h 826"/>
                <a:gd name="T88" fmla="*/ 115209 w 877"/>
                <a:gd name="T89" fmla="*/ 331385 h 826"/>
                <a:gd name="T90" fmla="*/ 100753 w 877"/>
                <a:gd name="T91" fmla="*/ 321872 h 826"/>
                <a:gd name="T92" fmla="*/ 84545 w 877"/>
                <a:gd name="T93" fmla="*/ 309716 h 826"/>
                <a:gd name="T94" fmla="*/ 66584 w 877"/>
                <a:gd name="T95" fmla="*/ 305488 h 826"/>
                <a:gd name="T96" fmla="*/ 60452 w 877"/>
                <a:gd name="T97" fmla="*/ 304959 h 826"/>
                <a:gd name="T98" fmla="*/ 56947 w 877"/>
                <a:gd name="T99" fmla="*/ 292275 h 826"/>
                <a:gd name="T100" fmla="*/ 47748 w 877"/>
                <a:gd name="T101" fmla="*/ 282761 h 826"/>
                <a:gd name="T102" fmla="*/ 27598 w 877"/>
                <a:gd name="T103" fmla="*/ 273248 h 826"/>
                <a:gd name="T104" fmla="*/ 12266 w 877"/>
                <a:gd name="T105" fmla="*/ 263734 h 826"/>
                <a:gd name="T106" fmla="*/ 7009 w 877"/>
                <a:gd name="T107" fmla="*/ 254749 h 826"/>
                <a:gd name="T108" fmla="*/ 6133 w 877"/>
                <a:gd name="T109" fmla="*/ 232023 h 826"/>
                <a:gd name="T110" fmla="*/ 8323 w 877"/>
                <a:gd name="T111" fmla="*/ 186041 h 826"/>
                <a:gd name="T112" fmla="*/ 7447 w 877"/>
                <a:gd name="T113" fmla="*/ 136360 h 826"/>
                <a:gd name="T114" fmla="*/ 1752 w 877"/>
                <a:gd name="T115" fmla="*/ 106762 h 8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1" name="Freeform 239">
              <a:extLst>
                <a:ext uri="{FF2B5EF4-FFF2-40B4-BE49-F238E27FC236}">
                  <a16:creationId xmlns:a16="http://schemas.microsoft.com/office/drawing/2014/main" id="{F9AC74A5-33E9-4FD2-BC13-43D902F24BC2}"/>
                </a:ext>
              </a:extLst>
            </p:cNvPr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5721351" y="2479675"/>
              <a:ext cx="93663" cy="236538"/>
            </a:xfrm>
            <a:custGeom>
              <a:avLst/>
              <a:gdLst>
                <a:gd name="T0" fmla="*/ 46832 w 206"/>
                <a:gd name="T1" fmla="*/ 229260 h 455"/>
                <a:gd name="T2" fmla="*/ 56834 w 206"/>
                <a:gd name="T3" fmla="*/ 218343 h 455"/>
                <a:gd name="T4" fmla="*/ 63654 w 206"/>
                <a:gd name="T5" fmla="*/ 210025 h 455"/>
                <a:gd name="T6" fmla="*/ 66837 w 206"/>
                <a:gd name="T7" fmla="*/ 202747 h 455"/>
                <a:gd name="T8" fmla="*/ 69111 w 206"/>
                <a:gd name="T9" fmla="*/ 193909 h 455"/>
                <a:gd name="T10" fmla="*/ 70020 w 206"/>
                <a:gd name="T11" fmla="*/ 182992 h 455"/>
                <a:gd name="T12" fmla="*/ 69565 w 206"/>
                <a:gd name="T13" fmla="*/ 174154 h 455"/>
                <a:gd name="T14" fmla="*/ 70929 w 206"/>
                <a:gd name="T15" fmla="*/ 172075 h 455"/>
                <a:gd name="T16" fmla="*/ 76385 w 206"/>
                <a:gd name="T17" fmla="*/ 171035 h 455"/>
                <a:gd name="T18" fmla="*/ 84115 w 206"/>
                <a:gd name="T19" fmla="*/ 168956 h 455"/>
                <a:gd name="T20" fmla="*/ 89116 w 206"/>
                <a:gd name="T21" fmla="*/ 165317 h 455"/>
                <a:gd name="T22" fmla="*/ 92299 w 206"/>
                <a:gd name="T23" fmla="*/ 158039 h 455"/>
                <a:gd name="T24" fmla="*/ 93663 w 206"/>
                <a:gd name="T25" fmla="*/ 145562 h 455"/>
                <a:gd name="T26" fmla="*/ 91844 w 206"/>
                <a:gd name="T27" fmla="*/ 137764 h 455"/>
                <a:gd name="T28" fmla="*/ 87752 w 206"/>
                <a:gd name="T29" fmla="*/ 137244 h 455"/>
                <a:gd name="T30" fmla="*/ 80477 w 206"/>
                <a:gd name="T31" fmla="*/ 133085 h 455"/>
                <a:gd name="T32" fmla="*/ 70475 w 206"/>
                <a:gd name="T33" fmla="*/ 125807 h 455"/>
                <a:gd name="T34" fmla="*/ 63654 w 206"/>
                <a:gd name="T35" fmla="*/ 120089 h 455"/>
                <a:gd name="T36" fmla="*/ 59108 w 206"/>
                <a:gd name="T37" fmla="*/ 118529 h 455"/>
                <a:gd name="T38" fmla="*/ 54106 w 206"/>
                <a:gd name="T39" fmla="*/ 115410 h 455"/>
                <a:gd name="T40" fmla="*/ 45922 w 206"/>
                <a:gd name="T41" fmla="*/ 110211 h 455"/>
                <a:gd name="T42" fmla="*/ 43194 w 206"/>
                <a:gd name="T43" fmla="*/ 107092 h 455"/>
                <a:gd name="T44" fmla="*/ 43194 w 206"/>
                <a:gd name="T45" fmla="*/ 103453 h 455"/>
                <a:gd name="T46" fmla="*/ 47286 w 206"/>
                <a:gd name="T47" fmla="*/ 94095 h 455"/>
                <a:gd name="T48" fmla="*/ 54106 w 206"/>
                <a:gd name="T49" fmla="*/ 82138 h 455"/>
                <a:gd name="T50" fmla="*/ 60926 w 206"/>
                <a:gd name="T51" fmla="*/ 72781 h 455"/>
                <a:gd name="T52" fmla="*/ 61836 w 206"/>
                <a:gd name="T53" fmla="*/ 67062 h 455"/>
                <a:gd name="T54" fmla="*/ 57289 w 206"/>
                <a:gd name="T55" fmla="*/ 60304 h 455"/>
                <a:gd name="T56" fmla="*/ 52288 w 206"/>
                <a:gd name="T57" fmla="*/ 54586 h 455"/>
                <a:gd name="T58" fmla="*/ 49105 w 206"/>
                <a:gd name="T59" fmla="*/ 48347 h 455"/>
                <a:gd name="T60" fmla="*/ 48650 w 206"/>
                <a:gd name="T61" fmla="*/ 43669 h 455"/>
                <a:gd name="T62" fmla="*/ 50469 w 206"/>
                <a:gd name="T63" fmla="*/ 40549 h 455"/>
                <a:gd name="T64" fmla="*/ 52742 w 206"/>
                <a:gd name="T65" fmla="*/ 37430 h 455"/>
                <a:gd name="T66" fmla="*/ 55925 w 206"/>
                <a:gd name="T67" fmla="*/ 35871 h 455"/>
                <a:gd name="T68" fmla="*/ 57289 w 206"/>
                <a:gd name="T69" fmla="*/ 19235 h 455"/>
                <a:gd name="T70" fmla="*/ 50014 w 206"/>
                <a:gd name="T71" fmla="*/ 16636 h 455"/>
                <a:gd name="T72" fmla="*/ 39557 w 206"/>
                <a:gd name="T73" fmla="*/ 10917 h 455"/>
                <a:gd name="T74" fmla="*/ 24098 w 206"/>
                <a:gd name="T75" fmla="*/ 0 h 455"/>
                <a:gd name="T76" fmla="*/ 21370 w 206"/>
                <a:gd name="T77" fmla="*/ 5719 h 455"/>
                <a:gd name="T78" fmla="*/ 15459 w 206"/>
                <a:gd name="T79" fmla="*/ 22874 h 455"/>
                <a:gd name="T80" fmla="*/ 12731 w 206"/>
                <a:gd name="T81" fmla="*/ 36390 h 455"/>
                <a:gd name="T82" fmla="*/ 10003 w 206"/>
                <a:gd name="T83" fmla="*/ 51467 h 455"/>
                <a:gd name="T84" fmla="*/ 9093 w 206"/>
                <a:gd name="T85" fmla="*/ 69142 h 455"/>
                <a:gd name="T86" fmla="*/ 9093 w 206"/>
                <a:gd name="T87" fmla="*/ 89417 h 455"/>
                <a:gd name="T88" fmla="*/ 5456 w 206"/>
                <a:gd name="T89" fmla="*/ 97734 h 455"/>
                <a:gd name="T90" fmla="*/ 3637 w 206"/>
                <a:gd name="T91" fmla="*/ 107092 h 455"/>
                <a:gd name="T92" fmla="*/ 0 w 206"/>
                <a:gd name="T93" fmla="*/ 122168 h 455"/>
                <a:gd name="T94" fmla="*/ 10003 w 206"/>
                <a:gd name="T95" fmla="*/ 134645 h 455"/>
                <a:gd name="T96" fmla="*/ 18642 w 206"/>
                <a:gd name="T97" fmla="*/ 146082 h 455"/>
                <a:gd name="T98" fmla="*/ 25007 w 206"/>
                <a:gd name="T99" fmla="*/ 158558 h 455"/>
                <a:gd name="T100" fmla="*/ 30009 w 206"/>
                <a:gd name="T101" fmla="*/ 171035 h 455"/>
                <a:gd name="T102" fmla="*/ 34101 w 206"/>
                <a:gd name="T103" fmla="*/ 184552 h 455"/>
                <a:gd name="T104" fmla="*/ 37283 w 206"/>
                <a:gd name="T105" fmla="*/ 199628 h 455"/>
                <a:gd name="T106" fmla="*/ 42285 w 206"/>
                <a:gd name="T107" fmla="*/ 236538 h 45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2" name="Freeform 240">
              <a:extLst>
                <a:ext uri="{FF2B5EF4-FFF2-40B4-BE49-F238E27FC236}">
                  <a16:creationId xmlns:a16="http://schemas.microsoft.com/office/drawing/2014/main" id="{43008445-0AAE-412A-889A-6BC3F0D28C68}"/>
                </a:ext>
              </a:extLst>
            </p:cNvPr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5103814" y="2790825"/>
              <a:ext cx="231775" cy="215900"/>
            </a:xfrm>
            <a:custGeom>
              <a:avLst/>
              <a:gdLst>
                <a:gd name="T0" fmla="*/ 145866 w 518"/>
                <a:gd name="T1" fmla="*/ 58495 h 406"/>
                <a:gd name="T2" fmla="*/ 145866 w 518"/>
                <a:gd name="T3" fmla="*/ 137729 h 406"/>
                <a:gd name="T4" fmla="*/ 140944 w 518"/>
                <a:gd name="T5" fmla="*/ 140388 h 406"/>
                <a:gd name="T6" fmla="*/ 130206 w 518"/>
                <a:gd name="T7" fmla="*/ 144111 h 406"/>
                <a:gd name="T8" fmla="*/ 110071 w 518"/>
                <a:gd name="T9" fmla="*/ 150492 h 406"/>
                <a:gd name="T10" fmla="*/ 113203 w 518"/>
                <a:gd name="T11" fmla="*/ 160596 h 406"/>
                <a:gd name="T12" fmla="*/ 118572 w 518"/>
                <a:gd name="T13" fmla="*/ 173358 h 406"/>
                <a:gd name="T14" fmla="*/ 120362 w 518"/>
                <a:gd name="T15" fmla="*/ 187716 h 406"/>
                <a:gd name="T16" fmla="*/ 121704 w 518"/>
                <a:gd name="T17" fmla="*/ 203137 h 406"/>
                <a:gd name="T18" fmla="*/ 23267 w 518"/>
                <a:gd name="T19" fmla="*/ 209519 h 406"/>
                <a:gd name="T20" fmla="*/ 9844 w 518"/>
                <a:gd name="T21" fmla="*/ 215900 h 406"/>
                <a:gd name="T22" fmla="*/ 2237 w 518"/>
                <a:gd name="T23" fmla="*/ 214305 h 406"/>
                <a:gd name="T24" fmla="*/ 447 w 518"/>
                <a:gd name="T25" fmla="*/ 211646 h 406"/>
                <a:gd name="T26" fmla="*/ 447 w 518"/>
                <a:gd name="T27" fmla="*/ 204733 h 406"/>
                <a:gd name="T28" fmla="*/ 1790 w 518"/>
                <a:gd name="T29" fmla="*/ 197288 h 406"/>
                <a:gd name="T30" fmla="*/ 4922 w 518"/>
                <a:gd name="T31" fmla="*/ 188248 h 406"/>
                <a:gd name="T32" fmla="*/ 8949 w 518"/>
                <a:gd name="T33" fmla="*/ 181335 h 406"/>
                <a:gd name="T34" fmla="*/ 13423 w 518"/>
                <a:gd name="T35" fmla="*/ 177612 h 406"/>
                <a:gd name="T36" fmla="*/ 17003 w 518"/>
                <a:gd name="T37" fmla="*/ 173358 h 406"/>
                <a:gd name="T38" fmla="*/ 19687 w 518"/>
                <a:gd name="T39" fmla="*/ 168572 h 406"/>
                <a:gd name="T40" fmla="*/ 21925 w 518"/>
                <a:gd name="T41" fmla="*/ 155278 h 406"/>
                <a:gd name="T42" fmla="*/ 25057 w 518"/>
                <a:gd name="T43" fmla="*/ 140920 h 406"/>
                <a:gd name="T44" fmla="*/ 27741 w 518"/>
                <a:gd name="T45" fmla="*/ 136666 h 406"/>
                <a:gd name="T46" fmla="*/ 33111 w 518"/>
                <a:gd name="T47" fmla="*/ 130816 h 406"/>
                <a:gd name="T48" fmla="*/ 41165 w 518"/>
                <a:gd name="T49" fmla="*/ 126562 h 406"/>
                <a:gd name="T50" fmla="*/ 47876 w 518"/>
                <a:gd name="T51" fmla="*/ 122840 h 406"/>
                <a:gd name="T52" fmla="*/ 54588 w 518"/>
                <a:gd name="T53" fmla="*/ 115927 h 406"/>
                <a:gd name="T54" fmla="*/ 60852 w 518"/>
                <a:gd name="T55" fmla="*/ 103696 h 406"/>
                <a:gd name="T56" fmla="*/ 67116 w 518"/>
                <a:gd name="T57" fmla="*/ 82957 h 406"/>
                <a:gd name="T58" fmla="*/ 72486 w 518"/>
                <a:gd name="T59" fmla="*/ 62217 h 406"/>
                <a:gd name="T60" fmla="*/ 76960 w 518"/>
                <a:gd name="T61" fmla="*/ 49987 h 406"/>
                <a:gd name="T62" fmla="*/ 83224 w 518"/>
                <a:gd name="T63" fmla="*/ 38819 h 406"/>
                <a:gd name="T64" fmla="*/ 89936 w 518"/>
                <a:gd name="T65" fmla="*/ 32970 h 406"/>
                <a:gd name="T66" fmla="*/ 95305 w 518"/>
                <a:gd name="T67" fmla="*/ 30311 h 406"/>
                <a:gd name="T68" fmla="*/ 97990 w 518"/>
                <a:gd name="T69" fmla="*/ 23398 h 406"/>
                <a:gd name="T70" fmla="*/ 99780 w 518"/>
                <a:gd name="T71" fmla="*/ 14890 h 406"/>
                <a:gd name="T72" fmla="*/ 102017 w 518"/>
                <a:gd name="T73" fmla="*/ 8508 h 406"/>
                <a:gd name="T74" fmla="*/ 106939 w 518"/>
                <a:gd name="T75" fmla="*/ 4254 h 406"/>
                <a:gd name="T76" fmla="*/ 228643 w 518"/>
                <a:gd name="T77" fmla="*/ 0 h 406"/>
                <a:gd name="T78" fmla="*/ 230433 w 518"/>
                <a:gd name="T79" fmla="*/ 24462 h 406"/>
                <a:gd name="T80" fmla="*/ 231775 w 518"/>
                <a:gd name="T81" fmla="*/ 58495 h 40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3" name="Freeform 241">
              <a:extLst>
                <a:ext uri="{FF2B5EF4-FFF2-40B4-BE49-F238E27FC236}">
                  <a16:creationId xmlns:a16="http://schemas.microsoft.com/office/drawing/2014/main" id="{C92B0EEC-B67F-40DA-AE6D-44CFD22A10BB}"/>
                </a:ext>
              </a:extLst>
            </p:cNvPr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5072063" y="1598613"/>
              <a:ext cx="190500" cy="93662"/>
            </a:xfrm>
            <a:custGeom>
              <a:avLst/>
              <a:gdLst>
                <a:gd name="T0" fmla="*/ 14522 w 446"/>
                <a:gd name="T1" fmla="*/ 32098 h 178"/>
                <a:gd name="T2" fmla="*/ 17512 w 446"/>
                <a:gd name="T3" fmla="*/ 22100 h 178"/>
                <a:gd name="T4" fmla="*/ 29045 w 446"/>
                <a:gd name="T5" fmla="*/ 19469 h 178"/>
                <a:gd name="T6" fmla="*/ 34170 w 446"/>
                <a:gd name="T7" fmla="*/ 9471 h 178"/>
                <a:gd name="T8" fmla="*/ 30753 w 446"/>
                <a:gd name="T9" fmla="*/ 7367 h 178"/>
                <a:gd name="T10" fmla="*/ 25628 w 446"/>
                <a:gd name="T11" fmla="*/ 0 h 178"/>
                <a:gd name="T12" fmla="*/ 36306 w 446"/>
                <a:gd name="T13" fmla="*/ 5262 h 178"/>
                <a:gd name="T14" fmla="*/ 46130 w 446"/>
                <a:gd name="T15" fmla="*/ 20521 h 178"/>
                <a:gd name="T16" fmla="*/ 53391 w 446"/>
                <a:gd name="T17" fmla="*/ 32624 h 178"/>
                <a:gd name="T18" fmla="*/ 59371 w 446"/>
                <a:gd name="T19" fmla="*/ 35255 h 178"/>
                <a:gd name="T20" fmla="*/ 67059 w 446"/>
                <a:gd name="T21" fmla="*/ 33150 h 178"/>
                <a:gd name="T22" fmla="*/ 77311 w 446"/>
                <a:gd name="T23" fmla="*/ 23679 h 178"/>
                <a:gd name="T24" fmla="*/ 87562 w 446"/>
                <a:gd name="T25" fmla="*/ 12102 h 178"/>
                <a:gd name="T26" fmla="*/ 93969 w 446"/>
                <a:gd name="T27" fmla="*/ 16312 h 178"/>
                <a:gd name="T28" fmla="*/ 153340 w 446"/>
                <a:gd name="T29" fmla="*/ 5788 h 178"/>
                <a:gd name="T30" fmla="*/ 160601 w 446"/>
                <a:gd name="T31" fmla="*/ 12102 h 178"/>
                <a:gd name="T32" fmla="*/ 169143 w 446"/>
                <a:gd name="T33" fmla="*/ 11576 h 178"/>
                <a:gd name="T34" fmla="*/ 176405 w 446"/>
                <a:gd name="T35" fmla="*/ 19469 h 178"/>
                <a:gd name="T36" fmla="*/ 177259 w 446"/>
                <a:gd name="T37" fmla="*/ 22626 h 178"/>
                <a:gd name="T38" fmla="*/ 183239 w 446"/>
                <a:gd name="T39" fmla="*/ 28414 h 178"/>
                <a:gd name="T40" fmla="*/ 189219 w 446"/>
                <a:gd name="T41" fmla="*/ 35781 h 178"/>
                <a:gd name="T42" fmla="*/ 190500 w 446"/>
                <a:gd name="T43" fmla="*/ 42095 h 178"/>
                <a:gd name="T44" fmla="*/ 187083 w 446"/>
                <a:gd name="T45" fmla="*/ 50514 h 178"/>
                <a:gd name="T46" fmla="*/ 176405 w 446"/>
                <a:gd name="T47" fmla="*/ 58407 h 178"/>
                <a:gd name="T48" fmla="*/ 169571 w 446"/>
                <a:gd name="T49" fmla="*/ 63143 h 178"/>
                <a:gd name="T50" fmla="*/ 156330 w 446"/>
                <a:gd name="T51" fmla="*/ 64721 h 178"/>
                <a:gd name="T52" fmla="*/ 128139 w 446"/>
                <a:gd name="T53" fmla="*/ 76824 h 178"/>
                <a:gd name="T54" fmla="*/ 99948 w 446"/>
                <a:gd name="T55" fmla="*/ 89979 h 178"/>
                <a:gd name="T56" fmla="*/ 84999 w 446"/>
                <a:gd name="T57" fmla="*/ 93662 h 178"/>
                <a:gd name="T58" fmla="*/ 75602 w 446"/>
                <a:gd name="T59" fmla="*/ 91557 h 178"/>
                <a:gd name="T60" fmla="*/ 73466 w 446"/>
                <a:gd name="T61" fmla="*/ 86295 h 178"/>
                <a:gd name="T62" fmla="*/ 72612 w 446"/>
                <a:gd name="T63" fmla="*/ 84717 h 178"/>
                <a:gd name="T64" fmla="*/ 66632 w 446"/>
                <a:gd name="T65" fmla="*/ 84717 h 178"/>
                <a:gd name="T66" fmla="*/ 59371 w 446"/>
                <a:gd name="T67" fmla="*/ 84191 h 178"/>
                <a:gd name="T68" fmla="*/ 42713 w 446"/>
                <a:gd name="T69" fmla="*/ 77350 h 178"/>
                <a:gd name="T70" fmla="*/ 36306 w 446"/>
                <a:gd name="T71" fmla="*/ 72088 h 178"/>
                <a:gd name="T72" fmla="*/ 34598 w 446"/>
                <a:gd name="T73" fmla="*/ 65774 h 178"/>
                <a:gd name="T74" fmla="*/ 37160 w 446"/>
                <a:gd name="T75" fmla="*/ 58407 h 178"/>
                <a:gd name="T76" fmla="*/ 11533 w 446"/>
                <a:gd name="T77" fmla="*/ 54198 h 178"/>
                <a:gd name="T78" fmla="*/ 3844 w 446"/>
                <a:gd name="T79" fmla="*/ 55250 h 178"/>
                <a:gd name="T80" fmla="*/ 0 w 446"/>
                <a:gd name="T81" fmla="*/ 42095 h 178"/>
                <a:gd name="T82" fmla="*/ 25628 w 446"/>
                <a:gd name="T83" fmla="*/ 45252 h 178"/>
                <a:gd name="T84" fmla="*/ 37160 w 446"/>
                <a:gd name="T85" fmla="*/ 42095 h 178"/>
                <a:gd name="T86" fmla="*/ 9824 w 446"/>
                <a:gd name="T87" fmla="*/ 35781 h 178"/>
                <a:gd name="T88" fmla="*/ 6834 w 446"/>
                <a:gd name="T89" fmla="*/ 28941 h 17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4" name="Freeform 242">
              <a:extLst>
                <a:ext uri="{FF2B5EF4-FFF2-40B4-BE49-F238E27FC236}">
                  <a16:creationId xmlns:a16="http://schemas.microsoft.com/office/drawing/2014/main" id="{58B51D6D-58D9-463F-9DBC-8871728176E7}"/>
                </a:ext>
              </a:extLst>
            </p:cNvPr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5864225" y="1862138"/>
              <a:ext cx="14288" cy="57150"/>
            </a:xfrm>
            <a:custGeom>
              <a:avLst/>
              <a:gdLst>
                <a:gd name="T0" fmla="*/ 0 w 28"/>
                <a:gd name="T1" fmla="*/ 57150 h 73"/>
                <a:gd name="T2" fmla="*/ 1021 w 28"/>
                <a:gd name="T3" fmla="*/ 36795 h 73"/>
                <a:gd name="T4" fmla="*/ 3062 w 28"/>
                <a:gd name="T5" fmla="*/ 21921 h 73"/>
                <a:gd name="T6" fmla="*/ 3572 w 28"/>
                <a:gd name="T7" fmla="*/ 15658 h 73"/>
                <a:gd name="T8" fmla="*/ 3062 w 28"/>
                <a:gd name="T9" fmla="*/ 10177 h 73"/>
                <a:gd name="T10" fmla="*/ 2041 w 28"/>
                <a:gd name="T11" fmla="*/ 5480 h 73"/>
                <a:gd name="T12" fmla="*/ 0 w 28"/>
                <a:gd name="T13" fmla="*/ 0 h 73"/>
                <a:gd name="T14" fmla="*/ 14288 w 28"/>
                <a:gd name="T15" fmla="*/ 0 h 73"/>
                <a:gd name="T16" fmla="*/ 11226 w 28"/>
                <a:gd name="T17" fmla="*/ 12526 h 73"/>
                <a:gd name="T18" fmla="*/ 8675 w 28"/>
                <a:gd name="T19" fmla="*/ 23486 h 73"/>
                <a:gd name="T20" fmla="*/ 6123 w 28"/>
                <a:gd name="T21" fmla="*/ 33664 h 73"/>
                <a:gd name="T22" fmla="*/ 3572 w 28"/>
                <a:gd name="T23" fmla="*/ 43058 h 73"/>
                <a:gd name="T24" fmla="*/ 0 w 28"/>
                <a:gd name="T25" fmla="*/ 57150 h 7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25" name="Freeform 243">
              <a:extLst>
                <a:ext uri="{FF2B5EF4-FFF2-40B4-BE49-F238E27FC236}">
                  <a16:creationId xmlns:a16="http://schemas.microsoft.com/office/drawing/2014/main" id="{8498AA23-8FBA-40DE-A570-72EEB6DEB6C4}"/>
                </a:ext>
              </a:extLst>
            </p:cNvPr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5751513" y="1525589"/>
              <a:ext cx="234950" cy="395287"/>
            </a:xfrm>
            <a:custGeom>
              <a:avLst/>
              <a:gdLst>
                <a:gd name="T0" fmla="*/ 185394 w 531"/>
                <a:gd name="T1" fmla="*/ 106002 h 757"/>
                <a:gd name="T2" fmla="*/ 179642 w 531"/>
                <a:gd name="T3" fmla="*/ 115401 h 757"/>
                <a:gd name="T4" fmla="*/ 178757 w 531"/>
                <a:gd name="T5" fmla="*/ 123756 h 757"/>
                <a:gd name="T6" fmla="*/ 169022 w 531"/>
                <a:gd name="T7" fmla="*/ 143598 h 757"/>
                <a:gd name="T8" fmla="*/ 143802 w 531"/>
                <a:gd name="T9" fmla="*/ 159786 h 757"/>
                <a:gd name="T10" fmla="*/ 111502 w 531"/>
                <a:gd name="T11" fmla="*/ 184850 h 757"/>
                <a:gd name="T12" fmla="*/ 104865 w 531"/>
                <a:gd name="T13" fmla="*/ 192683 h 757"/>
                <a:gd name="T14" fmla="*/ 108404 w 531"/>
                <a:gd name="T15" fmla="*/ 198949 h 757"/>
                <a:gd name="T16" fmla="*/ 106192 w 531"/>
                <a:gd name="T17" fmla="*/ 221402 h 757"/>
                <a:gd name="T18" fmla="*/ 105750 w 531"/>
                <a:gd name="T19" fmla="*/ 234457 h 757"/>
                <a:gd name="T20" fmla="*/ 115926 w 531"/>
                <a:gd name="T21" fmla="*/ 244378 h 757"/>
                <a:gd name="T22" fmla="*/ 141589 w 531"/>
                <a:gd name="T23" fmla="*/ 253255 h 757"/>
                <a:gd name="T24" fmla="*/ 146899 w 531"/>
                <a:gd name="T25" fmla="*/ 263699 h 757"/>
                <a:gd name="T26" fmla="*/ 137165 w 531"/>
                <a:gd name="T27" fmla="*/ 277275 h 757"/>
                <a:gd name="T28" fmla="*/ 120351 w 531"/>
                <a:gd name="T29" fmla="*/ 285630 h 757"/>
                <a:gd name="T30" fmla="*/ 117254 w 531"/>
                <a:gd name="T31" fmla="*/ 292418 h 757"/>
                <a:gd name="T32" fmla="*/ 111502 w 531"/>
                <a:gd name="T33" fmla="*/ 329493 h 757"/>
                <a:gd name="T34" fmla="*/ 105750 w 531"/>
                <a:gd name="T35" fmla="*/ 376489 h 757"/>
                <a:gd name="T36" fmla="*/ 76547 w 531"/>
                <a:gd name="T37" fmla="*/ 379622 h 757"/>
                <a:gd name="T38" fmla="*/ 67255 w 531"/>
                <a:gd name="T39" fmla="*/ 385366 h 757"/>
                <a:gd name="T40" fmla="*/ 67697 w 531"/>
                <a:gd name="T41" fmla="*/ 395287 h 757"/>
                <a:gd name="T42" fmla="*/ 46902 w 531"/>
                <a:gd name="T43" fmla="*/ 395287 h 757"/>
                <a:gd name="T44" fmla="*/ 42034 w 531"/>
                <a:gd name="T45" fmla="*/ 392676 h 757"/>
                <a:gd name="T46" fmla="*/ 31415 w 531"/>
                <a:gd name="T47" fmla="*/ 374922 h 757"/>
                <a:gd name="T48" fmla="*/ 18141 w 531"/>
                <a:gd name="T49" fmla="*/ 334192 h 757"/>
                <a:gd name="T50" fmla="*/ 15044 w 531"/>
                <a:gd name="T51" fmla="*/ 311739 h 757"/>
                <a:gd name="T52" fmla="*/ 6195 w 531"/>
                <a:gd name="T53" fmla="*/ 305995 h 757"/>
                <a:gd name="T54" fmla="*/ 8407 w 531"/>
                <a:gd name="T55" fmla="*/ 292941 h 757"/>
                <a:gd name="T56" fmla="*/ 15929 w 531"/>
                <a:gd name="T57" fmla="*/ 280931 h 757"/>
                <a:gd name="T58" fmla="*/ 23451 w 531"/>
                <a:gd name="T59" fmla="*/ 263177 h 757"/>
                <a:gd name="T60" fmla="*/ 26990 w 531"/>
                <a:gd name="T61" fmla="*/ 245945 h 757"/>
                <a:gd name="T62" fmla="*/ 28318 w 531"/>
                <a:gd name="T63" fmla="*/ 230279 h 757"/>
                <a:gd name="T64" fmla="*/ 25663 w 531"/>
                <a:gd name="T65" fmla="*/ 213048 h 757"/>
                <a:gd name="T66" fmla="*/ 19026 w 531"/>
                <a:gd name="T67" fmla="*/ 196860 h 757"/>
                <a:gd name="T68" fmla="*/ 32743 w 531"/>
                <a:gd name="T69" fmla="*/ 144120 h 757"/>
                <a:gd name="T70" fmla="*/ 45574 w 531"/>
                <a:gd name="T71" fmla="*/ 143598 h 757"/>
                <a:gd name="T72" fmla="*/ 49999 w 531"/>
                <a:gd name="T73" fmla="*/ 122189 h 757"/>
                <a:gd name="T74" fmla="*/ 60618 w 531"/>
                <a:gd name="T75" fmla="*/ 100258 h 757"/>
                <a:gd name="T76" fmla="*/ 79644 w 531"/>
                <a:gd name="T77" fmla="*/ 75715 h 757"/>
                <a:gd name="T78" fmla="*/ 87608 w 531"/>
                <a:gd name="T79" fmla="*/ 57962 h 757"/>
                <a:gd name="T80" fmla="*/ 100882 w 531"/>
                <a:gd name="T81" fmla="*/ 31331 h 757"/>
                <a:gd name="T82" fmla="*/ 110174 w 531"/>
                <a:gd name="T83" fmla="*/ 22454 h 757"/>
                <a:gd name="T84" fmla="*/ 136722 w 531"/>
                <a:gd name="T85" fmla="*/ 15143 h 757"/>
                <a:gd name="T86" fmla="*/ 162828 w 531"/>
                <a:gd name="T87" fmla="*/ 6788 h 757"/>
                <a:gd name="T88" fmla="*/ 177429 w 531"/>
                <a:gd name="T89" fmla="*/ 2611 h 757"/>
                <a:gd name="T90" fmla="*/ 190703 w 531"/>
                <a:gd name="T91" fmla="*/ 16710 h 757"/>
                <a:gd name="T92" fmla="*/ 202207 w 531"/>
                <a:gd name="T93" fmla="*/ 21931 h 757"/>
                <a:gd name="T94" fmla="*/ 226986 w 531"/>
                <a:gd name="T95" fmla="*/ 57962 h 757"/>
                <a:gd name="T96" fmla="*/ 233623 w 531"/>
                <a:gd name="T97" fmla="*/ 78326 h 75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26" name="Freeform 244">
              <a:extLst>
                <a:ext uri="{FF2B5EF4-FFF2-40B4-BE49-F238E27FC236}">
                  <a16:creationId xmlns:a16="http://schemas.microsoft.com/office/drawing/2014/main" id="{37A5C3AE-1F29-4A4E-BD59-1E6A101950C8}"/>
                </a:ext>
              </a:extLst>
            </p:cNvPr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5889625" y="1839913"/>
              <a:ext cx="26988" cy="57150"/>
            </a:xfrm>
            <a:custGeom>
              <a:avLst/>
              <a:gdLst>
                <a:gd name="T0" fmla="*/ 0 w 60"/>
                <a:gd name="T1" fmla="*/ 41462 h 51"/>
                <a:gd name="T2" fmla="*/ 2699 w 60"/>
                <a:gd name="T3" fmla="*/ 33618 h 51"/>
                <a:gd name="T4" fmla="*/ 6747 w 60"/>
                <a:gd name="T5" fmla="*/ 21291 h 51"/>
                <a:gd name="T6" fmla="*/ 8996 w 60"/>
                <a:gd name="T7" fmla="*/ 14568 h 51"/>
                <a:gd name="T8" fmla="*/ 12145 w 60"/>
                <a:gd name="T9" fmla="*/ 8965 h 51"/>
                <a:gd name="T10" fmla="*/ 14843 w 60"/>
                <a:gd name="T11" fmla="*/ 4482 h 51"/>
                <a:gd name="T12" fmla="*/ 17992 w 60"/>
                <a:gd name="T13" fmla="*/ 0 h 51"/>
                <a:gd name="T14" fmla="*/ 22490 w 60"/>
                <a:gd name="T15" fmla="*/ 7844 h 51"/>
                <a:gd name="T16" fmla="*/ 26988 w 60"/>
                <a:gd name="T17" fmla="*/ 14568 h 51"/>
                <a:gd name="T18" fmla="*/ 26538 w 60"/>
                <a:gd name="T19" fmla="*/ 22412 h 51"/>
                <a:gd name="T20" fmla="*/ 25189 w 60"/>
                <a:gd name="T21" fmla="*/ 32497 h 51"/>
                <a:gd name="T22" fmla="*/ 24289 w 60"/>
                <a:gd name="T23" fmla="*/ 38100 h 51"/>
                <a:gd name="T24" fmla="*/ 23390 w 60"/>
                <a:gd name="T25" fmla="*/ 42582 h 51"/>
                <a:gd name="T26" fmla="*/ 22040 w 60"/>
                <a:gd name="T27" fmla="*/ 47065 h 51"/>
                <a:gd name="T28" fmla="*/ 20241 w 60"/>
                <a:gd name="T29" fmla="*/ 50426 h 51"/>
                <a:gd name="T30" fmla="*/ 18442 w 60"/>
                <a:gd name="T31" fmla="*/ 53788 h 51"/>
                <a:gd name="T32" fmla="*/ 16643 w 60"/>
                <a:gd name="T33" fmla="*/ 56029 h 51"/>
                <a:gd name="T34" fmla="*/ 13944 w 60"/>
                <a:gd name="T35" fmla="*/ 57150 h 51"/>
                <a:gd name="T36" fmla="*/ 12145 w 60"/>
                <a:gd name="T37" fmla="*/ 57150 h 51"/>
                <a:gd name="T38" fmla="*/ 8996 w 60"/>
                <a:gd name="T39" fmla="*/ 56029 h 51"/>
                <a:gd name="T40" fmla="*/ 6747 w 60"/>
                <a:gd name="T41" fmla="*/ 52668 h 51"/>
                <a:gd name="T42" fmla="*/ 3149 w 60"/>
                <a:gd name="T43" fmla="*/ 48185 h 51"/>
                <a:gd name="T44" fmla="*/ 0 w 60"/>
                <a:gd name="T45" fmla="*/ 41462 h 5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27" name="Freeform 245">
              <a:extLst>
                <a:ext uri="{FF2B5EF4-FFF2-40B4-BE49-F238E27FC236}">
                  <a16:creationId xmlns:a16="http://schemas.microsoft.com/office/drawing/2014/main" id="{5000BE29-17E6-4F5F-9264-50652EB1D467}"/>
                </a:ext>
              </a:extLst>
            </p:cNvPr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5334001" y="2001838"/>
              <a:ext cx="28575" cy="57150"/>
            </a:xfrm>
            <a:custGeom>
              <a:avLst/>
              <a:gdLst>
                <a:gd name="T0" fmla="*/ 25544 w 66"/>
                <a:gd name="T1" fmla="*/ 53788 h 51"/>
                <a:gd name="T2" fmla="*/ 18184 w 66"/>
                <a:gd name="T3" fmla="*/ 56029 h 51"/>
                <a:gd name="T4" fmla="*/ 9525 w 66"/>
                <a:gd name="T5" fmla="*/ 57150 h 51"/>
                <a:gd name="T6" fmla="*/ 7360 w 66"/>
                <a:gd name="T7" fmla="*/ 56029 h 51"/>
                <a:gd name="T8" fmla="*/ 5628 w 66"/>
                <a:gd name="T9" fmla="*/ 54909 h 51"/>
                <a:gd name="T10" fmla="*/ 4330 w 66"/>
                <a:gd name="T11" fmla="*/ 53788 h 51"/>
                <a:gd name="T12" fmla="*/ 3031 w 66"/>
                <a:gd name="T13" fmla="*/ 51547 h 51"/>
                <a:gd name="T14" fmla="*/ 1299 w 66"/>
                <a:gd name="T15" fmla="*/ 48185 h 51"/>
                <a:gd name="T16" fmla="*/ 433 w 66"/>
                <a:gd name="T17" fmla="*/ 44824 h 51"/>
                <a:gd name="T18" fmla="*/ 0 w 66"/>
                <a:gd name="T19" fmla="*/ 39221 h 51"/>
                <a:gd name="T20" fmla="*/ 0 w 66"/>
                <a:gd name="T21" fmla="*/ 33618 h 51"/>
                <a:gd name="T22" fmla="*/ 1732 w 66"/>
                <a:gd name="T23" fmla="*/ 32497 h 51"/>
                <a:gd name="T24" fmla="*/ 4330 w 66"/>
                <a:gd name="T25" fmla="*/ 30256 h 51"/>
                <a:gd name="T26" fmla="*/ 6061 w 66"/>
                <a:gd name="T27" fmla="*/ 26894 h 51"/>
                <a:gd name="T28" fmla="*/ 8226 w 66"/>
                <a:gd name="T29" fmla="*/ 22412 h 51"/>
                <a:gd name="T30" fmla="*/ 11257 w 66"/>
                <a:gd name="T31" fmla="*/ 11206 h 51"/>
                <a:gd name="T32" fmla="*/ 14288 w 66"/>
                <a:gd name="T33" fmla="*/ 0 h 51"/>
                <a:gd name="T34" fmla="*/ 19916 w 66"/>
                <a:gd name="T35" fmla="*/ 1121 h 51"/>
                <a:gd name="T36" fmla="*/ 22514 w 66"/>
                <a:gd name="T37" fmla="*/ 2241 h 51"/>
                <a:gd name="T38" fmla="*/ 24245 w 66"/>
                <a:gd name="T39" fmla="*/ 3362 h 51"/>
                <a:gd name="T40" fmla="*/ 28575 w 66"/>
                <a:gd name="T41" fmla="*/ 0 h 51"/>
                <a:gd name="T42" fmla="*/ 28142 w 66"/>
                <a:gd name="T43" fmla="*/ 14568 h 51"/>
                <a:gd name="T44" fmla="*/ 27276 w 66"/>
                <a:gd name="T45" fmla="*/ 26894 h 51"/>
                <a:gd name="T46" fmla="*/ 25977 w 66"/>
                <a:gd name="T47" fmla="*/ 40341 h 51"/>
                <a:gd name="T48" fmla="*/ 25544 w 66"/>
                <a:gd name="T49" fmla="*/ 53788 h 5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28" name="Freeform 246">
              <a:extLst>
                <a:ext uri="{FF2B5EF4-FFF2-40B4-BE49-F238E27FC236}">
                  <a16:creationId xmlns:a16="http://schemas.microsoft.com/office/drawing/2014/main" id="{EDEEA46D-95F7-44BE-9F2D-4B8C2F7A1FF7}"/>
                </a:ext>
              </a:extLst>
            </p:cNvPr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6286500" y="2530475"/>
              <a:ext cx="50800" cy="57150"/>
            </a:xfrm>
            <a:custGeom>
              <a:avLst/>
              <a:gdLst>
                <a:gd name="T0" fmla="*/ 0 w 113"/>
                <a:gd name="T1" fmla="*/ 33981 h 74"/>
                <a:gd name="T2" fmla="*/ 8991 w 113"/>
                <a:gd name="T3" fmla="*/ 57150 h 74"/>
                <a:gd name="T4" fmla="*/ 16634 w 113"/>
                <a:gd name="T5" fmla="*/ 53289 h 74"/>
                <a:gd name="T6" fmla="*/ 22927 w 113"/>
                <a:gd name="T7" fmla="*/ 50199 h 74"/>
                <a:gd name="T8" fmla="*/ 28772 w 113"/>
                <a:gd name="T9" fmla="*/ 45566 h 74"/>
                <a:gd name="T10" fmla="*/ 33267 w 113"/>
                <a:gd name="T11" fmla="*/ 40932 h 74"/>
                <a:gd name="T12" fmla="*/ 35065 w 113"/>
                <a:gd name="T13" fmla="*/ 37843 h 74"/>
                <a:gd name="T14" fmla="*/ 37313 w 113"/>
                <a:gd name="T15" fmla="*/ 34753 h 74"/>
                <a:gd name="T16" fmla="*/ 38662 w 113"/>
                <a:gd name="T17" fmla="*/ 31664 h 74"/>
                <a:gd name="T18" fmla="*/ 39561 w 113"/>
                <a:gd name="T19" fmla="*/ 28575 h 74"/>
                <a:gd name="T20" fmla="*/ 40460 w 113"/>
                <a:gd name="T21" fmla="*/ 24714 h 74"/>
                <a:gd name="T22" fmla="*/ 40910 w 113"/>
                <a:gd name="T23" fmla="*/ 20080 h 74"/>
                <a:gd name="T24" fmla="*/ 41809 w 113"/>
                <a:gd name="T25" fmla="*/ 14674 h 74"/>
                <a:gd name="T26" fmla="*/ 42258 w 113"/>
                <a:gd name="T27" fmla="*/ 10040 h 74"/>
                <a:gd name="T28" fmla="*/ 44506 w 113"/>
                <a:gd name="T29" fmla="*/ 9268 h 74"/>
                <a:gd name="T30" fmla="*/ 47653 w 113"/>
                <a:gd name="T31" fmla="*/ 6951 h 74"/>
                <a:gd name="T32" fmla="*/ 48552 w 113"/>
                <a:gd name="T33" fmla="*/ 5406 h 74"/>
                <a:gd name="T34" fmla="*/ 49901 w 113"/>
                <a:gd name="T35" fmla="*/ 3861 h 74"/>
                <a:gd name="T36" fmla="*/ 50350 w 113"/>
                <a:gd name="T37" fmla="*/ 2317 h 74"/>
                <a:gd name="T38" fmla="*/ 50800 w 113"/>
                <a:gd name="T39" fmla="*/ 0 h 74"/>
                <a:gd name="T40" fmla="*/ 44057 w 113"/>
                <a:gd name="T41" fmla="*/ 3089 h 74"/>
                <a:gd name="T42" fmla="*/ 36864 w 113"/>
                <a:gd name="T43" fmla="*/ 6178 h 74"/>
                <a:gd name="T44" fmla="*/ 29221 w 113"/>
                <a:gd name="T45" fmla="*/ 10040 h 74"/>
                <a:gd name="T46" fmla="*/ 22028 w 113"/>
                <a:gd name="T47" fmla="*/ 14674 h 74"/>
                <a:gd name="T48" fmla="*/ 8991 w 113"/>
                <a:gd name="T49" fmla="*/ 25486 h 74"/>
                <a:gd name="T50" fmla="*/ 0 w 113"/>
                <a:gd name="T51" fmla="*/ 33981 h 7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9" name="Freeform 247">
              <a:extLst>
                <a:ext uri="{FF2B5EF4-FFF2-40B4-BE49-F238E27FC236}">
                  <a16:creationId xmlns:a16="http://schemas.microsoft.com/office/drawing/2014/main" id="{56F06F93-235A-4213-B261-D520209A372D}"/>
                </a:ext>
              </a:extLst>
            </p:cNvPr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5894389" y="3322639"/>
              <a:ext cx="325437" cy="244475"/>
            </a:xfrm>
            <a:custGeom>
              <a:avLst/>
              <a:gdLst>
                <a:gd name="T0" fmla="*/ 42752 w 746"/>
                <a:gd name="T1" fmla="*/ 235613 h 469"/>
                <a:gd name="T2" fmla="*/ 23557 w 746"/>
                <a:gd name="T3" fmla="*/ 229358 h 469"/>
                <a:gd name="T4" fmla="*/ 9161 w 746"/>
                <a:gd name="T5" fmla="*/ 223624 h 469"/>
                <a:gd name="T6" fmla="*/ 2181 w 746"/>
                <a:gd name="T7" fmla="*/ 215284 h 469"/>
                <a:gd name="T8" fmla="*/ 0 w 746"/>
                <a:gd name="T9" fmla="*/ 189221 h 469"/>
                <a:gd name="T10" fmla="*/ 2181 w 746"/>
                <a:gd name="T11" fmla="*/ 161072 h 469"/>
                <a:gd name="T12" fmla="*/ 10034 w 746"/>
                <a:gd name="T13" fmla="*/ 142306 h 469"/>
                <a:gd name="T14" fmla="*/ 24430 w 746"/>
                <a:gd name="T15" fmla="*/ 118849 h 469"/>
                <a:gd name="T16" fmla="*/ 52785 w 746"/>
                <a:gd name="T17" fmla="*/ 106339 h 469"/>
                <a:gd name="T18" fmla="*/ 72416 w 746"/>
                <a:gd name="T19" fmla="*/ 97999 h 469"/>
                <a:gd name="T20" fmla="*/ 102517 w 746"/>
                <a:gd name="T21" fmla="*/ 90179 h 469"/>
                <a:gd name="T22" fmla="*/ 114296 w 746"/>
                <a:gd name="T23" fmla="*/ 79754 h 469"/>
                <a:gd name="T24" fmla="*/ 116477 w 746"/>
                <a:gd name="T25" fmla="*/ 70893 h 469"/>
                <a:gd name="T26" fmla="*/ 127383 w 746"/>
                <a:gd name="T27" fmla="*/ 62552 h 469"/>
                <a:gd name="T28" fmla="*/ 144833 w 746"/>
                <a:gd name="T29" fmla="*/ 59946 h 469"/>
                <a:gd name="T30" fmla="*/ 156611 w 746"/>
                <a:gd name="T31" fmla="*/ 52648 h 469"/>
                <a:gd name="T32" fmla="*/ 169698 w 746"/>
                <a:gd name="T33" fmla="*/ 34925 h 469"/>
                <a:gd name="T34" fmla="*/ 185403 w 746"/>
                <a:gd name="T35" fmla="*/ 11468 h 469"/>
                <a:gd name="T36" fmla="*/ 196309 w 746"/>
                <a:gd name="T37" fmla="*/ 3128 h 469"/>
                <a:gd name="T38" fmla="*/ 212014 w 746"/>
                <a:gd name="T39" fmla="*/ 0 h 469"/>
                <a:gd name="T40" fmla="*/ 221175 w 746"/>
                <a:gd name="T41" fmla="*/ 15117 h 469"/>
                <a:gd name="T42" fmla="*/ 232081 w 746"/>
                <a:gd name="T43" fmla="*/ 27627 h 469"/>
                <a:gd name="T44" fmla="*/ 241242 w 746"/>
                <a:gd name="T45" fmla="*/ 55776 h 469"/>
                <a:gd name="T46" fmla="*/ 252584 w 746"/>
                <a:gd name="T47" fmla="*/ 82882 h 469"/>
                <a:gd name="T48" fmla="*/ 267417 w 746"/>
                <a:gd name="T49" fmla="*/ 89658 h 469"/>
                <a:gd name="T50" fmla="*/ 273960 w 746"/>
                <a:gd name="T51" fmla="*/ 100605 h 469"/>
                <a:gd name="T52" fmla="*/ 283558 w 746"/>
                <a:gd name="T53" fmla="*/ 121456 h 469"/>
                <a:gd name="T54" fmla="*/ 306242 w 746"/>
                <a:gd name="T55" fmla="*/ 145434 h 469"/>
                <a:gd name="T56" fmla="*/ 323256 w 746"/>
                <a:gd name="T57" fmla="*/ 164200 h 469"/>
                <a:gd name="T58" fmla="*/ 310169 w 746"/>
                <a:gd name="T59" fmla="*/ 179838 h 469"/>
                <a:gd name="T60" fmla="*/ 301444 w 746"/>
                <a:gd name="T61" fmla="*/ 178274 h 469"/>
                <a:gd name="T62" fmla="*/ 296209 w 746"/>
                <a:gd name="T63" fmla="*/ 167327 h 469"/>
                <a:gd name="T64" fmla="*/ 283994 w 746"/>
                <a:gd name="T65" fmla="*/ 172019 h 469"/>
                <a:gd name="T66" fmla="*/ 278759 w 746"/>
                <a:gd name="T67" fmla="*/ 183487 h 469"/>
                <a:gd name="T68" fmla="*/ 263491 w 746"/>
                <a:gd name="T69" fmla="*/ 185572 h 469"/>
                <a:gd name="T70" fmla="*/ 241242 w 746"/>
                <a:gd name="T71" fmla="*/ 185572 h 469"/>
                <a:gd name="T72" fmla="*/ 227719 w 746"/>
                <a:gd name="T73" fmla="*/ 190263 h 469"/>
                <a:gd name="T74" fmla="*/ 216376 w 746"/>
                <a:gd name="T75" fmla="*/ 201731 h 469"/>
                <a:gd name="T76" fmla="*/ 212014 w 746"/>
                <a:gd name="T77" fmla="*/ 205380 h 469"/>
                <a:gd name="T78" fmla="*/ 185839 w 746"/>
                <a:gd name="T79" fmla="*/ 208507 h 469"/>
                <a:gd name="T80" fmla="*/ 172752 w 746"/>
                <a:gd name="T81" fmla="*/ 204337 h 469"/>
                <a:gd name="T82" fmla="*/ 152249 w 746"/>
                <a:gd name="T83" fmla="*/ 184529 h 469"/>
                <a:gd name="T84" fmla="*/ 139161 w 746"/>
                <a:gd name="T85" fmla="*/ 179838 h 469"/>
                <a:gd name="T86" fmla="*/ 126947 w 746"/>
                <a:gd name="T87" fmla="*/ 185050 h 469"/>
                <a:gd name="T88" fmla="*/ 116041 w 746"/>
                <a:gd name="T89" fmla="*/ 196518 h 469"/>
                <a:gd name="T90" fmla="*/ 99027 w 746"/>
                <a:gd name="T91" fmla="*/ 227794 h 469"/>
                <a:gd name="T92" fmla="*/ 65436 w 746"/>
                <a:gd name="T93" fmla="*/ 228837 h 469"/>
                <a:gd name="T94" fmla="*/ 58893 w 746"/>
                <a:gd name="T95" fmla="*/ 233528 h 46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0" name="Freeform 248">
              <a:extLst>
                <a:ext uri="{FF2B5EF4-FFF2-40B4-BE49-F238E27FC236}">
                  <a16:creationId xmlns:a16="http://schemas.microsoft.com/office/drawing/2014/main" id="{DF7AA23C-E5A0-4DD8-851C-157364324B31}"/>
                </a:ext>
              </a:extLst>
            </p:cNvPr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5830888" y="3490913"/>
              <a:ext cx="500062" cy="552450"/>
            </a:xfrm>
            <a:custGeom>
              <a:avLst/>
              <a:gdLst>
                <a:gd name="T0" fmla="*/ 393935 w 1145"/>
                <a:gd name="T1" fmla="*/ 29905 h 1053"/>
                <a:gd name="T2" fmla="*/ 433678 w 1145"/>
                <a:gd name="T3" fmla="*/ 34626 h 1053"/>
                <a:gd name="T4" fmla="*/ 471674 w 1145"/>
                <a:gd name="T5" fmla="*/ 42496 h 1053"/>
                <a:gd name="T6" fmla="*/ 491764 w 1145"/>
                <a:gd name="T7" fmla="*/ 91813 h 1053"/>
                <a:gd name="T8" fmla="*/ 494821 w 1145"/>
                <a:gd name="T9" fmla="*/ 110700 h 1053"/>
                <a:gd name="T10" fmla="*/ 462066 w 1145"/>
                <a:gd name="T11" fmla="*/ 142703 h 1053"/>
                <a:gd name="T12" fmla="*/ 456388 w 1145"/>
                <a:gd name="T13" fmla="*/ 188872 h 1053"/>
                <a:gd name="T14" fmla="*/ 438046 w 1145"/>
                <a:gd name="T15" fmla="*/ 230843 h 1053"/>
                <a:gd name="T16" fmla="*/ 432368 w 1145"/>
                <a:gd name="T17" fmla="*/ 249730 h 1053"/>
                <a:gd name="T18" fmla="*/ 445033 w 1145"/>
                <a:gd name="T19" fmla="*/ 302195 h 1053"/>
                <a:gd name="T20" fmla="*/ 448090 w 1145"/>
                <a:gd name="T21" fmla="*/ 348364 h 1053"/>
                <a:gd name="T22" fmla="*/ 457262 w 1145"/>
                <a:gd name="T23" fmla="*/ 383515 h 1053"/>
                <a:gd name="T24" fmla="*/ 471237 w 1145"/>
                <a:gd name="T25" fmla="*/ 401353 h 1053"/>
                <a:gd name="T26" fmla="*/ 476915 w 1145"/>
                <a:gd name="T27" fmla="*/ 432831 h 1053"/>
                <a:gd name="T28" fmla="*/ 454205 w 1145"/>
                <a:gd name="T29" fmla="*/ 442799 h 1053"/>
                <a:gd name="T30" fmla="*/ 435425 w 1145"/>
                <a:gd name="T31" fmla="*/ 449095 h 1053"/>
                <a:gd name="T32" fmla="*/ 419266 w 1145"/>
                <a:gd name="T33" fmla="*/ 520447 h 1053"/>
                <a:gd name="T34" fmla="*/ 406164 w 1145"/>
                <a:gd name="T35" fmla="*/ 538285 h 1053"/>
                <a:gd name="T36" fmla="*/ 393935 w 1145"/>
                <a:gd name="T37" fmla="*/ 540908 h 1053"/>
                <a:gd name="T38" fmla="*/ 366858 w 1145"/>
                <a:gd name="T39" fmla="*/ 552450 h 1053"/>
                <a:gd name="T40" fmla="*/ 341527 w 1145"/>
                <a:gd name="T41" fmla="*/ 544056 h 1053"/>
                <a:gd name="T42" fmla="*/ 324494 w 1145"/>
                <a:gd name="T43" fmla="*/ 531989 h 1053"/>
                <a:gd name="T44" fmla="*/ 308772 w 1145"/>
                <a:gd name="T45" fmla="*/ 523070 h 1053"/>
                <a:gd name="T46" fmla="*/ 294360 w 1145"/>
                <a:gd name="T47" fmla="*/ 517299 h 1053"/>
                <a:gd name="T48" fmla="*/ 265535 w 1145"/>
                <a:gd name="T49" fmla="*/ 517824 h 1053"/>
                <a:gd name="T50" fmla="*/ 259421 w 1145"/>
                <a:gd name="T51" fmla="*/ 494215 h 1053"/>
                <a:gd name="T52" fmla="*/ 251123 w 1145"/>
                <a:gd name="T53" fmla="*/ 463785 h 1053"/>
                <a:gd name="T54" fmla="*/ 257674 w 1145"/>
                <a:gd name="T55" fmla="*/ 443849 h 1053"/>
                <a:gd name="T56" fmla="*/ 257674 w 1145"/>
                <a:gd name="T57" fmla="*/ 408698 h 1053"/>
                <a:gd name="T58" fmla="*/ 198278 w 1145"/>
                <a:gd name="T59" fmla="*/ 396106 h 1053"/>
                <a:gd name="T60" fmla="*/ 193474 w 1145"/>
                <a:gd name="T61" fmla="*/ 411845 h 1053"/>
                <a:gd name="T62" fmla="*/ 172947 w 1145"/>
                <a:gd name="T63" fmla="*/ 428634 h 1053"/>
                <a:gd name="T64" fmla="*/ 147180 w 1145"/>
                <a:gd name="T65" fmla="*/ 418141 h 1053"/>
                <a:gd name="T66" fmla="*/ 129710 w 1145"/>
                <a:gd name="T67" fmla="*/ 371448 h 1053"/>
                <a:gd name="T68" fmla="*/ 1310 w 1145"/>
                <a:gd name="T69" fmla="*/ 352036 h 1053"/>
                <a:gd name="T70" fmla="*/ 19653 w 1145"/>
                <a:gd name="T71" fmla="*/ 349937 h 1053"/>
                <a:gd name="T72" fmla="*/ 11355 w 1145"/>
                <a:gd name="T73" fmla="*/ 331050 h 1053"/>
                <a:gd name="T74" fmla="*/ 32755 w 1145"/>
                <a:gd name="T75" fmla="*/ 322656 h 1053"/>
                <a:gd name="T76" fmla="*/ 63327 w 1145"/>
                <a:gd name="T77" fmla="*/ 322131 h 1053"/>
                <a:gd name="T78" fmla="*/ 79923 w 1145"/>
                <a:gd name="T79" fmla="*/ 325279 h 1053"/>
                <a:gd name="T80" fmla="*/ 96082 w 1145"/>
                <a:gd name="T81" fmla="*/ 301146 h 1053"/>
                <a:gd name="T82" fmla="*/ 113551 w 1145"/>
                <a:gd name="T83" fmla="*/ 291177 h 1053"/>
                <a:gd name="T84" fmla="*/ 122723 w 1145"/>
                <a:gd name="T85" fmla="*/ 230843 h 1053"/>
                <a:gd name="T86" fmla="*/ 151110 w 1145"/>
                <a:gd name="T87" fmla="*/ 194118 h 1053"/>
                <a:gd name="T88" fmla="*/ 161592 w 1145"/>
                <a:gd name="T89" fmla="*/ 144802 h 1053"/>
                <a:gd name="T90" fmla="*/ 162466 w 1145"/>
                <a:gd name="T91" fmla="*/ 94436 h 1053"/>
                <a:gd name="T92" fmla="*/ 167270 w 1145"/>
                <a:gd name="T93" fmla="*/ 64007 h 1053"/>
                <a:gd name="T94" fmla="*/ 192164 w 1145"/>
                <a:gd name="T95" fmla="*/ 18363 h 1053"/>
                <a:gd name="T96" fmla="*/ 214437 w 1145"/>
                <a:gd name="T97" fmla="*/ 15739 h 1053"/>
                <a:gd name="T98" fmla="*/ 243698 w 1145"/>
                <a:gd name="T99" fmla="*/ 40398 h 1053"/>
                <a:gd name="T100" fmla="*/ 278200 w 1145"/>
                <a:gd name="T101" fmla="*/ 38299 h 1053"/>
                <a:gd name="T102" fmla="*/ 292613 w 1145"/>
                <a:gd name="T103" fmla="*/ 23084 h 1053"/>
                <a:gd name="T104" fmla="*/ 320564 w 1145"/>
                <a:gd name="T105" fmla="*/ 17838 h 1053"/>
                <a:gd name="T106" fmla="*/ 347205 w 1145"/>
                <a:gd name="T107" fmla="*/ 8919 h 1053"/>
                <a:gd name="T108" fmla="*/ 361617 w 1145"/>
                <a:gd name="T109" fmla="*/ 4197 h 1053"/>
                <a:gd name="T110" fmla="*/ 375156 w 1145"/>
                <a:gd name="T111" fmla="*/ 12591 h 105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1" name="Freeform 249">
              <a:extLst>
                <a:ext uri="{FF2B5EF4-FFF2-40B4-BE49-F238E27FC236}">
                  <a16:creationId xmlns:a16="http://schemas.microsoft.com/office/drawing/2014/main" id="{EEF03BF9-AE8F-479D-A93D-E16D0FBE4C8A}"/>
                </a:ext>
              </a:extLst>
            </p:cNvPr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5767388" y="3590926"/>
              <a:ext cx="55562" cy="55563"/>
            </a:xfrm>
            <a:custGeom>
              <a:avLst/>
              <a:gdLst>
                <a:gd name="T0" fmla="*/ 53340 w 125"/>
                <a:gd name="T1" fmla="*/ 0 h 81"/>
                <a:gd name="T2" fmla="*/ 53784 w 125"/>
                <a:gd name="T3" fmla="*/ 18521 h 81"/>
                <a:gd name="T4" fmla="*/ 55118 w 125"/>
                <a:gd name="T5" fmla="*/ 31554 h 81"/>
                <a:gd name="T6" fmla="*/ 55562 w 125"/>
                <a:gd name="T7" fmla="*/ 36356 h 81"/>
                <a:gd name="T8" fmla="*/ 55562 w 125"/>
                <a:gd name="T9" fmla="*/ 40472 h 81"/>
                <a:gd name="T10" fmla="*/ 55562 w 125"/>
                <a:gd name="T11" fmla="*/ 44588 h 81"/>
                <a:gd name="T12" fmla="*/ 54673 w 125"/>
                <a:gd name="T13" fmla="*/ 47331 h 81"/>
                <a:gd name="T14" fmla="*/ 52895 w 125"/>
                <a:gd name="T15" fmla="*/ 49389 h 81"/>
                <a:gd name="T16" fmla="*/ 49784 w 125"/>
                <a:gd name="T17" fmla="*/ 50761 h 81"/>
                <a:gd name="T18" fmla="*/ 45783 w 125"/>
                <a:gd name="T19" fmla="*/ 52133 h 81"/>
                <a:gd name="T20" fmla="*/ 40449 w 125"/>
                <a:gd name="T21" fmla="*/ 52819 h 81"/>
                <a:gd name="T22" fmla="*/ 25336 w 125"/>
                <a:gd name="T23" fmla="*/ 54191 h 81"/>
                <a:gd name="T24" fmla="*/ 3111 w 125"/>
                <a:gd name="T25" fmla="*/ 55563 h 81"/>
                <a:gd name="T26" fmla="*/ 2222 w 125"/>
                <a:gd name="T27" fmla="*/ 54191 h 81"/>
                <a:gd name="T28" fmla="*/ 1333 w 125"/>
                <a:gd name="T29" fmla="*/ 49389 h 81"/>
                <a:gd name="T30" fmla="*/ 444 w 125"/>
                <a:gd name="T31" fmla="*/ 40472 h 81"/>
                <a:gd name="T32" fmla="*/ 0 w 125"/>
                <a:gd name="T33" fmla="*/ 29496 h 81"/>
                <a:gd name="T34" fmla="*/ 0 w 125"/>
                <a:gd name="T35" fmla="*/ 25381 h 81"/>
                <a:gd name="T36" fmla="*/ 444 w 125"/>
                <a:gd name="T37" fmla="*/ 21265 h 81"/>
                <a:gd name="T38" fmla="*/ 889 w 125"/>
                <a:gd name="T39" fmla="*/ 17149 h 81"/>
                <a:gd name="T40" fmla="*/ 1778 w 125"/>
                <a:gd name="T41" fmla="*/ 13719 h 81"/>
                <a:gd name="T42" fmla="*/ 3556 w 125"/>
                <a:gd name="T43" fmla="*/ 10289 h 81"/>
                <a:gd name="T44" fmla="*/ 4889 w 125"/>
                <a:gd name="T45" fmla="*/ 6860 h 81"/>
                <a:gd name="T46" fmla="*/ 6223 w 125"/>
                <a:gd name="T47" fmla="*/ 3430 h 81"/>
                <a:gd name="T48" fmla="*/ 8890 w 125"/>
                <a:gd name="T49" fmla="*/ 0 h 81"/>
                <a:gd name="T50" fmla="*/ 53340 w 125"/>
                <a:gd name="T51" fmla="*/ 0 h 8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2" name="Freeform 250">
              <a:extLst>
                <a:ext uri="{FF2B5EF4-FFF2-40B4-BE49-F238E27FC236}">
                  <a16:creationId xmlns:a16="http://schemas.microsoft.com/office/drawing/2014/main" id="{C2F30371-0322-438A-80A2-DDD39FFCA4F2}"/>
                </a:ext>
              </a:extLst>
            </p:cNvPr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5749925" y="3590926"/>
              <a:ext cx="152400" cy="201613"/>
            </a:xfrm>
            <a:custGeom>
              <a:avLst/>
              <a:gdLst>
                <a:gd name="T0" fmla="*/ 112475 w 355"/>
                <a:gd name="T1" fmla="*/ 7794 h 388"/>
                <a:gd name="T2" fmla="*/ 110329 w 355"/>
                <a:gd name="T3" fmla="*/ 19226 h 388"/>
                <a:gd name="T4" fmla="*/ 113334 w 355"/>
                <a:gd name="T5" fmla="*/ 26501 h 388"/>
                <a:gd name="T6" fmla="*/ 121491 w 355"/>
                <a:gd name="T7" fmla="*/ 31177 h 388"/>
                <a:gd name="T8" fmla="*/ 136945 w 355"/>
                <a:gd name="T9" fmla="*/ 28579 h 388"/>
                <a:gd name="T10" fmla="*/ 142526 w 355"/>
                <a:gd name="T11" fmla="*/ 29618 h 388"/>
                <a:gd name="T12" fmla="*/ 145961 w 355"/>
                <a:gd name="T13" fmla="*/ 35334 h 388"/>
                <a:gd name="T14" fmla="*/ 148107 w 355"/>
                <a:gd name="T15" fmla="*/ 43129 h 388"/>
                <a:gd name="T16" fmla="*/ 150683 w 355"/>
                <a:gd name="T17" fmla="*/ 48844 h 388"/>
                <a:gd name="T18" fmla="*/ 148107 w 355"/>
                <a:gd name="T19" fmla="*/ 56119 h 388"/>
                <a:gd name="T20" fmla="*/ 137375 w 355"/>
                <a:gd name="T21" fmla="*/ 70668 h 388"/>
                <a:gd name="T22" fmla="*/ 149395 w 355"/>
                <a:gd name="T23" fmla="*/ 90934 h 388"/>
                <a:gd name="T24" fmla="*/ 152400 w 355"/>
                <a:gd name="T25" fmla="*/ 104963 h 388"/>
                <a:gd name="T26" fmla="*/ 151541 w 355"/>
                <a:gd name="T27" fmla="*/ 113797 h 388"/>
                <a:gd name="T28" fmla="*/ 148107 w 355"/>
                <a:gd name="T29" fmla="*/ 131984 h 388"/>
                <a:gd name="T30" fmla="*/ 142955 w 355"/>
                <a:gd name="T31" fmla="*/ 140817 h 388"/>
                <a:gd name="T32" fmla="*/ 133940 w 355"/>
                <a:gd name="T33" fmla="*/ 145494 h 388"/>
                <a:gd name="T34" fmla="*/ 122779 w 355"/>
                <a:gd name="T35" fmla="*/ 146533 h 388"/>
                <a:gd name="T36" fmla="*/ 115910 w 355"/>
                <a:gd name="T37" fmla="*/ 146533 h 388"/>
                <a:gd name="T38" fmla="*/ 108183 w 355"/>
                <a:gd name="T39" fmla="*/ 137700 h 388"/>
                <a:gd name="T40" fmla="*/ 103031 w 355"/>
                <a:gd name="T41" fmla="*/ 134582 h 388"/>
                <a:gd name="T42" fmla="*/ 94874 w 355"/>
                <a:gd name="T43" fmla="*/ 139778 h 388"/>
                <a:gd name="T44" fmla="*/ 88006 w 355"/>
                <a:gd name="T45" fmla="*/ 144974 h 388"/>
                <a:gd name="T46" fmla="*/ 83283 w 355"/>
                <a:gd name="T47" fmla="*/ 148092 h 388"/>
                <a:gd name="T48" fmla="*/ 79420 w 355"/>
                <a:gd name="T49" fmla="*/ 154847 h 388"/>
                <a:gd name="T50" fmla="*/ 80278 w 355"/>
                <a:gd name="T51" fmla="*/ 166798 h 388"/>
                <a:gd name="T52" fmla="*/ 88864 w 355"/>
                <a:gd name="T53" fmla="*/ 186024 h 388"/>
                <a:gd name="T54" fmla="*/ 83713 w 355"/>
                <a:gd name="T55" fmla="*/ 183426 h 388"/>
                <a:gd name="T56" fmla="*/ 75985 w 355"/>
                <a:gd name="T57" fmla="*/ 184466 h 388"/>
                <a:gd name="T58" fmla="*/ 69546 w 355"/>
                <a:gd name="T59" fmla="*/ 189662 h 388"/>
                <a:gd name="T60" fmla="*/ 62677 w 355"/>
                <a:gd name="T61" fmla="*/ 201613 h 388"/>
                <a:gd name="T62" fmla="*/ 52803 w 355"/>
                <a:gd name="T63" fmla="*/ 192260 h 388"/>
                <a:gd name="T64" fmla="*/ 48510 w 355"/>
                <a:gd name="T65" fmla="*/ 186024 h 388"/>
                <a:gd name="T66" fmla="*/ 41212 w 355"/>
                <a:gd name="T67" fmla="*/ 168357 h 388"/>
                <a:gd name="T68" fmla="*/ 21465 w 355"/>
                <a:gd name="T69" fmla="*/ 145494 h 388"/>
                <a:gd name="T70" fmla="*/ 9445 w 355"/>
                <a:gd name="T71" fmla="*/ 131984 h 388"/>
                <a:gd name="T72" fmla="*/ 2146 w 355"/>
                <a:gd name="T73" fmla="*/ 115876 h 388"/>
                <a:gd name="T74" fmla="*/ 429 w 355"/>
                <a:gd name="T75" fmla="*/ 97169 h 388"/>
                <a:gd name="T76" fmla="*/ 4722 w 355"/>
                <a:gd name="T77" fmla="*/ 84179 h 388"/>
                <a:gd name="T78" fmla="*/ 17601 w 355"/>
                <a:gd name="T79" fmla="*/ 69629 h 388"/>
                <a:gd name="T80" fmla="*/ 23182 w 355"/>
                <a:gd name="T81" fmla="*/ 60276 h 388"/>
                <a:gd name="T82" fmla="*/ 24041 w 355"/>
                <a:gd name="T83" fmla="*/ 47286 h 388"/>
                <a:gd name="T84" fmla="*/ 46364 w 355"/>
                <a:gd name="T85" fmla="*/ 43129 h 388"/>
                <a:gd name="T86" fmla="*/ 66970 w 355"/>
                <a:gd name="T87" fmla="*/ 41570 h 388"/>
                <a:gd name="T88" fmla="*/ 73839 w 355"/>
                <a:gd name="T89" fmla="*/ 37932 h 388"/>
                <a:gd name="T90" fmla="*/ 75985 w 355"/>
                <a:gd name="T91" fmla="*/ 32736 h 388"/>
                <a:gd name="T92" fmla="*/ 74697 w 355"/>
                <a:gd name="T93" fmla="*/ 21304 h 388"/>
                <a:gd name="T94" fmla="*/ 71692 w 355"/>
                <a:gd name="T95" fmla="*/ 6235 h 38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3" name="Freeform 251">
              <a:extLst>
                <a:ext uri="{FF2B5EF4-FFF2-40B4-BE49-F238E27FC236}">
                  <a16:creationId xmlns:a16="http://schemas.microsoft.com/office/drawing/2014/main" id="{1E8E08A5-1D8F-4AA3-BF4D-E7806F91B0D2}"/>
                </a:ext>
              </a:extLst>
            </p:cNvPr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6283325" y="3995738"/>
              <a:ext cx="260350" cy="520700"/>
            </a:xfrm>
            <a:custGeom>
              <a:avLst/>
              <a:gdLst>
                <a:gd name="T0" fmla="*/ 0 w 599"/>
                <a:gd name="T1" fmla="*/ 135812 h 993"/>
                <a:gd name="T2" fmla="*/ 79105 w 599"/>
                <a:gd name="T3" fmla="*/ 117459 h 993"/>
                <a:gd name="T4" fmla="*/ 99967 w 599"/>
                <a:gd name="T5" fmla="*/ 125849 h 993"/>
                <a:gd name="T6" fmla="*/ 112137 w 599"/>
                <a:gd name="T7" fmla="*/ 135288 h 993"/>
                <a:gd name="T8" fmla="*/ 109530 w 599"/>
                <a:gd name="T9" fmla="*/ 155214 h 993"/>
                <a:gd name="T10" fmla="*/ 101706 w 599"/>
                <a:gd name="T11" fmla="*/ 171469 h 993"/>
                <a:gd name="T12" fmla="*/ 108660 w 599"/>
                <a:gd name="T13" fmla="*/ 187200 h 993"/>
                <a:gd name="T14" fmla="*/ 127784 w 599"/>
                <a:gd name="T15" fmla="*/ 191395 h 993"/>
                <a:gd name="T16" fmla="*/ 138651 w 599"/>
                <a:gd name="T17" fmla="*/ 178286 h 993"/>
                <a:gd name="T18" fmla="*/ 146909 w 599"/>
                <a:gd name="T19" fmla="*/ 166225 h 993"/>
                <a:gd name="T20" fmla="*/ 144301 w 599"/>
                <a:gd name="T21" fmla="*/ 136861 h 993"/>
                <a:gd name="T22" fmla="*/ 136477 w 599"/>
                <a:gd name="T23" fmla="*/ 106972 h 993"/>
                <a:gd name="T24" fmla="*/ 117788 w 599"/>
                <a:gd name="T25" fmla="*/ 82326 h 993"/>
                <a:gd name="T26" fmla="*/ 110399 w 599"/>
                <a:gd name="T27" fmla="*/ 65546 h 993"/>
                <a:gd name="T28" fmla="*/ 117353 w 599"/>
                <a:gd name="T29" fmla="*/ 32511 h 993"/>
                <a:gd name="T30" fmla="*/ 139085 w 599"/>
                <a:gd name="T31" fmla="*/ 28840 h 993"/>
                <a:gd name="T32" fmla="*/ 181680 w 599"/>
                <a:gd name="T33" fmla="*/ 31462 h 993"/>
                <a:gd name="T34" fmla="*/ 226448 w 599"/>
                <a:gd name="T35" fmla="*/ 18877 h 993"/>
                <a:gd name="T36" fmla="*/ 259481 w 599"/>
                <a:gd name="T37" fmla="*/ 1573 h 993"/>
                <a:gd name="T38" fmla="*/ 259481 w 599"/>
                <a:gd name="T39" fmla="*/ 15731 h 993"/>
                <a:gd name="T40" fmla="*/ 259481 w 599"/>
                <a:gd name="T41" fmla="*/ 66071 h 993"/>
                <a:gd name="T42" fmla="*/ 257308 w 599"/>
                <a:gd name="T43" fmla="*/ 119556 h 993"/>
                <a:gd name="T44" fmla="*/ 254265 w 599"/>
                <a:gd name="T45" fmla="*/ 144726 h 993"/>
                <a:gd name="T46" fmla="*/ 239053 w 599"/>
                <a:gd name="T47" fmla="*/ 176713 h 993"/>
                <a:gd name="T48" fmla="*/ 203412 w 599"/>
                <a:gd name="T49" fmla="*/ 210797 h 993"/>
                <a:gd name="T50" fmla="*/ 162556 w 599"/>
                <a:gd name="T51" fmla="*/ 223382 h 993"/>
                <a:gd name="T52" fmla="*/ 153428 w 599"/>
                <a:gd name="T53" fmla="*/ 243308 h 993"/>
                <a:gd name="T54" fmla="*/ 127350 w 599"/>
                <a:gd name="T55" fmla="*/ 265856 h 993"/>
                <a:gd name="T56" fmla="*/ 105618 w 599"/>
                <a:gd name="T57" fmla="*/ 287879 h 993"/>
                <a:gd name="T58" fmla="*/ 99533 w 599"/>
                <a:gd name="T59" fmla="*/ 305184 h 993"/>
                <a:gd name="T60" fmla="*/ 103010 w 599"/>
                <a:gd name="T61" fmla="*/ 324585 h 993"/>
                <a:gd name="T62" fmla="*/ 116049 w 599"/>
                <a:gd name="T63" fmla="*/ 342938 h 993"/>
                <a:gd name="T64" fmla="*/ 110399 w 599"/>
                <a:gd name="T65" fmla="*/ 363913 h 993"/>
                <a:gd name="T66" fmla="*/ 115180 w 599"/>
                <a:gd name="T67" fmla="*/ 382266 h 993"/>
                <a:gd name="T68" fmla="*/ 116049 w 599"/>
                <a:gd name="T69" fmla="*/ 414253 h 993"/>
                <a:gd name="T70" fmla="*/ 111268 w 599"/>
                <a:gd name="T71" fmla="*/ 426838 h 993"/>
                <a:gd name="T72" fmla="*/ 83886 w 599"/>
                <a:gd name="T73" fmla="*/ 457776 h 993"/>
                <a:gd name="T74" fmla="*/ 63892 w 599"/>
                <a:gd name="T75" fmla="*/ 465117 h 993"/>
                <a:gd name="T76" fmla="*/ 44333 w 599"/>
                <a:gd name="T77" fmla="*/ 468787 h 993"/>
                <a:gd name="T78" fmla="*/ 37814 w 599"/>
                <a:gd name="T79" fmla="*/ 478750 h 993"/>
                <a:gd name="T80" fmla="*/ 41291 w 599"/>
                <a:gd name="T81" fmla="*/ 492384 h 993"/>
                <a:gd name="T82" fmla="*/ 39552 w 599"/>
                <a:gd name="T83" fmla="*/ 520176 h 993"/>
                <a:gd name="T84" fmla="*/ 32163 w 599"/>
                <a:gd name="T85" fmla="*/ 424740 h 993"/>
                <a:gd name="T86" fmla="*/ 25209 w 599"/>
                <a:gd name="T87" fmla="*/ 401144 h 993"/>
                <a:gd name="T88" fmla="*/ 17820 w 599"/>
                <a:gd name="T89" fmla="*/ 377547 h 993"/>
                <a:gd name="T90" fmla="*/ 46941 w 599"/>
                <a:gd name="T91" fmla="*/ 349231 h 993"/>
                <a:gd name="T92" fmla="*/ 47376 w 599"/>
                <a:gd name="T93" fmla="*/ 321964 h 993"/>
                <a:gd name="T94" fmla="*/ 64762 w 599"/>
                <a:gd name="T95" fmla="*/ 299416 h 993"/>
                <a:gd name="T96" fmla="*/ 75628 w 599"/>
                <a:gd name="T97" fmla="*/ 275819 h 993"/>
                <a:gd name="T98" fmla="*/ 73020 w 599"/>
                <a:gd name="T99" fmla="*/ 231247 h 993"/>
                <a:gd name="T100" fmla="*/ 66065 w 599"/>
                <a:gd name="T101" fmla="*/ 190871 h 993"/>
                <a:gd name="T102" fmla="*/ 35206 w 599"/>
                <a:gd name="T103" fmla="*/ 178810 h 99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4" name="Freeform 252">
              <a:extLst>
                <a:ext uri="{FF2B5EF4-FFF2-40B4-BE49-F238E27FC236}">
                  <a16:creationId xmlns:a16="http://schemas.microsoft.com/office/drawing/2014/main" id="{EF0D143A-3AFC-4501-A155-658FCC42A819}"/>
                </a:ext>
              </a:extLst>
            </p:cNvPr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6018214" y="4235450"/>
              <a:ext cx="238125" cy="287338"/>
            </a:xfrm>
            <a:custGeom>
              <a:avLst/>
              <a:gdLst>
                <a:gd name="T0" fmla="*/ 13108 w 545"/>
                <a:gd name="T1" fmla="*/ 224008 h 549"/>
                <a:gd name="T2" fmla="*/ 20099 w 545"/>
                <a:gd name="T3" fmla="*/ 237616 h 549"/>
                <a:gd name="T4" fmla="*/ 20099 w 545"/>
                <a:gd name="T5" fmla="*/ 267973 h 549"/>
                <a:gd name="T6" fmla="*/ 20972 w 545"/>
                <a:gd name="T7" fmla="*/ 275824 h 549"/>
                <a:gd name="T8" fmla="*/ 24031 w 545"/>
                <a:gd name="T9" fmla="*/ 281057 h 549"/>
                <a:gd name="T10" fmla="*/ 29711 w 545"/>
                <a:gd name="T11" fmla="*/ 285244 h 549"/>
                <a:gd name="T12" fmla="*/ 43693 w 545"/>
                <a:gd name="T13" fmla="*/ 287338 h 549"/>
                <a:gd name="T14" fmla="*/ 49373 w 545"/>
                <a:gd name="T15" fmla="*/ 285768 h 549"/>
                <a:gd name="T16" fmla="*/ 56800 w 545"/>
                <a:gd name="T17" fmla="*/ 278964 h 549"/>
                <a:gd name="T18" fmla="*/ 62481 w 545"/>
                <a:gd name="T19" fmla="*/ 265356 h 549"/>
                <a:gd name="T20" fmla="*/ 67287 w 545"/>
                <a:gd name="T21" fmla="*/ 249654 h 549"/>
                <a:gd name="T22" fmla="*/ 73841 w 545"/>
                <a:gd name="T23" fmla="*/ 237616 h 549"/>
                <a:gd name="T24" fmla="*/ 79958 w 545"/>
                <a:gd name="T25" fmla="*/ 232906 h 549"/>
                <a:gd name="T26" fmla="*/ 87822 w 545"/>
                <a:gd name="T27" fmla="*/ 232383 h 549"/>
                <a:gd name="T28" fmla="*/ 96998 w 545"/>
                <a:gd name="T29" fmla="*/ 234476 h 549"/>
                <a:gd name="T30" fmla="*/ 110106 w 545"/>
                <a:gd name="T31" fmla="*/ 241280 h 549"/>
                <a:gd name="T32" fmla="*/ 118844 w 545"/>
                <a:gd name="T33" fmla="*/ 244944 h 549"/>
                <a:gd name="T34" fmla="*/ 129767 w 545"/>
                <a:gd name="T35" fmla="*/ 245467 h 549"/>
                <a:gd name="T36" fmla="*/ 139380 w 545"/>
                <a:gd name="T37" fmla="*/ 242850 h 549"/>
                <a:gd name="T38" fmla="*/ 145060 w 545"/>
                <a:gd name="T39" fmla="*/ 237093 h 549"/>
                <a:gd name="T40" fmla="*/ 156857 w 545"/>
                <a:gd name="T41" fmla="*/ 203073 h 549"/>
                <a:gd name="T42" fmla="*/ 166906 w 545"/>
                <a:gd name="T43" fmla="*/ 189989 h 549"/>
                <a:gd name="T44" fmla="*/ 195306 w 545"/>
                <a:gd name="T45" fmla="*/ 164343 h 549"/>
                <a:gd name="T46" fmla="*/ 230260 w 545"/>
                <a:gd name="T47" fmla="*/ 138173 h 549"/>
                <a:gd name="T48" fmla="*/ 230697 w 545"/>
                <a:gd name="T49" fmla="*/ 121425 h 549"/>
                <a:gd name="T50" fmla="*/ 219774 w 545"/>
                <a:gd name="T51" fmla="*/ 114098 h 549"/>
                <a:gd name="T52" fmla="*/ 211909 w 545"/>
                <a:gd name="T53" fmla="*/ 104153 h 549"/>
                <a:gd name="T54" fmla="*/ 200986 w 545"/>
                <a:gd name="T55" fmla="*/ 82171 h 549"/>
                <a:gd name="T56" fmla="*/ 192248 w 545"/>
                <a:gd name="T57" fmla="*/ 69087 h 549"/>
                <a:gd name="T58" fmla="*/ 164721 w 545"/>
                <a:gd name="T59" fmla="*/ 39777 h 549"/>
                <a:gd name="T60" fmla="*/ 156857 w 545"/>
                <a:gd name="T61" fmla="*/ 27739 h 549"/>
                <a:gd name="T62" fmla="*/ 152050 w 545"/>
                <a:gd name="T63" fmla="*/ 12561 h 549"/>
                <a:gd name="T64" fmla="*/ 139380 w 545"/>
                <a:gd name="T65" fmla="*/ 0 h 549"/>
                <a:gd name="T66" fmla="*/ 106610 w 545"/>
                <a:gd name="T67" fmla="*/ 1047 h 549"/>
                <a:gd name="T68" fmla="*/ 76899 w 545"/>
                <a:gd name="T69" fmla="*/ 6804 h 549"/>
                <a:gd name="T70" fmla="*/ 41508 w 545"/>
                <a:gd name="T71" fmla="*/ 11514 h 549"/>
                <a:gd name="T72" fmla="*/ 31022 w 545"/>
                <a:gd name="T73" fmla="*/ 14131 h 549"/>
                <a:gd name="T74" fmla="*/ 29274 w 545"/>
                <a:gd name="T75" fmla="*/ 19889 h 549"/>
                <a:gd name="T76" fmla="*/ 31896 w 545"/>
                <a:gd name="T77" fmla="*/ 29310 h 549"/>
                <a:gd name="T78" fmla="*/ 36702 w 545"/>
                <a:gd name="T79" fmla="*/ 38730 h 549"/>
                <a:gd name="T80" fmla="*/ 37576 w 545"/>
                <a:gd name="T81" fmla="*/ 56002 h 549"/>
                <a:gd name="T82" fmla="*/ 32333 w 545"/>
                <a:gd name="T83" fmla="*/ 89499 h 549"/>
                <a:gd name="T84" fmla="*/ 27089 w 545"/>
                <a:gd name="T85" fmla="*/ 124042 h 549"/>
                <a:gd name="T86" fmla="*/ 20536 w 545"/>
                <a:gd name="T87" fmla="*/ 137650 h 549"/>
                <a:gd name="T88" fmla="*/ 11360 w 545"/>
                <a:gd name="T89" fmla="*/ 144977 h 549"/>
                <a:gd name="T90" fmla="*/ 2185 w 545"/>
                <a:gd name="T91" fmla="*/ 160679 h 549"/>
                <a:gd name="T92" fmla="*/ 437 w 545"/>
                <a:gd name="T93" fmla="*/ 177427 h 549"/>
                <a:gd name="T94" fmla="*/ 3495 w 545"/>
                <a:gd name="T95" fmla="*/ 192082 h 549"/>
                <a:gd name="T96" fmla="*/ 3495 w 545"/>
                <a:gd name="T97" fmla="*/ 204643 h 549"/>
                <a:gd name="T98" fmla="*/ 0 w 545"/>
                <a:gd name="T99" fmla="*/ 213541 h 549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5" name="Freeform 253">
              <a:extLst>
                <a:ext uri="{FF2B5EF4-FFF2-40B4-BE49-F238E27FC236}">
                  <a16:creationId xmlns:a16="http://schemas.microsoft.com/office/drawing/2014/main" id="{8E6B1703-E808-48C6-9975-731C5D11D40D}"/>
                </a:ext>
              </a:extLst>
            </p:cNvPr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6591300" y="4037014"/>
              <a:ext cx="196850" cy="434975"/>
            </a:xfrm>
            <a:custGeom>
              <a:avLst/>
              <a:gdLst>
                <a:gd name="T0" fmla="*/ 48777 w 452"/>
                <a:gd name="T1" fmla="*/ 136452 h 832"/>
                <a:gd name="T2" fmla="*/ 60100 w 452"/>
                <a:gd name="T3" fmla="*/ 129656 h 832"/>
                <a:gd name="T4" fmla="*/ 71859 w 452"/>
                <a:gd name="T5" fmla="*/ 125474 h 832"/>
                <a:gd name="T6" fmla="*/ 83618 w 452"/>
                <a:gd name="T7" fmla="*/ 121291 h 832"/>
                <a:gd name="T8" fmla="*/ 93634 w 452"/>
                <a:gd name="T9" fmla="*/ 113449 h 832"/>
                <a:gd name="T10" fmla="*/ 101038 w 452"/>
                <a:gd name="T11" fmla="*/ 104561 h 832"/>
                <a:gd name="T12" fmla="*/ 101038 w 452"/>
                <a:gd name="T13" fmla="*/ 93582 h 832"/>
                <a:gd name="T14" fmla="*/ 115410 w 452"/>
                <a:gd name="T15" fmla="*/ 93060 h 832"/>
                <a:gd name="T16" fmla="*/ 122813 w 452"/>
                <a:gd name="T17" fmla="*/ 90446 h 832"/>
                <a:gd name="T18" fmla="*/ 129782 w 452"/>
                <a:gd name="T19" fmla="*/ 84695 h 832"/>
                <a:gd name="T20" fmla="*/ 139363 w 452"/>
                <a:gd name="T21" fmla="*/ 69533 h 832"/>
                <a:gd name="T22" fmla="*/ 152428 w 452"/>
                <a:gd name="T23" fmla="*/ 39210 h 832"/>
                <a:gd name="T24" fmla="*/ 164622 w 452"/>
                <a:gd name="T25" fmla="*/ 0 h 832"/>
                <a:gd name="T26" fmla="*/ 167671 w 452"/>
                <a:gd name="T27" fmla="*/ 9933 h 832"/>
                <a:gd name="T28" fmla="*/ 177252 w 452"/>
                <a:gd name="T29" fmla="*/ 24572 h 832"/>
                <a:gd name="T30" fmla="*/ 195108 w 452"/>
                <a:gd name="T31" fmla="*/ 44439 h 832"/>
                <a:gd name="T32" fmla="*/ 191624 w 452"/>
                <a:gd name="T33" fmla="*/ 53849 h 832"/>
                <a:gd name="T34" fmla="*/ 193366 w 452"/>
                <a:gd name="T35" fmla="*/ 72147 h 832"/>
                <a:gd name="T36" fmla="*/ 196850 w 452"/>
                <a:gd name="T37" fmla="*/ 96719 h 832"/>
                <a:gd name="T38" fmla="*/ 195108 w 452"/>
                <a:gd name="T39" fmla="*/ 107698 h 832"/>
                <a:gd name="T40" fmla="*/ 186398 w 452"/>
                <a:gd name="T41" fmla="*/ 122337 h 832"/>
                <a:gd name="T42" fmla="*/ 178123 w 452"/>
                <a:gd name="T43" fmla="*/ 136452 h 832"/>
                <a:gd name="T44" fmla="*/ 176381 w 452"/>
                <a:gd name="T45" fmla="*/ 147954 h 832"/>
                <a:gd name="T46" fmla="*/ 171155 w 452"/>
                <a:gd name="T47" fmla="*/ 161024 h 832"/>
                <a:gd name="T48" fmla="*/ 166800 w 452"/>
                <a:gd name="T49" fmla="*/ 166252 h 832"/>
                <a:gd name="T50" fmla="*/ 164187 w 452"/>
                <a:gd name="T51" fmla="*/ 173572 h 832"/>
                <a:gd name="T52" fmla="*/ 160267 w 452"/>
                <a:gd name="T53" fmla="*/ 190302 h 832"/>
                <a:gd name="T54" fmla="*/ 147202 w 452"/>
                <a:gd name="T55" fmla="*/ 223238 h 832"/>
                <a:gd name="T56" fmla="*/ 139798 w 452"/>
                <a:gd name="T57" fmla="*/ 245719 h 832"/>
                <a:gd name="T58" fmla="*/ 138492 w 452"/>
                <a:gd name="T59" fmla="*/ 261403 h 832"/>
                <a:gd name="T60" fmla="*/ 135008 w 452"/>
                <a:gd name="T61" fmla="*/ 277610 h 832"/>
                <a:gd name="T62" fmla="*/ 122378 w 452"/>
                <a:gd name="T63" fmla="*/ 314730 h 832"/>
                <a:gd name="T64" fmla="*/ 113232 w 452"/>
                <a:gd name="T65" fmla="*/ 333028 h 832"/>
                <a:gd name="T66" fmla="*/ 105393 w 452"/>
                <a:gd name="T67" fmla="*/ 342438 h 832"/>
                <a:gd name="T68" fmla="*/ 101038 w 452"/>
                <a:gd name="T69" fmla="*/ 345052 h 832"/>
                <a:gd name="T70" fmla="*/ 99296 w 452"/>
                <a:gd name="T71" fmla="*/ 373284 h 832"/>
                <a:gd name="T72" fmla="*/ 93634 w 452"/>
                <a:gd name="T73" fmla="*/ 396810 h 832"/>
                <a:gd name="T74" fmla="*/ 83182 w 452"/>
                <a:gd name="T75" fmla="*/ 415631 h 832"/>
                <a:gd name="T76" fmla="*/ 68375 w 452"/>
                <a:gd name="T77" fmla="*/ 428179 h 832"/>
                <a:gd name="T78" fmla="*/ 47906 w 452"/>
                <a:gd name="T79" fmla="*/ 434452 h 832"/>
                <a:gd name="T80" fmla="*/ 34841 w 452"/>
                <a:gd name="T81" fmla="*/ 432361 h 832"/>
                <a:gd name="T82" fmla="*/ 31792 w 452"/>
                <a:gd name="T83" fmla="*/ 427133 h 832"/>
                <a:gd name="T84" fmla="*/ 21775 w 452"/>
                <a:gd name="T85" fmla="*/ 423473 h 832"/>
                <a:gd name="T86" fmla="*/ 11323 w 452"/>
                <a:gd name="T87" fmla="*/ 417200 h 832"/>
                <a:gd name="T88" fmla="*/ 5226 w 452"/>
                <a:gd name="T89" fmla="*/ 406221 h 832"/>
                <a:gd name="T90" fmla="*/ 1307 w 452"/>
                <a:gd name="T91" fmla="*/ 393150 h 832"/>
                <a:gd name="T92" fmla="*/ 0 w 452"/>
                <a:gd name="T93" fmla="*/ 370147 h 832"/>
                <a:gd name="T94" fmla="*/ 1742 w 452"/>
                <a:gd name="T95" fmla="*/ 362828 h 832"/>
                <a:gd name="T96" fmla="*/ 8275 w 452"/>
                <a:gd name="T97" fmla="*/ 354463 h 832"/>
                <a:gd name="T98" fmla="*/ 4791 w 452"/>
                <a:gd name="T99" fmla="*/ 351326 h 832"/>
                <a:gd name="T100" fmla="*/ 0 w 452"/>
                <a:gd name="T101" fmla="*/ 340870 h 832"/>
                <a:gd name="T102" fmla="*/ 2178 w 452"/>
                <a:gd name="T103" fmla="*/ 328322 h 832"/>
                <a:gd name="T104" fmla="*/ 3484 w 452"/>
                <a:gd name="T105" fmla="*/ 318912 h 832"/>
                <a:gd name="T106" fmla="*/ 2178 w 452"/>
                <a:gd name="T107" fmla="*/ 308979 h 832"/>
                <a:gd name="T108" fmla="*/ 7839 w 452"/>
                <a:gd name="T109" fmla="*/ 306887 h 832"/>
                <a:gd name="T110" fmla="*/ 18727 w 452"/>
                <a:gd name="T111" fmla="*/ 296954 h 832"/>
                <a:gd name="T112" fmla="*/ 27437 w 452"/>
                <a:gd name="T113" fmla="*/ 281270 h 832"/>
                <a:gd name="T114" fmla="*/ 33099 w 452"/>
                <a:gd name="T115" fmla="*/ 264540 h 832"/>
                <a:gd name="T116" fmla="*/ 37454 w 452"/>
                <a:gd name="T117" fmla="*/ 241537 h 832"/>
                <a:gd name="T118" fmla="*/ 36147 w 452"/>
                <a:gd name="T119" fmla="*/ 228989 h 832"/>
                <a:gd name="T120" fmla="*/ 30486 w 452"/>
                <a:gd name="T121" fmla="*/ 213305 h 832"/>
                <a:gd name="T122" fmla="*/ 24388 w 452"/>
                <a:gd name="T123" fmla="*/ 199712 h 832"/>
                <a:gd name="T124" fmla="*/ 23082 w 452"/>
                <a:gd name="T125" fmla="*/ 189779 h 83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6" name="Freeform 254">
              <a:extLst>
                <a:ext uri="{FF2B5EF4-FFF2-40B4-BE49-F238E27FC236}">
                  <a16:creationId xmlns:a16="http://schemas.microsoft.com/office/drawing/2014/main" id="{16708242-BE5C-4019-8374-D440EF909893}"/>
                </a:ext>
              </a:extLst>
            </p:cNvPr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6267451" y="3735389"/>
              <a:ext cx="36513" cy="66675"/>
            </a:xfrm>
            <a:custGeom>
              <a:avLst/>
              <a:gdLst>
                <a:gd name="T0" fmla="*/ 36513 w 80"/>
                <a:gd name="T1" fmla="*/ 1058 h 126"/>
                <a:gd name="T2" fmla="*/ 36513 w 80"/>
                <a:gd name="T3" fmla="*/ 53446 h 126"/>
                <a:gd name="T4" fmla="*/ 35600 w 80"/>
                <a:gd name="T5" fmla="*/ 55033 h 126"/>
                <a:gd name="T6" fmla="*/ 34231 w 80"/>
                <a:gd name="T7" fmla="*/ 56621 h 126"/>
                <a:gd name="T8" fmla="*/ 31949 w 80"/>
                <a:gd name="T9" fmla="*/ 57679 h 126"/>
                <a:gd name="T10" fmla="*/ 30580 w 80"/>
                <a:gd name="T11" fmla="*/ 58737 h 126"/>
                <a:gd name="T12" fmla="*/ 26472 w 80"/>
                <a:gd name="T13" fmla="*/ 60325 h 126"/>
                <a:gd name="T14" fmla="*/ 21908 w 80"/>
                <a:gd name="T15" fmla="*/ 61383 h 126"/>
                <a:gd name="T16" fmla="*/ 16431 w 80"/>
                <a:gd name="T17" fmla="*/ 61912 h 126"/>
                <a:gd name="T18" fmla="*/ 11410 w 80"/>
                <a:gd name="T19" fmla="*/ 62971 h 126"/>
                <a:gd name="T20" fmla="*/ 5933 w 80"/>
                <a:gd name="T21" fmla="*/ 65087 h 126"/>
                <a:gd name="T22" fmla="*/ 0 w 80"/>
                <a:gd name="T23" fmla="*/ 66675 h 126"/>
                <a:gd name="T24" fmla="*/ 3195 w 80"/>
                <a:gd name="T25" fmla="*/ 21167 h 126"/>
                <a:gd name="T26" fmla="*/ 10497 w 80"/>
                <a:gd name="T27" fmla="*/ 14287 h 126"/>
                <a:gd name="T28" fmla="*/ 18713 w 80"/>
                <a:gd name="T29" fmla="*/ 6350 h 126"/>
                <a:gd name="T30" fmla="*/ 23277 w 80"/>
                <a:gd name="T31" fmla="*/ 2646 h 126"/>
                <a:gd name="T32" fmla="*/ 27385 w 80"/>
                <a:gd name="T33" fmla="*/ 529 h 126"/>
                <a:gd name="T34" fmla="*/ 29667 w 80"/>
                <a:gd name="T35" fmla="*/ 0 h 126"/>
                <a:gd name="T36" fmla="*/ 31949 w 80"/>
                <a:gd name="T37" fmla="*/ 0 h 126"/>
                <a:gd name="T38" fmla="*/ 34231 w 80"/>
                <a:gd name="T39" fmla="*/ 529 h 126"/>
                <a:gd name="T40" fmla="*/ 36513 w 80"/>
                <a:gd name="T41" fmla="*/ 1058 h 12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7" name="Freeform 255">
              <a:extLst>
                <a:ext uri="{FF2B5EF4-FFF2-40B4-BE49-F238E27FC236}">
                  <a16:creationId xmlns:a16="http://schemas.microsoft.com/office/drawing/2014/main" id="{DD552A48-DFA7-4EE4-ADB3-3D1296D2A450}"/>
                </a:ext>
              </a:extLst>
            </p:cNvPr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6256338" y="3695701"/>
              <a:ext cx="55562" cy="60325"/>
            </a:xfrm>
            <a:custGeom>
              <a:avLst/>
              <a:gdLst>
                <a:gd name="T0" fmla="*/ 50633 w 124"/>
                <a:gd name="T1" fmla="*/ 0 h 117"/>
                <a:gd name="T2" fmla="*/ 51977 w 124"/>
                <a:gd name="T3" fmla="*/ 7734 h 117"/>
                <a:gd name="T4" fmla="*/ 54666 w 124"/>
                <a:gd name="T5" fmla="*/ 18046 h 117"/>
                <a:gd name="T6" fmla="*/ 55562 w 124"/>
                <a:gd name="T7" fmla="*/ 23202 h 117"/>
                <a:gd name="T8" fmla="*/ 55562 w 124"/>
                <a:gd name="T9" fmla="*/ 27842 h 117"/>
                <a:gd name="T10" fmla="*/ 55562 w 124"/>
                <a:gd name="T11" fmla="*/ 30420 h 117"/>
                <a:gd name="T12" fmla="*/ 55114 w 124"/>
                <a:gd name="T13" fmla="*/ 32998 h 117"/>
                <a:gd name="T14" fmla="*/ 54666 w 124"/>
                <a:gd name="T15" fmla="*/ 35576 h 117"/>
                <a:gd name="T16" fmla="*/ 53322 w 124"/>
                <a:gd name="T17" fmla="*/ 37639 h 117"/>
                <a:gd name="T18" fmla="*/ 51081 w 124"/>
                <a:gd name="T19" fmla="*/ 37123 h 117"/>
                <a:gd name="T20" fmla="*/ 48393 w 124"/>
                <a:gd name="T21" fmla="*/ 36607 h 117"/>
                <a:gd name="T22" fmla="*/ 46152 w 124"/>
                <a:gd name="T23" fmla="*/ 37123 h 117"/>
                <a:gd name="T24" fmla="*/ 43016 w 124"/>
                <a:gd name="T25" fmla="*/ 37639 h 117"/>
                <a:gd name="T26" fmla="*/ 37191 w 124"/>
                <a:gd name="T27" fmla="*/ 40217 h 117"/>
                <a:gd name="T28" fmla="*/ 31814 w 124"/>
                <a:gd name="T29" fmla="*/ 43826 h 117"/>
                <a:gd name="T30" fmla="*/ 20612 w 124"/>
                <a:gd name="T31" fmla="*/ 53107 h 117"/>
                <a:gd name="T32" fmla="*/ 11650 w 124"/>
                <a:gd name="T33" fmla="*/ 60325 h 117"/>
                <a:gd name="T34" fmla="*/ 10306 w 124"/>
                <a:gd name="T35" fmla="*/ 57747 h 117"/>
                <a:gd name="T36" fmla="*/ 5825 w 124"/>
                <a:gd name="T37" fmla="*/ 52075 h 117"/>
                <a:gd name="T38" fmla="*/ 1792 w 124"/>
                <a:gd name="T39" fmla="*/ 45888 h 117"/>
                <a:gd name="T40" fmla="*/ 0 w 124"/>
                <a:gd name="T41" fmla="*/ 40732 h 117"/>
                <a:gd name="T42" fmla="*/ 448 w 124"/>
                <a:gd name="T43" fmla="*/ 39185 h 117"/>
                <a:gd name="T44" fmla="*/ 896 w 124"/>
                <a:gd name="T45" fmla="*/ 37123 h 117"/>
                <a:gd name="T46" fmla="*/ 2240 w 124"/>
                <a:gd name="T47" fmla="*/ 34545 h 117"/>
                <a:gd name="T48" fmla="*/ 4033 w 124"/>
                <a:gd name="T49" fmla="*/ 31967 h 117"/>
                <a:gd name="T50" fmla="*/ 7617 w 124"/>
                <a:gd name="T51" fmla="*/ 26811 h 117"/>
                <a:gd name="T52" fmla="*/ 12098 w 124"/>
                <a:gd name="T53" fmla="*/ 21655 h 117"/>
                <a:gd name="T54" fmla="*/ 21508 w 124"/>
                <a:gd name="T55" fmla="*/ 11343 h 117"/>
                <a:gd name="T56" fmla="*/ 26885 w 124"/>
                <a:gd name="T57" fmla="*/ 6187 h 117"/>
                <a:gd name="T58" fmla="*/ 32710 w 124"/>
                <a:gd name="T59" fmla="*/ 6187 h 117"/>
                <a:gd name="T60" fmla="*/ 38535 w 124"/>
                <a:gd name="T61" fmla="*/ 6187 h 117"/>
                <a:gd name="T62" fmla="*/ 44808 w 124"/>
                <a:gd name="T63" fmla="*/ 3094 h 117"/>
                <a:gd name="T64" fmla="*/ 50633 w 124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8" name="Freeform 256">
              <a:extLst>
                <a:ext uri="{FF2B5EF4-FFF2-40B4-BE49-F238E27FC236}">
                  <a16:creationId xmlns:a16="http://schemas.microsoft.com/office/drawing/2014/main" id="{8D3901FA-C1C1-46FE-9497-DB9F0304B636}"/>
                </a:ext>
              </a:extLst>
            </p:cNvPr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6565900" y="2395539"/>
              <a:ext cx="503238" cy="473075"/>
            </a:xfrm>
            <a:custGeom>
              <a:avLst/>
              <a:gdLst>
                <a:gd name="T0" fmla="*/ 403983 w 1156"/>
                <a:gd name="T1" fmla="*/ 100397 h 900"/>
                <a:gd name="T2" fmla="*/ 373946 w 1156"/>
                <a:gd name="T3" fmla="*/ 85154 h 900"/>
                <a:gd name="T4" fmla="*/ 336508 w 1156"/>
                <a:gd name="T5" fmla="*/ 58346 h 900"/>
                <a:gd name="T6" fmla="*/ 268597 w 1156"/>
                <a:gd name="T7" fmla="*/ 54666 h 900"/>
                <a:gd name="T8" fmla="*/ 239865 w 1156"/>
                <a:gd name="T9" fmla="*/ 80948 h 900"/>
                <a:gd name="T10" fmla="*/ 219405 w 1156"/>
                <a:gd name="T11" fmla="*/ 94089 h 900"/>
                <a:gd name="T12" fmla="*/ 185449 w 1156"/>
                <a:gd name="T13" fmla="*/ 103551 h 900"/>
                <a:gd name="T14" fmla="*/ 166730 w 1156"/>
                <a:gd name="T15" fmla="*/ 104602 h 900"/>
                <a:gd name="T16" fmla="*/ 154541 w 1156"/>
                <a:gd name="T17" fmla="*/ 90936 h 900"/>
                <a:gd name="T18" fmla="*/ 113185 w 1156"/>
                <a:gd name="T19" fmla="*/ 71487 h 900"/>
                <a:gd name="T20" fmla="*/ 99255 w 1156"/>
                <a:gd name="T21" fmla="*/ 45205 h 900"/>
                <a:gd name="T22" fmla="*/ 95772 w 1156"/>
                <a:gd name="T23" fmla="*/ 12090 h 900"/>
                <a:gd name="T24" fmla="*/ 81841 w 1156"/>
                <a:gd name="T25" fmla="*/ 526 h 900"/>
                <a:gd name="T26" fmla="*/ 67476 w 1156"/>
                <a:gd name="T27" fmla="*/ 11038 h 900"/>
                <a:gd name="T28" fmla="*/ 59204 w 1156"/>
                <a:gd name="T29" fmla="*/ 35218 h 900"/>
                <a:gd name="T30" fmla="*/ 34391 w 1156"/>
                <a:gd name="T31" fmla="*/ 28385 h 900"/>
                <a:gd name="T32" fmla="*/ 1741 w 1156"/>
                <a:gd name="T33" fmla="*/ 8410 h 900"/>
                <a:gd name="T34" fmla="*/ 2177 w 1156"/>
                <a:gd name="T35" fmla="*/ 37846 h 900"/>
                <a:gd name="T36" fmla="*/ 19590 w 1156"/>
                <a:gd name="T37" fmla="*/ 76743 h 900"/>
                <a:gd name="T38" fmla="*/ 31779 w 1156"/>
                <a:gd name="T39" fmla="*/ 107756 h 900"/>
                <a:gd name="T40" fmla="*/ 58769 w 1156"/>
                <a:gd name="T41" fmla="*/ 149281 h 900"/>
                <a:gd name="T42" fmla="*/ 53110 w 1156"/>
                <a:gd name="T43" fmla="*/ 166102 h 900"/>
                <a:gd name="T44" fmla="*/ 57898 w 1156"/>
                <a:gd name="T45" fmla="*/ 194486 h 900"/>
                <a:gd name="T46" fmla="*/ 81841 w 1156"/>
                <a:gd name="T47" fmla="*/ 224973 h 900"/>
                <a:gd name="T48" fmla="*/ 112750 w 1156"/>
                <a:gd name="T49" fmla="*/ 239691 h 900"/>
                <a:gd name="T50" fmla="*/ 112750 w 1156"/>
                <a:gd name="T51" fmla="*/ 275435 h 900"/>
                <a:gd name="T52" fmla="*/ 145835 w 1156"/>
                <a:gd name="T53" fmla="*/ 305396 h 900"/>
                <a:gd name="T54" fmla="*/ 184143 w 1156"/>
                <a:gd name="T55" fmla="*/ 349024 h 900"/>
                <a:gd name="T56" fmla="*/ 205039 w 1156"/>
                <a:gd name="T57" fmla="*/ 378460 h 900"/>
                <a:gd name="T58" fmla="*/ 219405 w 1156"/>
                <a:gd name="T59" fmla="*/ 385293 h 900"/>
                <a:gd name="T60" fmla="*/ 235947 w 1156"/>
                <a:gd name="T61" fmla="*/ 396857 h 900"/>
                <a:gd name="T62" fmla="*/ 260326 w 1156"/>
                <a:gd name="T63" fmla="*/ 413678 h 900"/>
                <a:gd name="T64" fmla="*/ 298199 w 1156"/>
                <a:gd name="T65" fmla="*/ 417883 h 900"/>
                <a:gd name="T66" fmla="*/ 318659 w 1156"/>
                <a:gd name="T67" fmla="*/ 409998 h 900"/>
                <a:gd name="T68" fmla="*/ 339120 w 1156"/>
                <a:gd name="T69" fmla="*/ 401588 h 900"/>
                <a:gd name="T70" fmla="*/ 348697 w 1156"/>
                <a:gd name="T71" fmla="*/ 418409 h 900"/>
                <a:gd name="T72" fmla="*/ 353921 w 1156"/>
                <a:gd name="T73" fmla="*/ 450473 h 900"/>
                <a:gd name="T74" fmla="*/ 380476 w 1156"/>
                <a:gd name="T75" fmla="*/ 459408 h 900"/>
                <a:gd name="T76" fmla="*/ 440116 w 1156"/>
                <a:gd name="T77" fmla="*/ 468870 h 900"/>
                <a:gd name="T78" fmla="*/ 474942 w 1156"/>
                <a:gd name="T79" fmla="*/ 462037 h 900"/>
                <a:gd name="T80" fmla="*/ 478424 w 1156"/>
                <a:gd name="T81" fmla="*/ 436806 h 900"/>
                <a:gd name="T82" fmla="*/ 503238 w 1156"/>
                <a:gd name="T83" fmla="*/ 404742 h 900"/>
                <a:gd name="T84" fmla="*/ 492790 w 1156"/>
                <a:gd name="T85" fmla="*/ 394229 h 900"/>
                <a:gd name="T86" fmla="*/ 477118 w 1156"/>
                <a:gd name="T87" fmla="*/ 372152 h 900"/>
                <a:gd name="T88" fmla="*/ 448822 w 1156"/>
                <a:gd name="T89" fmla="*/ 337986 h 900"/>
                <a:gd name="T90" fmla="*/ 443163 w 1156"/>
                <a:gd name="T91" fmla="*/ 316960 h 900"/>
                <a:gd name="T92" fmla="*/ 454481 w 1156"/>
                <a:gd name="T93" fmla="*/ 293832 h 900"/>
                <a:gd name="T94" fmla="*/ 456223 w 1156"/>
                <a:gd name="T95" fmla="*/ 276486 h 900"/>
                <a:gd name="T96" fmla="*/ 448387 w 1156"/>
                <a:gd name="T97" fmla="*/ 269127 h 900"/>
                <a:gd name="T98" fmla="*/ 427926 w 1156"/>
                <a:gd name="T99" fmla="*/ 266499 h 900"/>
                <a:gd name="T100" fmla="*/ 415302 w 1156"/>
                <a:gd name="T101" fmla="*/ 238114 h 900"/>
                <a:gd name="T102" fmla="*/ 407901 w 1156"/>
                <a:gd name="T103" fmla="*/ 196063 h 900"/>
                <a:gd name="T104" fmla="*/ 402242 w 1156"/>
                <a:gd name="T105" fmla="*/ 187653 h 900"/>
                <a:gd name="T106" fmla="*/ 409207 w 1156"/>
                <a:gd name="T107" fmla="*/ 175563 h 900"/>
                <a:gd name="T108" fmla="*/ 417914 w 1156"/>
                <a:gd name="T109" fmla="*/ 154012 h 9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9" name="Freeform 257">
              <a:extLst>
                <a:ext uri="{FF2B5EF4-FFF2-40B4-BE49-F238E27FC236}">
                  <a16:creationId xmlns:a16="http://schemas.microsoft.com/office/drawing/2014/main" id="{B809D791-8249-4A71-8A6F-DBD839A57EC5}"/>
                </a:ext>
              </a:extLst>
            </p:cNvPr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6589713" y="3052763"/>
              <a:ext cx="247650" cy="228600"/>
            </a:xfrm>
            <a:custGeom>
              <a:avLst/>
              <a:gdLst>
                <a:gd name="T0" fmla="*/ 11277 w 571"/>
                <a:gd name="T1" fmla="*/ 98045 h 443"/>
                <a:gd name="T2" fmla="*/ 16047 w 571"/>
                <a:gd name="T3" fmla="*/ 91337 h 443"/>
                <a:gd name="T4" fmla="*/ 17782 w 571"/>
                <a:gd name="T5" fmla="*/ 84628 h 443"/>
                <a:gd name="T6" fmla="*/ 16915 w 571"/>
                <a:gd name="T7" fmla="*/ 66567 h 443"/>
                <a:gd name="T8" fmla="*/ 19083 w 571"/>
                <a:gd name="T9" fmla="*/ 61923 h 443"/>
                <a:gd name="T10" fmla="*/ 23854 w 571"/>
                <a:gd name="T11" fmla="*/ 57795 h 443"/>
                <a:gd name="T12" fmla="*/ 29492 w 571"/>
                <a:gd name="T13" fmla="*/ 55215 h 443"/>
                <a:gd name="T14" fmla="*/ 34697 w 571"/>
                <a:gd name="T15" fmla="*/ 53667 h 443"/>
                <a:gd name="T16" fmla="*/ 44672 w 571"/>
                <a:gd name="T17" fmla="*/ 54699 h 443"/>
                <a:gd name="T18" fmla="*/ 53780 w 571"/>
                <a:gd name="T19" fmla="*/ 56247 h 443"/>
                <a:gd name="T20" fmla="*/ 68527 w 571"/>
                <a:gd name="T21" fmla="*/ 61923 h 443"/>
                <a:gd name="T22" fmla="*/ 79803 w 571"/>
                <a:gd name="T23" fmla="*/ 69664 h 443"/>
                <a:gd name="T24" fmla="*/ 89345 w 571"/>
                <a:gd name="T25" fmla="*/ 79468 h 443"/>
                <a:gd name="T26" fmla="*/ 110163 w 571"/>
                <a:gd name="T27" fmla="*/ 47474 h 443"/>
                <a:gd name="T28" fmla="*/ 123608 w 571"/>
                <a:gd name="T29" fmla="*/ 25285 h 443"/>
                <a:gd name="T30" fmla="*/ 233337 w 571"/>
                <a:gd name="T31" fmla="*/ 22189 h 443"/>
                <a:gd name="T32" fmla="*/ 241578 w 571"/>
                <a:gd name="T33" fmla="*/ 40250 h 443"/>
                <a:gd name="T34" fmla="*/ 243747 w 571"/>
                <a:gd name="T35" fmla="*/ 50571 h 443"/>
                <a:gd name="T36" fmla="*/ 244614 w 571"/>
                <a:gd name="T37" fmla="*/ 63471 h 443"/>
                <a:gd name="T38" fmla="*/ 246349 w 571"/>
                <a:gd name="T39" fmla="*/ 77920 h 443"/>
                <a:gd name="T40" fmla="*/ 247650 w 571"/>
                <a:gd name="T41" fmla="*/ 91853 h 443"/>
                <a:gd name="T42" fmla="*/ 244614 w 571"/>
                <a:gd name="T43" fmla="*/ 92885 h 443"/>
                <a:gd name="T44" fmla="*/ 243747 w 571"/>
                <a:gd name="T45" fmla="*/ 92369 h 443"/>
                <a:gd name="T46" fmla="*/ 242012 w 571"/>
                <a:gd name="T47" fmla="*/ 94949 h 443"/>
                <a:gd name="T48" fmla="*/ 237675 w 571"/>
                <a:gd name="T49" fmla="*/ 106818 h 443"/>
                <a:gd name="T50" fmla="*/ 231603 w 571"/>
                <a:gd name="T51" fmla="*/ 116106 h 443"/>
                <a:gd name="T52" fmla="*/ 223362 w 571"/>
                <a:gd name="T53" fmla="*/ 123330 h 443"/>
                <a:gd name="T54" fmla="*/ 214254 w 571"/>
                <a:gd name="T55" fmla="*/ 128491 h 443"/>
                <a:gd name="T56" fmla="*/ 175654 w 571"/>
                <a:gd name="T57" fmla="*/ 146036 h 443"/>
                <a:gd name="T58" fmla="*/ 150498 w 571"/>
                <a:gd name="T59" fmla="*/ 158420 h 443"/>
                <a:gd name="T60" fmla="*/ 127945 w 571"/>
                <a:gd name="T61" fmla="*/ 169257 h 443"/>
                <a:gd name="T62" fmla="*/ 106260 w 571"/>
                <a:gd name="T63" fmla="*/ 178029 h 443"/>
                <a:gd name="T64" fmla="*/ 80671 w 571"/>
                <a:gd name="T65" fmla="*/ 187318 h 443"/>
                <a:gd name="T66" fmla="*/ 72430 w 571"/>
                <a:gd name="T67" fmla="*/ 191446 h 443"/>
                <a:gd name="T68" fmla="*/ 64623 w 571"/>
                <a:gd name="T69" fmla="*/ 196606 h 443"/>
                <a:gd name="T70" fmla="*/ 51612 w 571"/>
                <a:gd name="T71" fmla="*/ 207959 h 443"/>
                <a:gd name="T72" fmla="*/ 39902 w 571"/>
                <a:gd name="T73" fmla="*/ 219828 h 443"/>
                <a:gd name="T74" fmla="*/ 29059 w 571"/>
                <a:gd name="T75" fmla="*/ 228600 h 443"/>
                <a:gd name="T76" fmla="*/ 21686 w 571"/>
                <a:gd name="T77" fmla="*/ 195058 h 443"/>
                <a:gd name="T78" fmla="*/ 14313 w 571"/>
                <a:gd name="T79" fmla="*/ 161516 h 443"/>
                <a:gd name="T80" fmla="*/ 6939 w 571"/>
                <a:gd name="T81" fmla="*/ 129523 h 443"/>
                <a:gd name="T82" fmla="*/ 0 w 571"/>
                <a:gd name="T83" fmla="*/ 101141 h 44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0" name="Freeform 258">
              <a:extLst>
                <a:ext uri="{FF2B5EF4-FFF2-40B4-BE49-F238E27FC236}">
                  <a16:creationId xmlns:a16="http://schemas.microsoft.com/office/drawing/2014/main" id="{6C55A999-E012-4751-A8BF-ECCA65FC2655}"/>
                </a:ext>
              </a:extLst>
            </p:cNvPr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6784975" y="2827338"/>
              <a:ext cx="120650" cy="120650"/>
            </a:xfrm>
            <a:custGeom>
              <a:avLst/>
              <a:gdLst>
                <a:gd name="T0" fmla="*/ 0 w 286"/>
                <a:gd name="T1" fmla="*/ 58737 h 228"/>
                <a:gd name="T2" fmla="*/ 1687 w 286"/>
                <a:gd name="T3" fmla="*/ 57679 h 228"/>
                <a:gd name="T4" fmla="*/ 2953 w 286"/>
                <a:gd name="T5" fmla="*/ 57679 h 228"/>
                <a:gd name="T6" fmla="*/ 4219 w 286"/>
                <a:gd name="T7" fmla="*/ 58208 h 228"/>
                <a:gd name="T8" fmla="*/ 4640 w 286"/>
                <a:gd name="T9" fmla="*/ 58737 h 228"/>
                <a:gd name="T10" fmla="*/ 5062 w 286"/>
                <a:gd name="T11" fmla="*/ 61912 h 228"/>
                <a:gd name="T12" fmla="*/ 5484 w 286"/>
                <a:gd name="T13" fmla="*/ 65087 h 228"/>
                <a:gd name="T14" fmla="*/ 5906 w 286"/>
                <a:gd name="T15" fmla="*/ 67733 h 228"/>
                <a:gd name="T16" fmla="*/ 6750 w 286"/>
                <a:gd name="T17" fmla="*/ 69321 h 228"/>
                <a:gd name="T18" fmla="*/ 8015 w 286"/>
                <a:gd name="T19" fmla="*/ 70908 h 228"/>
                <a:gd name="T20" fmla="*/ 10124 w 286"/>
                <a:gd name="T21" fmla="*/ 71967 h 228"/>
                <a:gd name="T22" fmla="*/ 12234 w 286"/>
                <a:gd name="T23" fmla="*/ 72496 h 228"/>
                <a:gd name="T24" fmla="*/ 15609 w 286"/>
                <a:gd name="T25" fmla="*/ 73025 h 228"/>
                <a:gd name="T26" fmla="*/ 20249 w 286"/>
                <a:gd name="T27" fmla="*/ 73025 h 228"/>
                <a:gd name="T28" fmla="*/ 25311 w 286"/>
                <a:gd name="T29" fmla="*/ 71967 h 228"/>
                <a:gd name="T30" fmla="*/ 41342 w 286"/>
                <a:gd name="T31" fmla="*/ 68792 h 228"/>
                <a:gd name="T32" fmla="*/ 54419 w 286"/>
                <a:gd name="T33" fmla="*/ 64558 h 228"/>
                <a:gd name="T34" fmla="*/ 60325 w 286"/>
                <a:gd name="T35" fmla="*/ 62442 h 228"/>
                <a:gd name="T36" fmla="*/ 65809 w 286"/>
                <a:gd name="T37" fmla="*/ 60325 h 228"/>
                <a:gd name="T38" fmla="*/ 70449 w 286"/>
                <a:gd name="T39" fmla="*/ 57679 h 228"/>
                <a:gd name="T40" fmla="*/ 75090 w 286"/>
                <a:gd name="T41" fmla="*/ 54504 h 228"/>
                <a:gd name="T42" fmla="*/ 79308 w 286"/>
                <a:gd name="T43" fmla="*/ 50800 h 228"/>
                <a:gd name="T44" fmla="*/ 83527 w 286"/>
                <a:gd name="T45" fmla="*/ 46038 h 228"/>
                <a:gd name="T46" fmla="*/ 87745 w 286"/>
                <a:gd name="T47" fmla="*/ 41275 h 228"/>
                <a:gd name="T48" fmla="*/ 92386 w 286"/>
                <a:gd name="T49" fmla="*/ 34396 h 228"/>
                <a:gd name="T50" fmla="*/ 96604 w 286"/>
                <a:gd name="T51" fmla="*/ 27517 h 228"/>
                <a:gd name="T52" fmla="*/ 101667 w 286"/>
                <a:gd name="T53" fmla="*/ 19579 h 228"/>
                <a:gd name="T54" fmla="*/ 106729 w 286"/>
                <a:gd name="T55" fmla="*/ 10583 h 228"/>
                <a:gd name="T56" fmla="*/ 112213 w 286"/>
                <a:gd name="T57" fmla="*/ 0 h 228"/>
                <a:gd name="T58" fmla="*/ 113900 w 286"/>
                <a:gd name="T59" fmla="*/ 3704 h 228"/>
                <a:gd name="T60" fmla="*/ 115588 w 286"/>
                <a:gd name="T61" fmla="*/ 6879 h 228"/>
                <a:gd name="T62" fmla="*/ 116431 w 286"/>
                <a:gd name="T63" fmla="*/ 10583 h 228"/>
                <a:gd name="T64" fmla="*/ 117697 w 286"/>
                <a:gd name="T65" fmla="*/ 14287 h 228"/>
                <a:gd name="T66" fmla="*/ 118963 w 286"/>
                <a:gd name="T67" fmla="*/ 22225 h 228"/>
                <a:gd name="T68" fmla="*/ 120650 w 286"/>
                <a:gd name="T69" fmla="*/ 32808 h 228"/>
                <a:gd name="T70" fmla="*/ 103776 w 286"/>
                <a:gd name="T71" fmla="*/ 104775 h 228"/>
                <a:gd name="T72" fmla="*/ 95339 w 286"/>
                <a:gd name="T73" fmla="*/ 120650 h 228"/>
                <a:gd name="T74" fmla="*/ 22358 w 286"/>
                <a:gd name="T75" fmla="*/ 111125 h 228"/>
                <a:gd name="T76" fmla="*/ 0 w 286"/>
                <a:gd name="T77" fmla="*/ 58737 h 22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41" name="Freeform 259">
              <a:extLst>
                <a:ext uri="{FF2B5EF4-FFF2-40B4-BE49-F238E27FC236}">
                  <a16:creationId xmlns:a16="http://schemas.microsoft.com/office/drawing/2014/main" id="{D73E1649-03F3-490D-ADB9-60492F7C1A60}"/>
                </a:ext>
              </a:extLst>
            </p:cNvPr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6472238" y="2479676"/>
              <a:ext cx="222250" cy="263525"/>
            </a:xfrm>
            <a:custGeom>
              <a:avLst/>
              <a:gdLst>
                <a:gd name="T0" fmla="*/ 202740 w 524"/>
                <a:gd name="T1" fmla="*/ 193078 h 505"/>
                <a:gd name="T2" fmla="*/ 205284 w 524"/>
                <a:gd name="T3" fmla="*/ 180554 h 505"/>
                <a:gd name="T4" fmla="*/ 204860 w 524"/>
                <a:gd name="T5" fmla="*/ 171683 h 505"/>
                <a:gd name="T6" fmla="*/ 202740 w 524"/>
                <a:gd name="T7" fmla="*/ 157593 h 505"/>
                <a:gd name="T8" fmla="*/ 192984 w 524"/>
                <a:gd name="T9" fmla="*/ 156028 h 505"/>
                <a:gd name="T10" fmla="*/ 182805 w 524"/>
                <a:gd name="T11" fmla="*/ 150288 h 505"/>
                <a:gd name="T12" fmla="*/ 172625 w 524"/>
                <a:gd name="T13" fmla="*/ 142982 h 505"/>
                <a:gd name="T14" fmla="*/ 163719 w 524"/>
                <a:gd name="T15" fmla="*/ 133589 h 505"/>
                <a:gd name="T16" fmla="*/ 155236 w 524"/>
                <a:gd name="T17" fmla="*/ 123674 h 505"/>
                <a:gd name="T18" fmla="*/ 149298 w 524"/>
                <a:gd name="T19" fmla="*/ 112716 h 505"/>
                <a:gd name="T20" fmla="*/ 145056 w 524"/>
                <a:gd name="T21" fmla="*/ 102279 h 505"/>
                <a:gd name="T22" fmla="*/ 143784 w 524"/>
                <a:gd name="T23" fmla="*/ 92886 h 505"/>
                <a:gd name="T24" fmla="*/ 144632 w 524"/>
                <a:gd name="T25" fmla="*/ 84537 h 505"/>
                <a:gd name="T26" fmla="*/ 148025 w 524"/>
                <a:gd name="T27" fmla="*/ 78275 h 505"/>
                <a:gd name="T28" fmla="*/ 154812 w 524"/>
                <a:gd name="T29" fmla="*/ 70969 h 505"/>
                <a:gd name="T30" fmla="*/ 150146 w 524"/>
                <a:gd name="T31" fmla="*/ 67838 h 505"/>
                <a:gd name="T32" fmla="*/ 144632 w 524"/>
                <a:gd name="T33" fmla="*/ 62098 h 505"/>
                <a:gd name="T34" fmla="*/ 133604 w 524"/>
                <a:gd name="T35" fmla="*/ 45399 h 505"/>
                <a:gd name="T36" fmla="*/ 123849 w 524"/>
                <a:gd name="T37" fmla="*/ 26613 h 505"/>
                <a:gd name="T38" fmla="*/ 118335 w 524"/>
                <a:gd name="T39" fmla="*/ 13046 h 505"/>
                <a:gd name="T40" fmla="*/ 110277 w 524"/>
                <a:gd name="T41" fmla="*/ 12524 h 505"/>
                <a:gd name="T42" fmla="*/ 101370 w 524"/>
                <a:gd name="T43" fmla="*/ 9915 h 505"/>
                <a:gd name="T44" fmla="*/ 92887 w 524"/>
                <a:gd name="T45" fmla="*/ 5740 h 505"/>
                <a:gd name="T46" fmla="*/ 83556 w 524"/>
                <a:gd name="T47" fmla="*/ 3131 h 505"/>
                <a:gd name="T48" fmla="*/ 72104 w 524"/>
                <a:gd name="T49" fmla="*/ 1565 h 505"/>
                <a:gd name="T50" fmla="*/ 63197 w 524"/>
                <a:gd name="T51" fmla="*/ 4175 h 505"/>
                <a:gd name="T52" fmla="*/ 48352 w 524"/>
                <a:gd name="T53" fmla="*/ 21395 h 505"/>
                <a:gd name="T54" fmla="*/ 41566 w 524"/>
                <a:gd name="T55" fmla="*/ 29744 h 505"/>
                <a:gd name="T56" fmla="*/ 39445 w 524"/>
                <a:gd name="T57" fmla="*/ 33397 h 505"/>
                <a:gd name="T58" fmla="*/ 39869 w 524"/>
                <a:gd name="T59" fmla="*/ 49052 h 505"/>
                <a:gd name="T60" fmla="*/ 40293 w 524"/>
                <a:gd name="T61" fmla="*/ 73056 h 505"/>
                <a:gd name="T62" fmla="*/ 39869 w 524"/>
                <a:gd name="T63" fmla="*/ 85580 h 505"/>
                <a:gd name="T64" fmla="*/ 36476 w 524"/>
                <a:gd name="T65" fmla="*/ 93930 h 505"/>
                <a:gd name="T66" fmla="*/ 28417 w 524"/>
                <a:gd name="T67" fmla="*/ 102801 h 505"/>
                <a:gd name="T68" fmla="*/ 16966 w 524"/>
                <a:gd name="T69" fmla="*/ 111672 h 505"/>
                <a:gd name="T70" fmla="*/ 5514 w 524"/>
                <a:gd name="T71" fmla="*/ 118978 h 505"/>
                <a:gd name="T72" fmla="*/ 848 w 524"/>
                <a:gd name="T73" fmla="*/ 128371 h 505"/>
                <a:gd name="T74" fmla="*/ 848 w 524"/>
                <a:gd name="T75" fmla="*/ 137764 h 505"/>
                <a:gd name="T76" fmla="*/ 0 w 524"/>
                <a:gd name="T77" fmla="*/ 145069 h 505"/>
                <a:gd name="T78" fmla="*/ 0 w 524"/>
                <a:gd name="T79" fmla="*/ 150809 h 505"/>
                <a:gd name="T80" fmla="*/ 2969 w 524"/>
                <a:gd name="T81" fmla="*/ 157071 h 505"/>
                <a:gd name="T82" fmla="*/ 11028 w 524"/>
                <a:gd name="T83" fmla="*/ 163855 h 505"/>
                <a:gd name="T84" fmla="*/ 26297 w 524"/>
                <a:gd name="T85" fmla="*/ 172726 h 505"/>
                <a:gd name="T86" fmla="*/ 50897 w 524"/>
                <a:gd name="T87" fmla="*/ 185250 h 505"/>
                <a:gd name="T88" fmla="*/ 76345 w 524"/>
                <a:gd name="T89" fmla="*/ 195165 h 505"/>
                <a:gd name="T90" fmla="*/ 90766 w 524"/>
                <a:gd name="T91" fmla="*/ 200905 h 505"/>
                <a:gd name="T92" fmla="*/ 100521 w 524"/>
                <a:gd name="T93" fmla="*/ 208733 h 505"/>
                <a:gd name="T94" fmla="*/ 106884 w 524"/>
                <a:gd name="T95" fmla="*/ 218126 h 505"/>
                <a:gd name="T96" fmla="*/ 111125 w 524"/>
                <a:gd name="T97" fmla="*/ 226997 h 505"/>
                <a:gd name="T98" fmla="*/ 112822 w 524"/>
                <a:gd name="T99" fmla="*/ 235346 h 505"/>
                <a:gd name="T100" fmla="*/ 114518 w 524"/>
                <a:gd name="T101" fmla="*/ 244739 h 505"/>
                <a:gd name="T102" fmla="*/ 117487 w 524"/>
                <a:gd name="T103" fmla="*/ 251001 h 505"/>
                <a:gd name="T104" fmla="*/ 121729 w 524"/>
                <a:gd name="T105" fmla="*/ 255176 h 505"/>
                <a:gd name="T106" fmla="*/ 130211 w 524"/>
                <a:gd name="T107" fmla="*/ 259350 h 505"/>
                <a:gd name="T108" fmla="*/ 139118 w 524"/>
                <a:gd name="T109" fmla="*/ 262481 h 505"/>
                <a:gd name="T110" fmla="*/ 142087 w 524"/>
                <a:gd name="T111" fmla="*/ 260916 h 505"/>
                <a:gd name="T112" fmla="*/ 146753 w 524"/>
                <a:gd name="T113" fmla="*/ 260394 h 505"/>
                <a:gd name="T114" fmla="*/ 155236 w 524"/>
                <a:gd name="T115" fmla="*/ 262481 h 505"/>
                <a:gd name="T116" fmla="*/ 162446 w 524"/>
                <a:gd name="T117" fmla="*/ 263525 h 505"/>
                <a:gd name="T118" fmla="*/ 185350 w 524"/>
                <a:gd name="T119" fmla="*/ 263525 h 505"/>
                <a:gd name="T120" fmla="*/ 197226 w 524"/>
                <a:gd name="T121" fmla="*/ 234302 h 505"/>
                <a:gd name="T122" fmla="*/ 208677 w 524"/>
                <a:gd name="T123" fmla="*/ 228040 h 50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2" name="Freeform 260">
              <a:extLst>
                <a:ext uri="{FF2B5EF4-FFF2-40B4-BE49-F238E27FC236}">
                  <a16:creationId xmlns:a16="http://schemas.microsoft.com/office/drawing/2014/main" id="{84FA99E4-60C9-4F18-ADDE-CB6D042A822F}"/>
                </a:ext>
              </a:extLst>
            </p:cNvPr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6972300" y="2439988"/>
              <a:ext cx="331788" cy="290512"/>
            </a:xfrm>
            <a:custGeom>
              <a:avLst/>
              <a:gdLst>
                <a:gd name="T0" fmla="*/ 26925 w 764"/>
                <a:gd name="T1" fmla="*/ 102595 h 555"/>
                <a:gd name="T2" fmla="*/ 40388 w 764"/>
                <a:gd name="T3" fmla="*/ 99455 h 555"/>
                <a:gd name="T4" fmla="*/ 55588 w 764"/>
                <a:gd name="T5" fmla="*/ 95267 h 555"/>
                <a:gd name="T6" fmla="*/ 75999 w 764"/>
                <a:gd name="T7" fmla="*/ 79040 h 555"/>
                <a:gd name="T8" fmla="*/ 84250 w 764"/>
                <a:gd name="T9" fmla="*/ 65954 h 555"/>
                <a:gd name="T10" fmla="*/ 86421 w 764"/>
                <a:gd name="T11" fmla="*/ 46063 h 555"/>
                <a:gd name="T12" fmla="*/ 90330 w 764"/>
                <a:gd name="T13" fmla="*/ 36118 h 555"/>
                <a:gd name="T14" fmla="*/ 104227 w 764"/>
                <a:gd name="T15" fmla="*/ 31407 h 555"/>
                <a:gd name="T16" fmla="*/ 127678 w 764"/>
                <a:gd name="T17" fmla="*/ 32454 h 555"/>
                <a:gd name="T18" fmla="*/ 142877 w 764"/>
                <a:gd name="T19" fmla="*/ 37165 h 555"/>
                <a:gd name="T20" fmla="*/ 157208 w 764"/>
                <a:gd name="T21" fmla="*/ 47110 h 555"/>
                <a:gd name="T22" fmla="*/ 167631 w 764"/>
                <a:gd name="T23" fmla="*/ 48680 h 555"/>
                <a:gd name="T24" fmla="*/ 181962 w 764"/>
                <a:gd name="T25" fmla="*/ 43969 h 555"/>
                <a:gd name="T26" fmla="*/ 199768 w 764"/>
                <a:gd name="T27" fmla="*/ 31930 h 555"/>
                <a:gd name="T28" fmla="*/ 208019 w 764"/>
                <a:gd name="T29" fmla="*/ 17274 h 555"/>
                <a:gd name="T30" fmla="*/ 220613 w 764"/>
                <a:gd name="T31" fmla="*/ 2094 h 555"/>
                <a:gd name="T32" fmla="*/ 230167 w 764"/>
                <a:gd name="T33" fmla="*/ 9945 h 555"/>
                <a:gd name="T34" fmla="*/ 238853 w 764"/>
                <a:gd name="T35" fmla="*/ 23555 h 555"/>
                <a:gd name="T36" fmla="*/ 243630 w 764"/>
                <a:gd name="T37" fmla="*/ 45540 h 555"/>
                <a:gd name="T38" fmla="*/ 247538 w 764"/>
                <a:gd name="T39" fmla="*/ 52868 h 555"/>
                <a:gd name="T40" fmla="*/ 255789 w 764"/>
                <a:gd name="T41" fmla="*/ 54438 h 555"/>
                <a:gd name="T42" fmla="*/ 270121 w 764"/>
                <a:gd name="T43" fmla="*/ 38211 h 555"/>
                <a:gd name="T44" fmla="*/ 322668 w 764"/>
                <a:gd name="T45" fmla="*/ 34547 h 555"/>
                <a:gd name="T46" fmla="*/ 329617 w 764"/>
                <a:gd name="T47" fmla="*/ 45540 h 555"/>
                <a:gd name="T48" fmla="*/ 294874 w 764"/>
                <a:gd name="T49" fmla="*/ 52345 h 555"/>
                <a:gd name="T50" fmla="*/ 262738 w 764"/>
                <a:gd name="T51" fmla="*/ 58626 h 555"/>
                <a:gd name="T52" fmla="*/ 249275 w 764"/>
                <a:gd name="T53" fmla="*/ 68048 h 555"/>
                <a:gd name="T54" fmla="*/ 247972 w 764"/>
                <a:gd name="T55" fmla="*/ 76946 h 555"/>
                <a:gd name="T56" fmla="*/ 252749 w 764"/>
                <a:gd name="T57" fmla="*/ 85845 h 555"/>
                <a:gd name="T58" fmla="*/ 261001 w 764"/>
                <a:gd name="T59" fmla="*/ 94220 h 555"/>
                <a:gd name="T60" fmla="*/ 262304 w 764"/>
                <a:gd name="T61" fmla="*/ 102072 h 555"/>
                <a:gd name="T62" fmla="*/ 257961 w 764"/>
                <a:gd name="T63" fmla="*/ 111494 h 555"/>
                <a:gd name="T64" fmla="*/ 249275 w 764"/>
                <a:gd name="T65" fmla="*/ 124056 h 555"/>
                <a:gd name="T66" fmla="*/ 245367 w 764"/>
                <a:gd name="T67" fmla="*/ 133478 h 555"/>
                <a:gd name="T68" fmla="*/ 235378 w 764"/>
                <a:gd name="T69" fmla="*/ 140807 h 555"/>
                <a:gd name="T70" fmla="*/ 225390 w 764"/>
                <a:gd name="T71" fmla="*/ 162268 h 555"/>
                <a:gd name="T72" fmla="*/ 220613 w 764"/>
                <a:gd name="T73" fmla="*/ 190011 h 555"/>
                <a:gd name="T74" fmla="*/ 215836 w 764"/>
                <a:gd name="T75" fmla="*/ 222464 h 555"/>
                <a:gd name="T76" fmla="*/ 207150 w 764"/>
                <a:gd name="T77" fmla="*/ 215659 h 555"/>
                <a:gd name="T78" fmla="*/ 199768 w 764"/>
                <a:gd name="T79" fmla="*/ 213042 h 555"/>
                <a:gd name="T80" fmla="*/ 190648 w 764"/>
                <a:gd name="T81" fmla="*/ 218800 h 555"/>
                <a:gd name="T82" fmla="*/ 178488 w 764"/>
                <a:gd name="T83" fmla="*/ 230316 h 555"/>
                <a:gd name="T84" fmla="*/ 170671 w 764"/>
                <a:gd name="T85" fmla="*/ 232410 h 555"/>
                <a:gd name="T86" fmla="*/ 162854 w 764"/>
                <a:gd name="T87" fmla="*/ 242355 h 555"/>
                <a:gd name="T88" fmla="*/ 158511 w 764"/>
                <a:gd name="T89" fmla="*/ 267480 h 555"/>
                <a:gd name="T90" fmla="*/ 151997 w 764"/>
                <a:gd name="T91" fmla="*/ 274809 h 555"/>
                <a:gd name="T92" fmla="*/ 117255 w 764"/>
                <a:gd name="T93" fmla="*/ 285801 h 555"/>
                <a:gd name="T94" fmla="*/ 84250 w 764"/>
                <a:gd name="T95" fmla="*/ 289989 h 555"/>
                <a:gd name="T96" fmla="*/ 49073 w 764"/>
                <a:gd name="T97" fmla="*/ 283707 h 555"/>
                <a:gd name="T98" fmla="*/ 41256 w 764"/>
                <a:gd name="T99" fmla="*/ 271145 h 555"/>
                <a:gd name="T100" fmla="*/ 49942 w 764"/>
                <a:gd name="T101" fmla="*/ 255441 h 555"/>
                <a:gd name="T102" fmla="*/ 54285 w 764"/>
                <a:gd name="T103" fmla="*/ 241832 h 555"/>
                <a:gd name="T104" fmla="*/ 53416 w 764"/>
                <a:gd name="T105" fmla="*/ 231363 h 555"/>
                <a:gd name="T106" fmla="*/ 48205 w 764"/>
                <a:gd name="T107" fmla="*/ 226652 h 555"/>
                <a:gd name="T108" fmla="*/ 29965 w 764"/>
                <a:gd name="T109" fmla="*/ 225605 h 555"/>
                <a:gd name="T110" fmla="*/ 22582 w 764"/>
                <a:gd name="T111" fmla="*/ 220370 h 555"/>
                <a:gd name="T112" fmla="*/ 14765 w 764"/>
                <a:gd name="T113" fmla="*/ 201003 h 555"/>
                <a:gd name="T114" fmla="*/ 8251 w 764"/>
                <a:gd name="T115" fmla="*/ 161745 h 555"/>
                <a:gd name="T116" fmla="*/ 4343 w 764"/>
                <a:gd name="T117" fmla="*/ 152323 h 555"/>
                <a:gd name="T118" fmla="*/ 0 w 764"/>
                <a:gd name="T119" fmla="*/ 146565 h 555"/>
                <a:gd name="T120" fmla="*/ 869 w 764"/>
                <a:gd name="T121" fmla="*/ 140283 h 555"/>
                <a:gd name="T122" fmla="*/ 9554 w 764"/>
                <a:gd name="T123" fmla="*/ 129814 h 555"/>
                <a:gd name="T124" fmla="*/ 14765 w 764"/>
                <a:gd name="T125" fmla="*/ 115681 h 55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3" name="Freeform 261">
              <a:extLst>
                <a:ext uri="{FF2B5EF4-FFF2-40B4-BE49-F238E27FC236}">
                  <a16:creationId xmlns:a16="http://schemas.microsoft.com/office/drawing/2014/main" id="{A81EECF9-9CA2-45E3-AF15-9EC8BAC7DDE4}"/>
                </a:ext>
              </a:extLst>
            </p:cNvPr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7004051" y="2489201"/>
              <a:ext cx="365125" cy="423863"/>
            </a:xfrm>
            <a:custGeom>
              <a:avLst/>
              <a:gdLst>
                <a:gd name="T0" fmla="*/ 342277 w 831"/>
                <a:gd name="T1" fmla="*/ 42804 h 812"/>
                <a:gd name="T2" fmla="*/ 310642 w 831"/>
                <a:gd name="T3" fmla="*/ 15138 h 812"/>
                <a:gd name="T4" fmla="*/ 246932 w 831"/>
                <a:gd name="T5" fmla="*/ 5220 h 812"/>
                <a:gd name="T6" fmla="*/ 219251 w 831"/>
                <a:gd name="T7" fmla="*/ 15138 h 812"/>
                <a:gd name="T8" fmla="*/ 213539 w 831"/>
                <a:gd name="T9" fmla="*/ 25578 h 812"/>
                <a:gd name="T10" fmla="*/ 218372 w 831"/>
                <a:gd name="T11" fmla="*/ 37062 h 812"/>
                <a:gd name="T12" fmla="*/ 227160 w 831"/>
                <a:gd name="T13" fmla="*/ 46980 h 812"/>
                <a:gd name="T14" fmla="*/ 226720 w 831"/>
                <a:gd name="T15" fmla="*/ 57942 h 812"/>
                <a:gd name="T16" fmla="*/ 215736 w 831"/>
                <a:gd name="T17" fmla="*/ 73080 h 812"/>
                <a:gd name="T18" fmla="*/ 210903 w 831"/>
                <a:gd name="T19" fmla="*/ 84564 h 812"/>
                <a:gd name="T20" fmla="*/ 197721 w 831"/>
                <a:gd name="T21" fmla="*/ 96048 h 812"/>
                <a:gd name="T22" fmla="*/ 187615 w 831"/>
                <a:gd name="T23" fmla="*/ 126846 h 812"/>
                <a:gd name="T24" fmla="*/ 184540 w 831"/>
                <a:gd name="T25" fmla="*/ 173304 h 812"/>
                <a:gd name="T26" fmla="*/ 172237 w 831"/>
                <a:gd name="T27" fmla="*/ 166518 h 812"/>
                <a:gd name="T28" fmla="*/ 162571 w 831"/>
                <a:gd name="T29" fmla="*/ 164430 h 812"/>
                <a:gd name="T30" fmla="*/ 148511 w 831"/>
                <a:gd name="T31" fmla="*/ 176958 h 812"/>
                <a:gd name="T32" fmla="*/ 137526 w 831"/>
                <a:gd name="T33" fmla="*/ 183222 h 812"/>
                <a:gd name="T34" fmla="*/ 127420 w 831"/>
                <a:gd name="T35" fmla="*/ 193140 h 812"/>
                <a:gd name="T36" fmla="*/ 123026 w 831"/>
                <a:gd name="T37" fmla="*/ 221327 h 812"/>
                <a:gd name="T38" fmla="*/ 103254 w 831"/>
                <a:gd name="T39" fmla="*/ 230723 h 812"/>
                <a:gd name="T40" fmla="*/ 55801 w 831"/>
                <a:gd name="T41" fmla="*/ 241163 h 812"/>
                <a:gd name="T42" fmla="*/ 11424 w 831"/>
                <a:gd name="T43" fmla="*/ 234377 h 812"/>
                <a:gd name="T44" fmla="*/ 22408 w 831"/>
                <a:gd name="T45" fmla="*/ 263609 h 812"/>
                <a:gd name="T46" fmla="*/ 42181 w 831"/>
                <a:gd name="T47" fmla="*/ 281879 h 812"/>
                <a:gd name="T48" fmla="*/ 54044 w 831"/>
                <a:gd name="T49" fmla="*/ 301193 h 812"/>
                <a:gd name="T50" fmla="*/ 62392 w 831"/>
                <a:gd name="T51" fmla="*/ 311111 h 812"/>
                <a:gd name="T52" fmla="*/ 43499 w 831"/>
                <a:gd name="T53" fmla="*/ 337733 h 812"/>
                <a:gd name="T54" fmla="*/ 38226 w 831"/>
                <a:gd name="T55" fmla="*/ 350261 h 812"/>
                <a:gd name="T56" fmla="*/ 47892 w 831"/>
                <a:gd name="T57" fmla="*/ 375839 h 812"/>
                <a:gd name="T58" fmla="*/ 97542 w 831"/>
                <a:gd name="T59" fmla="*/ 370619 h 812"/>
                <a:gd name="T60" fmla="*/ 132693 w 831"/>
                <a:gd name="T61" fmla="*/ 368009 h 812"/>
                <a:gd name="T62" fmla="*/ 144995 w 831"/>
                <a:gd name="T63" fmla="*/ 376361 h 812"/>
                <a:gd name="T64" fmla="*/ 157738 w 831"/>
                <a:gd name="T65" fmla="*/ 394631 h 812"/>
                <a:gd name="T66" fmla="*/ 179267 w 831"/>
                <a:gd name="T67" fmla="*/ 409769 h 812"/>
                <a:gd name="T68" fmla="*/ 197282 w 831"/>
                <a:gd name="T69" fmla="*/ 419165 h 812"/>
                <a:gd name="T70" fmla="*/ 202115 w 831"/>
                <a:gd name="T71" fmla="*/ 412901 h 812"/>
                <a:gd name="T72" fmla="*/ 213978 w 831"/>
                <a:gd name="T73" fmla="*/ 404027 h 812"/>
                <a:gd name="T74" fmla="*/ 243417 w 831"/>
                <a:gd name="T75" fmla="*/ 398807 h 812"/>
                <a:gd name="T76" fmla="*/ 262310 w 831"/>
                <a:gd name="T77" fmla="*/ 391499 h 812"/>
                <a:gd name="T78" fmla="*/ 271537 w 831"/>
                <a:gd name="T79" fmla="*/ 379493 h 812"/>
                <a:gd name="T80" fmla="*/ 256598 w 831"/>
                <a:gd name="T81" fmla="*/ 365399 h 812"/>
                <a:gd name="T82" fmla="*/ 238144 w 831"/>
                <a:gd name="T83" fmla="*/ 334601 h 812"/>
                <a:gd name="T84" fmla="*/ 231114 w 831"/>
                <a:gd name="T85" fmla="*/ 325727 h 812"/>
                <a:gd name="T86" fmla="*/ 231114 w 831"/>
                <a:gd name="T87" fmla="*/ 301715 h 812"/>
                <a:gd name="T88" fmla="*/ 255719 w 831"/>
                <a:gd name="T89" fmla="*/ 293885 h 812"/>
                <a:gd name="T90" fmla="*/ 273295 w 831"/>
                <a:gd name="T91" fmla="*/ 277181 h 812"/>
                <a:gd name="T92" fmla="*/ 302294 w 831"/>
                <a:gd name="T93" fmla="*/ 217673 h 812"/>
                <a:gd name="T94" fmla="*/ 320748 w 831"/>
                <a:gd name="T95" fmla="*/ 192096 h 812"/>
                <a:gd name="T96" fmla="*/ 318551 w 831"/>
                <a:gd name="T97" fmla="*/ 172260 h 812"/>
                <a:gd name="T98" fmla="*/ 320308 w 831"/>
                <a:gd name="T99" fmla="*/ 159210 h 812"/>
                <a:gd name="T100" fmla="*/ 329975 w 831"/>
                <a:gd name="T101" fmla="*/ 150858 h 812"/>
                <a:gd name="T102" fmla="*/ 294385 w 831"/>
                <a:gd name="T103" fmla="*/ 108054 h 812"/>
                <a:gd name="T104" fmla="*/ 333050 w 831"/>
                <a:gd name="T105" fmla="*/ 73080 h 812"/>
                <a:gd name="T106" fmla="*/ 353701 w 831"/>
                <a:gd name="T107" fmla="*/ 64206 h 8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4" name="Freeform 262">
              <a:extLst>
                <a:ext uri="{FF2B5EF4-FFF2-40B4-BE49-F238E27FC236}">
                  <a16:creationId xmlns:a16="http://schemas.microsoft.com/office/drawing/2014/main" id="{5A0A0C65-ED6F-4875-9992-6F4A6D7644CD}"/>
                </a:ext>
              </a:extLst>
            </p:cNvPr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7794626" y="2757489"/>
              <a:ext cx="220663" cy="585787"/>
            </a:xfrm>
            <a:custGeom>
              <a:avLst/>
              <a:gdLst>
                <a:gd name="T0" fmla="*/ 191387 w 505"/>
                <a:gd name="T1" fmla="*/ 557569 h 1121"/>
                <a:gd name="T2" fmla="*/ 193572 w 505"/>
                <a:gd name="T3" fmla="*/ 537189 h 1121"/>
                <a:gd name="T4" fmla="*/ 174346 w 505"/>
                <a:gd name="T5" fmla="*/ 534054 h 1121"/>
                <a:gd name="T6" fmla="*/ 176967 w 505"/>
                <a:gd name="T7" fmla="*/ 500088 h 1121"/>
                <a:gd name="T8" fmla="*/ 183085 w 505"/>
                <a:gd name="T9" fmla="*/ 486501 h 1121"/>
                <a:gd name="T10" fmla="*/ 180463 w 505"/>
                <a:gd name="T11" fmla="*/ 469779 h 1121"/>
                <a:gd name="T12" fmla="*/ 173909 w 505"/>
                <a:gd name="T13" fmla="*/ 466644 h 1121"/>
                <a:gd name="T14" fmla="*/ 166917 w 505"/>
                <a:gd name="T15" fmla="*/ 437903 h 1121"/>
                <a:gd name="T16" fmla="*/ 141574 w 505"/>
                <a:gd name="T17" fmla="*/ 375719 h 1121"/>
                <a:gd name="T18" fmla="*/ 129339 w 505"/>
                <a:gd name="T19" fmla="*/ 367358 h 1121"/>
                <a:gd name="T20" fmla="*/ 123222 w 505"/>
                <a:gd name="T21" fmla="*/ 375196 h 1121"/>
                <a:gd name="T22" fmla="*/ 98752 w 505"/>
                <a:gd name="T23" fmla="*/ 387738 h 1121"/>
                <a:gd name="T24" fmla="*/ 73846 w 505"/>
                <a:gd name="T25" fmla="*/ 384602 h 1121"/>
                <a:gd name="T26" fmla="*/ 58115 w 505"/>
                <a:gd name="T27" fmla="*/ 296290 h 1121"/>
                <a:gd name="T28" fmla="*/ 44133 w 505"/>
                <a:gd name="T29" fmla="*/ 271730 h 1121"/>
                <a:gd name="T30" fmla="*/ 22285 w 505"/>
                <a:gd name="T31" fmla="*/ 262324 h 1121"/>
                <a:gd name="T32" fmla="*/ 3496 w 505"/>
                <a:gd name="T33" fmla="*/ 246125 h 1121"/>
                <a:gd name="T34" fmla="*/ 10050 w 505"/>
                <a:gd name="T35" fmla="*/ 232538 h 1121"/>
                <a:gd name="T36" fmla="*/ 25343 w 505"/>
                <a:gd name="T37" fmla="*/ 188643 h 1121"/>
                <a:gd name="T38" fmla="*/ 29276 w 505"/>
                <a:gd name="T39" fmla="*/ 144748 h 1121"/>
                <a:gd name="T40" fmla="*/ 34957 w 505"/>
                <a:gd name="T41" fmla="*/ 138478 h 1121"/>
                <a:gd name="T42" fmla="*/ 49376 w 505"/>
                <a:gd name="T43" fmla="*/ 134820 h 1121"/>
                <a:gd name="T44" fmla="*/ 58552 w 505"/>
                <a:gd name="T45" fmla="*/ 116008 h 1121"/>
                <a:gd name="T46" fmla="*/ 61174 w 505"/>
                <a:gd name="T47" fmla="*/ 61139 h 1121"/>
                <a:gd name="T48" fmla="*/ 69476 w 505"/>
                <a:gd name="T49" fmla="*/ 51211 h 1121"/>
                <a:gd name="T50" fmla="*/ 93072 w 505"/>
                <a:gd name="T51" fmla="*/ 38669 h 1121"/>
                <a:gd name="T52" fmla="*/ 102248 w 505"/>
                <a:gd name="T53" fmla="*/ 10974 h 1121"/>
                <a:gd name="T54" fmla="*/ 121037 w 505"/>
                <a:gd name="T55" fmla="*/ 16199 h 1121"/>
                <a:gd name="T56" fmla="*/ 136330 w 505"/>
                <a:gd name="T57" fmla="*/ 25605 h 1121"/>
                <a:gd name="T58" fmla="*/ 147254 w 505"/>
                <a:gd name="T59" fmla="*/ 63752 h 1121"/>
                <a:gd name="T60" fmla="*/ 146380 w 505"/>
                <a:gd name="T61" fmla="*/ 87267 h 1121"/>
                <a:gd name="T62" fmla="*/ 131087 w 505"/>
                <a:gd name="T63" fmla="*/ 112872 h 1121"/>
                <a:gd name="T64" fmla="*/ 128028 w 505"/>
                <a:gd name="T65" fmla="*/ 128027 h 1121"/>
                <a:gd name="T66" fmla="*/ 135020 w 505"/>
                <a:gd name="T67" fmla="*/ 136388 h 1121"/>
                <a:gd name="T68" fmla="*/ 151187 w 505"/>
                <a:gd name="T69" fmla="*/ 141091 h 1121"/>
                <a:gd name="T70" fmla="*/ 162111 w 505"/>
                <a:gd name="T71" fmla="*/ 152064 h 1121"/>
                <a:gd name="T72" fmla="*/ 173909 w 505"/>
                <a:gd name="T73" fmla="*/ 180282 h 1121"/>
                <a:gd name="T74" fmla="*/ 187891 w 505"/>
                <a:gd name="T75" fmla="*/ 209023 h 1121"/>
                <a:gd name="T76" fmla="*/ 202748 w 505"/>
                <a:gd name="T77" fmla="*/ 218429 h 1121"/>
                <a:gd name="T78" fmla="*/ 220663 w 505"/>
                <a:gd name="T79" fmla="*/ 218429 h 1121"/>
                <a:gd name="T80" fmla="*/ 207991 w 505"/>
                <a:gd name="T81" fmla="*/ 258143 h 1121"/>
                <a:gd name="T82" fmla="*/ 186580 w 505"/>
                <a:gd name="T83" fmla="*/ 266504 h 1121"/>
                <a:gd name="T84" fmla="*/ 167354 w 505"/>
                <a:gd name="T85" fmla="*/ 275910 h 1121"/>
                <a:gd name="T86" fmla="*/ 157304 w 505"/>
                <a:gd name="T87" fmla="*/ 298903 h 1121"/>
                <a:gd name="T88" fmla="*/ 161674 w 505"/>
                <a:gd name="T89" fmla="*/ 332869 h 1121"/>
                <a:gd name="T90" fmla="*/ 175656 w 505"/>
                <a:gd name="T91" fmla="*/ 356907 h 1121"/>
                <a:gd name="T92" fmla="*/ 187891 w 505"/>
                <a:gd name="T93" fmla="*/ 384080 h 1121"/>
                <a:gd name="T94" fmla="*/ 187017 w 505"/>
                <a:gd name="T95" fmla="*/ 405505 h 1121"/>
                <a:gd name="T96" fmla="*/ 183085 w 505"/>
                <a:gd name="T97" fmla="*/ 418569 h 1121"/>
                <a:gd name="T98" fmla="*/ 190076 w 505"/>
                <a:gd name="T99" fmla="*/ 444696 h 1121"/>
                <a:gd name="T100" fmla="*/ 211050 w 505"/>
                <a:gd name="T101" fmla="*/ 504268 h 1121"/>
                <a:gd name="T102" fmla="*/ 200126 w 505"/>
                <a:gd name="T103" fmla="*/ 565407 h 112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45" name="Freeform 263">
              <a:extLst>
                <a:ext uri="{FF2B5EF4-FFF2-40B4-BE49-F238E27FC236}">
                  <a16:creationId xmlns:a16="http://schemas.microsoft.com/office/drawing/2014/main" id="{05496148-0B48-484E-AD95-5C2D894E0E26}"/>
                </a:ext>
              </a:extLst>
            </p:cNvPr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5118101" y="3267075"/>
              <a:ext cx="80963" cy="58738"/>
            </a:xfrm>
            <a:custGeom>
              <a:avLst/>
              <a:gdLst>
                <a:gd name="T0" fmla="*/ 80963 w 180"/>
                <a:gd name="T1" fmla="*/ 3671 h 112"/>
                <a:gd name="T2" fmla="*/ 76915 w 180"/>
                <a:gd name="T3" fmla="*/ 12587 h 112"/>
                <a:gd name="T4" fmla="*/ 73316 w 180"/>
                <a:gd name="T5" fmla="*/ 20453 h 112"/>
                <a:gd name="T6" fmla="*/ 68369 w 180"/>
                <a:gd name="T7" fmla="*/ 27796 h 112"/>
                <a:gd name="T8" fmla="*/ 63421 w 180"/>
                <a:gd name="T9" fmla="*/ 34613 h 112"/>
                <a:gd name="T10" fmla="*/ 58023 w 180"/>
                <a:gd name="T11" fmla="*/ 41956 h 112"/>
                <a:gd name="T12" fmla="*/ 51726 w 180"/>
                <a:gd name="T13" fmla="*/ 48249 h 112"/>
                <a:gd name="T14" fmla="*/ 45429 w 180"/>
                <a:gd name="T15" fmla="*/ 53494 h 112"/>
                <a:gd name="T16" fmla="*/ 39132 w 180"/>
                <a:gd name="T17" fmla="*/ 58738 h 112"/>
                <a:gd name="T18" fmla="*/ 36883 w 180"/>
                <a:gd name="T19" fmla="*/ 56116 h 112"/>
                <a:gd name="T20" fmla="*/ 35534 w 180"/>
                <a:gd name="T21" fmla="*/ 52969 h 112"/>
                <a:gd name="T22" fmla="*/ 34184 w 180"/>
                <a:gd name="T23" fmla="*/ 49822 h 112"/>
                <a:gd name="T24" fmla="*/ 33285 w 180"/>
                <a:gd name="T25" fmla="*/ 46151 h 112"/>
                <a:gd name="T26" fmla="*/ 31486 w 180"/>
                <a:gd name="T27" fmla="*/ 42480 h 112"/>
                <a:gd name="T28" fmla="*/ 30586 w 180"/>
                <a:gd name="T29" fmla="*/ 38809 h 112"/>
                <a:gd name="T30" fmla="*/ 29237 w 180"/>
                <a:gd name="T31" fmla="*/ 36187 h 112"/>
                <a:gd name="T32" fmla="*/ 26988 w 180"/>
                <a:gd name="T33" fmla="*/ 33040 h 112"/>
                <a:gd name="T34" fmla="*/ 20241 w 180"/>
                <a:gd name="T35" fmla="*/ 25173 h 112"/>
                <a:gd name="T36" fmla="*/ 16193 w 180"/>
                <a:gd name="T37" fmla="*/ 19929 h 112"/>
                <a:gd name="T38" fmla="*/ 13494 w 180"/>
                <a:gd name="T39" fmla="*/ 17307 h 112"/>
                <a:gd name="T40" fmla="*/ 11245 w 180"/>
                <a:gd name="T41" fmla="*/ 16258 h 112"/>
                <a:gd name="T42" fmla="*/ 8096 w 180"/>
                <a:gd name="T43" fmla="*/ 15733 h 112"/>
                <a:gd name="T44" fmla="*/ 0 w 180"/>
                <a:gd name="T45" fmla="*/ 13636 h 112"/>
                <a:gd name="T46" fmla="*/ 11695 w 180"/>
                <a:gd name="T47" fmla="*/ 7342 h 112"/>
                <a:gd name="T48" fmla="*/ 18442 w 180"/>
                <a:gd name="T49" fmla="*/ 4720 h 112"/>
                <a:gd name="T50" fmla="*/ 25188 w 180"/>
                <a:gd name="T51" fmla="*/ 2622 h 112"/>
                <a:gd name="T52" fmla="*/ 33285 w 180"/>
                <a:gd name="T53" fmla="*/ 1573 h 112"/>
                <a:gd name="T54" fmla="*/ 41831 w 180"/>
                <a:gd name="T55" fmla="*/ 524 h 112"/>
                <a:gd name="T56" fmla="*/ 51277 w 180"/>
                <a:gd name="T57" fmla="*/ 0 h 112"/>
                <a:gd name="T58" fmla="*/ 60722 w 180"/>
                <a:gd name="T59" fmla="*/ 524 h 112"/>
                <a:gd name="T60" fmla="*/ 70618 w 180"/>
                <a:gd name="T61" fmla="*/ 1573 h 112"/>
                <a:gd name="T62" fmla="*/ 80963 w 180"/>
                <a:gd name="T63" fmla="*/ 3671 h 11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6" name="Freeform 264">
              <a:extLst>
                <a:ext uri="{FF2B5EF4-FFF2-40B4-BE49-F238E27FC236}">
                  <a16:creationId xmlns:a16="http://schemas.microsoft.com/office/drawing/2014/main" id="{CAC6B078-33FA-439F-82EE-21C4AEE83948}"/>
                </a:ext>
              </a:extLst>
            </p:cNvPr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5202238" y="3349626"/>
              <a:ext cx="74612" cy="100013"/>
            </a:xfrm>
            <a:custGeom>
              <a:avLst/>
              <a:gdLst>
                <a:gd name="T0" fmla="*/ 0 w 173"/>
                <a:gd name="T1" fmla="*/ 35421 h 192"/>
                <a:gd name="T2" fmla="*/ 11645 w 173"/>
                <a:gd name="T3" fmla="*/ 21878 h 192"/>
                <a:gd name="T4" fmla="*/ 21995 w 173"/>
                <a:gd name="T5" fmla="*/ 10939 h 192"/>
                <a:gd name="T6" fmla="*/ 24152 w 173"/>
                <a:gd name="T7" fmla="*/ 8334 h 192"/>
                <a:gd name="T8" fmla="*/ 27171 w 173"/>
                <a:gd name="T9" fmla="*/ 6251 h 192"/>
                <a:gd name="T10" fmla="*/ 30190 w 173"/>
                <a:gd name="T11" fmla="*/ 4167 h 192"/>
                <a:gd name="T12" fmla="*/ 32778 w 173"/>
                <a:gd name="T13" fmla="*/ 3125 h 192"/>
                <a:gd name="T14" fmla="*/ 35797 w 173"/>
                <a:gd name="T15" fmla="*/ 1563 h 192"/>
                <a:gd name="T16" fmla="*/ 38815 w 173"/>
                <a:gd name="T17" fmla="*/ 1042 h 192"/>
                <a:gd name="T18" fmla="*/ 42266 w 173"/>
                <a:gd name="T19" fmla="*/ 521 h 192"/>
                <a:gd name="T20" fmla="*/ 46147 w 173"/>
                <a:gd name="T21" fmla="*/ 0 h 192"/>
                <a:gd name="T22" fmla="*/ 50029 w 173"/>
                <a:gd name="T23" fmla="*/ 521 h 192"/>
                <a:gd name="T24" fmla="*/ 53479 w 173"/>
                <a:gd name="T25" fmla="*/ 1042 h 192"/>
                <a:gd name="T26" fmla="*/ 56929 w 173"/>
                <a:gd name="T27" fmla="*/ 2605 h 192"/>
                <a:gd name="T28" fmla="*/ 59948 w 173"/>
                <a:gd name="T29" fmla="*/ 4167 h 192"/>
                <a:gd name="T30" fmla="*/ 62536 w 173"/>
                <a:gd name="T31" fmla="*/ 6772 h 192"/>
                <a:gd name="T32" fmla="*/ 65124 w 173"/>
                <a:gd name="T33" fmla="*/ 9897 h 192"/>
                <a:gd name="T34" fmla="*/ 66849 w 173"/>
                <a:gd name="T35" fmla="*/ 12502 h 192"/>
                <a:gd name="T36" fmla="*/ 69005 w 173"/>
                <a:gd name="T37" fmla="*/ 15627 h 192"/>
                <a:gd name="T38" fmla="*/ 70299 w 173"/>
                <a:gd name="T39" fmla="*/ 19273 h 192"/>
                <a:gd name="T40" fmla="*/ 71593 w 173"/>
                <a:gd name="T41" fmla="*/ 22399 h 192"/>
                <a:gd name="T42" fmla="*/ 72456 w 173"/>
                <a:gd name="T43" fmla="*/ 26045 h 192"/>
                <a:gd name="T44" fmla="*/ 72887 w 173"/>
                <a:gd name="T45" fmla="*/ 29691 h 192"/>
                <a:gd name="T46" fmla="*/ 74181 w 173"/>
                <a:gd name="T47" fmla="*/ 37505 h 192"/>
                <a:gd name="T48" fmla="*/ 74612 w 173"/>
                <a:gd name="T49" fmla="*/ 45318 h 192"/>
                <a:gd name="T50" fmla="*/ 67711 w 173"/>
                <a:gd name="T51" fmla="*/ 59383 h 192"/>
                <a:gd name="T52" fmla="*/ 62967 w 173"/>
                <a:gd name="T53" fmla="*/ 71363 h 192"/>
                <a:gd name="T54" fmla="*/ 59948 w 173"/>
                <a:gd name="T55" fmla="*/ 77093 h 192"/>
                <a:gd name="T56" fmla="*/ 56067 w 173"/>
                <a:gd name="T57" fmla="*/ 83344 h 192"/>
                <a:gd name="T58" fmla="*/ 50460 w 173"/>
                <a:gd name="T59" fmla="*/ 90637 h 192"/>
                <a:gd name="T60" fmla="*/ 42697 w 173"/>
                <a:gd name="T61" fmla="*/ 100013 h 192"/>
                <a:gd name="T62" fmla="*/ 37090 w 173"/>
                <a:gd name="T63" fmla="*/ 95325 h 192"/>
                <a:gd name="T64" fmla="*/ 31915 w 173"/>
                <a:gd name="T65" fmla="*/ 91679 h 192"/>
                <a:gd name="T66" fmla="*/ 27171 w 173"/>
                <a:gd name="T67" fmla="*/ 88032 h 192"/>
                <a:gd name="T68" fmla="*/ 23289 w 173"/>
                <a:gd name="T69" fmla="*/ 84907 h 192"/>
                <a:gd name="T70" fmla="*/ 19839 w 173"/>
                <a:gd name="T71" fmla="*/ 81261 h 192"/>
                <a:gd name="T72" fmla="*/ 17251 w 173"/>
                <a:gd name="T73" fmla="*/ 78135 h 192"/>
                <a:gd name="T74" fmla="*/ 14664 w 173"/>
                <a:gd name="T75" fmla="*/ 75010 h 192"/>
                <a:gd name="T76" fmla="*/ 12938 w 173"/>
                <a:gd name="T77" fmla="*/ 71363 h 192"/>
                <a:gd name="T78" fmla="*/ 9488 w 173"/>
                <a:gd name="T79" fmla="*/ 64071 h 192"/>
                <a:gd name="T80" fmla="*/ 6901 w 173"/>
                <a:gd name="T81" fmla="*/ 55736 h 192"/>
                <a:gd name="T82" fmla="*/ 3882 w 173"/>
                <a:gd name="T83" fmla="*/ 46881 h 192"/>
                <a:gd name="T84" fmla="*/ 0 w 173"/>
                <a:gd name="T85" fmla="*/ 35421 h 19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7" name="Freeform 265">
              <a:extLst>
                <a:ext uri="{FF2B5EF4-FFF2-40B4-BE49-F238E27FC236}">
                  <a16:creationId xmlns:a16="http://schemas.microsoft.com/office/drawing/2014/main" id="{F343D055-8E4B-41AF-8ABE-630F087DBF3E}"/>
                </a:ext>
              </a:extLst>
            </p:cNvPr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5245101" y="3400426"/>
              <a:ext cx="104775" cy="131763"/>
            </a:xfrm>
            <a:custGeom>
              <a:avLst/>
              <a:gdLst>
                <a:gd name="T0" fmla="*/ 33276 w 233"/>
                <a:gd name="T1" fmla="*/ 0 h 252"/>
                <a:gd name="T2" fmla="*/ 37323 w 233"/>
                <a:gd name="T3" fmla="*/ 1046 h 252"/>
                <a:gd name="T4" fmla="*/ 40021 w 233"/>
                <a:gd name="T5" fmla="*/ 1569 h 252"/>
                <a:gd name="T6" fmla="*/ 42719 w 233"/>
                <a:gd name="T7" fmla="*/ 1569 h 252"/>
                <a:gd name="T8" fmla="*/ 44518 w 233"/>
                <a:gd name="T9" fmla="*/ 1046 h 252"/>
                <a:gd name="T10" fmla="*/ 47666 w 233"/>
                <a:gd name="T11" fmla="*/ 523 h 252"/>
                <a:gd name="T12" fmla="*/ 50814 w 233"/>
                <a:gd name="T13" fmla="*/ 0 h 252"/>
                <a:gd name="T14" fmla="*/ 56210 w 233"/>
                <a:gd name="T15" fmla="*/ 8889 h 252"/>
                <a:gd name="T16" fmla="*/ 62955 w 233"/>
                <a:gd name="T17" fmla="*/ 19346 h 252"/>
                <a:gd name="T18" fmla="*/ 64754 w 233"/>
                <a:gd name="T19" fmla="*/ 21961 h 252"/>
                <a:gd name="T20" fmla="*/ 66552 w 233"/>
                <a:gd name="T21" fmla="*/ 24052 h 252"/>
                <a:gd name="T22" fmla="*/ 68801 w 233"/>
                <a:gd name="T23" fmla="*/ 25621 h 252"/>
                <a:gd name="T24" fmla="*/ 70599 w 233"/>
                <a:gd name="T25" fmla="*/ 27189 h 252"/>
                <a:gd name="T26" fmla="*/ 73298 w 233"/>
                <a:gd name="T27" fmla="*/ 28235 h 252"/>
                <a:gd name="T28" fmla="*/ 75546 w 233"/>
                <a:gd name="T29" fmla="*/ 29281 h 252"/>
                <a:gd name="T30" fmla="*/ 78244 w 233"/>
                <a:gd name="T31" fmla="*/ 29281 h 252"/>
                <a:gd name="T32" fmla="*/ 80942 w 233"/>
                <a:gd name="T33" fmla="*/ 29281 h 252"/>
                <a:gd name="T34" fmla="*/ 80942 w 233"/>
                <a:gd name="T35" fmla="*/ 41830 h 252"/>
                <a:gd name="T36" fmla="*/ 86788 w 233"/>
                <a:gd name="T37" fmla="*/ 53856 h 252"/>
                <a:gd name="T38" fmla="*/ 95332 w 233"/>
                <a:gd name="T39" fmla="*/ 66927 h 252"/>
                <a:gd name="T40" fmla="*/ 96681 w 233"/>
                <a:gd name="T41" fmla="*/ 70587 h 252"/>
                <a:gd name="T42" fmla="*/ 98929 w 233"/>
                <a:gd name="T43" fmla="*/ 74247 h 252"/>
                <a:gd name="T44" fmla="*/ 100278 w 233"/>
                <a:gd name="T45" fmla="*/ 78953 h 252"/>
                <a:gd name="T46" fmla="*/ 101627 w 233"/>
                <a:gd name="T47" fmla="*/ 83659 h 252"/>
                <a:gd name="T48" fmla="*/ 103426 w 233"/>
                <a:gd name="T49" fmla="*/ 88888 h 252"/>
                <a:gd name="T50" fmla="*/ 104325 w 233"/>
                <a:gd name="T51" fmla="*/ 94116 h 252"/>
                <a:gd name="T52" fmla="*/ 104775 w 233"/>
                <a:gd name="T53" fmla="*/ 99868 h 252"/>
                <a:gd name="T54" fmla="*/ 104775 w 233"/>
                <a:gd name="T55" fmla="*/ 106665 h 252"/>
                <a:gd name="T56" fmla="*/ 104325 w 233"/>
                <a:gd name="T57" fmla="*/ 112940 h 252"/>
                <a:gd name="T58" fmla="*/ 103426 w 233"/>
                <a:gd name="T59" fmla="*/ 119214 h 252"/>
                <a:gd name="T60" fmla="*/ 102077 w 233"/>
                <a:gd name="T61" fmla="*/ 125489 h 252"/>
                <a:gd name="T62" fmla="*/ 101627 w 233"/>
                <a:gd name="T63" fmla="*/ 131763 h 252"/>
                <a:gd name="T64" fmla="*/ 99829 w 233"/>
                <a:gd name="T65" fmla="*/ 131763 h 252"/>
                <a:gd name="T66" fmla="*/ 96681 w 233"/>
                <a:gd name="T67" fmla="*/ 130717 h 252"/>
                <a:gd name="T68" fmla="*/ 93533 w 233"/>
                <a:gd name="T69" fmla="*/ 128626 h 252"/>
                <a:gd name="T70" fmla="*/ 89036 w 233"/>
                <a:gd name="T71" fmla="*/ 126011 h 252"/>
                <a:gd name="T72" fmla="*/ 79143 w 233"/>
                <a:gd name="T73" fmla="*/ 118168 h 252"/>
                <a:gd name="T74" fmla="*/ 67901 w 233"/>
                <a:gd name="T75" fmla="*/ 108757 h 252"/>
                <a:gd name="T76" fmla="*/ 56210 w 233"/>
                <a:gd name="T77" fmla="*/ 97254 h 252"/>
                <a:gd name="T78" fmla="*/ 44968 w 233"/>
                <a:gd name="T79" fmla="*/ 86273 h 252"/>
                <a:gd name="T80" fmla="*/ 35075 w 233"/>
                <a:gd name="T81" fmla="*/ 75816 h 252"/>
                <a:gd name="T82" fmla="*/ 27430 w 233"/>
                <a:gd name="T83" fmla="*/ 67450 h 252"/>
                <a:gd name="T84" fmla="*/ 24732 w 233"/>
                <a:gd name="T85" fmla="*/ 65359 h 252"/>
                <a:gd name="T86" fmla="*/ 21585 w 233"/>
                <a:gd name="T87" fmla="*/ 62744 h 252"/>
                <a:gd name="T88" fmla="*/ 18437 w 233"/>
                <a:gd name="T89" fmla="*/ 60653 h 252"/>
                <a:gd name="T90" fmla="*/ 14839 w 233"/>
                <a:gd name="T91" fmla="*/ 58561 h 252"/>
                <a:gd name="T92" fmla="*/ 7645 w 233"/>
                <a:gd name="T93" fmla="*/ 54378 h 252"/>
                <a:gd name="T94" fmla="*/ 0 w 233"/>
                <a:gd name="T95" fmla="*/ 51764 h 252"/>
                <a:gd name="T96" fmla="*/ 17987 w 233"/>
                <a:gd name="T97" fmla="*/ 32941 h 252"/>
                <a:gd name="T98" fmla="*/ 26531 w 233"/>
                <a:gd name="T99" fmla="*/ 22483 h 252"/>
                <a:gd name="T100" fmla="*/ 29229 w 233"/>
                <a:gd name="T101" fmla="*/ 17255 h 252"/>
                <a:gd name="T102" fmla="*/ 31028 w 233"/>
                <a:gd name="T103" fmla="*/ 13072 h 252"/>
                <a:gd name="T104" fmla="*/ 32377 w 233"/>
                <a:gd name="T105" fmla="*/ 7320 h 252"/>
                <a:gd name="T106" fmla="*/ 33276 w 233"/>
                <a:gd name="T107" fmla="*/ 0 h 2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8" name="Freeform 266">
              <a:extLst>
                <a:ext uri="{FF2B5EF4-FFF2-40B4-BE49-F238E27FC236}">
                  <a16:creationId xmlns:a16="http://schemas.microsoft.com/office/drawing/2014/main" id="{9AE89B06-E70B-495B-9C02-11368FE9A112}"/>
                </a:ext>
              </a:extLst>
            </p:cNvPr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5459414" y="3319463"/>
              <a:ext cx="104775" cy="201612"/>
            </a:xfrm>
            <a:custGeom>
              <a:avLst/>
              <a:gdLst>
                <a:gd name="T0" fmla="*/ 5537 w 246"/>
                <a:gd name="T1" fmla="*/ 199490 h 380"/>
                <a:gd name="T2" fmla="*/ 5963 w 246"/>
                <a:gd name="T3" fmla="*/ 194715 h 380"/>
                <a:gd name="T4" fmla="*/ 6389 w 246"/>
                <a:gd name="T5" fmla="*/ 190470 h 380"/>
                <a:gd name="T6" fmla="*/ 7666 w 246"/>
                <a:gd name="T7" fmla="*/ 186226 h 380"/>
                <a:gd name="T8" fmla="*/ 8518 w 246"/>
                <a:gd name="T9" fmla="*/ 182512 h 380"/>
                <a:gd name="T10" fmla="*/ 10648 w 246"/>
                <a:gd name="T11" fmla="*/ 176676 h 380"/>
                <a:gd name="T12" fmla="*/ 11074 w 246"/>
                <a:gd name="T13" fmla="*/ 173492 h 380"/>
                <a:gd name="T14" fmla="*/ 10648 w 246"/>
                <a:gd name="T15" fmla="*/ 170309 h 380"/>
                <a:gd name="T16" fmla="*/ 9796 w 246"/>
                <a:gd name="T17" fmla="*/ 166595 h 380"/>
                <a:gd name="T18" fmla="*/ 8092 w 246"/>
                <a:gd name="T19" fmla="*/ 161820 h 380"/>
                <a:gd name="T20" fmla="*/ 5537 w 246"/>
                <a:gd name="T21" fmla="*/ 156515 h 380"/>
                <a:gd name="T22" fmla="*/ 3833 w 246"/>
                <a:gd name="T23" fmla="*/ 151209 h 380"/>
                <a:gd name="T24" fmla="*/ 1704 w 246"/>
                <a:gd name="T25" fmla="*/ 145903 h 380"/>
                <a:gd name="T26" fmla="*/ 426 w 246"/>
                <a:gd name="T27" fmla="*/ 141659 h 380"/>
                <a:gd name="T28" fmla="*/ 0 w 246"/>
                <a:gd name="T29" fmla="*/ 137414 h 380"/>
                <a:gd name="T30" fmla="*/ 426 w 246"/>
                <a:gd name="T31" fmla="*/ 133170 h 380"/>
                <a:gd name="T32" fmla="*/ 852 w 246"/>
                <a:gd name="T33" fmla="*/ 128926 h 380"/>
                <a:gd name="T34" fmla="*/ 1278 w 246"/>
                <a:gd name="T35" fmla="*/ 125212 h 380"/>
                <a:gd name="T36" fmla="*/ 2555 w 246"/>
                <a:gd name="T37" fmla="*/ 122028 h 380"/>
                <a:gd name="T38" fmla="*/ 4685 w 246"/>
                <a:gd name="T39" fmla="*/ 115662 h 380"/>
                <a:gd name="T40" fmla="*/ 8092 w 246"/>
                <a:gd name="T41" fmla="*/ 109825 h 380"/>
                <a:gd name="T42" fmla="*/ 11074 w 246"/>
                <a:gd name="T43" fmla="*/ 104520 h 380"/>
                <a:gd name="T44" fmla="*/ 14481 w 246"/>
                <a:gd name="T45" fmla="*/ 98153 h 380"/>
                <a:gd name="T46" fmla="*/ 17463 w 246"/>
                <a:gd name="T47" fmla="*/ 91787 h 380"/>
                <a:gd name="T48" fmla="*/ 20018 w 246"/>
                <a:gd name="T49" fmla="*/ 84889 h 380"/>
                <a:gd name="T50" fmla="*/ 11074 w 246"/>
                <a:gd name="T51" fmla="*/ 38731 h 380"/>
                <a:gd name="T52" fmla="*/ 11074 w 246"/>
                <a:gd name="T53" fmla="*/ 26528 h 380"/>
                <a:gd name="T54" fmla="*/ 10222 w 246"/>
                <a:gd name="T55" fmla="*/ 17508 h 380"/>
                <a:gd name="T56" fmla="*/ 10222 w 246"/>
                <a:gd name="T57" fmla="*/ 13264 h 380"/>
                <a:gd name="T58" fmla="*/ 10222 w 246"/>
                <a:gd name="T59" fmla="*/ 8489 h 380"/>
                <a:gd name="T60" fmla="*/ 10648 w 246"/>
                <a:gd name="T61" fmla="*/ 4244 h 380"/>
                <a:gd name="T62" fmla="*/ 11074 w 246"/>
                <a:gd name="T63" fmla="*/ 0 h 380"/>
                <a:gd name="T64" fmla="*/ 76665 w 246"/>
                <a:gd name="T65" fmla="*/ 0 h 380"/>
                <a:gd name="T66" fmla="*/ 93701 w 246"/>
                <a:gd name="T67" fmla="*/ 68442 h 380"/>
                <a:gd name="T68" fmla="*/ 93701 w 246"/>
                <a:gd name="T69" fmla="*/ 111417 h 380"/>
                <a:gd name="T70" fmla="*/ 93701 w 246"/>
                <a:gd name="T71" fmla="*/ 116723 h 380"/>
                <a:gd name="T72" fmla="*/ 94127 w 246"/>
                <a:gd name="T73" fmla="*/ 122028 h 380"/>
                <a:gd name="T74" fmla="*/ 94979 w 246"/>
                <a:gd name="T75" fmla="*/ 127334 h 380"/>
                <a:gd name="T76" fmla="*/ 95831 w 246"/>
                <a:gd name="T77" fmla="*/ 132639 h 380"/>
                <a:gd name="T78" fmla="*/ 97109 w 246"/>
                <a:gd name="T79" fmla="*/ 137414 h 380"/>
                <a:gd name="T80" fmla="*/ 99664 w 246"/>
                <a:gd name="T81" fmla="*/ 142190 h 380"/>
                <a:gd name="T82" fmla="*/ 101794 w 246"/>
                <a:gd name="T83" fmla="*/ 147495 h 380"/>
                <a:gd name="T84" fmla="*/ 104775 w 246"/>
                <a:gd name="T85" fmla="*/ 153331 h 380"/>
                <a:gd name="T86" fmla="*/ 95405 w 246"/>
                <a:gd name="T87" fmla="*/ 156515 h 380"/>
                <a:gd name="T88" fmla="*/ 86035 w 246"/>
                <a:gd name="T89" fmla="*/ 160228 h 380"/>
                <a:gd name="T90" fmla="*/ 77091 w 246"/>
                <a:gd name="T91" fmla="*/ 164473 h 380"/>
                <a:gd name="T92" fmla="*/ 68146 w 246"/>
                <a:gd name="T93" fmla="*/ 169248 h 380"/>
                <a:gd name="T94" fmla="*/ 60054 w 246"/>
                <a:gd name="T95" fmla="*/ 174023 h 380"/>
                <a:gd name="T96" fmla="*/ 51110 w 246"/>
                <a:gd name="T97" fmla="*/ 179329 h 380"/>
                <a:gd name="T98" fmla="*/ 42591 w 246"/>
                <a:gd name="T99" fmla="*/ 184104 h 380"/>
                <a:gd name="T100" fmla="*/ 34073 w 246"/>
                <a:gd name="T101" fmla="*/ 189940 h 380"/>
                <a:gd name="T102" fmla="*/ 31944 w 246"/>
                <a:gd name="T103" fmla="*/ 192593 h 380"/>
                <a:gd name="T104" fmla="*/ 29388 w 246"/>
                <a:gd name="T105" fmla="*/ 194715 h 380"/>
                <a:gd name="T106" fmla="*/ 26407 w 246"/>
                <a:gd name="T107" fmla="*/ 197368 h 380"/>
                <a:gd name="T108" fmla="*/ 22999 w 246"/>
                <a:gd name="T109" fmla="*/ 199490 h 380"/>
                <a:gd name="T110" fmla="*/ 19592 w 246"/>
                <a:gd name="T111" fmla="*/ 201081 h 380"/>
                <a:gd name="T112" fmla="*/ 15333 w 246"/>
                <a:gd name="T113" fmla="*/ 201612 h 380"/>
                <a:gd name="T114" fmla="*/ 13203 w 246"/>
                <a:gd name="T115" fmla="*/ 201612 h 380"/>
                <a:gd name="T116" fmla="*/ 10648 w 246"/>
                <a:gd name="T117" fmla="*/ 201081 h 380"/>
                <a:gd name="T118" fmla="*/ 8518 w 246"/>
                <a:gd name="T119" fmla="*/ 200551 h 380"/>
                <a:gd name="T120" fmla="*/ 5537 w 246"/>
                <a:gd name="T121" fmla="*/ 199490 h 38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9" name="Freeform 267">
              <a:extLst>
                <a:ext uri="{FF2B5EF4-FFF2-40B4-BE49-F238E27FC236}">
                  <a16:creationId xmlns:a16="http://schemas.microsoft.com/office/drawing/2014/main" id="{B7182E55-5C6B-472E-83CA-0265329A4A5B}"/>
                </a:ext>
              </a:extLst>
            </p:cNvPr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5111751" y="3235325"/>
              <a:ext cx="87313" cy="58738"/>
            </a:xfrm>
            <a:custGeom>
              <a:avLst/>
              <a:gdLst>
                <a:gd name="T0" fmla="*/ 3167 w 193"/>
                <a:gd name="T1" fmla="*/ 30915 h 38"/>
                <a:gd name="T2" fmla="*/ 17191 w 193"/>
                <a:gd name="T3" fmla="*/ 17003 h 38"/>
                <a:gd name="T4" fmla="*/ 30311 w 193"/>
                <a:gd name="T5" fmla="*/ 7729 h 38"/>
                <a:gd name="T6" fmla="*/ 36192 w 193"/>
                <a:gd name="T7" fmla="*/ 4637 h 38"/>
                <a:gd name="T8" fmla="*/ 42526 w 193"/>
                <a:gd name="T9" fmla="*/ 3091 h 38"/>
                <a:gd name="T10" fmla="*/ 49764 w 193"/>
                <a:gd name="T11" fmla="*/ 1546 h 38"/>
                <a:gd name="T12" fmla="*/ 57002 w 193"/>
                <a:gd name="T13" fmla="*/ 0 h 38"/>
                <a:gd name="T14" fmla="*/ 62431 w 193"/>
                <a:gd name="T15" fmla="*/ 1546 h 38"/>
                <a:gd name="T16" fmla="*/ 67407 w 193"/>
                <a:gd name="T17" fmla="*/ 1546 h 38"/>
                <a:gd name="T18" fmla="*/ 72384 w 193"/>
                <a:gd name="T19" fmla="*/ 3091 h 38"/>
                <a:gd name="T20" fmla="*/ 76455 w 193"/>
                <a:gd name="T21" fmla="*/ 6183 h 38"/>
                <a:gd name="T22" fmla="*/ 80527 w 193"/>
                <a:gd name="T23" fmla="*/ 9274 h 38"/>
                <a:gd name="T24" fmla="*/ 83241 w 193"/>
                <a:gd name="T25" fmla="*/ 17003 h 38"/>
                <a:gd name="T26" fmla="*/ 84599 w 193"/>
                <a:gd name="T27" fmla="*/ 20095 h 38"/>
                <a:gd name="T28" fmla="*/ 85503 w 193"/>
                <a:gd name="T29" fmla="*/ 27823 h 38"/>
                <a:gd name="T30" fmla="*/ 86408 w 193"/>
                <a:gd name="T31" fmla="*/ 32460 h 38"/>
                <a:gd name="T32" fmla="*/ 87313 w 193"/>
                <a:gd name="T33" fmla="*/ 40189 h 38"/>
                <a:gd name="T34" fmla="*/ 82789 w 193"/>
                <a:gd name="T35" fmla="*/ 41735 h 38"/>
                <a:gd name="T36" fmla="*/ 78265 w 193"/>
                <a:gd name="T37" fmla="*/ 43281 h 38"/>
                <a:gd name="T38" fmla="*/ 74646 w 193"/>
                <a:gd name="T39" fmla="*/ 43281 h 38"/>
                <a:gd name="T40" fmla="*/ 70574 w 193"/>
                <a:gd name="T41" fmla="*/ 43281 h 38"/>
                <a:gd name="T42" fmla="*/ 62431 w 193"/>
                <a:gd name="T43" fmla="*/ 41735 h 38"/>
                <a:gd name="T44" fmla="*/ 54288 w 193"/>
                <a:gd name="T45" fmla="*/ 40189 h 38"/>
                <a:gd name="T46" fmla="*/ 46597 w 193"/>
                <a:gd name="T47" fmla="*/ 40189 h 38"/>
                <a:gd name="T48" fmla="*/ 40264 w 193"/>
                <a:gd name="T49" fmla="*/ 43281 h 38"/>
                <a:gd name="T50" fmla="*/ 34382 w 193"/>
                <a:gd name="T51" fmla="*/ 46372 h 38"/>
                <a:gd name="T52" fmla="*/ 28501 w 193"/>
                <a:gd name="T53" fmla="*/ 49464 h 38"/>
                <a:gd name="T54" fmla="*/ 22168 w 193"/>
                <a:gd name="T55" fmla="*/ 52555 h 38"/>
                <a:gd name="T56" fmla="*/ 15834 w 193"/>
                <a:gd name="T57" fmla="*/ 55647 h 38"/>
                <a:gd name="T58" fmla="*/ 8596 w 193"/>
                <a:gd name="T59" fmla="*/ 57192 h 38"/>
                <a:gd name="T60" fmla="*/ 0 w 193"/>
                <a:gd name="T61" fmla="*/ 58738 h 38"/>
                <a:gd name="T62" fmla="*/ 0 w 193"/>
                <a:gd name="T63" fmla="*/ 51009 h 38"/>
                <a:gd name="T64" fmla="*/ 452 w 193"/>
                <a:gd name="T65" fmla="*/ 44826 h 38"/>
                <a:gd name="T66" fmla="*/ 1357 w 193"/>
                <a:gd name="T67" fmla="*/ 37098 h 38"/>
                <a:gd name="T68" fmla="*/ 3167 w 193"/>
                <a:gd name="T69" fmla="*/ 30915 h 3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0" name="Freeform 268">
              <a:extLst>
                <a:ext uri="{FF2B5EF4-FFF2-40B4-BE49-F238E27FC236}">
                  <a16:creationId xmlns:a16="http://schemas.microsoft.com/office/drawing/2014/main" id="{FA5A96A9-8F7C-4047-ABFC-D27D7DA4A34F}"/>
                </a:ext>
              </a:extLst>
            </p:cNvPr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5537201" y="3313114"/>
              <a:ext cx="42863" cy="155575"/>
            </a:xfrm>
            <a:custGeom>
              <a:avLst/>
              <a:gdLst>
                <a:gd name="T0" fmla="*/ 22947 w 99"/>
                <a:gd name="T1" fmla="*/ 6202 h 301"/>
                <a:gd name="T2" fmla="*/ 25545 w 99"/>
                <a:gd name="T3" fmla="*/ 6202 h 301"/>
                <a:gd name="T4" fmla="*/ 25545 w 99"/>
                <a:gd name="T5" fmla="*/ 9820 h 301"/>
                <a:gd name="T6" fmla="*/ 26843 w 99"/>
                <a:gd name="T7" fmla="*/ 13438 h 301"/>
                <a:gd name="T8" fmla="*/ 27276 w 99"/>
                <a:gd name="T9" fmla="*/ 17056 h 301"/>
                <a:gd name="T10" fmla="*/ 28575 w 99"/>
                <a:gd name="T11" fmla="*/ 21708 h 301"/>
                <a:gd name="T12" fmla="*/ 31173 w 99"/>
                <a:gd name="T13" fmla="*/ 29978 h 301"/>
                <a:gd name="T14" fmla="*/ 34204 w 99"/>
                <a:gd name="T15" fmla="*/ 38765 h 301"/>
                <a:gd name="T16" fmla="*/ 37667 w 99"/>
                <a:gd name="T17" fmla="*/ 48068 h 301"/>
                <a:gd name="T18" fmla="*/ 40265 w 99"/>
                <a:gd name="T19" fmla="*/ 57372 h 301"/>
                <a:gd name="T20" fmla="*/ 41564 w 99"/>
                <a:gd name="T21" fmla="*/ 62023 h 301"/>
                <a:gd name="T22" fmla="*/ 42430 w 99"/>
                <a:gd name="T23" fmla="*/ 66675 h 301"/>
                <a:gd name="T24" fmla="*/ 42863 w 99"/>
                <a:gd name="T25" fmla="*/ 71327 h 301"/>
                <a:gd name="T26" fmla="*/ 42863 w 99"/>
                <a:gd name="T27" fmla="*/ 76495 h 301"/>
                <a:gd name="T28" fmla="*/ 42863 w 99"/>
                <a:gd name="T29" fmla="*/ 149373 h 301"/>
                <a:gd name="T30" fmla="*/ 38533 w 99"/>
                <a:gd name="T31" fmla="*/ 149890 h 301"/>
                <a:gd name="T32" fmla="*/ 34637 w 99"/>
                <a:gd name="T33" fmla="*/ 151440 h 301"/>
                <a:gd name="T34" fmla="*/ 31606 w 99"/>
                <a:gd name="T35" fmla="*/ 153508 h 301"/>
                <a:gd name="T36" fmla="*/ 28575 w 99"/>
                <a:gd name="T37" fmla="*/ 155575 h 301"/>
                <a:gd name="T38" fmla="*/ 25545 w 99"/>
                <a:gd name="T39" fmla="*/ 149890 h 301"/>
                <a:gd name="T40" fmla="*/ 23380 w 99"/>
                <a:gd name="T41" fmla="*/ 144721 h 301"/>
                <a:gd name="T42" fmla="*/ 20782 w 99"/>
                <a:gd name="T43" fmla="*/ 140069 h 301"/>
                <a:gd name="T44" fmla="*/ 19483 w 99"/>
                <a:gd name="T45" fmla="*/ 135417 h 301"/>
                <a:gd name="T46" fmla="*/ 18617 w 99"/>
                <a:gd name="T47" fmla="*/ 130249 h 301"/>
                <a:gd name="T48" fmla="*/ 17751 w 99"/>
                <a:gd name="T49" fmla="*/ 125080 h 301"/>
                <a:gd name="T50" fmla="*/ 17318 w 99"/>
                <a:gd name="T51" fmla="*/ 119912 h 301"/>
                <a:gd name="T52" fmla="*/ 17318 w 99"/>
                <a:gd name="T53" fmla="*/ 114743 h 301"/>
                <a:gd name="T54" fmla="*/ 17318 w 99"/>
                <a:gd name="T55" fmla="*/ 72877 h 301"/>
                <a:gd name="T56" fmla="*/ 0 w 99"/>
                <a:gd name="T57" fmla="*/ 3101 h 301"/>
                <a:gd name="T58" fmla="*/ 2165 w 99"/>
                <a:gd name="T59" fmla="*/ 1034 h 301"/>
                <a:gd name="T60" fmla="*/ 4330 w 99"/>
                <a:gd name="T61" fmla="*/ 0 h 301"/>
                <a:gd name="T62" fmla="*/ 6061 w 99"/>
                <a:gd name="T63" fmla="*/ 0 h 301"/>
                <a:gd name="T64" fmla="*/ 8659 w 99"/>
                <a:gd name="T65" fmla="*/ 0 h 301"/>
                <a:gd name="T66" fmla="*/ 11257 w 99"/>
                <a:gd name="T67" fmla="*/ 0 h 301"/>
                <a:gd name="T68" fmla="*/ 13855 w 99"/>
                <a:gd name="T69" fmla="*/ 1034 h 301"/>
                <a:gd name="T70" fmla="*/ 16020 w 99"/>
                <a:gd name="T71" fmla="*/ 2067 h 301"/>
                <a:gd name="T72" fmla="*/ 17751 w 99"/>
                <a:gd name="T73" fmla="*/ 3101 h 301"/>
                <a:gd name="T74" fmla="*/ 20349 w 99"/>
                <a:gd name="T75" fmla="*/ 5169 h 301"/>
                <a:gd name="T76" fmla="*/ 22947 w 99"/>
                <a:gd name="T77" fmla="*/ 6202 h 30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1" name="Freeform 269">
              <a:extLst>
                <a:ext uri="{FF2B5EF4-FFF2-40B4-BE49-F238E27FC236}">
                  <a16:creationId xmlns:a16="http://schemas.microsoft.com/office/drawing/2014/main" id="{9C54A88A-3407-4243-B4DA-5B56B6AF0927}"/>
                </a:ext>
              </a:extLst>
            </p:cNvPr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5562600" y="3275013"/>
              <a:ext cx="76200" cy="188912"/>
            </a:xfrm>
            <a:custGeom>
              <a:avLst/>
              <a:gdLst>
                <a:gd name="T0" fmla="*/ 0 w 173"/>
                <a:gd name="T1" fmla="*/ 42333 h 357"/>
                <a:gd name="T2" fmla="*/ 3964 w 173"/>
                <a:gd name="T3" fmla="*/ 38100 h 357"/>
                <a:gd name="T4" fmla="*/ 7488 w 173"/>
                <a:gd name="T5" fmla="*/ 34396 h 357"/>
                <a:gd name="T6" fmla="*/ 11012 w 173"/>
                <a:gd name="T7" fmla="*/ 31750 h 357"/>
                <a:gd name="T8" fmla="*/ 14535 w 173"/>
                <a:gd name="T9" fmla="*/ 29633 h 357"/>
                <a:gd name="T10" fmla="*/ 17618 w 173"/>
                <a:gd name="T11" fmla="*/ 26458 h 357"/>
                <a:gd name="T12" fmla="*/ 29511 w 173"/>
                <a:gd name="T13" fmla="*/ 26458 h 357"/>
                <a:gd name="T14" fmla="*/ 41403 w 173"/>
                <a:gd name="T15" fmla="*/ 0 h 357"/>
                <a:gd name="T16" fmla="*/ 44487 w 173"/>
                <a:gd name="T17" fmla="*/ 1587 h 357"/>
                <a:gd name="T18" fmla="*/ 47570 w 173"/>
                <a:gd name="T19" fmla="*/ 3704 h 357"/>
                <a:gd name="T20" fmla="*/ 51094 w 173"/>
                <a:gd name="T21" fmla="*/ 6350 h 357"/>
                <a:gd name="T22" fmla="*/ 54177 w 173"/>
                <a:gd name="T23" fmla="*/ 9525 h 357"/>
                <a:gd name="T24" fmla="*/ 57701 w 173"/>
                <a:gd name="T25" fmla="*/ 11642 h 357"/>
                <a:gd name="T26" fmla="*/ 61224 w 173"/>
                <a:gd name="T27" fmla="*/ 14287 h 357"/>
                <a:gd name="T28" fmla="*/ 63867 w 173"/>
                <a:gd name="T29" fmla="*/ 15346 h 357"/>
                <a:gd name="T30" fmla="*/ 67391 w 173"/>
                <a:gd name="T31" fmla="*/ 15875 h 357"/>
                <a:gd name="T32" fmla="*/ 71795 w 173"/>
                <a:gd name="T33" fmla="*/ 20637 h 357"/>
                <a:gd name="T34" fmla="*/ 76200 w 173"/>
                <a:gd name="T35" fmla="*/ 26458 h 357"/>
                <a:gd name="T36" fmla="*/ 76200 w 173"/>
                <a:gd name="T37" fmla="*/ 32279 h 357"/>
                <a:gd name="T38" fmla="*/ 76200 w 173"/>
                <a:gd name="T39" fmla="*/ 36512 h 357"/>
                <a:gd name="T40" fmla="*/ 76200 w 173"/>
                <a:gd name="T41" fmla="*/ 42333 h 357"/>
                <a:gd name="T42" fmla="*/ 76200 w 173"/>
                <a:gd name="T43" fmla="*/ 51858 h 357"/>
                <a:gd name="T44" fmla="*/ 76200 w 173"/>
                <a:gd name="T45" fmla="*/ 57679 h 357"/>
                <a:gd name="T46" fmla="*/ 75319 w 173"/>
                <a:gd name="T47" fmla="*/ 62442 h 357"/>
                <a:gd name="T48" fmla="*/ 73557 w 173"/>
                <a:gd name="T49" fmla="*/ 67204 h 357"/>
                <a:gd name="T50" fmla="*/ 71795 w 173"/>
                <a:gd name="T51" fmla="*/ 71437 h 357"/>
                <a:gd name="T52" fmla="*/ 66950 w 173"/>
                <a:gd name="T53" fmla="*/ 79904 h 357"/>
                <a:gd name="T54" fmla="*/ 61665 w 173"/>
                <a:gd name="T55" fmla="*/ 88371 h 357"/>
                <a:gd name="T56" fmla="*/ 56379 w 173"/>
                <a:gd name="T57" fmla="*/ 96837 h 357"/>
                <a:gd name="T58" fmla="*/ 51534 w 173"/>
                <a:gd name="T59" fmla="*/ 105833 h 357"/>
                <a:gd name="T60" fmla="*/ 49332 w 173"/>
                <a:gd name="T61" fmla="*/ 110596 h 357"/>
                <a:gd name="T62" fmla="*/ 48010 w 173"/>
                <a:gd name="T63" fmla="*/ 115887 h 357"/>
                <a:gd name="T64" fmla="*/ 47570 w 173"/>
                <a:gd name="T65" fmla="*/ 121179 h 357"/>
                <a:gd name="T66" fmla="*/ 47129 w 173"/>
                <a:gd name="T67" fmla="*/ 127000 h 357"/>
                <a:gd name="T68" fmla="*/ 47570 w 173"/>
                <a:gd name="T69" fmla="*/ 144462 h 357"/>
                <a:gd name="T70" fmla="*/ 48010 w 173"/>
                <a:gd name="T71" fmla="*/ 155045 h 357"/>
                <a:gd name="T72" fmla="*/ 48451 w 173"/>
                <a:gd name="T73" fmla="*/ 159808 h 357"/>
                <a:gd name="T74" fmla="*/ 48010 w 173"/>
                <a:gd name="T75" fmla="*/ 165629 h 357"/>
                <a:gd name="T76" fmla="*/ 48010 w 173"/>
                <a:gd name="T77" fmla="*/ 173037 h 357"/>
                <a:gd name="T78" fmla="*/ 47129 w 173"/>
                <a:gd name="T79" fmla="*/ 182562 h 357"/>
                <a:gd name="T80" fmla="*/ 42725 w 173"/>
                <a:gd name="T81" fmla="*/ 183091 h 357"/>
                <a:gd name="T82" fmla="*/ 38761 w 173"/>
                <a:gd name="T83" fmla="*/ 183620 h 357"/>
                <a:gd name="T84" fmla="*/ 34797 w 173"/>
                <a:gd name="T85" fmla="*/ 184679 h 357"/>
                <a:gd name="T86" fmla="*/ 31273 w 173"/>
                <a:gd name="T87" fmla="*/ 185737 h 357"/>
                <a:gd name="T88" fmla="*/ 27749 w 173"/>
                <a:gd name="T89" fmla="*/ 186795 h 357"/>
                <a:gd name="T90" fmla="*/ 24225 w 173"/>
                <a:gd name="T91" fmla="*/ 187854 h 357"/>
                <a:gd name="T92" fmla="*/ 21142 w 173"/>
                <a:gd name="T93" fmla="*/ 188912 h 357"/>
                <a:gd name="T94" fmla="*/ 17618 w 173"/>
                <a:gd name="T95" fmla="*/ 188912 h 357"/>
                <a:gd name="T96" fmla="*/ 17618 w 173"/>
                <a:gd name="T97" fmla="*/ 114300 h 357"/>
                <a:gd name="T98" fmla="*/ 17618 w 173"/>
                <a:gd name="T99" fmla="*/ 109008 h 357"/>
                <a:gd name="T100" fmla="*/ 17178 w 173"/>
                <a:gd name="T101" fmla="*/ 104246 h 357"/>
                <a:gd name="T102" fmla="*/ 16297 w 173"/>
                <a:gd name="T103" fmla="*/ 99483 h 357"/>
                <a:gd name="T104" fmla="*/ 14976 w 173"/>
                <a:gd name="T105" fmla="*/ 94721 h 357"/>
                <a:gd name="T106" fmla="*/ 12333 w 173"/>
                <a:gd name="T107" fmla="*/ 85196 h 357"/>
                <a:gd name="T108" fmla="*/ 8809 w 173"/>
                <a:gd name="T109" fmla="*/ 75671 h 357"/>
                <a:gd name="T110" fmla="*/ 5726 w 173"/>
                <a:gd name="T111" fmla="*/ 66675 h 357"/>
                <a:gd name="T112" fmla="*/ 3083 w 173"/>
                <a:gd name="T113" fmla="*/ 58208 h 357"/>
                <a:gd name="T114" fmla="*/ 1762 w 173"/>
                <a:gd name="T115" fmla="*/ 53446 h 357"/>
                <a:gd name="T116" fmla="*/ 1321 w 173"/>
                <a:gd name="T117" fmla="*/ 49742 h 357"/>
                <a:gd name="T118" fmla="*/ 0 w 173"/>
                <a:gd name="T119" fmla="*/ 46037 h 357"/>
                <a:gd name="T120" fmla="*/ 0 w 173"/>
                <a:gd name="T121" fmla="*/ 42333 h 35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2" name="Freeform 270">
              <a:extLst>
                <a:ext uri="{FF2B5EF4-FFF2-40B4-BE49-F238E27FC236}">
                  <a16:creationId xmlns:a16="http://schemas.microsoft.com/office/drawing/2014/main" id="{94C10DF2-5BA0-4DF0-AB98-5C0DA3DDF1DE}"/>
                </a:ext>
              </a:extLst>
            </p:cNvPr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6291263" y="4479926"/>
              <a:ext cx="25400" cy="60325"/>
            </a:xfrm>
            <a:custGeom>
              <a:avLst/>
              <a:gdLst>
                <a:gd name="T0" fmla="*/ 5080 w 50"/>
                <a:gd name="T1" fmla="*/ 0 h 74"/>
                <a:gd name="T2" fmla="*/ 3048 w 50"/>
                <a:gd name="T3" fmla="*/ 11413 h 74"/>
                <a:gd name="T4" fmla="*/ 1016 w 50"/>
                <a:gd name="T5" fmla="*/ 21195 h 74"/>
                <a:gd name="T6" fmla="*/ 0 w 50"/>
                <a:gd name="T7" fmla="*/ 29347 h 74"/>
                <a:gd name="T8" fmla="*/ 0 w 50"/>
                <a:gd name="T9" fmla="*/ 35054 h 74"/>
                <a:gd name="T10" fmla="*/ 0 w 50"/>
                <a:gd name="T11" fmla="*/ 40760 h 74"/>
                <a:gd name="T12" fmla="*/ 1016 w 50"/>
                <a:gd name="T13" fmla="*/ 45651 h 74"/>
                <a:gd name="T14" fmla="*/ 3048 w 50"/>
                <a:gd name="T15" fmla="*/ 49727 h 74"/>
                <a:gd name="T16" fmla="*/ 5080 w 50"/>
                <a:gd name="T17" fmla="*/ 55434 h 74"/>
                <a:gd name="T18" fmla="*/ 25400 w 50"/>
                <a:gd name="T19" fmla="*/ 60325 h 74"/>
                <a:gd name="T20" fmla="*/ 25400 w 50"/>
                <a:gd name="T21" fmla="*/ 41575 h 74"/>
                <a:gd name="T22" fmla="*/ 25400 w 50"/>
                <a:gd name="T23" fmla="*/ 27717 h 74"/>
                <a:gd name="T24" fmla="*/ 25400 w 50"/>
                <a:gd name="T25" fmla="*/ 15489 h 74"/>
                <a:gd name="T26" fmla="*/ 25400 w 50"/>
                <a:gd name="T27" fmla="*/ 0 h 74"/>
                <a:gd name="T28" fmla="*/ 19304 w 50"/>
                <a:gd name="T29" fmla="*/ 0 h 74"/>
                <a:gd name="T30" fmla="*/ 12700 w 50"/>
                <a:gd name="T31" fmla="*/ 0 h 74"/>
                <a:gd name="T32" fmla="*/ 7112 w 50"/>
                <a:gd name="T33" fmla="*/ 0 h 74"/>
                <a:gd name="T34" fmla="*/ 5080 w 50"/>
                <a:gd name="T35" fmla="*/ 0 h 7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3" name="Freeform 271">
              <a:extLst>
                <a:ext uri="{FF2B5EF4-FFF2-40B4-BE49-F238E27FC236}">
                  <a16:creationId xmlns:a16="http://schemas.microsoft.com/office/drawing/2014/main" id="{72C975AD-B042-409B-924D-BEE5AAF57EBB}"/>
                </a:ext>
              </a:extLst>
            </p:cNvPr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6186488" y="4576763"/>
              <a:ext cx="61912" cy="57150"/>
            </a:xfrm>
            <a:custGeom>
              <a:avLst/>
              <a:gdLst>
                <a:gd name="T0" fmla="*/ 1376 w 135"/>
                <a:gd name="T1" fmla="*/ 32074 h 98"/>
                <a:gd name="T2" fmla="*/ 5045 w 135"/>
                <a:gd name="T3" fmla="*/ 31491 h 98"/>
                <a:gd name="T4" fmla="*/ 8255 w 135"/>
                <a:gd name="T5" fmla="*/ 30908 h 98"/>
                <a:gd name="T6" fmla="*/ 11007 w 135"/>
                <a:gd name="T7" fmla="*/ 29158 h 98"/>
                <a:gd name="T8" fmla="*/ 14217 w 135"/>
                <a:gd name="T9" fmla="*/ 27409 h 98"/>
                <a:gd name="T10" fmla="*/ 19262 w 135"/>
                <a:gd name="T11" fmla="*/ 22160 h 98"/>
                <a:gd name="T12" fmla="*/ 23848 w 135"/>
                <a:gd name="T13" fmla="*/ 16329 h 98"/>
                <a:gd name="T14" fmla="*/ 27975 w 135"/>
                <a:gd name="T15" fmla="*/ 10497 h 98"/>
                <a:gd name="T16" fmla="*/ 32561 w 135"/>
                <a:gd name="T17" fmla="*/ 4665 h 98"/>
                <a:gd name="T18" fmla="*/ 34854 w 135"/>
                <a:gd name="T19" fmla="*/ 2916 h 98"/>
                <a:gd name="T20" fmla="*/ 37606 w 135"/>
                <a:gd name="T21" fmla="*/ 1166 h 98"/>
                <a:gd name="T22" fmla="*/ 40357 w 135"/>
                <a:gd name="T23" fmla="*/ 0 h 98"/>
                <a:gd name="T24" fmla="*/ 44026 w 135"/>
                <a:gd name="T25" fmla="*/ 0 h 98"/>
                <a:gd name="T26" fmla="*/ 46778 w 135"/>
                <a:gd name="T27" fmla="*/ 0 h 98"/>
                <a:gd name="T28" fmla="*/ 50447 w 135"/>
                <a:gd name="T29" fmla="*/ 1749 h 98"/>
                <a:gd name="T30" fmla="*/ 53657 w 135"/>
                <a:gd name="T31" fmla="*/ 3499 h 98"/>
                <a:gd name="T32" fmla="*/ 56409 w 135"/>
                <a:gd name="T33" fmla="*/ 6415 h 98"/>
                <a:gd name="T34" fmla="*/ 58702 w 135"/>
                <a:gd name="T35" fmla="*/ 9331 h 98"/>
                <a:gd name="T36" fmla="*/ 60536 w 135"/>
                <a:gd name="T37" fmla="*/ 13996 h 98"/>
                <a:gd name="T38" fmla="*/ 61453 w 135"/>
                <a:gd name="T39" fmla="*/ 17495 h 98"/>
                <a:gd name="T40" fmla="*/ 61912 w 135"/>
                <a:gd name="T41" fmla="*/ 21577 h 98"/>
                <a:gd name="T42" fmla="*/ 61453 w 135"/>
                <a:gd name="T43" fmla="*/ 23327 h 98"/>
                <a:gd name="T44" fmla="*/ 60536 w 135"/>
                <a:gd name="T45" fmla="*/ 25076 h 98"/>
                <a:gd name="T46" fmla="*/ 59160 w 135"/>
                <a:gd name="T47" fmla="*/ 27409 h 98"/>
                <a:gd name="T48" fmla="*/ 56867 w 135"/>
                <a:gd name="T49" fmla="*/ 29741 h 98"/>
                <a:gd name="T50" fmla="*/ 51823 w 135"/>
                <a:gd name="T51" fmla="*/ 35573 h 98"/>
                <a:gd name="T52" fmla="*/ 45861 w 135"/>
                <a:gd name="T53" fmla="*/ 41988 h 98"/>
                <a:gd name="T54" fmla="*/ 39899 w 135"/>
                <a:gd name="T55" fmla="*/ 47819 h 98"/>
                <a:gd name="T56" fmla="*/ 33937 w 135"/>
                <a:gd name="T57" fmla="*/ 53068 h 98"/>
                <a:gd name="T58" fmla="*/ 28892 w 135"/>
                <a:gd name="T59" fmla="*/ 55984 h 98"/>
                <a:gd name="T60" fmla="*/ 25223 w 135"/>
                <a:gd name="T61" fmla="*/ 57150 h 98"/>
                <a:gd name="T62" fmla="*/ 23389 w 135"/>
                <a:gd name="T63" fmla="*/ 56567 h 98"/>
                <a:gd name="T64" fmla="*/ 19720 w 135"/>
                <a:gd name="T65" fmla="*/ 53651 h 98"/>
                <a:gd name="T66" fmla="*/ 14675 w 135"/>
                <a:gd name="T67" fmla="*/ 49569 h 98"/>
                <a:gd name="T68" fmla="*/ 9631 w 135"/>
                <a:gd name="T69" fmla="*/ 44904 h 98"/>
                <a:gd name="T70" fmla="*/ 5045 w 135"/>
                <a:gd name="T71" fmla="*/ 39655 h 98"/>
                <a:gd name="T72" fmla="*/ 2293 w 135"/>
                <a:gd name="T73" fmla="*/ 36156 h 98"/>
                <a:gd name="T74" fmla="*/ 459 w 135"/>
                <a:gd name="T75" fmla="*/ 34407 h 98"/>
                <a:gd name="T76" fmla="*/ 0 w 135"/>
                <a:gd name="T77" fmla="*/ 33240 h 98"/>
                <a:gd name="T78" fmla="*/ 0 w 135"/>
                <a:gd name="T79" fmla="*/ 32657 h 98"/>
                <a:gd name="T80" fmla="*/ 1376 w 135"/>
                <a:gd name="T81" fmla="*/ 32074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4" name="Freeform 272">
              <a:extLst>
                <a:ext uri="{FF2B5EF4-FFF2-40B4-BE49-F238E27FC236}">
                  <a16:creationId xmlns:a16="http://schemas.microsoft.com/office/drawing/2014/main" id="{96AFE75D-5430-4CD2-A8A2-EB8C21543E60}"/>
                </a:ext>
              </a:extLst>
            </p:cNvPr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8404225" y="2290763"/>
              <a:ext cx="120650" cy="171450"/>
            </a:xfrm>
            <a:custGeom>
              <a:avLst/>
              <a:gdLst>
                <a:gd name="T0" fmla="*/ 108857 w 266"/>
                <a:gd name="T1" fmla="*/ 4733 h 326"/>
                <a:gd name="T2" fmla="*/ 108857 w 266"/>
                <a:gd name="T3" fmla="*/ 14726 h 326"/>
                <a:gd name="T4" fmla="*/ 112939 w 266"/>
                <a:gd name="T5" fmla="*/ 22089 h 326"/>
                <a:gd name="T6" fmla="*/ 111125 w 266"/>
                <a:gd name="T7" fmla="*/ 28926 h 326"/>
                <a:gd name="T8" fmla="*/ 102054 w 266"/>
                <a:gd name="T9" fmla="*/ 26296 h 326"/>
                <a:gd name="T10" fmla="*/ 95250 w 266"/>
                <a:gd name="T11" fmla="*/ 26822 h 326"/>
                <a:gd name="T12" fmla="*/ 88446 w 266"/>
                <a:gd name="T13" fmla="*/ 34185 h 326"/>
                <a:gd name="T14" fmla="*/ 87539 w 266"/>
                <a:gd name="T15" fmla="*/ 41022 h 326"/>
                <a:gd name="T16" fmla="*/ 89807 w 266"/>
                <a:gd name="T17" fmla="*/ 46807 h 326"/>
                <a:gd name="T18" fmla="*/ 97518 w 266"/>
                <a:gd name="T19" fmla="*/ 57851 h 326"/>
                <a:gd name="T20" fmla="*/ 101600 w 266"/>
                <a:gd name="T21" fmla="*/ 64162 h 326"/>
                <a:gd name="T22" fmla="*/ 102054 w 266"/>
                <a:gd name="T23" fmla="*/ 69947 h 326"/>
                <a:gd name="T24" fmla="*/ 100693 w 266"/>
                <a:gd name="T25" fmla="*/ 75207 h 326"/>
                <a:gd name="T26" fmla="*/ 93889 w 266"/>
                <a:gd name="T27" fmla="*/ 80992 h 326"/>
                <a:gd name="T28" fmla="*/ 90714 w 266"/>
                <a:gd name="T29" fmla="*/ 84147 h 326"/>
                <a:gd name="T30" fmla="*/ 82096 w 266"/>
                <a:gd name="T31" fmla="*/ 87303 h 326"/>
                <a:gd name="T32" fmla="*/ 74386 w 266"/>
                <a:gd name="T33" fmla="*/ 93614 h 326"/>
                <a:gd name="T34" fmla="*/ 72571 w 266"/>
                <a:gd name="T35" fmla="*/ 100451 h 326"/>
                <a:gd name="T36" fmla="*/ 78468 w 266"/>
                <a:gd name="T37" fmla="*/ 108865 h 326"/>
                <a:gd name="T38" fmla="*/ 85725 w 266"/>
                <a:gd name="T39" fmla="*/ 113073 h 326"/>
                <a:gd name="T40" fmla="*/ 97064 w 266"/>
                <a:gd name="T41" fmla="*/ 119384 h 326"/>
                <a:gd name="T42" fmla="*/ 111125 w 266"/>
                <a:gd name="T43" fmla="*/ 136213 h 326"/>
                <a:gd name="T44" fmla="*/ 113846 w 266"/>
                <a:gd name="T45" fmla="*/ 149887 h 326"/>
                <a:gd name="T46" fmla="*/ 99786 w 266"/>
                <a:gd name="T47" fmla="*/ 153043 h 326"/>
                <a:gd name="T48" fmla="*/ 93889 w 266"/>
                <a:gd name="T49" fmla="*/ 156724 h 326"/>
                <a:gd name="T50" fmla="*/ 89807 w 266"/>
                <a:gd name="T51" fmla="*/ 164087 h 326"/>
                <a:gd name="T52" fmla="*/ 85725 w 266"/>
                <a:gd name="T53" fmla="*/ 171450 h 326"/>
                <a:gd name="T54" fmla="*/ 77107 w 266"/>
                <a:gd name="T55" fmla="*/ 168820 h 326"/>
                <a:gd name="T56" fmla="*/ 75746 w 266"/>
                <a:gd name="T57" fmla="*/ 166191 h 326"/>
                <a:gd name="T58" fmla="*/ 69850 w 266"/>
                <a:gd name="T59" fmla="*/ 163035 h 326"/>
                <a:gd name="T60" fmla="*/ 63046 w 266"/>
                <a:gd name="T61" fmla="*/ 158302 h 326"/>
                <a:gd name="T62" fmla="*/ 57150 w 266"/>
                <a:gd name="T63" fmla="*/ 155146 h 326"/>
                <a:gd name="T64" fmla="*/ 44450 w 266"/>
                <a:gd name="T65" fmla="*/ 152517 h 326"/>
                <a:gd name="T66" fmla="*/ 28575 w 266"/>
                <a:gd name="T67" fmla="*/ 145680 h 326"/>
                <a:gd name="T68" fmla="*/ 24493 w 266"/>
                <a:gd name="T69" fmla="*/ 140947 h 326"/>
                <a:gd name="T70" fmla="*/ 24946 w 266"/>
                <a:gd name="T71" fmla="*/ 134636 h 326"/>
                <a:gd name="T72" fmla="*/ 31750 w 266"/>
                <a:gd name="T73" fmla="*/ 128325 h 326"/>
                <a:gd name="T74" fmla="*/ 26761 w 266"/>
                <a:gd name="T75" fmla="*/ 116228 h 326"/>
                <a:gd name="T76" fmla="*/ 15421 w 266"/>
                <a:gd name="T77" fmla="*/ 102029 h 326"/>
                <a:gd name="T78" fmla="*/ 5896 w 266"/>
                <a:gd name="T79" fmla="*/ 95717 h 326"/>
                <a:gd name="T80" fmla="*/ 1814 w 266"/>
                <a:gd name="T81" fmla="*/ 89932 h 326"/>
                <a:gd name="T82" fmla="*/ 8618 w 266"/>
                <a:gd name="T83" fmla="*/ 79940 h 326"/>
                <a:gd name="T84" fmla="*/ 24493 w 266"/>
                <a:gd name="T85" fmla="*/ 65214 h 326"/>
                <a:gd name="T86" fmla="*/ 33111 w 266"/>
                <a:gd name="T87" fmla="*/ 55222 h 326"/>
                <a:gd name="T88" fmla="*/ 39914 w 266"/>
                <a:gd name="T89" fmla="*/ 48385 h 326"/>
                <a:gd name="T90" fmla="*/ 49893 w 266"/>
                <a:gd name="T91" fmla="*/ 46281 h 326"/>
                <a:gd name="T92" fmla="*/ 65314 w 266"/>
                <a:gd name="T93" fmla="*/ 36814 h 326"/>
                <a:gd name="T94" fmla="*/ 76200 w 266"/>
                <a:gd name="T95" fmla="*/ 24192 h 326"/>
                <a:gd name="T96" fmla="*/ 86632 w 266"/>
                <a:gd name="T97" fmla="*/ 11044 h 326"/>
                <a:gd name="T98" fmla="*/ 99786 w 266"/>
                <a:gd name="T99" fmla="*/ 2104 h 326"/>
                <a:gd name="T100" fmla="*/ 107950 w 266"/>
                <a:gd name="T101" fmla="*/ 0 h 32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5" name="Freeform 273">
              <a:extLst>
                <a:ext uri="{FF2B5EF4-FFF2-40B4-BE49-F238E27FC236}">
                  <a16:creationId xmlns:a16="http://schemas.microsoft.com/office/drawing/2014/main" id="{C04D17BE-4E13-407E-98BF-F38D9ECBAA48}"/>
                </a:ext>
              </a:extLst>
            </p:cNvPr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7475539" y="2705101"/>
              <a:ext cx="206375" cy="123825"/>
            </a:xfrm>
            <a:custGeom>
              <a:avLst/>
              <a:gdLst>
                <a:gd name="T0" fmla="*/ 37682 w 471"/>
                <a:gd name="T1" fmla="*/ 0 h 237"/>
                <a:gd name="T2" fmla="*/ 40311 w 471"/>
                <a:gd name="T3" fmla="*/ 3657 h 237"/>
                <a:gd name="T4" fmla="*/ 44693 w 471"/>
                <a:gd name="T5" fmla="*/ 6792 h 237"/>
                <a:gd name="T6" fmla="*/ 54770 w 471"/>
                <a:gd name="T7" fmla="*/ 12017 h 237"/>
                <a:gd name="T8" fmla="*/ 69668 w 471"/>
                <a:gd name="T9" fmla="*/ 19331 h 237"/>
                <a:gd name="T10" fmla="*/ 97710 w 471"/>
                <a:gd name="T11" fmla="*/ 40230 h 237"/>
                <a:gd name="T12" fmla="*/ 110855 w 471"/>
                <a:gd name="T13" fmla="*/ 50679 h 237"/>
                <a:gd name="T14" fmla="*/ 124000 w 471"/>
                <a:gd name="T15" fmla="*/ 59039 h 237"/>
                <a:gd name="T16" fmla="*/ 138460 w 471"/>
                <a:gd name="T17" fmla="*/ 66353 h 237"/>
                <a:gd name="T18" fmla="*/ 155548 w 471"/>
                <a:gd name="T19" fmla="*/ 72623 h 237"/>
                <a:gd name="T20" fmla="*/ 174827 w 471"/>
                <a:gd name="T21" fmla="*/ 76280 h 237"/>
                <a:gd name="T22" fmla="*/ 197612 w 471"/>
                <a:gd name="T23" fmla="*/ 77325 h 237"/>
                <a:gd name="T24" fmla="*/ 198050 w 471"/>
                <a:gd name="T25" fmla="*/ 97702 h 237"/>
                <a:gd name="T26" fmla="*/ 201117 w 471"/>
                <a:gd name="T27" fmla="*/ 110241 h 237"/>
                <a:gd name="T28" fmla="*/ 204622 w 471"/>
                <a:gd name="T29" fmla="*/ 118600 h 237"/>
                <a:gd name="T30" fmla="*/ 204622 w 471"/>
                <a:gd name="T31" fmla="*/ 123303 h 237"/>
                <a:gd name="T32" fmla="*/ 197612 w 471"/>
                <a:gd name="T33" fmla="*/ 123303 h 237"/>
                <a:gd name="T34" fmla="*/ 182276 w 471"/>
                <a:gd name="T35" fmla="*/ 120690 h 237"/>
                <a:gd name="T36" fmla="*/ 158615 w 471"/>
                <a:gd name="T37" fmla="*/ 114421 h 237"/>
                <a:gd name="T38" fmla="*/ 138021 w 471"/>
                <a:gd name="T39" fmla="*/ 108151 h 237"/>
                <a:gd name="T40" fmla="*/ 128820 w 471"/>
                <a:gd name="T41" fmla="*/ 106061 h 237"/>
                <a:gd name="T42" fmla="*/ 125753 w 471"/>
                <a:gd name="T43" fmla="*/ 103971 h 237"/>
                <a:gd name="T44" fmla="*/ 121371 w 471"/>
                <a:gd name="T45" fmla="*/ 99269 h 237"/>
                <a:gd name="T46" fmla="*/ 116990 w 471"/>
                <a:gd name="T47" fmla="*/ 92999 h 237"/>
                <a:gd name="T48" fmla="*/ 111732 w 471"/>
                <a:gd name="T49" fmla="*/ 86730 h 237"/>
                <a:gd name="T50" fmla="*/ 105159 w 471"/>
                <a:gd name="T51" fmla="*/ 83072 h 237"/>
                <a:gd name="T52" fmla="*/ 99463 w 471"/>
                <a:gd name="T53" fmla="*/ 83072 h 237"/>
                <a:gd name="T54" fmla="*/ 89824 w 471"/>
                <a:gd name="T55" fmla="*/ 85162 h 237"/>
                <a:gd name="T56" fmla="*/ 80184 w 471"/>
                <a:gd name="T57" fmla="*/ 87252 h 237"/>
                <a:gd name="T58" fmla="*/ 74050 w 471"/>
                <a:gd name="T59" fmla="*/ 87775 h 237"/>
                <a:gd name="T60" fmla="*/ 69230 w 471"/>
                <a:gd name="T61" fmla="*/ 85685 h 237"/>
                <a:gd name="T62" fmla="*/ 64848 w 471"/>
                <a:gd name="T63" fmla="*/ 80983 h 237"/>
                <a:gd name="T64" fmla="*/ 60905 w 471"/>
                <a:gd name="T65" fmla="*/ 77325 h 237"/>
                <a:gd name="T66" fmla="*/ 53456 w 471"/>
                <a:gd name="T67" fmla="*/ 75758 h 237"/>
                <a:gd name="T68" fmla="*/ 40311 w 471"/>
                <a:gd name="T69" fmla="*/ 70533 h 237"/>
                <a:gd name="T70" fmla="*/ 21032 w 471"/>
                <a:gd name="T71" fmla="*/ 61129 h 237"/>
                <a:gd name="T72" fmla="*/ 5258 w 471"/>
                <a:gd name="T73" fmla="*/ 50157 h 237"/>
                <a:gd name="T74" fmla="*/ 3067 w 471"/>
                <a:gd name="T75" fmla="*/ 0 h 2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6" name="Freeform 274">
              <a:extLst>
                <a:ext uri="{FF2B5EF4-FFF2-40B4-BE49-F238E27FC236}">
                  <a16:creationId xmlns:a16="http://schemas.microsoft.com/office/drawing/2014/main" id="{28B678B4-A60C-422A-892A-8DF01413F893}"/>
                </a:ext>
              </a:extLst>
            </p:cNvPr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7691439" y="2760664"/>
              <a:ext cx="73025" cy="65087"/>
            </a:xfrm>
            <a:custGeom>
              <a:avLst/>
              <a:gdLst>
                <a:gd name="T0" fmla="*/ 73025 w 167"/>
                <a:gd name="T1" fmla="*/ 22754 h 123"/>
                <a:gd name="T2" fmla="*/ 71713 w 167"/>
                <a:gd name="T3" fmla="*/ 28575 h 123"/>
                <a:gd name="T4" fmla="*/ 70401 w 167"/>
                <a:gd name="T5" fmla="*/ 34925 h 123"/>
                <a:gd name="T6" fmla="*/ 67778 w 167"/>
                <a:gd name="T7" fmla="*/ 41804 h 123"/>
                <a:gd name="T8" fmla="*/ 65591 w 167"/>
                <a:gd name="T9" fmla="*/ 49212 h 123"/>
                <a:gd name="T10" fmla="*/ 63842 w 167"/>
                <a:gd name="T11" fmla="*/ 52387 h 123"/>
                <a:gd name="T12" fmla="*/ 62093 w 167"/>
                <a:gd name="T13" fmla="*/ 55562 h 123"/>
                <a:gd name="T14" fmla="*/ 60344 w 167"/>
                <a:gd name="T15" fmla="*/ 58208 h 123"/>
                <a:gd name="T16" fmla="*/ 57720 w 167"/>
                <a:gd name="T17" fmla="*/ 60325 h 123"/>
                <a:gd name="T18" fmla="*/ 55534 w 167"/>
                <a:gd name="T19" fmla="*/ 62441 h 123"/>
                <a:gd name="T20" fmla="*/ 52910 w 167"/>
                <a:gd name="T21" fmla="*/ 64029 h 123"/>
                <a:gd name="T22" fmla="*/ 50287 w 167"/>
                <a:gd name="T23" fmla="*/ 64558 h 123"/>
                <a:gd name="T24" fmla="*/ 46788 w 167"/>
                <a:gd name="T25" fmla="*/ 65087 h 123"/>
                <a:gd name="T26" fmla="*/ 43728 w 167"/>
                <a:gd name="T27" fmla="*/ 64558 h 123"/>
                <a:gd name="T28" fmla="*/ 40229 w 167"/>
                <a:gd name="T29" fmla="*/ 62970 h 123"/>
                <a:gd name="T30" fmla="*/ 38043 w 167"/>
                <a:gd name="T31" fmla="*/ 61383 h 123"/>
                <a:gd name="T32" fmla="*/ 36731 w 167"/>
                <a:gd name="T33" fmla="*/ 59795 h 123"/>
                <a:gd name="T34" fmla="*/ 35857 w 167"/>
                <a:gd name="T35" fmla="*/ 57679 h 123"/>
                <a:gd name="T36" fmla="*/ 35419 w 167"/>
                <a:gd name="T37" fmla="*/ 55562 h 123"/>
                <a:gd name="T38" fmla="*/ 31047 w 167"/>
                <a:gd name="T39" fmla="*/ 55033 h 123"/>
                <a:gd name="T40" fmla="*/ 26674 w 167"/>
                <a:gd name="T41" fmla="*/ 54504 h 123"/>
                <a:gd name="T42" fmla="*/ 22301 w 167"/>
                <a:gd name="T43" fmla="*/ 53445 h 123"/>
                <a:gd name="T44" fmla="*/ 17928 w 167"/>
                <a:gd name="T45" fmla="*/ 51858 h 123"/>
                <a:gd name="T46" fmla="*/ 9183 w 167"/>
                <a:gd name="T47" fmla="*/ 48683 h 123"/>
                <a:gd name="T48" fmla="*/ 0 w 167"/>
                <a:gd name="T49" fmla="*/ 45508 h 123"/>
                <a:gd name="T50" fmla="*/ 875 w 167"/>
                <a:gd name="T51" fmla="*/ 40746 h 123"/>
                <a:gd name="T52" fmla="*/ 2186 w 167"/>
                <a:gd name="T53" fmla="*/ 35454 h 123"/>
                <a:gd name="T54" fmla="*/ 3935 w 167"/>
                <a:gd name="T55" fmla="*/ 29633 h 123"/>
                <a:gd name="T56" fmla="*/ 6559 w 167"/>
                <a:gd name="T57" fmla="*/ 22754 h 123"/>
                <a:gd name="T58" fmla="*/ 8746 w 167"/>
                <a:gd name="T59" fmla="*/ 22754 h 123"/>
                <a:gd name="T60" fmla="*/ 11369 w 167"/>
                <a:gd name="T61" fmla="*/ 22225 h 123"/>
                <a:gd name="T62" fmla="*/ 13118 w 167"/>
                <a:gd name="T63" fmla="*/ 21696 h 123"/>
                <a:gd name="T64" fmla="*/ 14430 w 167"/>
                <a:gd name="T65" fmla="*/ 20108 h 123"/>
                <a:gd name="T66" fmla="*/ 17491 w 167"/>
                <a:gd name="T67" fmla="*/ 17462 h 123"/>
                <a:gd name="T68" fmla="*/ 19677 w 167"/>
                <a:gd name="T69" fmla="*/ 13758 h 123"/>
                <a:gd name="T70" fmla="*/ 22738 w 167"/>
                <a:gd name="T71" fmla="*/ 6350 h 123"/>
                <a:gd name="T72" fmla="*/ 26674 w 167"/>
                <a:gd name="T73" fmla="*/ 0 h 123"/>
                <a:gd name="T74" fmla="*/ 27986 w 167"/>
                <a:gd name="T75" fmla="*/ 2117 h 123"/>
                <a:gd name="T76" fmla="*/ 29297 w 167"/>
                <a:gd name="T77" fmla="*/ 3704 h 123"/>
                <a:gd name="T78" fmla="*/ 31921 w 167"/>
                <a:gd name="T79" fmla="*/ 5821 h 123"/>
                <a:gd name="T80" fmla="*/ 34107 w 167"/>
                <a:gd name="T81" fmla="*/ 7408 h 123"/>
                <a:gd name="T82" fmla="*/ 40229 w 167"/>
                <a:gd name="T83" fmla="*/ 11112 h 123"/>
                <a:gd name="T84" fmla="*/ 46788 w 167"/>
                <a:gd name="T85" fmla="*/ 14817 h 123"/>
                <a:gd name="T86" fmla="*/ 53348 w 167"/>
                <a:gd name="T87" fmla="*/ 18521 h 123"/>
                <a:gd name="T88" fmla="*/ 60781 w 167"/>
                <a:gd name="T89" fmla="*/ 20637 h 123"/>
                <a:gd name="T90" fmla="*/ 66903 w 167"/>
                <a:gd name="T91" fmla="*/ 22225 h 123"/>
                <a:gd name="T92" fmla="*/ 73025 w 167"/>
                <a:gd name="T93" fmla="*/ 22754 h 12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7" name="Freeform 275">
              <a:extLst>
                <a:ext uri="{FF2B5EF4-FFF2-40B4-BE49-F238E27FC236}">
                  <a16:creationId xmlns:a16="http://schemas.microsoft.com/office/drawing/2014/main" id="{0D3CE055-DF71-4235-8A4E-097001D93CA2}"/>
                </a:ext>
              </a:extLst>
            </p:cNvPr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7681913" y="2832100"/>
              <a:ext cx="133350" cy="166688"/>
            </a:xfrm>
            <a:custGeom>
              <a:avLst/>
              <a:gdLst>
                <a:gd name="T0" fmla="*/ 112868 w 306"/>
                <a:gd name="T1" fmla="*/ 83084 h 321"/>
                <a:gd name="T2" fmla="*/ 109818 w 306"/>
                <a:gd name="T3" fmla="*/ 89835 h 321"/>
                <a:gd name="T4" fmla="*/ 105896 w 306"/>
                <a:gd name="T5" fmla="*/ 94508 h 321"/>
                <a:gd name="T6" fmla="*/ 101538 w 306"/>
                <a:gd name="T7" fmla="*/ 96586 h 321"/>
                <a:gd name="T8" fmla="*/ 97180 w 306"/>
                <a:gd name="T9" fmla="*/ 95547 h 321"/>
                <a:gd name="T10" fmla="*/ 93258 w 306"/>
                <a:gd name="T11" fmla="*/ 92431 h 321"/>
                <a:gd name="T12" fmla="*/ 91079 w 306"/>
                <a:gd name="T13" fmla="*/ 87758 h 321"/>
                <a:gd name="T14" fmla="*/ 89772 w 306"/>
                <a:gd name="T15" fmla="*/ 83084 h 321"/>
                <a:gd name="T16" fmla="*/ 91079 w 306"/>
                <a:gd name="T17" fmla="*/ 76853 h 321"/>
                <a:gd name="T18" fmla="*/ 92822 w 306"/>
                <a:gd name="T19" fmla="*/ 70622 h 321"/>
                <a:gd name="T20" fmla="*/ 100230 w 306"/>
                <a:gd name="T21" fmla="*/ 59198 h 321"/>
                <a:gd name="T22" fmla="*/ 107203 w 306"/>
                <a:gd name="T23" fmla="*/ 48293 h 321"/>
                <a:gd name="T24" fmla="*/ 108946 w 306"/>
                <a:gd name="T25" fmla="*/ 42581 h 321"/>
                <a:gd name="T26" fmla="*/ 110253 w 306"/>
                <a:gd name="T27" fmla="*/ 35830 h 321"/>
                <a:gd name="T28" fmla="*/ 56216 w 306"/>
                <a:gd name="T29" fmla="*/ 35311 h 321"/>
                <a:gd name="T30" fmla="*/ 51858 w 306"/>
                <a:gd name="T31" fmla="*/ 30637 h 321"/>
                <a:gd name="T32" fmla="*/ 48808 w 306"/>
                <a:gd name="T33" fmla="*/ 23367 h 321"/>
                <a:gd name="T34" fmla="*/ 47065 w 306"/>
                <a:gd name="T35" fmla="*/ 14540 h 321"/>
                <a:gd name="T36" fmla="*/ 44014 w 306"/>
                <a:gd name="T37" fmla="*/ 9866 h 321"/>
                <a:gd name="T38" fmla="*/ 39221 w 306"/>
                <a:gd name="T39" fmla="*/ 8828 h 321"/>
                <a:gd name="T40" fmla="*/ 34863 w 306"/>
                <a:gd name="T41" fmla="*/ 6231 h 321"/>
                <a:gd name="T42" fmla="*/ 32684 w 306"/>
                <a:gd name="T43" fmla="*/ 2077 h 321"/>
                <a:gd name="T44" fmla="*/ 28326 w 306"/>
                <a:gd name="T45" fmla="*/ 0 h 321"/>
                <a:gd name="T46" fmla="*/ 21353 w 306"/>
                <a:gd name="T47" fmla="*/ 0 h 321"/>
                <a:gd name="T48" fmla="*/ 14817 w 306"/>
                <a:gd name="T49" fmla="*/ 519 h 321"/>
                <a:gd name="T50" fmla="*/ 9587 w 306"/>
                <a:gd name="T51" fmla="*/ 2596 h 321"/>
                <a:gd name="T52" fmla="*/ 4358 w 306"/>
                <a:gd name="T53" fmla="*/ 7270 h 321"/>
                <a:gd name="T54" fmla="*/ 436 w 306"/>
                <a:gd name="T55" fmla="*/ 12982 h 321"/>
                <a:gd name="T56" fmla="*/ 872 w 306"/>
                <a:gd name="T57" fmla="*/ 18175 h 321"/>
                <a:gd name="T58" fmla="*/ 6537 w 306"/>
                <a:gd name="T59" fmla="*/ 23887 h 321"/>
                <a:gd name="T60" fmla="*/ 15252 w 306"/>
                <a:gd name="T61" fmla="*/ 30118 h 321"/>
                <a:gd name="T62" fmla="*/ 23532 w 306"/>
                <a:gd name="T63" fmla="*/ 34792 h 321"/>
                <a:gd name="T64" fmla="*/ 20482 w 306"/>
                <a:gd name="T65" fmla="*/ 41023 h 321"/>
                <a:gd name="T66" fmla="*/ 10895 w 306"/>
                <a:gd name="T67" fmla="*/ 50370 h 321"/>
                <a:gd name="T68" fmla="*/ 7408 w 306"/>
                <a:gd name="T69" fmla="*/ 55563 h 321"/>
                <a:gd name="T70" fmla="*/ 6101 w 306"/>
                <a:gd name="T71" fmla="*/ 59198 h 321"/>
                <a:gd name="T72" fmla="*/ 6101 w 306"/>
                <a:gd name="T73" fmla="*/ 63352 h 321"/>
                <a:gd name="T74" fmla="*/ 7844 w 306"/>
                <a:gd name="T75" fmla="*/ 66987 h 321"/>
                <a:gd name="T76" fmla="*/ 12202 w 306"/>
                <a:gd name="T77" fmla="*/ 73218 h 321"/>
                <a:gd name="T78" fmla="*/ 20482 w 306"/>
                <a:gd name="T79" fmla="*/ 81007 h 321"/>
                <a:gd name="T80" fmla="*/ 27890 w 306"/>
                <a:gd name="T81" fmla="*/ 85161 h 321"/>
                <a:gd name="T82" fmla="*/ 32684 w 306"/>
                <a:gd name="T83" fmla="*/ 86200 h 321"/>
                <a:gd name="T84" fmla="*/ 46629 w 306"/>
                <a:gd name="T85" fmla="*/ 140724 h 321"/>
                <a:gd name="T86" fmla="*/ 47065 w 306"/>
                <a:gd name="T87" fmla="*/ 136570 h 321"/>
                <a:gd name="T88" fmla="*/ 48808 w 306"/>
                <a:gd name="T89" fmla="*/ 132935 h 321"/>
                <a:gd name="T90" fmla="*/ 55345 w 306"/>
                <a:gd name="T91" fmla="*/ 127742 h 321"/>
                <a:gd name="T92" fmla="*/ 64496 w 306"/>
                <a:gd name="T93" fmla="*/ 124627 h 321"/>
                <a:gd name="T94" fmla="*/ 75826 w 306"/>
                <a:gd name="T95" fmla="*/ 122030 h 321"/>
                <a:gd name="T96" fmla="*/ 75826 w 306"/>
                <a:gd name="T97" fmla="*/ 109048 h 321"/>
                <a:gd name="T98" fmla="*/ 79749 w 306"/>
                <a:gd name="T99" fmla="*/ 110087 h 321"/>
                <a:gd name="T100" fmla="*/ 84106 w 306"/>
                <a:gd name="T101" fmla="*/ 110087 h 321"/>
                <a:gd name="T102" fmla="*/ 92822 w 306"/>
                <a:gd name="T103" fmla="*/ 109048 h 321"/>
                <a:gd name="T104" fmla="*/ 101102 w 306"/>
                <a:gd name="T105" fmla="*/ 135531 h 321"/>
                <a:gd name="T106" fmla="*/ 112868 w 306"/>
                <a:gd name="T107" fmla="*/ 166688 h 321"/>
                <a:gd name="T108" fmla="*/ 118533 w 306"/>
                <a:gd name="T109" fmla="*/ 161495 h 321"/>
                <a:gd name="T110" fmla="*/ 122891 w 306"/>
                <a:gd name="T111" fmla="*/ 156822 h 321"/>
                <a:gd name="T112" fmla="*/ 128556 w 306"/>
                <a:gd name="T113" fmla="*/ 145398 h 321"/>
                <a:gd name="T114" fmla="*/ 133350 w 306"/>
                <a:gd name="T115" fmla="*/ 122030 h 3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8" name="Freeform 276">
              <a:extLst>
                <a:ext uri="{FF2B5EF4-FFF2-40B4-BE49-F238E27FC236}">
                  <a16:creationId xmlns:a16="http://schemas.microsoft.com/office/drawing/2014/main" id="{70D0F4EA-831E-45F6-A9B9-163C7B345C79}"/>
                </a:ext>
              </a:extLst>
            </p:cNvPr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7999413" y="2947989"/>
              <a:ext cx="201612" cy="269875"/>
            </a:xfrm>
            <a:custGeom>
              <a:avLst/>
              <a:gdLst>
                <a:gd name="T0" fmla="*/ 40237 w 471"/>
                <a:gd name="T1" fmla="*/ 6252 h 518"/>
                <a:gd name="T2" fmla="*/ 28679 w 471"/>
                <a:gd name="T3" fmla="*/ 16672 h 518"/>
                <a:gd name="T4" fmla="*/ 17122 w 471"/>
                <a:gd name="T5" fmla="*/ 25529 h 518"/>
                <a:gd name="T6" fmla="*/ 11557 w 471"/>
                <a:gd name="T7" fmla="*/ 42722 h 518"/>
                <a:gd name="T8" fmla="*/ 3424 w 471"/>
                <a:gd name="T9" fmla="*/ 61477 h 518"/>
                <a:gd name="T10" fmla="*/ 2996 w 471"/>
                <a:gd name="T11" fmla="*/ 70855 h 518"/>
                <a:gd name="T12" fmla="*/ 12842 w 471"/>
                <a:gd name="T13" fmla="*/ 79712 h 518"/>
                <a:gd name="T14" fmla="*/ 21403 w 471"/>
                <a:gd name="T15" fmla="*/ 87527 h 518"/>
                <a:gd name="T16" fmla="*/ 26539 w 471"/>
                <a:gd name="T17" fmla="*/ 89611 h 518"/>
                <a:gd name="T18" fmla="*/ 32104 w 471"/>
                <a:gd name="T19" fmla="*/ 109930 h 518"/>
                <a:gd name="T20" fmla="*/ 35956 w 471"/>
                <a:gd name="T21" fmla="*/ 141710 h 518"/>
                <a:gd name="T22" fmla="*/ 40237 w 471"/>
                <a:gd name="T23" fmla="*/ 155777 h 518"/>
                <a:gd name="T24" fmla="*/ 44517 w 471"/>
                <a:gd name="T25" fmla="*/ 157340 h 518"/>
                <a:gd name="T26" fmla="*/ 47942 w 471"/>
                <a:gd name="T27" fmla="*/ 154735 h 518"/>
                <a:gd name="T28" fmla="*/ 54791 w 471"/>
                <a:gd name="T29" fmla="*/ 139626 h 518"/>
                <a:gd name="T30" fmla="*/ 62067 w 471"/>
                <a:gd name="T31" fmla="*/ 136500 h 518"/>
                <a:gd name="T32" fmla="*/ 68488 w 471"/>
                <a:gd name="T33" fmla="*/ 141710 h 518"/>
                <a:gd name="T34" fmla="*/ 74053 w 471"/>
                <a:gd name="T35" fmla="*/ 144315 h 518"/>
                <a:gd name="T36" fmla="*/ 78333 w 471"/>
                <a:gd name="T37" fmla="*/ 142752 h 518"/>
                <a:gd name="T38" fmla="*/ 82186 w 471"/>
                <a:gd name="T39" fmla="*/ 134938 h 518"/>
                <a:gd name="T40" fmla="*/ 86894 w 471"/>
                <a:gd name="T41" fmla="*/ 127123 h 518"/>
                <a:gd name="T42" fmla="*/ 90747 w 471"/>
                <a:gd name="T43" fmla="*/ 125560 h 518"/>
                <a:gd name="T44" fmla="*/ 103160 w 471"/>
                <a:gd name="T45" fmla="*/ 128686 h 518"/>
                <a:gd name="T46" fmla="*/ 110865 w 471"/>
                <a:gd name="T47" fmla="*/ 141189 h 518"/>
                <a:gd name="T48" fmla="*/ 131840 w 471"/>
                <a:gd name="T49" fmla="*/ 175054 h 518"/>
                <a:gd name="T50" fmla="*/ 145965 w 471"/>
                <a:gd name="T51" fmla="*/ 199020 h 518"/>
                <a:gd name="T52" fmla="*/ 153242 w 471"/>
                <a:gd name="T53" fmla="*/ 218297 h 518"/>
                <a:gd name="T54" fmla="*/ 156667 w 471"/>
                <a:gd name="T55" fmla="*/ 238094 h 518"/>
                <a:gd name="T56" fmla="*/ 153670 w 471"/>
                <a:gd name="T57" fmla="*/ 244867 h 518"/>
                <a:gd name="T58" fmla="*/ 145109 w 471"/>
                <a:gd name="T59" fmla="*/ 253724 h 518"/>
                <a:gd name="T60" fmla="*/ 155382 w 471"/>
                <a:gd name="T61" fmla="*/ 258413 h 518"/>
                <a:gd name="T62" fmla="*/ 167796 w 471"/>
                <a:gd name="T63" fmla="*/ 269875 h 518"/>
                <a:gd name="T64" fmla="*/ 171648 w 471"/>
                <a:gd name="T65" fmla="*/ 259976 h 518"/>
                <a:gd name="T66" fmla="*/ 176785 w 471"/>
                <a:gd name="T67" fmla="*/ 254766 h 518"/>
                <a:gd name="T68" fmla="*/ 190055 w 471"/>
                <a:gd name="T69" fmla="*/ 251640 h 518"/>
                <a:gd name="T70" fmla="*/ 200328 w 471"/>
                <a:gd name="T71" fmla="*/ 228195 h 518"/>
                <a:gd name="T72" fmla="*/ 192195 w 471"/>
                <a:gd name="T73" fmla="*/ 201625 h 518"/>
                <a:gd name="T74" fmla="*/ 180209 w 471"/>
                <a:gd name="T75" fmla="*/ 180785 h 518"/>
                <a:gd name="T76" fmla="*/ 147678 w 471"/>
                <a:gd name="T77" fmla="*/ 144315 h 518"/>
                <a:gd name="T78" fmla="*/ 119426 w 471"/>
                <a:gd name="T79" fmla="*/ 113577 h 518"/>
                <a:gd name="T80" fmla="*/ 95883 w 471"/>
                <a:gd name="T81" fmla="*/ 84401 h 518"/>
                <a:gd name="T82" fmla="*/ 76621 w 471"/>
                <a:gd name="T83" fmla="*/ 54704 h 518"/>
                <a:gd name="T84" fmla="*/ 54362 w 471"/>
                <a:gd name="T85" fmla="*/ 20840 h 518"/>
                <a:gd name="T86" fmla="*/ 49226 w 471"/>
                <a:gd name="T87" fmla="*/ 7294 h 51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9" name="Freeform 277">
              <a:extLst>
                <a:ext uri="{FF2B5EF4-FFF2-40B4-BE49-F238E27FC236}">
                  <a16:creationId xmlns:a16="http://schemas.microsoft.com/office/drawing/2014/main" id="{B3C0D6C9-8CF0-4DF6-BE24-93C43FEF7C8F}"/>
                </a:ext>
              </a:extLst>
            </p:cNvPr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8081963" y="3198814"/>
              <a:ext cx="133350" cy="130175"/>
            </a:xfrm>
            <a:custGeom>
              <a:avLst/>
              <a:gdLst>
                <a:gd name="T0" fmla="*/ 69178 w 293"/>
                <a:gd name="T1" fmla="*/ 10054 h 246"/>
                <a:gd name="T2" fmla="*/ 81466 w 293"/>
                <a:gd name="T3" fmla="*/ 15875 h 246"/>
                <a:gd name="T4" fmla="*/ 89203 w 293"/>
                <a:gd name="T5" fmla="*/ 15875 h 246"/>
                <a:gd name="T6" fmla="*/ 91934 w 293"/>
                <a:gd name="T7" fmla="*/ 9525 h 246"/>
                <a:gd name="T8" fmla="*/ 95575 w 293"/>
                <a:gd name="T9" fmla="*/ 5292 h 246"/>
                <a:gd name="T10" fmla="*/ 99671 w 293"/>
                <a:gd name="T11" fmla="*/ 3175 h 246"/>
                <a:gd name="T12" fmla="*/ 111504 w 293"/>
                <a:gd name="T13" fmla="*/ 1058 h 246"/>
                <a:gd name="T14" fmla="*/ 133350 w 293"/>
                <a:gd name="T15" fmla="*/ 42333 h 246"/>
                <a:gd name="T16" fmla="*/ 121062 w 293"/>
                <a:gd name="T17" fmla="*/ 56621 h 246"/>
                <a:gd name="T18" fmla="*/ 107863 w 293"/>
                <a:gd name="T19" fmla="*/ 74613 h 246"/>
                <a:gd name="T20" fmla="*/ 102402 w 293"/>
                <a:gd name="T21" fmla="*/ 84138 h 246"/>
                <a:gd name="T22" fmla="*/ 97851 w 293"/>
                <a:gd name="T23" fmla="*/ 94192 h 246"/>
                <a:gd name="T24" fmla="*/ 95120 w 293"/>
                <a:gd name="T25" fmla="*/ 104246 h 246"/>
                <a:gd name="T26" fmla="*/ 93755 w 293"/>
                <a:gd name="T27" fmla="*/ 114300 h 246"/>
                <a:gd name="T28" fmla="*/ 89203 w 293"/>
                <a:gd name="T29" fmla="*/ 114829 h 246"/>
                <a:gd name="T30" fmla="*/ 84652 w 293"/>
                <a:gd name="T31" fmla="*/ 116417 h 246"/>
                <a:gd name="T32" fmla="*/ 77370 w 293"/>
                <a:gd name="T33" fmla="*/ 121179 h 246"/>
                <a:gd name="T34" fmla="*/ 70088 w 293"/>
                <a:gd name="T35" fmla="*/ 126471 h 246"/>
                <a:gd name="T36" fmla="*/ 60531 w 293"/>
                <a:gd name="T37" fmla="*/ 130175 h 246"/>
                <a:gd name="T38" fmla="*/ 46422 w 293"/>
                <a:gd name="T39" fmla="*/ 127000 h 246"/>
                <a:gd name="T40" fmla="*/ 32313 w 293"/>
                <a:gd name="T41" fmla="*/ 122767 h 246"/>
                <a:gd name="T42" fmla="*/ 26852 w 293"/>
                <a:gd name="T43" fmla="*/ 119592 h 246"/>
                <a:gd name="T44" fmla="*/ 22301 w 293"/>
                <a:gd name="T45" fmla="*/ 116417 h 246"/>
                <a:gd name="T46" fmla="*/ 19570 w 293"/>
                <a:gd name="T47" fmla="*/ 112183 h 246"/>
                <a:gd name="T48" fmla="*/ 18660 w 293"/>
                <a:gd name="T49" fmla="*/ 107950 h 246"/>
                <a:gd name="T50" fmla="*/ 21391 w 293"/>
                <a:gd name="T51" fmla="*/ 94192 h 246"/>
                <a:gd name="T52" fmla="*/ 20480 w 293"/>
                <a:gd name="T53" fmla="*/ 85725 h 246"/>
                <a:gd name="T54" fmla="*/ 18205 w 293"/>
                <a:gd name="T55" fmla="*/ 77788 h 246"/>
                <a:gd name="T56" fmla="*/ 10923 w 293"/>
                <a:gd name="T57" fmla="*/ 62971 h 246"/>
                <a:gd name="T58" fmla="*/ 3641 w 293"/>
                <a:gd name="T59" fmla="*/ 48154 h 246"/>
                <a:gd name="T60" fmla="*/ 910 w 293"/>
                <a:gd name="T61" fmla="*/ 39158 h 246"/>
                <a:gd name="T62" fmla="*/ 0 w 293"/>
                <a:gd name="T63" fmla="*/ 29104 h 246"/>
                <a:gd name="T64" fmla="*/ 910 w 293"/>
                <a:gd name="T65" fmla="*/ 23813 h 246"/>
                <a:gd name="T66" fmla="*/ 3641 w 293"/>
                <a:gd name="T67" fmla="*/ 19050 h 246"/>
                <a:gd name="T68" fmla="*/ 7737 w 293"/>
                <a:gd name="T69" fmla="*/ 15346 h 246"/>
                <a:gd name="T70" fmla="*/ 11833 w 293"/>
                <a:gd name="T71" fmla="*/ 11642 h 246"/>
                <a:gd name="T72" fmla="*/ 21846 w 293"/>
                <a:gd name="T73" fmla="*/ 7408 h 246"/>
                <a:gd name="T74" fmla="*/ 30493 w 293"/>
                <a:gd name="T75" fmla="*/ 6350 h 246"/>
                <a:gd name="T76" fmla="*/ 43691 w 293"/>
                <a:gd name="T77" fmla="*/ 6350 h 246"/>
                <a:gd name="T78" fmla="*/ 60531 w 293"/>
                <a:gd name="T79" fmla="*/ 6350 h 2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60" name="Freeform 278">
              <a:extLst>
                <a:ext uri="{FF2B5EF4-FFF2-40B4-BE49-F238E27FC236}">
                  <a16:creationId xmlns:a16="http://schemas.microsoft.com/office/drawing/2014/main" id="{450435BA-DD2D-4BA5-8952-DB2FB2535FC5}"/>
                </a:ext>
              </a:extLst>
            </p:cNvPr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8483601" y="2435226"/>
              <a:ext cx="85725" cy="130175"/>
            </a:xfrm>
            <a:custGeom>
              <a:avLst/>
              <a:gdLst>
                <a:gd name="T0" fmla="*/ 7715 w 200"/>
                <a:gd name="T1" fmla="*/ 21696 h 246"/>
                <a:gd name="T2" fmla="*/ 12002 w 200"/>
                <a:gd name="T3" fmla="*/ 13758 h 246"/>
                <a:gd name="T4" fmla="*/ 16288 w 200"/>
                <a:gd name="T5" fmla="*/ 8467 h 246"/>
                <a:gd name="T6" fmla="*/ 21431 w 200"/>
                <a:gd name="T7" fmla="*/ 4763 h 246"/>
                <a:gd name="T8" fmla="*/ 31290 w 200"/>
                <a:gd name="T9" fmla="*/ 529 h 246"/>
                <a:gd name="T10" fmla="*/ 37719 w 200"/>
                <a:gd name="T11" fmla="*/ 6350 h 246"/>
                <a:gd name="T12" fmla="*/ 46292 w 200"/>
                <a:gd name="T13" fmla="*/ 17992 h 246"/>
                <a:gd name="T14" fmla="*/ 53578 w 200"/>
                <a:gd name="T15" fmla="*/ 26458 h 246"/>
                <a:gd name="T16" fmla="*/ 59579 w 200"/>
                <a:gd name="T17" fmla="*/ 30692 h 246"/>
                <a:gd name="T18" fmla="*/ 65151 w 200"/>
                <a:gd name="T19" fmla="*/ 33867 h 246"/>
                <a:gd name="T20" fmla="*/ 71152 w 200"/>
                <a:gd name="T21" fmla="*/ 35454 h 246"/>
                <a:gd name="T22" fmla="*/ 78867 w 200"/>
                <a:gd name="T23" fmla="*/ 50800 h 246"/>
                <a:gd name="T24" fmla="*/ 83582 w 200"/>
                <a:gd name="T25" fmla="*/ 72496 h 246"/>
                <a:gd name="T26" fmla="*/ 85296 w 200"/>
                <a:gd name="T27" fmla="*/ 87313 h 246"/>
                <a:gd name="T28" fmla="*/ 85725 w 200"/>
                <a:gd name="T29" fmla="*/ 97896 h 246"/>
                <a:gd name="T30" fmla="*/ 84868 w 200"/>
                <a:gd name="T31" fmla="*/ 104246 h 246"/>
                <a:gd name="T32" fmla="*/ 83582 w 200"/>
                <a:gd name="T33" fmla="*/ 109537 h 246"/>
                <a:gd name="T34" fmla="*/ 81010 w 200"/>
                <a:gd name="T35" fmla="*/ 113242 h 246"/>
                <a:gd name="T36" fmla="*/ 76724 w 200"/>
                <a:gd name="T37" fmla="*/ 116417 h 246"/>
                <a:gd name="T38" fmla="*/ 70295 w 200"/>
                <a:gd name="T39" fmla="*/ 118533 h 246"/>
                <a:gd name="T40" fmla="*/ 60008 w 200"/>
                <a:gd name="T41" fmla="*/ 118533 h 246"/>
                <a:gd name="T42" fmla="*/ 50578 w 200"/>
                <a:gd name="T43" fmla="*/ 121179 h 246"/>
                <a:gd name="T44" fmla="*/ 47577 w 200"/>
                <a:gd name="T45" fmla="*/ 124354 h 246"/>
                <a:gd name="T46" fmla="*/ 46292 w 200"/>
                <a:gd name="T47" fmla="*/ 128058 h 246"/>
                <a:gd name="T48" fmla="*/ 42005 w 200"/>
                <a:gd name="T49" fmla="*/ 129646 h 246"/>
                <a:gd name="T50" fmla="*/ 36433 w 200"/>
                <a:gd name="T51" fmla="*/ 127000 h 246"/>
                <a:gd name="T52" fmla="*/ 33004 w 200"/>
                <a:gd name="T53" fmla="*/ 121708 h 246"/>
                <a:gd name="T54" fmla="*/ 31290 w 200"/>
                <a:gd name="T55" fmla="*/ 114300 h 246"/>
                <a:gd name="T56" fmla="*/ 30861 w 200"/>
                <a:gd name="T57" fmla="*/ 101600 h 246"/>
                <a:gd name="T58" fmla="*/ 30432 w 200"/>
                <a:gd name="T59" fmla="*/ 88900 h 246"/>
                <a:gd name="T60" fmla="*/ 29575 w 200"/>
                <a:gd name="T61" fmla="*/ 81492 h 246"/>
                <a:gd name="T62" fmla="*/ 27432 w 200"/>
                <a:gd name="T63" fmla="*/ 75142 h 246"/>
                <a:gd name="T64" fmla="*/ 24003 w 200"/>
                <a:gd name="T65" fmla="*/ 70908 h 246"/>
                <a:gd name="T66" fmla="*/ 17145 w 200"/>
                <a:gd name="T67" fmla="*/ 66146 h 246"/>
                <a:gd name="T68" fmla="*/ 7715 w 200"/>
                <a:gd name="T69" fmla="*/ 60854 h 246"/>
                <a:gd name="T70" fmla="*/ 2572 w 200"/>
                <a:gd name="T71" fmla="*/ 56092 h 246"/>
                <a:gd name="T72" fmla="*/ 429 w 200"/>
                <a:gd name="T73" fmla="*/ 51858 h 246"/>
                <a:gd name="T74" fmla="*/ 429 w 200"/>
                <a:gd name="T75" fmla="*/ 46038 h 246"/>
                <a:gd name="T76" fmla="*/ 2143 w 200"/>
                <a:gd name="T77" fmla="*/ 41275 h 246"/>
                <a:gd name="T78" fmla="*/ 4286 w 200"/>
                <a:gd name="T79" fmla="*/ 35983 h 246"/>
                <a:gd name="T80" fmla="*/ 5572 w 200"/>
                <a:gd name="T81" fmla="*/ 29633 h 24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61" name="Freeform 279">
              <a:extLst>
                <a:ext uri="{FF2B5EF4-FFF2-40B4-BE49-F238E27FC236}">
                  <a16:creationId xmlns:a16="http://schemas.microsoft.com/office/drawing/2014/main" id="{9AA39656-0BD9-448E-809A-F4C9663447E0}"/>
                </a:ext>
              </a:extLst>
            </p:cNvPr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9051926" y="3732213"/>
              <a:ext cx="231775" cy="254000"/>
            </a:xfrm>
            <a:custGeom>
              <a:avLst/>
              <a:gdLst>
                <a:gd name="T0" fmla="*/ 39204 w 538"/>
                <a:gd name="T1" fmla="*/ 10953 h 487"/>
                <a:gd name="T2" fmla="*/ 68929 w 538"/>
                <a:gd name="T3" fmla="*/ 24513 h 487"/>
                <a:gd name="T4" fmla="*/ 87023 w 538"/>
                <a:gd name="T5" fmla="*/ 36509 h 487"/>
                <a:gd name="T6" fmla="*/ 108995 w 538"/>
                <a:gd name="T7" fmla="*/ 57372 h 487"/>
                <a:gd name="T8" fmla="*/ 129243 w 538"/>
                <a:gd name="T9" fmla="*/ 70932 h 487"/>
                <a:gd name="T10" fmla="*/ 128812 w 538"/>
                <a:gd name="T11" fmla="*/ 83971 h 487"/>
                <a:gd name="T12" fmla="*/ 149491 w 538"/>
                <a:gd name="T13" fmla="*/ 106920 h 487"/>
                <a:gd name="T14" fmla="*/ 169308 w 538"/>
                <a:gd name="T15" fmla="*/ 129347 h 487"/>
                <a:gd name="T16" fmla="*/ 163276 w 538"/>
                <a:gd name="T17" fmla="*/ 130390 h 487"/>
                <a:gd name="T18" fmla="*/ 160261 w 538"/>
                <a:gd name="T19" fmla="*/ 133520 h 487"/>
                <a:gd name="T20" fmla="*/ 160261 w 538"/>
                <a:gd name="T21" fmla="*/ 144994 h 487"/>
                <a:gd name="T22" fmla="*/ 162415 w 538"/>
                <a:gd name="T23" fmla="*/ 156990 h 487"/>
                <a:gd name="T24" fmla="*/ 167585 w 538"/>
                <a:gd name="T25" fmla="*/ 169507 h 487"/>
                <a:gd name="T26" fmla="*/ 175339 w 538"/>
                <a:gd name="T27" fmla="*/ 181503 h 487"/>
                <a:gd name="T28" fmla="*/ 184386 w 538"/>
                <a:gd name="T29" fmla="*/ 190891 h 487"/>
                <a:gd name="T30" fmla="*/ 194295 w 538"/>
                <a:gd name="T31" fmla="*/ 196107 h 487"/>
                <a:gd name="T32" fmla="*/ 198603 w 538"/>
                <a:gd name="T33" fmla="*/ 203409 h 487"/>
                <a:gd name="T34" fmla="*/ 203342 w 538"/>
                <a:gd name="T35" fmla="*/ 211754 h 487"/>
                <a:gd name="T36" fmla="*/ 210665 w 538"/>
                <a:gd name="T37" fmla="*/ 217491 h 487"/>
                <a:gd name="T38" fmla="*/ 221005 w 538"/>
                <a:gd name="T39" fmla="*/ 225314 h 487"/>
                <a:gd name="T40" fmla="*/ 223159 w 538"/>
                <a:gd name="T41" fmla="*/ 231573 h 487"/>
                <a:gd name="T42" fmla="*/ 226174 w 538"/>
                <a:gd name="T43" fmla="*/ 234702 h 487"/>
                <a:gd name="T44" fmla="*/ 231775 w 538"/>
                <a:gd name="T45" fmla="*/ 237832 h 487"/>
                <a:gd name="T46" fmla="*/ 230052 w 538"/>
                <a:gd name="T47" fmla="*/ 246177 h 487"/>
                <a:gd name="T48" fmla="*/ 223590 w 538"/>
                <a:gd name="T49" fmla="*/ 252435 h 487"/>
                <a:gd name="T50" fmla="*/ 211096 w 538"/>
                <a:gd name="T51" fmla="*/ 254000 h 487"/>
                <a:gd name="T52" fmla="*/ 193002 w 538"/>
                <a:gd name="T53" fmla="*/ 250349 h 487"/>
                <a:gd name="T54" fmla="*/ 178355 w 538"/>
                <a:gd name="T55" fmla="*/ 243047 h 487"/>
                <a:gd name="T56" fmla="*/ 166292 w 538"/>
                <a:gd name="T57" fmla="*/ 232616 h 487"/>
                <a:gd name="T58" fmla="*/ 152937 w 538"/>
                <a:gd name="T59" fmla="*/ 216448 h 487"/>
                <a:gd name="T60" fmla="*/ 134412 w 538"/>
                <a:gd name="T61" fmla="*/ 190370 h 487"/>
                <a:gd name="T62" fmla="*/ 118042 w 538"/>
                <a:gd name="T63" fmla="*/ 172115 h 487"/>
                <a:gd name="T64" fmla="*/ 105979 w 538"/>
                <a:gd name="T65" fmla="*/ 164813 h 487"/>
                <a:gd name="T66" fmla="*/ 91331 w 538"/>
                <a:gd name="T67" fmla="*/ 161162 h 487"/>
                <a:gd name="T68" fmla="*/ 77546 w 538"/>
                <a:gd name="T69" fmla="*/ 161684 h 487"/>
                <a:gd name="T70" fmla="*/ 65914 w 538"/>
                <a:gd name="T71" fmla="*/ 165335 h 487"/>
                <a:gd name="T72" fmla="*/ 48681 w 538"/>
                <a:gd name="T73" fmla="*/ 179938 h 487"/>
                <a:gd name="T74" fmla="*/ 58590 w 538"/>
                <a:gd name="T75" fmla="*/ 188283 h 487"/>
                <a:gd name="T76" fmla="*/ 60313 w 538"/>
                <a:gd name="T77" fmla="*/ 192977 h 487"/>
                <a:gd name="T78" fmla="*/ 53420 w 538"/>
                <a:gd name="T79" fmla="*/ 209146 h 487"/>
                <a:gd name="T80" fmla="*/ 48681 w 538"/>
                <a:gd name="T81" fmla="*/ 215926 h 487"/>
                <a:gd name="T82" fmla="*/ 20248 w 538"/>
                <a:gd name="T83" fmla="*/ 210189 h 487"/>
                <a:gd name="T84" fmla="*/ 8616 w 538"/>
                <a:gd name="T85" fmla="*/ 135084 h 487"/>
                <a:gd name="T86" fmla="*/ 8616 w 538"/>
                <a:gd name="T87" fmla="*/ 0 h 48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62" name="Freeform 280">
              <a:extLst>
                <a:ext uri="{FF2B5EF4-FFF2-40B4-BE49-F238E27FC236}">
                  <a16:creationId xmlns:a16="http://schemas.microsoft.com/office/drawing/2014/main" id="{6AE46661-F6B6-479E-AD2B-B034BD90043D}"/>
                </a:ext>
              </a:extLst>
            </p:cNvPr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9244013" y="3716339"/>
              <a:ext cx="106362" cy="128587"/>
            </a:xfrm>
            <a:custGeom>
              <a:avLst/>
              <a:gdLst>
                <a:gd name="T0" fmla="*/ 57175 w 253"/>
                <a:gd name="T1" fmla="*/ 523 h 246"/>
                <a:gd name="T2" fmla="*/ 66003 w 253"/>
                <a:gd name="T3" fmla="*/ 4182 h 246"/>
                <a:gd name="T4" fmla="*/ 75252 w 253"/>
                <a:gd name="T5" fmla="*/ 10977 h 246"/>
                <a:gd name="T6" fmla="*/ 83660 w 253"/>
                <a:gd name="T7" fmla="*/ 19340 h 246"/>
                <a:gd name="T8" fmla="*/ 91648 w 253"/>
                <a:gd name="T9" fmla="*/ 29795 h 246"/>
                <a:gd name="T10" fmla="*/ 98374 w 253"/>
                <a:gd name="T11" fmla="*/ 39726 h 246"/>
                <a:gd name="T12" fmla="*/ 102999 w 253"/>
                <a:gd name="T13" fmla="*/ 49135 h 246"/>
                <a:gd name="T14" fmla="*/ 105942 w 253"/>
                <a:gd name="T15" fmla="*/ 58021 h 246"/>
                <a:gd name="T16" fmla="*/ 105942 w 253"/>
                <a:gd name="T17" fmla="*/ 66907 h 246"/>
                <a:gd name="T18" fmla="*/ 102158 w 253"/>
                <a:gd name="T19" fmla="*/ 78929 h 246"/>
                <a:gd name="T20" fmla="*/ 96272 w 253"/>
                <a:gd name="T21" fmla="*/ 90952 h 246"/>
                <a:gd name="T22" fmla="*/ 87864 w 253"/>
                <a:gd name="T23" fmla="*/ 101929 h 246"/>
                <a:gd name="T24" fmla="*/ 77354 w 253"/>
                <a:gd name="T25" fmla="*/ 111860 h 246"/>
                <a:gd name="T26" fmla="*/ 66003 w 253"/>
                <a:gd name="T27" fmla="*/ 119701 h 246"/>
                <a:gd name="T28" fmla="*/ 54232 w 253"/>
                <a:gd name="T29" fmla="*/ 125451 h 246"/>
                <a:gd name="T30" fmla="*/ 42040 w 253"/>
                <a:gd name="T31" fmla="*/ 128064 h 246"/>
                <a:gd name="T32" fmla="*/ 31110 w 253"/>
                <a:gd name="T33" fmla="*/ 128064 h 246"/>
                <a:gd name="T34" fmla="*/ 22281 w 253"/>
                <a:gd name="T35" fmla="*/ 125451 h 246"/>
                <a:gd name="T36" fmla="*/ 13873 w 253"/>
                <a:gd name="T37" fmla="*/ 122314 h 246"/>
                <a:gd name="T38" fmla="*/ 4624 w 253"/>
                <a:gd name="T39" fmla="*/ 119701 h 246"/>
                <a:gd name="T40" fmla="*/ 1261 w 253"/>
                <a:gd name="T41" fmla="*/ 114474 h 246"/>
                <a:gd name="T42" fmla="*/ 4204 w 253"/>
                <a:gd name="T43" fmla="*/ 107156 h 246"/>
                <a:gd name="T44" fmla="*/ 9249 w 253"/>
                <a:gd name="T45" fmla="*/ 102451 h 246"/>
                <a:gd name="T46" fmla="*/ 15555 w 253"/>
                <a:gd name="T47" fmla="*/ 99838 h 246"/>
                <a:gd name="T48" fmla="*/ 21020 w 253"/>
                <a:gd name="T49" fmla="*/ 102974 h 246"/>
                <a:gd name="T50" fmla="*/ 25224 w 253"/>
                <a:gd name="T51" fmla="*/ 108201 h 246"/>
                <a:gd name="T52" fmla="*/ 28587 w 253"/>
                <a:gd name="T53" fmla="*/ 105065 h 246"/>
                <a:gd name="T54" fmla="*/ 31530 w 253"/>
                <a:gd name="T55" fmla="*/ 99315 h 246"/>
                <a:gd name="T56" fmla="*/ 35314 w 253"/>
                <a:gd name="T57" fmla="*/ 94088 h 246"/>
                <a:gd name="T58" fmla="*/ 38257 w 253"/>
                <a:gd name="T59" fmla="*/ 94611 h 246"/>
                <a:gd name="T60" fmla="*/ 41200 w 253"/>
                <a:gd name="T61" fmla="*/ 93565 h 246"/>
                <a:gd name="T62" fmla="*/ 44563 w 253"/>
                <a:gd name="T63" fmla="*/ 93043 h 246"/>
                <a:gd name="T64" fmla="*/ 50448 w 253"/>
                <a:gd name="T65" fmla="*/ 90952 h 246"/>
                <a:gd name="T66" fmla="*/ 62640 w 253"/>
                <a:gd name="T67" fmla="*/ 85725 h 246"/>
                <a:gd name="T68" fmla="*/ 75252 w 253"/>
                <a:gd name="T69" fmla="*/ 76839 h 246"/>
                <a:gd name="T70" fmla="*/ 82819 w 253"/>
                <a:gd name="T71" fmla="*/ 70566 h 246"/>
                <a:gd name="T72" fmla="*/ 88285 w 253"/>
                <a:gd name="T73" fmla="*/ 64294 h 246"/>
                <a:gd name="T74" fmla="*/ 91648 w 253"/>
                <a:gd name="T75" fmla="*/ 58021 h 246"/>
                <a:gd name="T76" fmla="*/ 92068 w 253"/>
                <a:gd name="T77" fmla="*/ 51226 h 246"/>
                <a:gd name="T78" fmla="*/ 89966 w 253"/>
                <a:gd name="T79" fmla="*/ 45999 h 246"/>
                <a:gd name="T80" fmla="*/ 88285 w 253"/>
                <a:gd name="T81" fmla="*/ 41817 h 246"/>
                <a:gd name="T82" fmla="*/ 87023 w 253"/>
                <a:gd name="T83" fmla="*/ 37635 h 246"/>
                <a:gd name="T84" fmla="*/ 84501 w 253"/>
                <a:gd name="T85" fmla="*/ 35022 h 246"/>
                <a:gd name="T86" fmla="*/ 80297 w 253"/>
                <a:gd name="T87" fmla="*/ 33976 h 246"/>
                <a:gd name="T88" fmla="*/ 77354 w 253"/>
                <a:gd name="T89" fmla="*/ 31885 h 246"/>
                <a:gd name="T90" fmla="*/ 75673 w 253"/>
                <a:gd name="T91" fmla="*/ 28226 h 246"/>
                <a:gd name="T92" fmla="*/ 58856 w 253"/>
                <a:gd name="T93" fmla="*/ 25613 h 246"/>
                <a:gd name="T94" fmla="*/ 57175 w 253"/>
                <a:gd name="T95" fmla="*/ 22999 h 246"/>
                <a:gd name="T96" fmla="*/ 57175 w 253"/>
                <a:gd name="T97" fmla="*/ 18818 h 246"/>
                <a:gd name="T98" fmla="*/ 58856 w 253"/>
                <a:gd name="T99" fmla="*/ 9409 h 246"/>
                <a:gd name="T100" fmla="*/ 46244 w 253"/>
                <a:gd name="T101" fmla="*/ 5750 h 246"/>
                <a:gd name="T102" fmla="*/ 40779 w 253"/>
                <a:gd name="T103" fmla="*/ 6273 h 246"/>
                <a:gd name="T104" fmla="*/ 36155 w 253"/>
                <a:gd name="T105" fmla="*/ 9409 h 246"/>
                <a:gd name="T106" fmla="*/ 43722 w 253"/>
                <a:gd name="T107" fmla="*/ 2614 h 246"/>
                <a:gd name="T108" fmla="*/ 47506 w 253"/>
                <a:gd name="T109" fmla="*/ 523 h 246"/>
                <a:gd name="T110" fmla="*/ 53391 w 253"/>
                <a:gd name="T111" fmla="*/ 0 h 24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63" name="Freeform 281">
              <a:extLst>
                <a:ext uri="{FF2B5EF4-FFF2-40B4-BE49-F238E27FC236}">
                  <a16:creationId xmlns:a16="http://schemas.microsoft.com/office/drawing/2014/main" id="{391B762C-9B55-449E-A435-C8CA8C8E76E4}"/>
                </a:ext>
              </a:extLst>
            </p:cNvPr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7519988" y="3349626"/>
              <a:ext cx="63500" cy="119063"/>
            </a:xfrm>
            <a:custGeom>
              <a:avLst/>
              <a:gdLst>
                <a:gd name="T0" fmla="*/ 18465 w 141"/>
                <a:gd name="T1" fmla="*/ 119063 h 228"/>
                <a:gd name="T2" fmla="*/ 16213 w 141"/>
                <a:gd name="T3" fmla="*/ 114885 h 228"/>
                <a:gd name="T4" fmla="*/ 13060 w 141"/>
                <a:gd name="T5" fmla="*/ 108619 h 228"/>
                <a:gd name="T6" fmla="*/ 9908 w 141"/>
                <a:gd name="T7" fmla="*/ 101308 h 228"/>
                <a:gd name="T8" fmla="*/ 7206 w 141"/>
                <a:gd name="T9" fmla="*/ 92953 h 228"/>
                <a:gd name="T10" fmla="*/ 4504 w 141"/>
                <a:gd name="T11" fmla="*/ 85120 h 228"/>
                <a:gd name="T12" fmla="*/ 2252 w 141"/>
                <a:gd name="T13" fmla="*/ 77287 h 228"/>
                <a:gd name="T14" fmla="*/ 901 w 141"/>
                <a:gd name="T15" fmla="*/ 70498 h 228"/>
                <a:gd name="T16" fmla="*/ 0 w 141"/>
                <a:gd name="T17" fmla="*/ 64231 h 228"/>
                <a:gd name="T18" fmla="*/ 901 w 141"/>
                <a:gd name="T19" fmla="*/ 54309 h 228"/>
                <a:gd name="T20" fmla="*/ 1801 w 141"/>
                <a:gd name="T21" fmla="*/ 45432 h 228"/>
                <a:gd name="T22" fmla="*/ 2702 w 141"/>
                <a:gd name="T23" fmla="*/ 36554 h 228"/>
                <a:gd name="T24" fmla="*/ 4053 w 141"/>
                <a:gd name="T25" fmla="*/ 28721 h 228"/>
                <a:gd name="T26" fmla="*/ 8106 w 141"/>
                <a:gd name="T27" fmla="*/ 14622 h 228"/>
                <a:gd name="T28" fmla="*/ 12610 w 141"/>
                <a:gd name="T29" fmla="*/ 0 h 228"/>
                <a:gd name="T30" fmla="*/ 20266 w 141"/>
                <a:gd name="T31" fmla="*/ 8355 h 228"/>
                <a:gd name="T32" fmla="*/ 27922 w 141"/>
                <a:gd name="T33" fmla="*/ 14622 h 228"/>
                <a:gd name="T34" fmla="*/ 34227 w 141"/>
                <a:gd name="T35" fmla="*/ 19322 h 228"/>
                <a:gd name="T36" fmla="*/ 40082 w 141"/>
                <a:gd name="T37" fmla="*/ 25066 h 228"/>
                <a:gd name="T38" fmla="*/ 42784 w 141"/>
                <a:gd name="T39" fmla="*/ 28721 h 228"/>
                <a:gd name="T40" fmla="*/ 45486 w 141"/>
                <a:gd name="T41" fmla="*/ 32899 h 228"/>
                <a:gd name="T42" fmla="*/ 48188 w 141"/>
                <a:gd name="T43" fmla="*/ 38643 h 228"/>
                <a:gd name="T44" fmla="*/ 51340 w 141"/>
                <a:gd name="T45" fmla="*/ 44910 h 228"/>
                <a:gd name="T46" fmla="*/ 54043 w 141"/>
                <a:gd name="T47" fmla="*/ 52221 h 228"/>
                <a:gd name="T48" fmla="*/ 57195 w 141"/>
                <a:gd name="T49" fmla="*/ 61098 h 228"/>
                <a:gd name="T50" fmla="*/ 59897 w 141"/>
                <a:gd name="T51" fmla="*/ 72064 h 228"/>
                <a:gd name="T52" fmla="*/ 63500 w 141"/>
                <a:gd name="T53" fmla="*/ 84075 h 228"/>
                <a:gd name="T54" fmla="*/ 63050 w 141"/>
                <a:gd name="T55" fmla="*/ 88253 h 228"/>
                <a:gd name="T56" fmla="*/ 62149 w 141"/>
                <a:gd name="T57" fmla="*/ 92430 h 228"/>
                <a:gd name="T58" fmla="*/ 60798 w 141"/>
                <a:gd name="T59" fmla="*/ 97130 h 228"/>
                <a:gd name="T60" fmla="*/ 58996 w 141"/>
                <a:gd name="T61" fmla="*/ 100264 h 228"/>
                <a:gd name="T62" fmla="*/ 57195 w 141"/>
                <a:gd name="T63" fmla="*/ 103919 h 228"/>
                <a:gd name="T64" fmla="*/ 54493 w 141"/>
                <a:gd name="T65" fmla="*/ 106530 h 228"/>
                <a:gd name="T66" fmla="*/ 51791 w 141"/>
                <a:gd name="T67" fmla="*/ 109141 h 228"/>
                <a:gd name="T68" fmla="*/ 48638 w 141"/>
                <a:gd name="T69" fmla="*/ 111230 h 228"/>
                <a:gd name="T70" fmla="*/ 45035 w 141"/>
                <a:gd name="T71" fmla="*/ 113319 h 228"/>
                <a:gd name="T72" fmla="*/ 41883 w 141"/>
                <a:gd name="T73" fmla="*/ 114885 h 228"/>
                <a:gd name="T74" fmla="*/ 38280 w 141"/>
                <a:gd name="T75" fmla="*/ 116452 h 228"/>
                <a:gd name="T76" fmla="*/ 34227 w 141"/>
                <a:gd name="T77" fmla="*/ 117496 h 228"/>
                <a:gd name="T78" fmla="*/ 26571 w 141"/>
                <a:gd name="T79" fmla="*/ 118541 h 228"/>
                <a:gd name="T80" fmla="*/ 18465 w 141"/>
                <a:gd name="T81" fmla="*/ 119063 h 22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764" name="Group 282">
              <a:extLst>
                <a:ext uri="{FF2B5EF4-FFF2-40B4-BE49-F238E27FC236}">
                  <a16:creationId xmlns:a16="http://schemas.microsoft.com/office/drawing/2014/main" id="{7B7E4BF3-2A8E-481E-9A2A-1626C316E888}"/>
                </a:ext>
              </a:extLst>
            </p:cNvPr>
            <p:cNvGrpSpPr>
              <a:grpSpLocks/>
            </p:cNvGrpSpPr>
            <p:nvPr>
              <p:custDataLst>
                <p:tags r:id="rId209"/>
              </p:custDataLst>
            </p:nvPr>
          </p:nvGrpSpPr>
          <p:grpSpPr bwMode="auto">
            <a:xfrm>
              <a:off x="8459788" y="3060700"/>
              <a:ext cx="233362" cy="439738"/>
              <a:chOff x="5062" y="2295"/>
              <a:chExt cx="177" cy="279"/>
            </a:xfrm>
          </p:grpSpPr>
          <p:sp>
            <p:nvSpPr>
              <p:cNvPr id="1009" name="Freeform 283">
                <a:extLst>
                  <a:ext uri="{FF2B5EF4-FFF2-40B4-BE49-F238E27FC236}">
                    <a16:creationId xmlns:a16="http://schemas.microsoft.com/office/drawing/2014/main" id="{A161545A-2ECB-4E26-A3F8-2233D1C2B9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12 w 60"/>
                  <a:gd name="T1" fmla="*/ 37 h 110"/>
                  <a:gd name="T2" fmla="*/ 13 w 60"/>
                  <a:gd name="T3" fmla="*/ 37 h 110"/>
                  <a:gd name="T4" fmla="*/ 15 w 60"/>
                  <a:gd name="T5" fmla="*/ 36 h 110"/>
                  <a:gd name="T6" fmla="*/ 16 w 60"/>
                  <a:gd name="T7" fmla="*/ 34 h 110"/>
                  <a:gd name="T8" fmla="*/ 16 w 60"/>
                  <a:gd name="T9" fmla="*/ 32 h 110"/>
                  <a:gd name="T10" fmla="*/ 17 w 60"/>
                  <a:gd name="T11" fmla="*/ 30 h 110"/>
                  <a:gd name="T12" fmla="*/ 18 w 60"/>
                  <a:gd name="T13" fmla="*/ 28 h 110"/>
                  <a:gd name="T14" fmla="*/ 19 w 60"/>
                  <a:gd name="T15" fmla="*/ 26 h 110"/>
                  <a:gd name="T16" fmla="*/ 19 w 60"/>
                  <a:gd name="T17" fmla="*/ 25 h 110"/>
                  <a:gd name="T18" fmla="*/ 19 w 60"/>
                  <a:gd name="T19" fmla="*/ 20 h 110"/>
                  <a:gd name="T20" fmla="*/ 18 w 60"/>
                  <a:gd name="T21" fmla="*/ 16 h 110"/>
                  <a:gd name="T22" fmla="*/ 18 w 60"/>
                  <a:gd name="T23" fmla="*/ 13 h 110"/>
                  <a:gd name="T24" fmla="*/ 17 w 60"/>
                  <a:gd name="T25" fmla="*/ 10 h 110"/>
                  <a:gd name="T26" fmla="*/ 16 w 60"/>
                  <a:gd name="T27" fmla="*/ 7 h 110"/>
                  <a:gd name="T28" fmla="*/ 15 w 60"/>
                  <a:gd name="T29" fmla="*/ 4 h 110"/>
                  <a:gd name="T30" fmla="*/ 14 w 60"/>
                  <a:gd name="T31" fmla="*/ 2 h 110"/>
                  <a:gd name="T32" fmla="*/ 12 w 60"/>
                  <a:gd name="T33" fmla="*/ 0 h 110"/>
                  <a:gd name="T34" fmla="*/ 11 w 60"/>
                  <a:gd name="T35" fmla="*/ 1 h 110"/>
                  <a:gd name="T36" fmla="*/ 10 w 60"/>
                  <a:gd name="T37" fmla="*/ 3 h 110"/>
                  <a:gd name="T38" fmla="*/ 9 w 60"/>
                  <a:gd name="T39" fmla="*/ 4 h 110"/>
                  <a:gd name="T40" fmla="*/ 8 w 60"/>
                  <a:gd name="T41" fmla="*/ 6 h 110"/>
                  <a:gd name="T42" fmla="*/ 6 w 60"/>
                  <a:gd name="T43" fmla="*/ 10 h 110"/>
                  <a:gd name="T44" fmla="*/ 5 w 60"/>
                  <a:gd name="T45" fmla="*/ 13 h 110"/>
                  <a:gd name="T46" fmla="*/ 3 w 60"/>
                  <a:gd name="T47" fmla="*/ 17 h 110"/>
                  <a:gd name="T48" fmla="*/ 2 w 60"/>
                  <a:gd name="T49" fmla="*/ 21 h 110"/>
                  <a:gd name="T50" fmla="*/ 2 w 60"/>
                  <a:gd name="T51" fmla="*/ 22 h 110"/>
                  <a:gd name="T52" fmla="*/ 1 w 60"/>
                  <a:gd name="T53" fmla="*/ 23 h 110"/>
                  <a:gd name="T54" fmla="*/ 1 w 60"/>
                  <a:gd name="T55" fmla="*/ 24 h 110"/>
                  <a:gd name="T56" fmla="*/ 0 w 60"/>
                  <a:gd name="T57" fmla="*/ 25 h 110"/>
                  <a:gd name="T58" fmla="*/ 0 w 60"/>
                  <a:gd name="T59" fmla="*/ 26 h 110"/>
                  <a:gd name="T60" fmla="*/ 1 w 60"/>
                  <a:gd name="T61" fmla="*/ 28 h 110"/>
                  <a:gd name="T62" fmla="*/ 2 w 60"/>
                  <a:gd name="T63" fmla="*/ 30 h 110"/>
                  <a:gd name="T64" fmla="*/ 4 w 60"/>
                  <a:gd name="T65" fmla="*/ 32 h 110"/>
                  <a:gd name="T66" fmla="*/ 6 w 60"/>
                  <a:gd name="T67" fmla="*/ 34 h 110"/>
                  <a:gd name="T68" fmla="*/ 8 w 60"/>
                  <a:gd name="T69" fmla="*/ 36 h 110"/>
                  <a:gd name="T70" fmla="*/ 10 w 60"/>
                  <a:gd name="T71" fmla="*/ 37 h 110"/>
                  <a:gd name="T72" fmla="*/ 12 w 60"/>
                  <a:gd name="T73" fmla="*/ 37 h 11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10" name="Freeform 284">
                <a:extLst>
                  <a:ext uri="{FF2B5EF4-FFF2-40B4-BE49-F238E27FC236}">
                    <a16:creationId xmlns:a16="http://schemas.microsoft.com/office/drawing/2014/main" id="{514F47E2-6075-4509-B265-68ABEE0241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4 h 75"/>
                  <a:gd name="T2" fmla="*/ 3 w 72"/>
                  <a:gd name="T3" fmla="*/ 6 h 75"/>
                  <a:gd name="T4" fmla="*/ 5 w 72"/>
                  <a:gd name="T5" fmla="*/ 8 h 75"/>
                  <a:gd name="T6" fmla="*/ 8 w 72"/>
                  <a:gd name="T7" fmla="*/ 11 h 75"/>
                  <a:gd name="T8" fmla="*/ 10 w 72"/>
                  <a:gd name="T9" fmla="*/ 13 h 75"/>
                  <a:gd name="T10" fmla="*/ 12 w 72"/>
                  <a:gd name="T11" fmla="*/ 16 h 75"/>
                  <a:gd name="T12" fmla="*/ 14 w 72"/>
                  <a:gd name="T13" fmla="*/ 19 h 75"/>
                  <a:gd name="T14" fmla="*/ 15 w 72"/>
                  <a:gd name="T15" fmla="*/ 22 h 75"/>
                  <a:gd name="T16" fmla="*/ 15 w 72"/>
                  <a:gd name="T17" fmla="*/ 25 h 75"/>
                  <a:gd name="T18" fmla="*/ 24 w 72"/>
                  <a:gd name="T19" fmla="*/ 25 h 75"/>
                  <a:gd name="T20" fmla="*/ 22 w 72"/>
                  <a:gd name="T21" fmla="*/ 17 h 75"/>
                  <a:gd name="T22" fmla="*/ 20 w 72"/>
                  <a:gd name="T23" fmla="*/ 11 h 75"/>
                  <a:gd name="T24" fmla="*/ 20 w 72"/>
                  <a:gd name="T25" fmla="*/ 9 h 75"/>
                  <a:gd name="T26" fmla="*/ 21 w 72"/>
                  <a:gd name="T27" fmla="*/ 6 h 75"/>
                  <a:gd name="T28" fmla="*/ 22 w 72"/>
                  <a:gd name="T29" fmla="*/ 4 h 75"/>
                  <a:gd name="T30" fmla="*/ 24 w 72"/>
                  <a:gd name="T31" fmla="*/ 0 h 75"/>
                  <a:gd name="T32" fmla="*/ 17 w 72"/>
                  <a:gd name="T33" fmla="*/ 0 h 75"/>
                  <a:gd name="T34" fmla="*/ 11 w 72"/>
                  <a:gd name="T35" fmla="*/ 0 h 75"/>
                  <a:gd name="T36" fmla="*/ 7 w 72"/>
                  <a:gd name="T37" fmla="*/ 0 h 75"/>
                  <a:gd name="T38" fmla="*/ 4 w 72"/>
                  <a:gd name="T39" fmla="*/ 1 h 75"/>
                  <a:gd name="T40" fmla="*/ 3 w 72"/>
                  <a:gd name="T41" fmla="*/ 2 h 75"/>
                  <a:gd name="T42" fmla="*/ 2 w 72"/>
                  <a:gd name="T43" fmla="*/ 2 h 75"/>
                  <a:gd name="T44" fmla="*/ 1 w 72"/>
                  <a:gd name="T45" fmla="*/ 3 h 75"/>
                  <a:gd name="T46" fmla="*/ 0 w 72"/>
                  <a:gd name="T47" fmla="*/ 4 h 7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11" name="Freeform 285">
                <a:extLst>
                  <a:ext uri="{FF2B5EF4-FFF2-40B4-BE49-F238E27FC236}">
                    <a16:creationId xmlns:a16="http://schemas.microsoft.com/office/drawing/2014/main" id="{E7ED5B4D-A163-42A4-952A-13EC1A95CE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5 w 15"/>
                  <a:gd name="T1" fmla="*/ 16 h 49"/>
                  <a:gd name="T2" fmla="*/ 5 w 15"/>
                  <a:gd name="T3" fmla="*/ 11 h 49"/>
                  <a:gd name="T4" fmla="*/ 5 w 15"/>
                  <a:gd name="T5" fmla="*/ 6 h 49"/>
                  <a:gd name="T6" fmla="*/ 5 w 15"/>
                  <a:gd name="T7" fmla="*/ 4 h 49"/>
                  <a:gd name="T8" fmla="*/ 4 w 15"/>
                  <a:gd name="T9" fmla="*/ 2 h 49"/>
                  <a:gd name="T10" fmla="*/ 4 w 15"/>
                  <a:gd name="T11" fmla="*/ 1 h 49"/>
                  <a:gd name="T12" fmla="*/ 3 w 15"/>
                  <a:gd name="T13" fmla="*/ 0 h 49"/>
                  <a:gd name="T14" fmla="*/ 1 w 15"/>
                  <a:gd name="T15" fmla="*/ 2 h 49"/>
                  <a:gd name="T16" fmla="*/ 1 w 15"/>
                  <a:gd name="T17" fmla="*/ 5 h 49"/>
                  <a:gd name="T18" fmla="*/ 0 w 15"/>
                  <a:gd name="T19" fmla="*/ 8 h 49"/>
                  <a:gd name="T20" fmla="*/ 0 w 15"/>
                  <a:gd name="T21" fmla="*/ 10 h 49"/>
                  <a:gd name="T22" fmla="*/ 0 w 15"/>
                  <a:gd name="T23" fmla="*/ 12 h 49"/>
                  <a:gd name="T24" fmla="*/ 1 w 15"/>
                  <a:gd name="T25" fmla="*/ 14 h 49"/>
                  <a:gd name="T26" fmla="*/ 2 w 15"/>
                  <a:gd name="T27" fmla="*/ 14 h 49"/>
                  <a:gd name="T28" fmla="*/ 3 w 15"/>
                  <a:gd name="T29" fmla="*/ 15 h 49"/>
                  <a:gd name="T30" fmla="*/ 4 w 15"/>
                  <a:gd name="T31" fmla="*/ 16 h 49"/>
                  <a:gd name="T32" fmla="*/ 5 w 15"/>
                  <a:gd name="T33" fmla="*/ 16 h 4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12" name="Freeform 286">
                <a:extLst>
                  <a:ext uri="{FF2B5EF4-FFF2-40B4-BE49-F238E27FC236}">
                    <a16:creationId xmlns:a16="http://schemas.microsoft.com/office/drawing/2014/main" id="{1EC83D2E-D536-4C22-8588-FFC5A14C63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6 w 47"/>
                  <a:gd name="T1" fmla="*/ 2 h 40"/>
                  <a:gd name="T2" fmla="*/ 0 w 47"/>
                  <a:gd name="T3" fmla="*/ 12 h 40"/>
                  <a:gd name="T4" fmla="*/ 2 w 47"/>
                  <a:gd name="T5" fmla="*/ 13 h 40"/>
                  <a:gd name="T6" fmla="*/ 4 w 47"/>
                  <a:gd name="T7" fmla="*/ 13 h 40"/>
                  <a:gd name="T8" fmla="*/ 6 w 47"/>
                  <a:gd name="T9" fmla="*/ 13 h 40"/>
                  <a:gd name="T10" fmla="*/ 8 w 47"/>
                  <a:gd name="T11" fmla="*/ 12 h 40"/>
                  <a:gd name="T12" fmla="*/ 10 w 47"/>
                  <a:gd name="T13" fmla="*/ 12 h 40"/>
                  <a:gd name="T14" fmla="*/ 12 w 47"/>
                  <a:gd name="T15" fmla="*/ 11 h 40"/>
                  <a:gd name="T16" fmla="*/ 14 w 47"/>
                  <a:gd name="T17" fmla="*/ 10 h 40"/>
                  <a:gd name="T18" fmla="*/ 15 w 47"/>
                  <a:gd name="T19" fmla="*/ 8 h 40"/>
                  <a:gd name="T20" fmla="*/ 15 w 47"/>
                  <a:gd name="T21" fmla="*/ 0 h 40"/>
                  <a:gd name="T22" fmla="*/ 13 w 47"/>
                  <a:gd name="T23" fmla="*/ 0 h 40"/>
                  <a:gd name="T24" fmla="*/ 11 w 47"/>
                  <a:gd name="T25" fmla="*/ 0 h 40"/>
                  <a:gd name="T26" fmla="*/ 8 w 47"/>
                  <a:gd name="T27" fmla="*/ 1 h 40"/>
                  <a:gd name="T28" fmla="*/ 6 w 47"/>
                  <a:gd name="T29" fmla="*/ 2 h 4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13" name="Freeform 287">
                <a:extLst>
                  <a:ext uri="{FF2B5EF4-FFF2-40B4-BE49-F238E27FC236}">
                    <a16:creationId xmlns:a16="http://schemas.microsoft.com/office/drawing/2014/main" id="{7D5BBBAC-94D0-4093-9B27-BF733697A3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1 w 39"/>
                  <a:gd name="T3" fmla="*/ 3 h 31"/>
                  <a:gd name="T4" fmla="*/ 2 w 39"/>
                  <a:gd name="T5" fmla="*/ 4 h 31"/>
                  <a:gd name="T6" fmla="*/ 4 w 39"/>
                  <a:gd name="T7" fmla="*/ 6 h 31"/>
                  <a:gd name="T8" fmla="*/ 6 w 39"/>
                  <a:gd name="T9" fmla="*/ 7 h 31"/>
                  <a:gd name="T10" fmla="*/ 8 w 39"/>
                  <a:gd name="T11" fmla="*/ 8 h 31"/>
                  <a:gd name="T12" fmla="*/ 9 w 39"/>
                  <a:gd name="T13" fmla="*/ 9 h 31"/>
                  <a:gd name="T14" fmla="*/ 11 w 39"/>
                  <a:gd name="T15" fmla="*/ 10 h 31"/>
                  <a:gd name="T16" fmla="*/ 13 w 39"/>
                  <a:gd name="T17" fmla="*/ 10 h 31"/>
                  <a:gd name="T18" fmla="*/ 11 w 39"/>
                  <a:gd name="T19" fmla="*/ 7 h 31"/>
                  <a:gd name="T20" fmla="*/ 8 w 39"/>
                  <a:gd name="T21" fmla="*/ 5 h 31"/>
                  <a:gd name="T22" fmla="*/ 5 w 39"/>
                  <a:gd name="T23" fmla="*/ 2 h 31"/>
                  <a:gd name="T24" fmla="*/ 2 w 39"/>
                  <a:gd name="T25" fmla="*/ 0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14" name="Freeform 288">
                <a:extLst>
                  <a:ext uri="{FF2B5EF4-FFF2-40B4-BE49-F238E27FC236}">
                    <a16:creationId xmlns:a16="http://schemas.microsoft.com/office/drawing/2014/main" id="{80F25AD7-9771-4FC3-AF82-19DCB55D42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10 w 34"/>
                  <a:gd name="T3" fmla="*/ 6 h 19"/>
                  <a:gd name="T4" fmla="*/ 10 w 34"/>
                  <a:gd name="T5" fmla="*/ 0 h 19"/>
                  <a:gd name="T6" fmla="*/ 7 w 34"/>
                  <a:gd name="T7" fmla="*/ 0 h 19"/>
                  <a:gd name="T8" fmla="*/ 4 w 34"/>
                  <a:gd name="T9" fmla="*/ 0 h 19"/>
                  <a:gd name="T10" fmla="*/ 2 w 34"/>
                  <a:gd name="T11" fmla="*/ 0 h 19"/>
                  <a:gd name="T12" fmla="*/ 0 w 34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15" name="Freeform 289">
                <a:extLst>
                  <a:ext uri="{FF2B5EF4-FFF2-40B4-BE49-F238E27FC236}">
                    <a16:creationId xmlns:a16="http://schemas.microsoft.com/office/drawing/2014/main" id="{C89A0625-8575-4E44-8FA8-B8557F5F6D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6 w 19"/>
                  <a:gd name="T3" fmla="*/ 4 h 12"/>
                  <a:gd name="T4" fmla="*/ 4 w 19"/>
                  <a:gd name="T5" fmla="*/ 2 h 12"/>
                  <a:gd name="T6" fmla="*/ 2 w 19"/>
                  <a:gd name="T7" fmla="*/ 2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16" name="Freeform 290">
                <a:extLst>
                  <a:ext uri="{FF2B5EF4-FFF2-40B4-BE49-F238E27FC236}">
                    <a16:creationId xmlns:a16="http://schemas.microsoft.com/office/drawing/2014/main" id="{7603DA9C-3D70-4504-A19B-B298EF95DE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38 w 126"/>
                  <a:gd name="T1" fmla="*/ 0 h 166"/>
                  <a:gd name="T2" fmla="*/ 39 w 126"/>
                  <a:gd name="T3" fmla="*/ 2 h 166"/>
                  <a:gd name="T4" fmla="*/ 40 w 126"/>
                  <a:gd name="T5" fmla="*/ 3 h 166"/>
                  <a:gd name="T6" fmla="*/ 41 w 126"/>
                  <a:gd name="T7" fmla="*/ 4 h 166"/>
                  <a:gd name="T8" fmla="*/ 42 w 126"/>
                  <a:gd name="T9" fmla="*/ 6 h 166"/>
                  <a:gd name="T10" fmla="*/ 42 w 126"/>
                  <a:gd name="T11" fmla="*/ 7 h 166"/>
                  <a:gd name="T12" fmla="*/ 42 w 126"/>
                  <a:gd name="T13" fmla="*/ 8 h 166"/>
                  <a:gd name="T14" fmla="*/ 41 w 126"/>
                  <a:gd name="T15" fmla="*/ 11 h 166"/>
                  <a:gd name="T16" fmla="*/ 39 w 126"/>
                  <a:gd name="T17" fmla="*/ 14 h 166"/>
                  <a:gd name="T18" fmla="*/ 38 w 126"/>
                  <a:gd name="T19" fmla="*/ 17 h 166"/>
                  <a:gd name="T20" fmla="*/ 35 w 126"/>
                  <a:gd name="T21" fmla="*/ 20 h 166"/>
                  <a:gd name="T22" fmla="*/ 30 w 126"/>
                  <a:gd name="T23" fmla="*/ 28 h 166"/>
                  <a:gd name="T24" fmla="*/ 24 w 126"/>
                  <a:gd name="T25" fmla="*/ 34 h 166"/>
                  <a:gd name="T26" fmla="*/ 18 w 126"/>
                  <a:gd name="T27" fmla="*/ 42 h 166"/>
                  <a:gd name="T28" fmla="*/ 11 w 126"/>
                  <a:gd name="T29" fmla="*/ 48 h 166"/>
                  <a:gd name="T30" fmla="*/ 8 w 126"/>
                  <a:gd name="T31" fmla="*/ 50 h 166"/>
                  <a:gd name="T32" fmla="*/ 5 w 126"/>
                  <a:gd name="T33" fmla="*/ 52 h 166"/>
                  <a:gd name="T34" fmla="*/ 2 w 126"/>
                  <a:gd name="T35" fmla="*/ 54 h 166"/>
                  <a:gd name="T36" fmla="*/ 0 w 126"/>
                  <a:gd name="T37" fmla="*/ 55 h 166"/>
                  <a:gd name="T38" fmla="*/ 0 w 126"/>
                  <a:gd name="T39" fmla="*/ 53 h 166"/>
                  <a:gd name="T40" fmla="*/ 0 w 126"/>
                  <a:gd name="T41" fmla="*/ 51 h 166"/>
                  <a:gd name="T42" fmla="*/ 0 w 126"/>
                  <a:gd name="T43" fmla="*/ 48 h 166"/>
                  <a:gd name="T44" fmla="*/ 0 w 126"/>
                  <a:gd name="T45" fmla="*/ 45 h 166"/>
                  <a:gd name="T46" fmla="*/ 1 w 126"/>
                  <a:gd name="T47" fmla="*/ 43 h 166"/>
                  <a:gd name="T48" fmla="*/ 2 w 126"/>
                  <a:gd name="T49" fmla="*/ 42 h 166"/>
                  <a:gd name="T50" fmla="*/ 4 w 126"/>
                  <a:gd name="T51" fmla="*/ 41 h 166"/>
                  <a:gd name="T52" fmla="*/ 5 w 126"/>
                  <a:gd name="T53" fmla="*/ 40 h 166"/>
                  <a:gd name="T54" fmla="*/ 9 w 126"/>
                  <a:gd name="T55" fmla="*/ 38 h 166"/>
                  <a:gd name="T56" fmla="*/ 11 w 126"/>
                  <a:gd name="T57" fmla="*/ 36 h 166"/>
                  <a:gd name="T58" fmla="*/ 13 w 126"/>
                  <a:gd name="T59" fmla="*/ 34 h 166"/>
                  <a:gd name="T60" fmla="*/ 16 w 126"/>
                  <a:gd name="T61" fmla="*/ 32 h 166"/>
                  <a:gd name="T62" fmla="*/ 18 w 126"/>
                  <a:gd name="T63" fmla="*/ 29 h 166"/>
                  <a:gd name="T64" fmla="*/ 19 w 126"/>
                  <a:gd name="T65" fmla="*/ 27 h 166"/>
                  <a:gd name="T66" fmla="*/ 22 w 126"/>
                  <a:gd name="T67" fmla="*/ 22 h 166"/>
                  <a:gd name="T68" fmla="*/ 24 w 126"/>
                  <a:gd name="T69" fmla="*/ 17 h 166"/>
                  <a:gd name="T70" fmla="*/ 26 w 126"/>
                  <a:gd name="T71" fmla="*/ 12 h 166"/>
                  <a:gd name="T72" fmla="*/ 29 w 126"/>
                  <a:gd name="T73" fmla="*/ 8 h 166"/>
                  <a:gd name="T74" fmla="*/ 31 w 126"/>
                  <a:gd name="T75" fmla="*/ 5 h 166"/>
                  <a:gd name="T76" fmla="*/ 32 w 126"/>
                  <a:gd name="T77" fmla="*/ 4 h 166"/>
                  <a:gd name="T78" fmla="*/ 35 w 126"/>
                  <a:gd name="T79" fmla="*/ 2 h 166"/>
                  <a:gd name="T80" fmla="*/ 38 w 126"/>
                  <a:gd name="T81" fmla="*/ 0 h 16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17" name="Freeform 291">
                <a:extLst>
                  <a:ext uri="{FF2B5EF4-FFF2-40B4-BE49-F238E27FC236}">
                    <a16:creationId xmlns:a16="http://schemas.microsoft.com/office/drawing/2014/main" id="{9706F22C-8B46-434D-A43D-240713C34C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3 w 259"/>
                  <a:gd name="T1" fmla="*/ 60 h 259"/>
                  <a:gd name="T2" fmla="*/ 0 w 259"/>
                  <a:gd name="T3" fmla="*/ 54 h 259"/>
                  <a:gd name="T4" fmla="*/ 0 w 259"/>
                  <a:gd name="T5" fmla="*/ 47 h 259"/>
                  <a:gd name="T6" fmla="*/ 2 w 259"/>
                  <a:gd name="T7" fmla="*/ 43 h 259"/>
                  <a:gd name="T8" fmla="*/ 6 w 259"/>
                  <a:gd name="T9" fmla="*/ 42 h 259"/>
                  <a:gd name="T10" fmla="*/ 11 w 259"/>
                  <a:gd name="T11" fmla="*/ 39 h 259"/>
                  <a:gd name="T12" fmla="*/ 16 w 259"/>
                  <a:gd name="T13" fmla="*/ 33 h 259"/>
                  <a:gd name="T14" fmla="*/ 20 w 259"/>
                  <a:gd name="T15" fmla="*/ 30 h 259"/>
                  <a:gd name="T16" fmla="*/ 22 w 259"/>
                  <a:gd name="T17" fmla="*/ 29 h 259"/>
                  <a:gd name="T18" fmla="*/ 27 w 259"/>
                  <a:gd name="T19" fmla="*/ 29 h 259"/>
                  <a:gd name="T20" fmla="*/ 31 w 259"/>
                  <a:gd name="T21" fmla="*/ 31 h 259"/>
                  <a:gd name="T22" fmla="*/ 33 w 259"/>
                  <a:gd name="T23" fmla="*/ 35 h 259"/>
                  <a:gd name="T24" fmla="*/ 35 w 259"/>
                  <a:gd name="T25" fmla="*/ 37 h 259"/>
                  <a:gd name="T26" fmla="*/ 39 w 259"/>
                  <a:gd name="T27" fmla="*/ 37 h 259"/>
                  <a:gd name="T28" fmla="*/ 44 w 259"/>
                  <a:gd name="T29" fmla="*/ 35 h 259"/>
                  <a:gd name="T30" fmla="*/ 49 w 259"/>
                  <a:gd name="T31" fmla="*/ 31 h 259"/>
                  <a:gd name="T32" fmla="*/ 53 w 259"/>
                  <a:gd name="T33" fmla="*/ 26 h 259"/>
                  <a:gd name="T34" fmla="*/ 57 w 259"/>
                  <a:gd name="T35" fmla="*/ 17 h 259"/>
                  <a:gd name="T36" fmla="*/ 62 w 259"/>
                  <a:gd name="T37" fmla="*/ 5 h 259"/>
                  <a:gd name="T38" fmla="*/ 64 w 259"/>
                  <a:gd name="T39" fmla="*/ 1 h 259"/>
                  <a:gd name="T40" fmla="*/ 66 w 259"/>
                  <a:gd name="T41" fmla="*/ 4 h 259"/>
                  <a:gd name="T42" fmla="*/ 70 w 259"/>
                  <a:gd name="T43" fmla="*/ 6 h 259"/>
                  <a:gd name="T44" fmla="*/ 72 w 259"/>
                  <a:gd name="T45" fmla="*/ 11 h 259"/>
                  <a:gd name="T46" fmla="*/ 72 w 259"/>
                  <a:gd name="T47" fmla="*/ 17 h 259"/>
                  <a:gd name="T48" fmla="*/ 74 w 259"/>
                  <a:gd name="T49" fmla="*/ 20 h 259"/>
                  <a:gd name="T50" fmla="*/ 77 w 259"/>
                  <a:gd name="T51" fmla="*/ 23 h 259"/>
                  <a:gd name="T52" fmla="*/ 77 w 259"/>
                  <a:gd name="T53" fmla="*/ 29 h 259"/>
                  <a:gd name="T54" fmla="*/ 77 w 259"/>
                  <a:gd name="T55" fmla="*/ 35 h 259"/>
                  <a:gd name="T56" fmla="*/ 78 w 259"/>
                  <a:gd name="T57" fmla="*/ 37 h 259"/>
                  <a:gd name="T58" fmla="*/ 80 w 259"/>
                  <a:gd name="T59" fmla="*/ 40 h 259"/>
                  <a:gd name="T60" fmla="*/ 82 w 259"/>
                  <a:gd name="T61" fmla="*/ 45 h 259"/>
                  <a:gd name="T62" fmla="*/ 83 w 259"/>
                  <a:gd name="T63" fmla="*/ 53 h 259"/>
                  <a:gd name="T64" fmla="*/ 80 w 259"/>
                  <a:gd name="T65" fmla="*/ 78 h 259"/>
                  <a:gd name="T66" fmla="*/ 78 w 259"/>
                  <a:gd name="T67" fmla="*/ 74 h 259"/>
                  <a:gd name="T68" fmla="*/ 78 w 259"/>
                  <a:gd name="T69" fmla="*/ 69 h 259"/>
                  <a:gd name="T70" fmla="*/ 78 w 259"/>
                  <a:gd name="T71" fmla="*/ 64 h 259"/>
                  <a:gd name="T72" fmla="*/ 73 w 259"/>
                  <a:gd name="T73" fmla="*/ 62 h 259"/>
                  <a:gd name="T74" fmla="*/ 68 w 259"/>
                  <a:gd name="T75" fmla="*/ 59 h 259"/>
                  <a:gd name="T76" fmla="*/ 64 w 259"/>
                  <a:gd name="T77" fmla="*/ 66 h 259"/>
                  <a:gd name="T78" fmla="*/ 62 w 259"/>
                  <a:gd name="T79" fmla="*/ 73 h 259"/>
                  <a:gd name="T80" fmla="*/ 61 w 259"/>
                  <a:gd name="T81" fmla="*/ 86 h 259"/>
                  <a:gd name="T82" fmla="*/ 41 w 259"/>
                  <a:gd name="T83" fmla="*/ 80 h 259"/>
                  <a:gd name="T84" fmla="*/ 36 w 259"/>
                  <a:gd name="T85" fmla="*/ 73 h 259"/>
                  <a:gd name="T86" fmla="*/ 32 w 259"/>
                  <a:gd name="T87" fmla="*/ 69 h 259"/>
                  <a:gd name="T88" fmla="*/ 32 w 259"/>
                  <a:gd name="T89" fmla="*/ 65 h 259"/>
                  <a:gd name="T90" fmla="*/ 34 w 259"/>
                  <a:gd name="T91" fmla="*/ 62 h 259"/>
                  <a:gd name="T92" fmla="*/ 37 w 259"/>
                  <a:gd name="T93" fmla="*/ 60 h 259"/>
                  <a:gd name="T94" fmla="*/ 38 w 259"/>
                  <a:gd name="T95" fmla="*/ 57 h 259"/>
                  <a:gd name="T96" fmla="*/ 31 w 259"/>
                  <a:gd name="T97" fmla="*/ 51 h 259"/>
                  <a:gd name="T98" fmla="*/ 9 w 259"/>
                  <a:gd name="T99" fmla="*/ 51 h 259"/>
                  <a:gd name="T100" fmla="*/ 7 w 259"/>
                  <a:gd name="T101" fmla="*/ 54 h 259"/>
                  <a:gd name="T102" fmla="*/ 5 w 259"/>
                  <a:gd name="T103" fmla="*/ 58 h 259"/>
                  <a:gd name="T104" fmla="*/ 4 w 259"/>
                  <a:gd name="T105" fmla="*/ 62 h 25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18" name="Freeform 292">
                <a:extLst>
                  <a:ext uri="{FF2B5EF4-FFF2-40B4-BE49-F238E27FC236}">
                    <a16:creationId xmlns:a16="http://schemas.microsoft.com/office/drawing/2014/main" id="{714138F2-6F0F-4363-8BDB-80793F3C96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23 w 72"/>
                  <a:gd name="T1" fmla="*/ 14 h 92"/>
                  <a:gd name="T2" fmla="*/ 23 w 72"/>
                  <a:gd name="T3" fmla="*/ 31 h 92"/>
                  <a:gd name="T4" fmla="*/ 21 w 72"/>
                  <a:gd name="T5" fmla="*/ 29 h 92"/>
                  <a:gd name="T6" fmla="*/ 19 w 72"/>
                  <a:gd name="T7" fmla="*/ 27 h 92"/>
                  <a:gd name="T8" fmla="*/ 16 w 72"/>
                  <a:gd name="T9" fmla="*/ 25 h 92"/>
                  <a:gd name="T10" fmla="*/ 15 w 72"/>
                  <a:gd name="T11" fmla="*/ 23 h 92"/>
                  <a:gd name="T12" fmla="*/ 12 w 72"/>
                  <a:gd name="T13" fmla="*/ 20 h 92"/>
                  <a:gd name="T14" fmla="*/ 10 w 72"/>
                  <a:gd name="T15" fmla="*/ 16 h 92"/>
                  <a:gd name="T16" fmla="*/ 8 w 72"/>
                  <a:gd name="T17" fmla="*/ 11 h 92"/>
                  <a:gd name="T18" fmla="*/ 6 w 72"/>
                  <a:gd name="T19" fmla="*/ 8 h 92"/>
                  <a:gd name="T20" fmla="*/ 4 w 72"/>
                  <a:gd name="T21" fmla="*/ 4 h 92"/>
                  <a:gd name="T22" fmla="*/ 0 w 72"/>
                  <a:gd name="T23" fmla="*/ 0 h 92"/>
                  <a:gd name="T24" fmla="*/ 8 w 72"/>
                  <a:gd name="T25" fmla="*/ 4 h 92"/>
                  <a:gd name="T26" fmla="*/ 14 w 72"/>
                  <a:gd name="T27" fmla="*/ 7 h 92"/>
                  <a:gd name="T28" fmla="*/ 16 w 72"/>
                  <a:gd name="T29" fmla="*/ 9 h 92"/>
                  <a:gd name="T30" fmla="*/ 19 w 72"/>
                  <a:gd name="T31" fmla="*/ 10 h 92"/>
                  <a:gd name="T32" fmla="*/ 21 w 72"/>
                  <a:gd name="T33" fmla="*/ 12 h 92"/>
                  <a:gd name="T34" fmla="*/ 23 w 72"/>
                  <a:gd name="T35" fmla="*/ 14 h 9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19" name="Freeform 293">
                <a:extLst>
                  <a:ext uri="{FF2B5EF4-FFF2-40B4-BE49-F238E27FC236}">
                    <a16:creationId xmlns:a16="http://schemas.microsoft.com/office/drawing/2014/main" id="{3762C733-90C5-46F2-8BA0-2EE41379A4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2 w 46"/>
                  <a:gd name="T1" fmla="*/ 2 h 62"/>
                  <a:gd name="T2" fmla="*/ 7 w 46"/>
                  <a:gd name="T3" fmla="*/ 2 h 62"/>
                  <a:gd name="T4" fmla="*/ 11 w 46"/>
                  <a:gd name="T5" fmla="*/ 1 h 62"/>
                  <a:gd name="T6" fmla="*/ 14 w 46"/>
                  <a:gd name="T7" fmla="*/ 0 h 62"/>
                  <a:gd name="T8" fmla="*/ 16 w 46"/>
                  <a:gd name="T9" fmla="*/ 0 h 62"/>
                  <a:gd name="T10" fmla="*/ 16 w 46"/>
                  <a:gd name="T11" fmla="*/ 3 h 62"/>
                  <a:gd name="T12" fmla="*/ 16 w 46"/>
                  <a:gd name="T13" fmla="*/ 6 h 62"/>
                  <a:gd name="T14" fmla="*/ 16 w 46"/>
                  <a:gd name="T15" fmla="*/ 9 h 62"/>
                  <a:gd name="T16" fmla="*/ 16 w 46"/>
                  <a:gd name="T17" fmla="*/ 13 h 62"/>
                  <a:gd name="T18" fmla="*/ 16 w 46"/>
                  <a:gd name="T19" fmla="*/ 16 h 62"/>
                  <a:gd name="T20" fmla="*/ 14 w 46"/>
                  <a:gd name="T21" fmla="*/ 18 h 62"/>
                  <a:gd name="T22" fmla="*/ 14 w 46"/>
                  <a:gd name="T23" fmla="*/ 19 h 62"/>
                  <a:gd name="T24" fmla="*/ 13 w 46"/>
                  <a:gd name="T25" fmla="*/ 20 h 62"/>
                  <a:gd name="T26" fmla="*/ 12 w 46"/>
                  <a:gd name="T27" fmla="*/ 21 h 62"/>
                  <a:gd name="T28" fmla="*/ 11 w 46"/>
                  <a:gd name="T29" fmla="*/ 21 h 62"/>
                  <a:gd name="T30" fmla="*/ 9 w 46"/>
                  <a:gd name="T31" fmla="*/ 21 h 62"/>
                  <a:gd name="T32" fmla="*/ 8 w 46"/>
                  <a:gd name="T33" fmla="*/ 20 h 62"/>
                  <a:gd name="T34" fmla="*/ 6 w 46"/>
                  <a:gd name="T35" fmla="*/ 20 h 62"/>
                  <a:gd name="T36" fmla="*/ 5 w 46"/>
                  <a:gd name="T37" fmla="*/ 19 h 62"/>
                  <a:gd name="T38" fmla="*/ 4 w 46"/>
                  <a:gd name="T39" fmla="*/ 18 h 62"/>
                  <a:gd name="T40" fmla="*/ 2 w 46"/>
                  <a:gd name="T41" fmla="*/ 17 h 62"/>
                  <a:gd name="T42" fmla="*/ 2 w 46"/>
                  <a:gd name="T43" fmla="*/ 16 h 62"/>
                  <a:gd name="T44" fmla="*/ 1 w 46"/>
                  <a:gd name="T45" fmla="*/ 15 h 62"/>
                  <a:gd name="T46" fmla="*/ 0 w 46"/>
                  <a:gd name="T47" fmla="*/ 12 h 62"/>
                  <a:gd name="T48" fmla="*/ 0 w 46"/>
                  <a:gd name="T49" fmla="*/ 8 h 62"/>
                  <a:gd name="T50" fmla="*/ 0 w 46"/>
                  <a:gd name="T51" fmla="*/ 5 h 62"/>
                  <a:gd name="T52" fmla="*/ 0 w 46"/>
                  <a:gd name="T53" fmla="*/ 2 h 62"/>
                  <a:gd name="T54" fmla="*/ 2 w 46"/>
                  <a:gd name="T55" fmla="*/ 2 h 62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0" name="Freeform 294">
                <a:extLst>
                  <a:ext uri="{FF2B5EF4-FFF2-40B4-BE49-F238E27FC236}">
                    <a16:creationId xmlns:a16="http://schemas.microsoft.com/office/drawing/2014/main" id="{55693334-4652-4E08-B7FC-84911C4A0F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19 w 152"/>
                  <a:gd name="T1" fmla="*/ 0 h 296"/>
                  <a:gd name="T2" fmla="*/ 22 w 152"/>
                  <a:gd name="T3" fmla="*/ 3 h 296"/>
                  <a:gd name="T4" fmla="*/ 25 w 152"/>
                  <a:gd name="T5" fmla="*/ 6 h 296"/>
                  <a:gd name="T6" fmla="*/ 29 w 152"/>
                  <a:gd name="T7" fmla="*/ 8 h 296"/>
                  <a:gd name="T8" fmla="*/ 33 w 152"/>
                  <a:gd name="T9" fmla="*/ 8 h 296"/>
                  <a:gd name="T10" fmla="*/ 36 w 152"/>
                  <a:gd name="T11" fmla="*/ 7 h 296"/>
                  <a:gd name="T12" fmla="*/ 39 w 152"/>
                  <a:gd name="T13" fmla="*/ 4 h 296"/>
                  <a:gd name="T14" fmla="*/ 40 w 152"/>
                  <a:gd name="T15" fmla="*/ 12 h 296"/>
                  <a:gd name="T16" fmla="*/ 43 w 152"/>
                  <a:gd name="T17" fmla="*/ 21 h 296"/>
                  <a:gd name="T18" fmla="*/ 46 w 152"/>
                  <a:gd name="T19" fmla="*/ 28 h 296"/>
                  <a:gd name="T20" fmla="*/ 48 w 152"/>
                  <a:gd name="T21" fmla="*/ 31 h 296"/>
                  <a:gd name="T22" fmla="*/ 50 w 152"/>
                  <a:gd name="T23" fmla="*/ 33 h 296"/>
                  <a:gd name="T24" fmla="*/ 47 w 152"/>
                  <a:gd name="T25" fmla="*/ 40 h 296"/>
                  <a:gd name="T26" fmla="*/ 42 w 152"/>
                  <a:gd name="T27" fmla="*/ 46 h 296"/>
                  <a:gd name="T28" fmla="*/ 38 w 152"/>
                  <a:gd name="T29" fmla="*/ 52 h 296"/>
                  <a:gd name="T30" fmla="*/ 37 w 152"/>
                  <a:gd name="T31" fmla="*/ 57 h 296"/>
                  <a:gd name="T32" fmla="*/ 38 w 152"/>
                  <a:gd name="T33" fmla="*/ 65 h 296"/>
                  <a:gd name="T34" fmla="*/ 38 w 152"/>
                  <a:gd name="T35" fmla="*/ 68 h 296"/>
                  <a:gd name="T36" fmla="*/ 37 w 152"/>
                  <a:gd name="T37" fmla="*/ 72 h 296"/>
                  <a:gd name="T38" fmla="*/ 41 w 152"/>
                  <a:gd name="T39" fmla="*/ 72 h 296"/>
                  <a:gd name="T40" fmla="*/ 48 w 152"/>
                  <a:gd name="T41" fmla="*/ 72 h 296"/>
                  <a:gd name="T42" fmla="*/ 45 w 152"/>
                  <a:gd name="T43" fmla="*/ 83 h 296"/>
                  <a:gd name="T44" fmla="*/ 45 w 152"/>
                  <a:gd name="T45" fmla="*/ 88 h 296"/>
                  <a:gd name="T46" fmla="*/ 48 w 152"/>
                  <a:gd name="T47" fmla="*/ 94 h 296"/>
                  <a:gd name="T48" fmla="*/ 41 w 152"/>
                  <a:gd name="T49" fmla="*/ 96 h 296"/>
                  <a:gd name="T50" fmla="*/ 35 w 152"/>
                  <a:gd name="T51" fmla="*/ 98 h 296"/>
                  <a:gd name="T52" fmla="*/ 28 w 152"/>
                  <a:gd name="T53" fmla="*/ 97 h 296"/>
                  <a:gd name="T54" fmla="*/ 24 w 152"/>
                  <a:gd name="T55" fmla="*/ 95 h 296"/>
                  <a:gd name="T56" fmla="*/ 22 w 152"/>
                  <a:gd name="T57" fmla="*/ 93 h 296"/>
                  <a:gd name="T58" fmla="*/ 22 w 152"/>
                  <a:gd name="T59" fmla="*/ 90 h 296"/>
                  <a:gd name="T60" fmla="*/ 28 w 152"/>
                  <a:gd name="T61" fmla="*/ 84 h 296"/>
                  <a:gd name="T62" fmla="*/ 23 w 152"/>
                  <a:gd name="T63" fmla="*/ 82 h 296"/>
                  <a:gd name="T64" fmla="*/ 17 w 152"/>
                  <a:gd name="T65" fmla="*/ 80 h 296"/>
                  <a:gd name="T66" fmla="*/ 13 w 152"/>
                  <a:gd name="T67" fmla="*/ 76 h 296"/>
                  <a:gd name="T68" fmla="*/ 8 w 152"/>
                  <a:gd name="T69" fmla="*/ 73 h 296"/>
                  <a:gd name="T70" fmla="*/ 5 w 152"/>
                  <a:gd name="T71" fmla="*/ 68 h 296"/>
                  <a:gd name="T72" fmla="*/ 2 w 152"/>
                  <a:gd name="T73" fmla="*/ 63 h 296"/>
                  <a:gd name="T74" fmla="*/ 0 w 152"/>
                  <a:gd name="T75" fmla="*/ 57 h 296"/>
                  <a:gd name="T76" fmla="*/ 0 w 152"/>
                  <a:gd name="T77" fmla="*/ 51 h 296"/>
                  <a:gd name="T78" fmla="*/ 0 w 152"/>
                  <a:gd name="T79" fmla="*/ 43 h 296"/>
                  <a:gd name="T80" fmla="*/ 9 w 152"/>
                  <a:gd name="T81" fmla="*/ 35 h 296"/>
                  <a:gd name="T82" fmla="*/ 11 w 152"/>
                  <a:gd name="T83" fmla="*/ 15 h 296"/>
                  <a:gd name="T84" fmla="*/ 10 w 152"/>
                  <a:gd name="T85" fmla="*/ 6 h 296"/>
                  <a:gd name="T86" fmla="*/ 9 w 152"/>
                  <a:gd name="T87" fmla="*/ 1 h 29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1" name="Freeform 295">
                <a:extLst>
                  <a:ext uri="{FF2B5EF4-FFF2-40B4-BE49-F238E27FC236}">
                    <a16:creationId xmlns:a16="http://schemas.microsoft.com/office/drawing/2014/main" id="{F8F66FC2-F129-483B-BD38-47A4D92E15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8 w 26"/>
                  <a:gd name="T1" fmla="*/ 13 h 38"/>
                  <a:gd name="T2" fmla="*/ 8 w 26"/>
                  <a:gd name="T3" fmla="*/ 0 h 38"/>
                  <a:gd name="T4" fmla="*/ 6 w 26"/>
                  <a:gd name="T5" fmla="*/ 0 h 38"/>
                  <a:gd name="T6" fmla="*/ 4 w 26"/>
                  <a:gd name="T7" fmla="*/ 1 h 38"/>
                  <a:gd name="T8" fmla="*/ 2 w 26"/>
                  <a:gd name="T9" fmla="*/ 3 h 38"/>
                  <a:gd name="T10" fmla="*/ 0 w 26"/>
                  <a:gd name="T11" fmla="*/ 4 h 38"/>
                  <a:gd name="T12" fmla="*/ 6 w 26"/>
                  <a:gd name="T13" fmla="*/ 10 h 38"/>
                  <a:gd name="T14" fmla="*/ 8 w 26"/>
                  <a:gd name="T15" fmla="*/ 13 h 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2" name="Freeform 296">
                <a:extLst>
                  <a:ext uri="{FF2B5EF4-FFF2-40B4-BE49-F238E27FC236}">
                    <a16:creationId xmlns:a16="http://schemas.microsoft.com/office/drawing/2014/main" id="{82399F90-7E3B-43F5-AE21-1D520EAF21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6 h 31"/>
                  <a:gd name="T2" fmla="*/ 2 w 34"/>
                  <a:gd name="T3" fmla="*/ 7 h 31"/>
                  <a:gd name="T4" fmla="*/ 5 w 34"/>
                  <a:gd name="T5" fmla="*/ 8 h 31"/>
                  <a:gd name="T6" fmla="*/ 8 w 34"/>
                  <a:gd name="T7" fmla="*/ 10 h 31"/>
                  <a:gd name="T8" fmla="*/ 10 w 34"/>
                  <a:gd name="T9" fmla="*/ 10 h 31"/>
                  <a:gd name="T10" fmla="*/ 10 w 34"/>
                  <a:gd name="T11" fmla="*/ 8 h 31"/>
                  <a:gd name="T12" fmla="*/ 9 w 34"/>
                  <a:gd name="T13" fmla="*/ 5 h 31"/>
                  <a:gd name="T14" fmla="*/ 8 w 34"/>
                  <a:gd name="T15" fmla="*/ 2 h 31"/>
                  <a:gd name="T16" fmla="*/ 6 w 34"/>
                  <a:gd name="T17" fmla="*/ 0 h 31"/>
                  <a:gd name="T18" fmla="*/ 5 w 34"/>
                  <a:gd name="T19" fmla="*/ 2 h 31"/>
                  <a:gd name="T20" fmla="*/ 3 w 34"/>
                  <a:gd name="T21" fmla="*/ 4 h 31"/>
                  <a:gd name="T22" fmla="*/ 2 w 34"/>
                  <a:gd name="T23" fmla="*/ 5 h 31"/>
                  <a:gd name="T24" fmla="*/ 2 w 34"/>
                  <a:gd name="T25" fmla="*/ 5 h 31"/>
                  <a:gd name="T26" fmla="*/ 1 w 34"/>
                  <a:gd name="T27" fmla="*/ 6 h 31"/>
                  <a:gd name="T28" fmla="*/ 0 w 34"/>
                  <a:gd name="T29" fmla="*/ 6 h 3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3" name="Freeform 297">
                <a:extLst>
                  <a:ext uri="{FF2B5EF4-FFF2-40B4-BE49-F238E27FC236}">
                    <a16:creationId xmlns:a16="http://schemas.microsoft.com/office/drawing/2014/main" id="{2BAF4FBA-B87F-431A-86EC-97F49646E8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2 h 37"/>
                  <a:gd name="T2" fmla="*/ 0 w 20"/>
                  <a:gd name="T3" fmla="*/ 12 h 37"/>
                  <a:gd name="T4" fmla="*/ 2 w 20"/>
                  <a:gd name="T5" fmla="*/ 11 h 37"/>
                  <a:gd name="T6" fmla="*/ 6 w 20"/>
                  <a:gd name="T7" fmla="*/ 10 h 37"/>
                  <a:gd name="T8" fmla="*/ 6 w 20"/>
                  <a:gd name="T9" fmla="*/ 0 h 37"/>
                  <a:gd name="T10" fmla="*/ 0 w 20"/>
                  <a:gd name="T11" fmla="*/ 2 h 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4" name="Line 298">
                <a:extLst>
                  <a:ext uri="{FF2B5EF4-FFF2-40B4-BE49-F238E27FC236}">
                    <a16:creationId xmlns:a16="http://schemas.microsoft.com/office/drawing/2014/main" id="{ACF41221-AEE7-4B5A-A0CB-A88C7CF5786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5" name="Freeform 299">
                <a:extLst>
                  <a:ext uri="{FF2B5EF4-FFF2-40B4-BE49-F238E27FC236}">
                    <a16:creationId xmlns:a16="http://schemas.microsoft.com/office/drawing/2014/main" id="{E2B47CCE-5549-43EA-9431-5952A61E9C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6 h 18"/>
                  <a:gd name="T2" fmla="*/ 0 w 13"/>
                  <a:gd name="T3" fmla="*/ 4 h 18"/>
                  <a:gd name="T4" fmla="*/ 1 w 13"/>
                  <a:gd name="T5" fmla="*/ 3 h 18"/>
                  <a:gd name="T6" fmla="*/ 2 w 13"/>
                  <a:gd name="T7" fmla="*/ 1 h 18"/>
                  <a:gd name="T8" fmla="*/ 4 w 13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6" name="Line 300">
                <a:extLst>
                  <a:ext uri="{FF2B5EF4-FFF2-40B4-BE49-F238E27FC236}">
                    <a16:creationId xmlns:a16="http://schemas.microsoft.com/office/drawing/2014/main" id="{9567E607-3AF1-44F3-85F6-FCE7E3769BC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7" name="Freeform 301">
                <a:extLst>
                  <a:ext uri="{FF2B5EF4-FFF2-40B4-BE49-F238E27FC236}">
                    <a16:creationId xmlns:a16="http://schemas.microsoft.com/office/drawing/2014/main" id="{CE9D24EF-1EB7-45BF-A785-DFBD0BCBA5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7 w 27"/>
                  <a:gd name="T3" fmla="*/ 10 h 31"/>
                  <a:gd name="T4" fmla="*/ 9 w 27"/>
                  <a:gd name="T5" fmla="*/ 4 h 3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8" name="Freeform 302">
                <a:extLst>
                  <a:ext uri="{FF2B5EF4-FFF2-40B4-BE49-F238E27FC236}">
                    <a16:creationId xmlns:a16="http://schemas.microsoft.com/office/drawing/2014/main" id="{42129C78-838E-406B-A0EB-05C4F367A2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6 w 20"/>
                  <a:gd name="T1" fmla="*/ 0 h 1"/>
                  <a:gd name="T2" fmla="*/ 3 w 20"/>
                  <a:gd name="T3" fmla="*/ 0 h 1"/>
                  <a:gd name="T4" fmla="*/ 0 w 20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9" name="Freeform 303">
                <a:extLst>
                  <a:ext uri="{FF2B5EF4-FFF2-40B4-BE49-F238E27FC236}">
                    <a16:creationId xmlns:a16="http://schemas.microsoft.com/office/drawing/2014/main" id="{8C6476EA-AEB1-45C8-92BD-83D889A38B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5 h 13"/>
                  <a:gd name="T2" fmla="*/ 2 w 34"/>
                  <a:gd name="T3" fmla="*/ 5 h 13"/>
                  <a:gd name="T4" fmla="*/ 4 w 34"/>
                  <a:gd name="T5" fmla="*/ 4 h 13"/>
                  <a:gd name="T6" fmla="*/ 6 w 34"/>
                  <a:gd name="T7" fmla="*/ 4 h 13"/>
                  <a:gd name="T8" fmla="*/ 7 w 34"/>
                  <a:gd name="T9" fmla="*/ 3 h 13"/>
                  <a:gd name="T10" fmla="*/ 10 w 34"/>
                  <a:gd name="T11" fmla="*/ 1 h 13"/>
                  <a:gd name="T12" fmla="*/ 12 w 34"/>
                  <a:gd name="T13" fmla="*/ 0 h 13"/>
                  <a:gd name="T14" fmla="*/ 9 w 34"/>
                  <a:gd name="T15" fmla="*/ 0 h 13"/>
                  <a:gd name="T16" fmla="*/ 5 w 34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30" name="Freeform 304">
                <a:extLst>
                  <a:ext uri="{FF2B5EF4-FFF2-40B4-BE49-F238E27FC236}">
                    <a16:creationId xmlns:a16="http://schemas.microsoft.com/office/drawing/2014/main" id="{334F21F1-D4AD-4CED-A745-95B166C928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12 w 34"/>
                  <a:gd name="T1" fmla="*/ 6 h 18"/>
                  <a:gd name="T2" fmla="*/ 12 w 34"/>
                  <a:gd name="T3" fmla="*/ 0 h 18"/>
                  <a:gd name="T4" fmla="*/ 10 w 34"/>
                  <a:gd name="T5" fmla="*/ 0 h 18"/>
                  <a:gd name="T6" fmla="*/ 7 w 34"/>
                  <a:gd name="T7" fmla="*/ 0 h 18"/>
                  <a:gd name="T8" fmla="*/ 4 w 34"/>
                  <a:gd name="T9" fmla="*/ 0 h 18"/>
                  <a:gd name="T10" fmla="*/ 0 w 34"/>
                  <a:gd name="T11" fmla="*/ 0 h 18"/>
                  <a:gd name="T12" fmla="*/ 12 w 34"/>
                  <a:gd name="T13" fmla="*/ 6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31" name="Freeform 305">
                <a:extLst>
                  <a:ext uri="{FF2B5EF4-FFF2-40B4-BE49-F238E27FC236}">
                    <a16:creationId xmlns:a16="http://schemas.microsoft.com/office/drawing/2014/main" id="{44C71054-0A4C-4E30-A7AB-7CAFAF544B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18 w 59"/>
                  <a:gd name="T1" fmla="*/ 8 h 25"/>
                  <a:gd name="T2" fmla="*/ 19 w 59"/>
                  <a:gd name="T3" fmla="*/ 4 h 25"/>
                  <a:gd name="T4" fmla="*/ 20 w 59"/>
                  <a:gd name="T5" fmla="*/ 0 h 25"/>
                  <a:gd name="T6" fmla="*/ 15 w 59"/>
                  <a:gd name="T7" fmla="*/ 0 h 25"/>
                  <a:gd name="T8" fmla="*/ 9 w 59"/>
                  <a:gd name="T9" fmla="*/ 0 h 25"/>
                  <a:gd name="T10" fmla="*/ 6 w 59"/>
                  <a:gd name="T11" fmla="*/ 0 h 25"/>
                  <a:gd name="T12" fmla="*/ 4 w 59"/>
                  <a:gd name="T13" fmla="*/ 1 h 25"/>
                  <a:gd name="T14" fmla="*/ 2 w 59"/>
                  <a:gd name="T15" fmla="*/ 1 h 25"/>
                  <a:gd name="T16" fmla="*/ 0 w 59"/>
                  <a:gd name="T17" fmla="*/ 2 h 25"/>
                  <a:gd name="T18" fmla="*/ 4 w 59"/>
                  <a:gd name="T19" fmla="*/ 4 h 25"/>
                  <a:gd name="T20" fmla="*/ 9 w 59"/>
                  <a:gd name="T21" fmla="*/ 6 h 25"/>
                  <a:gd name="T22" fmla="*/ 11 w 59"/>
                  <a:gd name="T23" fmla="*/ 7 h 25"/>
                  <a:gd name="T24" fmla="*/ 13 w 59"/>
                  <a:gd name="T25" fmla="*/ 8 h 25"/>
                  <a:gd name="T26" fmla="*/ 16 w 59"/>
                  <a:gd name="T27" fmla="*/ 8 h 25"/>
                  <a:gd name="T28" fmla="*/ 18 w 59"/>
                  <a:gd name="T29" fmla="*/ 8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32" name="Line 306">
                <a:extLst>
                  <a:ext uri="{FF2B5EF4-FFF2-40B4-BE49-F238E27FC236}">
                    <a16:creationId xmlns:a16="http://schemas.microsoft.com/office/drawing/2014/main" id="{D552D7EA-26FE-4E8E-9C8C-3E509D75711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765" name="Freeform 307">
              <a:extLst>
                <a:ext uri="{FF2B5EF4-FFF2-40B4-BE49-F238E27FC236}">
                  <a16:creationId xmlns:a16="http://schemas.microsoft.com/office/drawing/2014/main" id="{0ECE982D-A59E-4BA5-90E8-2DE740B8CD3C}"/>
                </a:ext>
              </a:extLst>
            </p:cNvPr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8804275" y="3879851"/>
              <a:ext cx="14288" cy="55563"/>
            </a:xfrm>
            <a:custGeom>
              <a:avLst/>
              <a:gdLst>
                <a:gd name="T0" fmla="*/ 0 w 33"/>
                <a:gd name="T1" fmla="*/ 55563 h 43"/>
                <a:gd name="T2" fmla="*/ 433 w 33"/>
                <a:gd name="T3" fmla="*/ 43934 h 43"/>
                <a:gd name="T4" fmla="*/ 866 w 33"/>
                <a:gd name="T5" fmla="*/ 34888 h 43"/>
                <a:gd name="T6" fmla="*/ 2165 w 33"/>
                <a:gd name="T7" fmla="*/ 27135 h 43"/>
                <a:gd name="T8" fmla="*/ 3897 w 33"/>
                <a:gd name="T9" fmla="*/ 19382 h 43"/>
                <a:gd name="T10" fmla="*/ 6062 w 33"/>
                <a:gd name="T11" fmla="*/ 11629 h 43"/>
                <a:gd name="T12" fmla="*/ 8659 w 33"/>
                <a:gd name="T13" fmla="*/ 6461 h 43"/>
                <a:gd name="T14" fmla="*/ 11257 w 33"/>
                <a:gd name="T15" fmla="*/ 2584 h 43"/>
                <a:gd name="T16" fmla="*/ 14288 w 33"/>
                <a:gd name="T17" fmla="*/ 0 h 43"/>
                <a:gd name="T18" fmla="*/ 14288 w 33"/>
                <a:gd name="T19" fmla="*/ 32304 h 43"/>
                <a:gd name="T20" fmla="*/ 9958 w 33"/>
                <a:gd name="T21" fmla="*/ 34888 h 43"/>
                <a:gd name="T22" fmla="*/ 7793 w 33"/>
                <a:gd name="T23" fmla="*/ 37473 h 43"/>
                <a:gd name="T24" fmla="*/ 6928 w 33"/>
                <a:gd name="T25" fmla="*/ 41349 h 43"/>
                <a:gd name="T26" fmla="*/ 6928 w 33"/>
                <a:gd name="T27" fmla="*/ 43934 h 43"/>
                <a:gd name="T28" fmla="*/ 6928 w 33"/>
                <a:gd name="T29" fmla="*/ 46518 h 43"/>
                <a:gd name="T30" fmla="*/ 6062 w 33"/>
                <a:gd name="T31" fmla="*/ 49102 h 43"/>
                <a:gd name="T32" fmla="*/ 4330 w 33"/>
                <a:gd name="T33" fmla="*/ 52979 h 43"/>
                <a:gd name="T34" fmla="*/ 0 w 33"/>
                <a:gd name="T35" fmla="*/ 55563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66" name="Freeform 308">
              <a:extLst>
                <a:ext uri="{FF2B5EF4-FFF2-40B4-BE49-F238E27FC236}">
                  <a16:creationId xmlns:a16="http://schemas.microsoft.com/office/drawing/2014/main" id="{523B6133-C180-4F31-8C5A-C47EC3853F28}"/>
                </a:ext>
              </a:extLst>
            </p:cNvPr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8880476" y="3819525"/>
              <a:ext cx="22225" cy="58738"/>
            </a:xfrm>
            <a:custGeom>
              <a:avLst/>
              <a:gdLst>
                <a:gd name="T0" fmla="*/ 0 w 54"/>
                <a:gd name="T1" fmla="*/ 35115 h 92"/>
                <a:gd name="T2" fmla="*/ 412 w 54"/>
                <a:gd name="T3" fmla="*/ 32561 h 92"/>
                <a:gd name="T4" fmla="*/ 823 w 54"/>
                <a:gd name="T5" fmla="*/ 29369 h 92"/>
                <a:gd name="T6" fmla="*/ 1235 w 54"/>
                <a:gd name="T7" fmla="*/ 26815 h 92"/>
                <a:gd name="T8" fmla="*/ 2469 w 54"/>
                <a:gd name="T9" fmla="*/ 23623 h 92"/>
                <a:gd name="T10" fmla="*/ 4527 w 54"/>
                <a:gd name="T11" fmla="*/ 18515 h 92"/>
                <a:gd name="T12" fmla="*/ 7408 w 54"/>
                <a:gd name="T13" fmla="*/ 13408 h 92"/>
                <a:gd name="T14" fmla="*/ 12759 w 54"/>
                <a:gd name="T15" fmla="*/ 4469 h 92"/>
                <a:gd name="T16" fmla="*/ 16875 w 54"/>
                <a:gd name="T17" fmla="*/ 0 h 92"/>
                <a:gd name="T18" fmla="*/ 22225 w 54"/>
                <a:gd name="T19" fmla="*/ 7661 h 92"/>
                <a:gd name="T20" fmla="*/ 20990 w 54"/>
                <a:gd name="T21" fmla="*/ 13408 h 92"/>
                <a:gd name="T22" fmla="*/ 19344 w 54"/>
                <a:gd name="T23" fmla="*/ 18515 h 92"/>
                <a:gd name="T24" fmla="*/ 18109 w 54"/>
                <a:gd name="T25" fmla="*/ 22346 h 92"/>
                <a:gd name="T26" fmla="*/ 16875 w 54"/>
                <a:gd name="T27" fmla="*/ 26177 h 92"/>
                <a:gd name="T28" fmla="*/ 13582 w 54"/>
                <a:gd name="T29" fmla="*/ 31284 h 92"/>
                <a:gd name="T30" fmla="*/ 11524 w 54"/>
                <a:gd name="T31" fmla="*/ 35115 h 92"/>
                <a:gd name="T32" fmla="*/ 10701 w 54"/>
                <a:gd name="T33" fmla="*/ 40861 h 92"/>
                <a:gd name="T34" fmla="*/ 10701 w 54"/>
                <a:gd name="T35" fmla="*/ 47246 h 92"/>
                <a:gd name="T36" fmla="*/ 9878 w 54"/>
                <a:gd name="T37" fmla="*/ 52992 h 92"/>
                <a:gd name="T38" fmla="*/ 8231 w 54"/>
                <a:gd name="T39" fmla="*/ 58738 h 92"/>
                <a:gd name="T40" fmla="*/ 5762 w 54"/>
                <a:gd name="T41" fmla="*/ 52992 h 92"/>
                <a:gd name="T42" fmla="*/ 3293 w 54"/>
                <a:gd name="T43" fmla="*/ 47246 h 92"/>
                <a:gd name="T44" fmla="*/ 2058 w 54"/>
                <a:gd name="T45" fmla="*/ 44692 h 92"/>
                <a:gd name="T46" fmla="*/ 823 w 54"/>
                <a:gd name="T47" fmla="*/ 40861 h 92"/>
                <a:gd name="T48" fmla="*/ 412 w 54"/>
                <a:gd name="T49" fmla="*/ 38307 h 92"/>
                <a:gd name="T50" fmla="*/ 0 w 54"/>
                <a:gd name="T51" fmla="*/ 35115 h 9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67" name="Freeform 309">
              <a:extLst>
                <a:ext uri="{FF2B5EF4-FFF2-40B4-BE49-F238E27FC236}">
                  <a16:creationId xmlns:a16="http://schemas.microsoft.com/office/drawing/2014/main" id="{2B3C58E9-CA42-457E-BB57-927D00A941AB}"/>
                </a:ext>
              </a:extLst>
            </p:cNvPr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8928101" y="3698875"/>
              <a:ext cx="23813" cy="57150"/>
            </a:xfrm>
            <a:custGeom>
              <a:avLst/>
              <a:gdLst>
                <a:gd name="T0" fmla="*/ 0 w 60"/>
                <a:gd name="T1" fmla="*/ 0 h 18"/>
                <a:gd name="T2" fmla="*/ 7541 w 60"/>
                <a:gd name="T3" fmla="*/ 12700 h 18"/>
                <a:gd name="T4" fmla="*/ 14685 w 60"/>
                <a:gd name="T5" fmla="*/ 28575 h 18"/>
                <a:gd name="T6" fmla="*/ 17860 w 60"/>
                <a:gd name="T7" fmla="*/ 34925 h 18"/>
                <a:gd name="T8" fmla="*/ 20241 w 60"/>
                <a:gd name="T9" fmla="*/ 41275 h 18"/>
                <a:gd name="T10" fmla="*/ 22225 w 60"/>
                <a:gd name="T11" fmla="*/ 50800 h 18"/>
                <a:gd name="T12" fmla="*/ 23813 w 60"/>
                <a:gd name="T13" fmla="*/ 57150 h 18"/>
                <a:gd name="T14" fmla="*/ 15082 w 60"/>
                <a:gd name="T15" fmla="*/ 57150 h 18"/>
                <a:gd name="T16" fmla="*/ 9128 w 60"/>
                <a:gd name="T17" fmla="*/ 57150 h 18"/>
                <a:gd name="T18" fmla="*/ 3969 w 60"/>
                <a:gd name="T19" fmla="*/ 57150 h 18"/>
                <a:gd name="T20" fmla="*/ 0 w 60"/>
                <a:gd name="T21" fmla="*/ 57150 h 18"/>
                <a:gd name="T22" fmla="*/ 0 w 6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68" name="Freeform 310">
              <a:extLst>
                <a:ext uri="{FF2B5EF4-FFF2-40B4-BE49-F238E27FC236}">
                  <a16:creationId xmlns:a16="http://schemas.microsoft.com/office/drawing/2014/main" id="{868D7F19-4978-4289-AAF5-619605A9FF01}"/>
                </a:ext>
              </a:extLst>
            </p:cNvPr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8912225" y="3668713"/>
              <a:ext cx="25400" cy="57150"/>
            </a:xfrm>
            <a:custGeom>
              <a:avLst/>
              <a:gdLst>
                <a:gd name="T0" fmla="*/ 0 w 66"/>
                <a:gd name="T1" fmla="*/ 57150 h 18"/>
                <a:gd name="T2" fmla="*/ 25400 w 66"/>
                <a:gd name="T3" fmla="*/ 57150 h 18"/>
                <a:gd name="T4" fmla="*/ 20012 w 66"/>
                <a:gd name="T5" fmla="*/ 41275 h 18"/>
                <a:gd name="T6" fmla="*/ 15394 w 66"/>
                <a:gd name="T7" fmla="*/ 22225 h 18"/>
                <a:gd name="T8" fmla="*/ 13470 w 66"/>
                <a:gd name="T9" fmla="*/ 12700 h 18"/>
                <a:gd name="T10" fmla="*/ 11161 w 66"/>
                <a:gd name="T11" fmla="*/ 6350 h 18"/>
                <a:gd name="T12" fmla="*/ 9621 w 66"/>
                <a:gd name="T13" fmla="*/ 3175 h 18"/>
                <a:gd name="T14" fmla="*/ 7312 w 66"/>
                <a:gd name="T15" fmla="*/ 0 h 18"/>
                <a:gd name="T16" fmla="*/ 0 w 66"/>
                <a:gd name="T17" fmla="*/ 57150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69" name="Freeform 311">
              <a:extLst>
                <a:ext uri="{FF2B5EF4-FFF2-40B4-BE49-F238E27FC236}">
                  <a16:creationId xmlns:a16="http://schemas.microsoft.com/office/drawing/2014/main" id="{961D87CA-90A0-4A9D-9226-045766B335FD}"/>
                </a:ext>
              </a:extLst>
            </p:cNvPr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8737600" y="3565525"/>
              <a:ext cx="7938" cy="57150"/>
            </a:xfrm>
            <a:custGeom>
              <a:avLst/>
              <a:gdLst>
                <a:gd name="T0" fmla="*/ 0 w 17"/>
                <a:gd name="T1" fmla="*/ 48986 h 42"/>
                <a:gd name="T2" fmla="*/ 6070 w 17"/>
                <a:gd name="T3" fmla="*/ 57150 h 42"/>
                <a:gd name="T4" fmla="*/ 6537 w 17"/>
                <a:gd name="T5" fmla="*/ 44904 h 42"/>
                <a:gd name="T6" fmla="*/ 7471 w 17"/>
                <a:gd name="T7" fmla="*/ 31296 h 42"/>
                <a:gd name="T8" fmla="*/ 7938 w 17"/>
                <a:gd name="T9" fmla="*/ 24493 h 42"/>
                <a:gd name="T10" fmla="*/ 7471 w 17"/>
                <a:gd name="T11" fmla="*/ 16329 h 42"/>
                <a:gd name="T12" fmla="*/ 7471 w 17"/>
                <a:gd name="T13" fmla="*/ 8164 h 42"/>
                <a:gd name="T14" fmla="*/ 6070 w 17"/>
                <a:gd name="T15" fmla="*/ 0 h 42"/>
                <a:gd name="T16" fmla="*/ 0 w 17"/>
                <a:gd name="T17" fmla="*/ 48986 h 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70" name="Freeform 312">
              <a:extLst>
                <a:ext uri="{FF2B5EF4-FFF2-40B4-BE49-F238E27FC236}">
                  <a16:creationId xmlns:a16="http://schemas.microsoft.com/office/drawing/2014/main" id="{75F7AA41-B1B4-4670-97CE-83841912953F}"/>
                </a:ext>
              </a:extLst>
            </p:cNvPr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8664576" y="3700464"/>
              <a:ext cx="30163" cy="58737"/>
            </a:xfrm>
            <a:custGeom>
              <a:avLst/>
              <a:gdLst>
                <a:gd name="T0" fmla="*/ 2514 w 72"/>
                <a:gd name="T1" fmla="*/ 58737 h 29"/>
                <a:gd name="T2" fmla="*/ 6284 w 72"/>
                <a:gd name="T3" fmla="*/ 52661 h 29"/>
                <a:gd name="T4" fmla="*/ 10054 w 72"/>
                <a:gd name="T5" fmla="*/ 48610 h 29"/>
                <a:gd name="T6" fmla="*/ 13406 w 72"/>
                <a:gd name="T7" fmla="*/ 48610 h 29"/>
                <a:gd name="T8" fmla="*/ 16338 w 72"/>
                <a:gd name="T9" fmla="*/ 48610 h 29"/>
                <a:gd name="T10" fmla="*/ 23041 w 72"/>
                <a:gd name="T11" fmla="*/ 54686 h 29"/>
                <a:gd name="T12" fmla="*/ 30163 w 72"/>
                <a:gd name="T13" fmla="*/ 58737 h 29"/>
                <a:gd name="T14" fmla="*/ 30163 w 72"/>
                <a:gd name="T15" fmla="*/ 8102 h 29"/>
                <a:gd name="T16" fmla="*/ 24298 w 72"/>
                <a:gd name="T17" fmla="*/ 2025 h 29"/>
                <a:gd name="T18" fmla="*/ 19690 w 72"/>
                <a:gd name="T19" fmla="*/ 0 h 29"/>
                <a:gd name="T20" fmla="*/ 16338 w 72"/>
                <a:gd name="T21" fmla="*/ 0 h 29"/>
                <a:gd name="T22" fmla="*/ 14244 w 72"/>
                <a:gd name="T23" fmla="*/ 4051 h 29"/>
                <a:gd name="T24" fmla="*/ 11311 w 72"/>
                <a:gd name="T25" fmla="*/ 6076 h 29"/>
                <a:gd name="T26" fmla="*/ 8798 w 72"/>
                <a:gd name="T27" fmla="*/ 10127 h 29"/>
                <a:gd name="T28" fmla="*/ 5027 w 72"/>
                <a:gd name="T29" fmla="*/ 10127 h 29"/>
                <a:gd name="T30" fmla="*/ 0 w 72"/>
                <a:gd name="T31" fmla="*/ 8102 h 29"/>
                <a:gd name="T32" fmla="*/ 1257 w 72"/>
                <a:gd name="T33" fmla="*/ 32407 h 29"/>
                <a:gd name="T34" fmla="*/ 2514 w 72"/>
                <a:gd name="T35" fmla="*/ 58737 h 2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71" name="Freeform 313">
              <a:extLst>
                <a:ext uri="{FF2B5EF4-FFF2-40B4-BE49-F238E27FC236}">
                  <a16:creationId xmlns:a16="http://schemas.microsoft.com/office/drawing/2014/main" id="{A5B46204-B30C-4C79-92DC-59914F5F06CA}"/>
                </a:ext>
              </a:extLst>
            </p:cNvPr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8672513" y="3886201"/>
              <a:ext cx="19050" cy="55563"/>
            </a:xfrm>
            <a:custGeom>
              <a:avLst/>
              <a:gdLst>
                <a:gd name="T0" fmla="*/ 0 w 46"/>
                <a:gd name="T1" fmla="*/ 0 h 37"/>
                <a:gd name="T2" fmla="*/ 3727 w 46"/>
                <a:gd name="T3" fmla="*/ 13515 h 37"/>
                <a:gd name="T4" fmla="*/ 8283 w 46"/>
                <a:gd name="T5" fmla="*/ 22526 h 37"/>
                <a:gd name="T6" fmla="*/ 12838 w 46"/>
                <a:gd name="T7" fmla="*/ 30034 h 37"/>
                <a:gd name="T8" fmla="*/ 19050 w 46"/>
                <a:gd name="T9" fmla="*/ 37543 h 37"/>
                <a:gd name="T10" fmla="*/ 15323 w 46"/>
                <a:gd name="T11" fmla="*/ 43549 h 37"/>
                <a:gd name="T12" fmla="*/ 12010 w 46"/>
                <a:gd name="T13" fmla="*/ 49556 h 37"/>
                <a:gd name="T14" fmla="*/ 8697 w 46"/>
                <a:gd name="T15" fmla="*/ 54061 h 37"/>
                <a:gd name="T16" fmla="*/ 5384 w 46"/>
                <a:gd name="T17" fmla="*/ 55563 h 37"/>
                <a:gd name="T18" fmla="*/ 3727 w 46"/>
                <a:gd name="T19" fmla="*/ 54061 h 37"/>
                <a:gd name="T20" fmla="*/ 2899 w 46"/>
                <a:gd name="T21" fmla="*/ 49556 h 37"/>
                <a:gd name="T22" fmla="*/ 2071 w 46"/>
                <a:gd name="T23" fmla="*/ 43549 h 37"/>
                <a:gd name="T24" fmla="*/ 1242 w 46"/>
                <a:gd name="T25" fmla="*/ 34539 h 37"/>
                <a:gd name="T26" fmla="*/ 414 w 46"/>
                <a:gd name="T27" fmla="*/ 18020 h 37"/>
                <a:gd name="T28" fmla="*/ 0 w 46"/>
                <a:gd name="T29" fmla="*/ 0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72" name="Freeform 314">
              <a:extLst>
                <a:ext uri="{FF2B5EF4-FFF2-40B4-BE49-F238E27FC236}">
                  <a16:creationId xmlns:a16="http://schemas.microsoft.com/office/drawing/2014/main" id="{653A110E-3E6F-4169-9188-015B9D1E3487}"/>
                </a:ext>
              </a:extLst>
            </p:cNvPr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8785226" y="3705225"/>
              <a:ext cx="11113" cy="57150"/>
            </a:xfrm>
            <a:custGeom>
              <a:avLst/>
              <a:gdLst>
                <a:gd name="T0" fmla="*/ 0 w 26"/>
                <a:gd name="T1" fmla="*/ 0 h 19"/>
                <a:gd name="T2" fmla="*/ 11113 w 26"/>
                <a:gd name="T3" fmla="*/ 57150 h 19"/>
                <a:gd name="T4" fmla="*/ 11113 w 26"/>
                <a:gd name="T5" fmla="*/ 27071 h 19"/>
                <a:gd name="T6" fmla="*/ 11113 w 26"/>
                <a:gd name="T7" fmla="*/ 0 h 19"/>
                <a:gd name="T8" fmla="*/ 6411 w 26"/>
                <a:gd name="T9" fmla="*/ 0 h 19"/>
                <a:gd name="T10" fmla="*/ 0 w 26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73" name="Freeform 315">
              <a:extLst>
                <a:ext uri="{FF2B5EF4-FFF2-40B4-BE49-F238E27FC236}">
                  <a16:creationId xmlns:a16="http://schemas.microsoft.com/office/drawing/2014/main" id="{D022BE89-0E84-467F-9BAD-EDB7F58C3E7E}"/>
                </a:ext>
              </a:extLst>
            </p:cNvPr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8645525" y="3700464"/>
              <a:ext cx="19050" cy="58737"/>
            </a:xfrm>
            <a:custGeom>
              <a:avLst/>
              <a:gdLst>
                <a:gd name="T0" fmla="*/ 886 w 43"/>
                <a:gd name="T1" fmla="*/ 0 h 31"/>
                <a:gd name="T2" fmla="*/ 443 w 43"/>
                <a:gd name="T3" fmla="*/ 22737 h 31"/>
                <a:gd name="T4" fmla="*/ 0 w 43"/>
                <a:gd name="T5" fmla="*/ 43579 h 31"/>
                <a:gd name="T6" fmla="*/ 0 w 43"/>
                <a:gd name="T7" fmla="*/ 49263 h 31"/>
                <a:gd name="T8" fmla="*/ 0 w 43"/>
                <a:gd name="T9" fmla="*/ 54948 h 31"/>
                <a:gd name="T10" fmla="*/ 0 w 43"/>
                <a:gd name="T11" fmla="*/ 58737 h 31"/>
                <a:gd name="T12" fmla="*/ 886 w 43"/>
                <a:gd name="T13" fmla="*/ 58737 h 31"/>
                <a:gd name="T14" fmla="*/ 5759 w 43"/>
                <a:gd name="T15" fmla="*/ 41684 h 31"/>
                <a:gd name="T16" fmla="*/ 11076 w 43"/>
                <a:gd name="T17" fmla="*/ 24632 h 31"/>
                <a:gd name="T18" fmla="*/ 15506 w 43"/>
                <a:gd name="T19" fmla="*/ 9474 h 31"/>
                <a:gd name="T20" fmla="*/ 19050 w 43"/>
                <a:gd name="T21" fmla="*/ 0 h 31"/>
                <a:gd name="T22" fmla="*/ 886 w 43"/>
                <a:gd name="T23" fmla="*/ 0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74" name="Freeform 316">
              <a:extLst>
                <a:ext uri="{FF2B5EF4-FFF2-40B4-BE49-F238E27FC236}">
                  <a16:creationId xmlns:a16="http://schemas.microsoft.com/office/drawing/2014/main" id="{636F332E-A556-4290-8ED1-F051788FEC52}"/>
                </a:ext>
              </a:extLst>
            </p:cNvPr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8689976" y="3748088"/>
              <a:ext cx="30163" cy="57150"/>
            </a:xfrm>
            <a:custGeom>
              <a:avLst/>
              <a:gdLst>
                <a:gd name="T0" fmla="*/ 1699 w 71"/>
                <a:gd name="T1" fmla="*/ 13996 h 49"/>
                <a:gd name="T2" fmla="*/ 1699 w 71"/>
                <a:gd name="T3" fmla="*/ 20994 h 49"/>
                <a:gd name="T4" fmla="*/ 2124 w 71"/>
                <a:gd name="T5" fmla="*/ 29158 h 49"/>
                <a:gd name="T6" fmla="*/ 2974 w 71"/>
                <a:gd name="T7" fmla="*/ 36156 h 49"/>
                <a:gd name="T8" fmla="*/ 3823 w 71"/>
                <a:gd name="T9" fmla="*/ 43154 h 49"/>
                <a:gd name="T10" fmla="*/ 5948 w 71"/>
                <a:gd name="T11" fmla="*/ 47819 h 49"/>
                <a:gd name="T12" fmla="*/ 7647 w 71"/>
                <a:gd name="T13" fmla="*/ 53651 h 49"/>
                <a:gd name="T14" fmla="*/ 9771 w 71"/>
                <a:gd name="T15" fmla="*/ 55984 h 49"/>
                <a:gd name="T16" fmla="*/ 12745 w 71"/>
                <a:gd name="T17" fmla="*/ 57150 h 49"/>
                <a:gd name="T18" fmla="*/ 14869 w 71"/>
                <a:gd name="T19" fmla="*/ 55984 h 49"/>
                <a:gd name="T20" fmla="*/ 16993 w 71"/>
                <a:gd name="T21" fmla="*/ 53651 h 49"/>
                <a:gd name="T22" fmla="*/ 19117 w 71"/>
                <a:gd name="T23" fmla="*/ 48986 h 49"/>
                <a:gd name="T24" fmla="*/ 21242 w 71"/>
                <a:gd name="T25" fmla="*/ 43154 h 49"/>
                <a:gd name="T26" fmla="*/ 25490 w 71"/>
                <a:gd name="T27" fmla="*/ 32657 h 49"/>
                <a:gd name="T28" fmla="*/ 30163 w 71"/>
                <a:gd name="T29" fmla="*/ 20994 h 49"/>
                <a:gd name="T30" fmla="*/ 25915 w 71"/>
                <a:gd name="T31" fmla="*/ 13996 h 49"/>
                <a:gd name="T32" fmla="*/ 22091 w 71"/>
                <a:gd name="T33" fmla="*/ 10497 h 49"/>
                <a:gd name="T34" fmla="*/ 18693 w 71"/>
                <a:gd name="T35" fmla="*/ 8164 h 49"/>
                <a:gd name="T36" fmla="*/ 15719 w 71"/>
                <a:gd name="T37" fmla="*/ 6998 h 49"/>
                <a:gd name="T38" fmla="*/ 12320 w 71"/>
                <a:gd name="T39" fmla="*/ 6998 h 49"/>
                <a:gd name="T40" fmla="*/ 8921 w 71"/>
                <a:gd name="T41" fmla="*/ 5832 h 49"/>
                <a:gd name="T42" fmla="*/ 5948 w 71"/>
                <a:gd name="T43" fmla="*/ 3499 h 49"/>
                <a:gd name="T44" fmla="*/ 1699 w 71"/>
                <a:gd name="T45" fmla="*/ 0 h 49"/>
                <a:gd name="T46" fmla="*/ 1274 w 71"/>
                <a:gd name="T47" fmla="*/ 1166 h 49"/>
                <a:gd name="T48" fmla="*/ 425 w 71"/>
                <a:gd name="T49" fmla="*/ 6998 h 49"/>
                <a:gd name="T50" fmla="*/ 0 w 71"/>
                <a:gd name="T51" fmla="*/ 9331 h 49"/>
                <a:gd name="T52" fmla="*/ 0 w 71"/>
                <a:gd name="T53" fmla="*/ 11663 h 49"/>
                <a:gd name="T54" fmla="*/ 425 w 71"/>
                <a:gd name="T55" fmla="*/ 12830 h 49"/>
                <a:gd name="T56" fmla="*/ 1699 w 71"/>
                <a:gd name="T57" fmla="*/ 13996 h 4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75" name="Freeform 317">
              <a:extLst>
                <a:ext uri="{FF2B5EF4-FFF2-40B4-BE49-F238E27FC236}">
                  <a16:creationId xmlns:a16="http://schemas.microsoft.com/office/drawing/2014/main" id="{E8873A6E-583F-4245-B2A6-2DA71A54F056}"/>
                </a:ext>
              </a:extLst>
            </p:cNvPr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8491539" y="3951289"/>
              <a:ext cx="46037" cy="58737"/>
            </a:xfrm>
            <a:custGeom>
              <a:avLst/>
              <a:gdLst>
                <a:gd name="T0" fmla="*/ 18908 w 112"/>
                <a:gd name="T1" fmla="*/ 4518 h 26"/>
                <a:gd name="T2" fmla="*/ 23019 w 112"/>
                <a:gd name="T3" fmla="*/ 4518 h 26"/>
                <a:gd name="T4" fmla="*/ 27129 w 112"/>
                <a:gd name="T5" fmla="*/ 6777 h 26"/>
                <a:gd name="T6" fmla="*/ 30417 w 112"/>
                <a:gd name="T7" fmla="*/ 9036 h 26"/>
                <a:gd name="T8" fmla="*/ 34528 w 112"/>
                <a:gd name="T9" fmla="*/ 13555 h 26"/>
                <a:gd name="T10" fmla="*/ 37816 w 112"/>
                <a:gd name="T11" fmla="*/ 20332 h 26"/>
                <a:gd name="T12" fmla="*/ 41104 w 112"/>
                <a:gd name="T13" fmla="*/ 27109 h 26"/>
                <a:gd name="T14" fmla="*/ 43571 w 112"/>
                <a:gd name="T15" fmla="*/ 36146 h 26"/>
                <a:gd name="T16" fmla="*/ 46037 w 112"/>
                <a:gd name="T17" fmla="*/ 45182 h 26"/>
                <a:gd name="T18" fmla="*/ 45215 w 112"/>
                <a:gd name="T19" fmla="*/ 49701 h 26"/>
                <a:gd name="T20" fmla="*/ 43160 w 112"/>
                <a:gd name="T21" fmla="*/ 51960 h 26"/>
                <a:gd name="T22" fmla="*/ 41516 w 112"/>
                <a:gd name="T23" fmla="*/ 56478 h 26"/>
                <a:gd name="T24" fmla="*/ 39049 w 112"/>
                <a:gd name="T25" fmla="*/ 56478 h 26"/>
                <a:gd name="T26" fmla="*/ 35761 w 112"/>
                <a:gd name="T27" fmla="*/ 58737 h 26"/>
                <a:gd name="T28" fmla="*/ 32473 w 112"/>
                <a:gd name="T29" fmla="*/ 58737 h 26"/>
                <a:gd name="T30" fmla="*/ 27129 w 112"/>
                <a:gd name="T31" fmla="*/ 54219 h 26"/>
                <a:gd name="T32" fmla="*/ 16853 w 112"/>
                <a:gd name="T33" fmla="*/ 42923 h 26"/>
                <a:gd name="T34" fmla="*/ 6577 w 112"/>
                <a:gd name="T35" fmla="*/ 29369 h 26"/>
                <a:gd name="T36" fmla="*/ 0 w 112"/>
                <a:gd name="T37" fmla="*/ 18073 h 26"/>
                <a:gd name="T38" fmla="*/ 2055 w 112"/>
                <a:gd name="T39" fmla="*/ 9036 h 26"/>
                <a:gd name="T40" fmla="*/ 4521 w 112"/>
                <a:gd name="T41" fmla="*/ 4518 h 26"/>
                <a:gd name="T42" fmla="*/ 7399 w 112"/>
                <a:gd name="T43" fmla="*/ 2259 h 26"/>
                <a:gd name="T44" fmla="*/ 10276 w 112"/>
                <a:gd name="T45" fmla="*/ 0 h 26"/>
                <a:gd name="T46" fmla="*/ 15209 w 112"/>
                <a:gd name="T47" fmla="*/ 2259 h 26"/>
                <a:gd name="T48" fmla="*/ 18908 w 112"/>
                <a:gd name="T49" fmla="*/ 4518 h 2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76" name="Freeform 318">
              <a:extLst>
                <a:ext uri="{FF2B5EF4-FFF2-40B4-BE49-F238E27FC236}">
                  <a16:creationId xmlns:a16="http://schemas.microsoft.com/office/drawing/2014/main" id="{8B66669A-B104-4C01-800C-24993523196F}"/>
                </a:ext>
              </a:extLst>
            </p:cNvPr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8589964" y="3989389"/>
              <a:ext cx="14287" cy="58737"/>
            </a:xfrm>
            <a:custGeom>
              <a:avLst/>
              <a:gdLst>
                <a:gd name="T0" fmla="*/ 0 w 41"/>
                <a:gd name="T1" fmla="*/ 0 h 25"/>
                <a:gd name="T2" fmla="*/ 14287 w 41"/>
                <a:gd name="T3" fmla="*/ 0 h 25"/>
                <a:gd name="T4" fmla="*/ 9757 w 41"/>
                <a:gd name="T5" fmla="*/ 18796 h 25"/>
                <a:gd name="T6" fmla="*/ 6272 w 41"/>
                <a:gd name="T7" fmla="*/ 35242 h 25"/>
                <a:gd name="T8" fmla="*/ 3136 w 41"/>
                <a:gd name="T9" fmla="*/ 46990 h 25"/>
                <a:gd name="T10" fmla="*/ 0 w 41"/>
                <a:gd name="T11" fmla="*/ 58737 h 25"/>
                <a:gd name="T12" fmla="*/ 0 w 41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77" name="Freeform 319">
              <a:extLst>
                <a:ext uri="{FF2B5EF4-FFF2-40B4-BE49-F238E27FC236}">
                  <a16:creationId xmlns:a16="http://schemas.microsoft.com/office/drawing/2014/main" id="{15315BF5-8A67-44F4-B136-84239293C2B6}"/>
                </a:ext>
              </a:extLst>
            </p:cNvPr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8423276" y="3921126"/>
              <a:ext cx="36513" cy="55563"/>
            </a:xfrm>
            <a:custGeom>
              <a:avLst/>
              <a:gdLst>
                <a:gd name="T0" fmla="*/ 0 w 81"/>
                <a:gd name="T1" fmla="*/ 55563 h 31"/>
                <a:gd name="T2" fmla="*/ 0 w 81"/>
                <a:gd name="T3" fmla="*/ 39432 h 31"/>
                <a:gd name="T4" fmla="*/ 0 w 81"/>
                <a:gd name="T5" fmla="*/ 23301 h 31"/>
                <a:gd name="T6" fmla="*/ 0 w 81"/>
                <a:gd name="T7" fmla="*/ 17924 h 31"/>
                <a:gd name="T8" fmla="*/ 902 w 81"/>
                <a:gd name="T9" fmla="*/ 14339 h 31"/>
                <a:gd name="T10" fmla="*/ 1352 w 81"/>
                <a:gd name="T11" fmla="*/ 10754 h 31"/>
                <a:gd name="T12" fmla="*/ 1803 w 81"/>
                <a:gd name="T13" fmla="*/ 7169 h 31"/>
                <a:gd name="T14" fmla="*/ 3606 w 81"/>
                <a:gd name="T15" fmla="*/ 3585 h 31"/>
                <a:gd name="T16" fmla="*/ 6311 w 81"/>
                <a:gd name="T17" fmla="*/ 0 h 31"/>
                <a:gd name="T18" fmla="*/ 11720 w 81"/>
                <a:gd name="T19" fmla="*/ 1792 h 31"/>
                <a:gd name="T20" fmla="*/ 18482 w 81"/>
                <a:gd name="T21" fmla="*/ 1792 h 31"/>
                <a:gd name="T22" fmla="*/ 25244 w 81"/>
                <a:gd name="T23" fmla="*/ 1792 h 31"/>
                <a:gd name="T24" fmla="*/ 29301 w 81"/>
                <a:gd name="T25" fmla="*/ 1792 h 31"/>
                <a:gd name="T26" fmla="*/ 32907 w 81"/>
                <a:gd name="T27" fmla="*/ 1792 h 31"/>
                <a:gd name="T28" fmla="*/ 36513 w 81"/>
                <a:gd name="T29" fmla="*/ 1792 h 31"/>
                <a:gd name="T30" fmla="*/ 32907 w 81"/>
                <a:gd name="T31" fmla="*/ 10754 h 31"/>
                <a:gd name="T32" fmla="*/ 30202 w 81"/>
                <a:gd name="T33" fmla="*/ 17924 h 31"/>
                <a:gd name="T34" fmla="*/ 28850 w 81"/>
                <a:gd name="T35" fmla="*/ 25093 h 31"/>
                <a:gd name="T36" fmla="*/ 27948 w 81"/>
                <a:gd name="T37" fmla="*/ 32262 h 31"/>
                <a:gd name="T38" fmla="*/ 26596 w 81"/>
                <a:gd name="T39" fmla="*/ 37639 h 31"/>
                <a:gd name="T40" fmla="*/ 24342 w 81"/>
                <a:gd name="T41" fmla="*/ 41224 h 31"/>
                <a:gd name="T42" fmla="*/ 21187 w 81"/>
                <a:gd name="T43" fmla="*/ 44809 h 31"/>
                <a:gd name="T44" fmla="*/ 15326 w 81"/>
                <a:gd name="T45" fmla="*/ 44809 h 31"/>
                <a:gd name="T46" fmla="*/ 0 w 81"/>
                <a:gd name="T47" fmla="*/ 55563 h 3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78" name="Freeform 320">
              <a:extLst>
                <a:ext uri="{FF2B5EF4-FFF2-40B4-BE49-F238E27FC236}">
                  <a16:creationId xmlns:a16="http://schemas.microsoft.com/office/drawing/2014/main" id="{E2583DBC-9CBD-4F3D-B741-022DB97D7EB7}"/>
                </a:ext>
              </a:extLst>
            </p:cNvPr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8467725" y="3906838"/>
              <a:ext cx="39688" cy="55562"/>
            </a:xfrm>
            <a:custGeom>
              <a:avLst/>
              <a:gdLst>
                <a:gd name="T0" fmla="*/ 892 w 89"/>
                <a:gd name="T1" fmla="*/ 55562 h 49"/>
                <a:gd name="T2" fmla="*/ 39688 w 89"/>
                <a:gd name="T3" fmla="*/ 55562 h 49"/>
                <a:gd name="T4" fmla="*/ 34783 w 89"/>
                <a:gd name="T5" fmla="*/ 46491 h 49"/>
                <a:gd name="T6" fmla="*/ 30323 w 89"/>
                <a:gd name="T7" fmla="*/ 39687 h 49"/>
                <a:gd name="T8" fmla="*/ 25418 w 89"/>
                <a:gd name="T9" fmla="*/ 34018 h 49"/>
                <a:gd name="T10" fmla="*/ 20513 w 89"/>
                <a:gd name="T11" fmla="*/ 28348 h 49"/>
                <a:gd name="T12" fmla="*/ 16054 w 89"/>
                <a:gd name="T13" fmla="*/ 23812 h 49"/>
                <a:gd name="T14" fmla="*/ 11594 w 89"/>
                <a:gd name="T15" fmla="*/ 15875 h 49"/>
                <a:gd name="T16" fmla="*/ 7135 w 89"/>
                <a:gd name="T17" fmla="*/ 9071 h 49"/>
                <a:gd name="T18" fmla="*/ 4013 w 89"/>
                <a:gd name="T19" fmla="*/ 0 h 49"/>
                <a:gd name="T20" fmla="*/ 1784 w 89"/>
                <a:gd name="T21" fmla="*/ 11339 h 49"/>
                <a:gd name="T22" fmla="*/ 446 w 89"/>
                <a:gd name="T23" fmla="*/ 26080 h 49"/>
                <a:gd name="T24" fmla="*/ 0 w 89"/>
                <a:gd name="T25" fmla="*/ 32884 h 49"/>
                <a:gd name="T26" fmla="*/ 0 w 89"/>
                <a:gd name="T27" fmla="*/ 40821 h 49"/>
                <a:gd name="T28" fmla="*/ 0 w 89"/>
                <a:gd name="T29" fmla="*/ 48758 h 49"/>
                <a:gd name="T30" fmla="*/ 892 w 89"/>
                <a:gd name="T31" fmla="*/ 55562 h 4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79" name="Freeform 321">
              <a:extLst>
                <a:ext uri="{FF2B5EF4-FFF2-40B4-BE49-F238E27FC236}">
                  <a16:creationId xmlns:a16="http://schemas.microsoft.com/office/drawing/2014/main" id="{4DA5A14D-EBF6-4542-B02A-5E0A1A65FF6D}"/>
                </a:ext>
              </a:extLst>
            </p:cNvPr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8520113" y="3916364"/>
              <a:ext cx="36512" cy="58737"/>
            </a:xfrm>
            <a:custGeom>
              <a:avLst/>
              <a:gdLst>
                <a:gd name="T0" fmla="*/ 0 w 86"/>
                <a:gd name="T1" fmla="*/ 26815 h 46"/>
                <a:gd name="T2" fmla="*/ 5944 w 86"/>
                <a:gd name="T3" fmla="*/ 33199 h 46"/>
                <a:gd name="T4" fmla="*/ 10614 w 86"/>
                <a:gd name="T5" fmla="*/ 37030 h 46"/>
                <a:gd name="T6" fmla="*/ 12737 w 86"/>
                <a:gd name="T7" fmla="*/ 38307 h 46"/>
                <a:gd name="T8" fmla="*/ 15284 w 86"/>
                <a:gd name="T9" fmla="*/ 38307 h 46"/>
                <a:gd name="T10" fmla="*/ 17407 w 86"/>
                <a:gd name="T11" fmla="*/ 37030 h 46"/>
                <a:gd name="T12" fmla="*/ 19530 w 86"/>
                <a:gd name="T13" fmla="*/ 34476 h 46"/>
                <a:gd name="T14" fmla="*/ 19530 w 86"/>
                <a:gd name="T15" fmla="*/ 45968 h 46"/>
                <a:gd name="T16" fmla="*/ 19530 w 86"/>
                <a:gd name="T17" fmla="*/ 58737 h 46"/>
                <a:gd name="T18" fmla="*/ 23775 w 86"/>
                <a:gd name="T19" fmla="*/ 57460 h 46"/>
                <a:gd name="T20" fmla="*/ 28445 w 86"/>
                <a:gd name="T21" fmla="*/ 54906 h 46"/>
                <a:gd name="T22" fmla="*/ 32691 w 86"/>
                <a:gd name="T23" fmla="*/ 51076 h 46"/>
                <a:gd name="T24" fmla="*/ 36512 w 86"/>
                <a:gd name="T25" fmla="*/ 51076 h 46"/>
                <a:gd name="T26" fmla="*/ 35238 w 86"/>
                <a:gd name="T27" fmla="*/ 40861 h 46"/>
                <a:gd name="T28" fmla="*/ 33965 w 86"/>
                <a:gd name="T29" fmla="*/ 31922 h 46"/>
                <a:gd name="T30" fmla="*/ 31417 w 86"/>
                <a:gd name="T31" fmla="*/ 24261 h 46"/>
                <a:gd name="T32" fmla="*/ 29719 w 86"/>
                <a:gd name="T33" fmla="*/ 17876 h 46"/>
                <a:gd name="T34" fmla="*/ 27172 w 86"/>
                <a:gd name="T35" fmla="*/ 11492 h 46"/>
                <a:gd name="T36" fmla="*/ 24624 w 86"/>
                <a:gd name="T37" fmla="*/ 7661 h 46"/>
                <a:gd name="T38" fmla="*/ 21652 w 86"/>
                <a:gd name="T39" fmla="*/ 3831 h 46"/>
                <a:gd name="T40" fmla="*/ 19530 w 86"/>
                <a:gd name="T41" fmla="*/ 1277 h 46"/>
                <a:gd name="T42" fmla="*/ 16558 w 86"/>
                <a:gd name="T43" fmla="*/ 0 h 46"/>
                <a:gd name="T44" fmla="*/ 14010 w 86"/>
                <a:gd name="T45" fmla="*/ 0 h 46"/>
                <a:gd name="T46" fmla="*/ 11039 w 86"/>
                <a:gd name="T47" fmla="*/ 1277 h 46"/>
                <a:gd name="T48" fmla="*/ 8067 w 86"/>
                <a:gd name="T49" fmla="*/ 3831 h 46"/>
                <a:gd name="T50" fmla="*/ 5944 w 86"/>
                <a:gd name="T51" fmla="*/ 7661 h 46"/>
                <a:gd name="T52" fmla="*/ 3396 w 86"/>
                <a:gd name="T53" fmla="*/ 12769 h 46"/>
                <a:gd name="T54" fmla="*/ 1698 w 86"/>
                <a:gd name="T55" fmla="*/ 19153 h 46"/>
                <a:gd name="T56" fmla="*/ 0 w 86"/>
                <a:gd name="T57" fmla="*/ 26815 h 4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0" name="Freeform 322">
              <a:extLst>
                <a:ext uri="{FF2B5EF4-FFF2-40B4-BE49-F238E27FC236}">
                  <a16:creationId xmlns:a16="http://schemas.microsoft.com/office/drawing/2014/main" id="{396E5749-F105-4C05-9014-055C59DDEAFB}"/>
                </a:ext>
              </a:extLst>
            </p:cNvPr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8572500" y="3921126"/>
              <a:ext cx="25400" cy="55563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55563 h 18"/>
                <a:gd name="T4" fmla="*/ 16790 w 59"/>
                <a:gd name="T5" fmla="*/ 55563 h 18"/>
                <a:gd name="T6" fmla="*/ 25400 w 59"/>
                <a:gd name="T7" fmla="*/ 18521 h 18"/>
                <a:gd name="T8" fmla="*/ 21956 w 59"/>
                <a:gd name="T9" fmla="*/ 15434 h 18"/>
                <a:gd name="T10" fmla="*/ 19373 w 59"/>
                <a:gd name="T11" fmla="*/ 12347 h 18"/>
                <a:gd name="T12" fmla="*/ 15929 w 59"/>
                <a:gd name="T13" fmla="*/ 15434 h 18"/>
                <a:gd name="T14" fmla="*/ 12485 w 59"/>
                <a:gd name="T15" fmla="*/ 18521 h 18"/>
                <a:gd name="T16" fmla="*/ 9471 w 59"/>
                <a:gd name="T17" fmla="*/ 18521 h 18"/>
                <a:gd name="T18" fmla="*/ 6027 w 59"/>
                <a:gd name="T19" fmla="*/ 15434 h 18"/>
                <a:gd name="T20" fmla="*/ 3014 w 59"/>
                <a:gd name="T21" fmla="*/ 12347 h 18"/>
                <a:gd name="T22" fmla="*/ 0 w 59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1" name="Freeform 323">
              <a:extLst>
                <a:ext uri="{FF2B5EF4-FFF2-40B4-BE49-F238E27FC236}">
                  <a16:creationId xmlns:a16="http://schemas.microsoft.com/office/drawing/2014/main" id="{7F0008F4-3E69-499B-8296-05E1EF0245F9}"/>
                </a:ext>
              </a:extLst>
            </p:cNvPr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8645525" y="3913188"/>
              <a:ext cx="1588" cy="55562"/>
            </a:xfrm>
            <a:custGeom>
              <a:avLst/>
              <a:gdLst>
                <a:gd name="T0" fmla="*/ 1588 w 4"/>
                <a:gd name="T1" fmla="*/ 55562 h 19"/>
                <a:gd name="T2" fmla="*/ 1588 w 4"/>
                <a:gd name="T3" fmla="*/ 0 h 19"/>
                <a:gd name="T4" fmla="*/ 794 w 4"/>
                <a:gd name="T5" fmla="*/ 2924 h 19"/>
                <a:gd name="T6" fmla="*/ 397 w 4"/>
                <a:gd name="T7" fmla="*/ 8773 h 19"/>
                <a:gd name="T8" fmla="*/ 0 w 4"/>
                <a:gd name="T9" fmla="*/ 17546 h 19"/>
                <a:gd name="T10" fmla="*/ 0 w 4"/>
                <a:gd name="T11" fmla="*/ 29243 h 19"/>
                <a:gd name="T12" fmla="*/ 0 w 4"/>
                <a:gd name="T13" fmla="*/ 40940 h 19"/>
                <a:gd name="T14" fmla="*/ 397 w 4"/>
                <a:gd name="T15" fmla="*/ 46789 h 19"/>
                <a:gd name="T16" fmla="*/ 794 w 4"/>
                <a:gd name="T17" fmla="*/ 55562 h 19"/>
                <a:gd name="T18" fmla="*/ 1588 w 4"/>
                <a:gd name="T19" fmla="*/ 55562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2" name="Freeform 324">
              <a:extLst>
                <a:ext uri="{FF2B5EF4-FFF2-40B4-BE49-F238E27FC236}">
                  <a16:creationId xmlns:a16="http://schemas.microsoft.com/office/drawing/2014/main" id="{E99A3227-6ABC-4A89-9EA9-82C79D59E37F}"/>
                </a:ext>
              </a:extLst>
            </p:cNvPr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8220075" y="3727450"/>
              <a:ext cx="20638" cy="58738"/>
            </a:xfrm>
            <a:custGeom>
              <a:avLst/>
              <a:gdLst>
                <a:gd name="T0" fmla="*/ 0 w 46"/>
                <a:gd name="T1" fmla="*/ 58738 h 50"/>
                <a:gd name="T2" fmla="*/ 3141 w 46"/>
                <a:gd name="T3" fmla="*/ 0 h 50"/>
                <a:gd name="T4" fmla="*/ 10319 w 46"/>
                <a:gd name="T5" fmla="*/ 9398 h 50"/>
                <a:gd name="T6" fmla="*/ 15254 w 46"/>
                <a:gd name="T7" fmla="*/ 16447 h 50"/>
                <a:gd name="T8" fmla="*/ 16600 w 46"/>
                <a:gd name="T9" fmla="*/ 21146 h 50"/>
                <a:gd name="T10" fmla="*/ 18395 w 46"/>
                <a:gd name="T11" fmla="*/ 25845 h 50"/>
                <a:gd name="T12" fmla="*/ 19741 w 46"/>
                <a:gd name="T13" fmla="*/ 35243 h 50"/>
                <a:gd name="T14" fmla="*/ 20638 w 46"/>
                <a:gd name="T15" fmla="*/ 44641 h 50"/>
                <a:gd name="T16" fmla="*/ 15254 w 46"/>
                <a:gd name="T17" fmla="*/ 49340 h 50"/>
                <a:gd name="T18" fmla="*/ 9422 w 46"/>
                <a:gd name="T19" fmla="*/ 54039 h 50"/>
                <a:gd name="T20" fmla="*/ 3589 w 46"/>
                <a:gd name="T21" fmla="*/ 57563 h 50"/>
                <a:gd name="T22" fmla="*/ 0 w 46"/>
                <a:gd name="T23" fmla="*/ 58738 h 5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3" name="Freeform 325">
              <a:extLst>
                <a:ext uri="{FF2B5EF4-FFF2-40B4-BE49-F238E27FC236}">
                  <a16:creationId xmlns:a16="http://schemas.microsoft.com/office/drawing/2014/main" id="{C39E77AE-A2F8-4029-99CA-F12EA0DD9BC3}"/>
                </a:ext>
              </a:extLst>
            </p:cNvPr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8166101" y="3700464"/>
              <a:ext cx="30163" cy="58737"/>
            </a:xfrm>
            <a:custGeom>
              <a:avLst/>
              <a:gdLst>
                <a:gd name="T0" fmla="*/ 0 w 66"/>
                <a:gd name="T1" fmla="*/ 0 h 80"/>
                <a:gd name="T2" fmla="*/ 4570 w 66"/>
                <a:gd name="T3" fmla="*/ 0 h 80"/>
                <a:gd name="T4" fmla="*/ 8226 w 66"/>
                <a:gd name="T5" fmla="*/ 0 h 80"/>
                <a:gd name="T6" fmla="*/ 11882 w 66"/>
                <a:gd name="T7" fmla="*/ 0 h 80"/>
                <a:gd name="T8" fmla="*/ 15082 w 66"/>
                <a:gd name="T9" fmla="*/ 0 h 80"/>
                <a:gd name="T10" fmla="*/ 15082 w 66"/>
                <a:gd name="T11" fmla="*/ 5139 h 80"/>
                <a:gd name="T12" fmla="*/ 15539 w 66"/>
                <a:gd name="T13" fmla="*/ 10279 h 80"/>
                <a:gd name="T14" fmla="*/ 16453 w 66"/>
                <a:gd name="T15" fmla="*/ 15418 h 80"/>
                <a:gd name="T16" fmla="*/ 17367 w 66"/>
                <a:gd name="T17" fmla="*/ 19824 h 80"/>
                <a:gd name="T18" fmla="*/ 20109 w 66"/>
                <a:gd name="T19" fmla="*/ 26432 h 80"/>
                <a:gd name="T20" fmla="*/ 22394 w 66"/>
                <a:gd name="T21" fmla="*/ 33040 h 80"/>
                <a:gd name="T22" fmla="*/ 25593 w 66"/>
                <a:gd name="T23" fmla="*/ 38179 h 80"/>
                <a:gd name="T24" fmla="*/ 27878 w 66"/>
                <a:gd name="T25" fmla="*/ 44053 h 80"/>
                <a:gd name="T26" fmla="*/ 28335 w 66"/>
                <a:gd name="T27" fmla="*/ 47724 h 80"/>
                <a:gd name="T28" fmla="*/ 29706 w 66"/>
                <a:gd name="T29" fmla="*/ 50661 h 80"/>
                <a:gd name="T30" fmla="*/ 30163 w 66"/>
                <a:gd name="T31" fmla="*/ 55066 h 80"/>
                <a:gd name="T32" fmla="*/ 30163 w 66"/>
                <a:gd name="T33" fmla="*/ 58737 h 80"/>
                <a:gd name="T34" fmla="*/ 0 w 66"/>
                <a:gd name="T35" fmla="*/ 13216 h 80"/>
                <a:gd name="T36" fmla="*/ 0 w 66"/>
                <a:gd name="T37" fmla="*/ 0 h 8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4" name="Freeform 326">
              <a:extLst>
                <a:ext uri="{FF2B5EF4-FFF2-40B4-BE49-F238E27FC236}">
                  <a16:creationId xmlns:a16="http://schemas.microsoft.com/office/drawing/2014/main" id="{9B963983-988F-4891-B7C4-A7CAC4B5294C}"/>
                </a:ext>
              </a:extLst>
            </p:cNvPr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8001000" y="3684588"/>
              <a:ext cx="7938" cy="57150"/>
            </a:xfrm>
            <a:custGeom>
              <a:avLst/>
              <a:gdLst>
                <a:gd name="T0" fmla="*/ 7938 w 20"/>
                <a:gd name="T1" fmla="*/ 57150 h 48"/>
                <a:gd name="T2" fmla="*/ 7938 w 20"/>
                <a:gd name="T3" fmla="*/ 46434 h 48"/>
                <a:gd name="T4" fmla="*/ 7541 w 20"/>
                <a:gd name="T5" fmla="*/ 38100 h 48"/>
                <a:gd name="T6" fmla="*/ 6350 w 20"/>
                <a:gd name="T7" fmla="*/ 29766 h 48"/>
                <a:gd name="T8" fmla="*/ 5557 w 20"/>
                <a:gd name="T9" fmla="*/ 22622 h 48"/>
                <a:gd name="T10" fmla="*/ 4763 w 20"/>
                <a:gd name="T11" fmla="*/ 16669 h 48"/>
                <a:gd name="T12" fmla="*/ 3572 w 20"/>
                <a:gd name="T13" fmla="*/ 10716 h 48"/>
                <a:gd name="T14" fmla="*/ 1588 w 20"/>
                <a:gd name="T15" fmla="*/ 4763 h 48"/>
                <a:gd name="T16" fmla="*/ 0 w 20"/>
                <a:gd name="T17" fmla="*/ 0 h 48"/>
                <a:gd name="T18" fmla="*/ 0 w 20"/>
                <a:gd name="T19" fmla="*/ 9525 h 48"/>
                <a:gd name="T20" fmla="*/ 794 w 20"/>
                <a:gd name="T21" fmla="*/ 20241 h 48"/>
                <a:gd name="T22" fmla="*/ 1588 w 20"/>
                <a:gd name="T23" fmla="*/ 28575 h 48"/>
                <a:gd name="T24" fmla="*/ 3175 w 20"/>
                <a:gd name="T25" fmla="*/ 36909 h 48"/>
                <a:gd name="T26" fmla="*/ 5557 w 20"/>
                <a:gd name="T27" fmla="*/ 48816 h 48"/>
                <a:gd name="T28" fmla="*/ 7938 w 20"/>
                <a:gd name="T29" fmla="*/ 57150 h 4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5" name="Line 327" descr="Horizontal dunkel">
              <a:extLst>
                <a:ext uri="{FF2B5EF4-FFF2-40B4-BE49-F238E27FC236}">
                  <a16:creationId xmlns:a16="http://schemas.microsoft.com/office/drawing/2014/main" id="{4C570DDE-FB99-429C-807D-7F8CC5DD16FD}"/>
                </a:ext>
              </a:extLst>
            </p:cNvPr>
            <p:cNvSpPr>
              <a:spLocks noChangeShapeType="1"/>
            </p:cNvSpPr>
            <p:nvPr>
              <p:custDataLst>
                <p:tags r:id="rId230"/>
              </p:custDataLst>
            </p:nvPr>
          </p:nvSpPr>
          <p:spPr bwMode="auto">
            <a:xfrm>
              <a:off x="8026401" y="3721100"/>
              <a:ext cx="4763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6" name="Freeform 328">
              <a:extLst>
                <a:ext uri="{FF2B5EF4-FFF2-40B4-BE49-F238E27FC236}">
                  <a16:creationId xmlns:a16="http://schemas.microsoft.com/office/drawing/2014/main" id="{DCC6076A-196F-4A1C-A597-8F7EF9802729}"/>
                </a:ext>
              </a:extLst>
            </p:cNvPr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8023225" y="3721100"/>
              <a:ext cx="7938" cy="57150"/>
            </a:xfrm>
            <a:custGeom>
              <a:avLst/>
              <a:gdLst>
                <a:gd name="T0" fmla="*/ 7938 w 20"/>
                <a:gd name="T1" fmla="*/ 57150 h 12"/>
                <a:gd name="T2" fmla="*/ 7938 w 20"/>
                <a:gd name="T3" fmla="*/ 38100 h 12"/>
                <a:gd name="T4" fmla="*/ 7144 w 20"/>
                <a:gd name="T5" fmla="*/ 23813 h 12"/>
                <a:gd name="T6" fmla="*/ 5954 w 20"/>
                <a:gd name="T7" fmla="*/ 14288 h 12"/>
                <a:gd name="T8" fmla="*/ 5160 w 20"/>
                <a:gd name="T9" fmla="*/ 9525 h 12"/>
                <a:gd name="T10" fmla="*/ 2778 w 20"/>
                <a:gd name="T11" fmla="*/ 0 h 12"/>
                <a:gd name="T12" fmla="*/ 0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7" name="Freeform 329">
              <a:extLst>
                <a:ext uri="{FF2B5EF4-FFF2-40B4-BE49-F238E27FC236}">
                  <a16:creationId xmlns:a16="http://schemas.microsoft.com/office/drawing/2014/main" id="{F6C99B6A-F86F-4B92-922A-3696AA1BC811}"/>
                </a:ext>
              </a:extLst>
            </p:cNvPr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7924801" y="3565525"/>
              <a:ext cx="22225" cy="57150"/>
            </a:xfrm>
            <a:custGeom>
              <a:avLst/>
              <a:gdLst>
                <a:gd name="T0" fmla="*/ 2935 w 53"/>
                <a:gd name="T1" fmla="*/ 0 h 30"/>
                <a:gd name="T2" fmla="*/ 4613 w 53"/>
                <a:gd name="T3" fmla="*/ 7620 h 30"/>
                <a:gd name="T4" fmla="*/ 9645 w 53"/>
                <a:gd name="T5" fmla="*/ 24765 h 30"/>
                <a:gd name="T6" fmla="*/ 15516 w 53"/>
                <a:gd name="T7" fmla="*/ 43815 h 30"/>
                <a:gd name="T8" fmla="*/ 19290 w 53"/>
                <a:gd name="T9" fmla="*/ 57150 h 30"/>
                <a:gd name="T10" fmla="*/ 20548 w 53"/>
                <a:gd name="T11" fmla="*/ 34290 h 30"/>
                <a:gd name="T12" fmla="*/ 22225 w 53"/>
                <a:gd name="T13" fmla="*/ 11430 h 30"/>
                <a:gd name="T14" fmla="*/ 15516 w 53"/>
                <a:gd name="T15" fmla="*/ 9525 h 30"/>
                <a:gd name="T16" fmla="*/ 10903 w 53"/>
                <a:gd name="T17" fmla="*/ 5715 h 30"/>
                <a:gd name="T18" fmla="*/ 8806 w 53"/>
                <a:gd name="T19" fmla="*/ 5715 h 30"/>
                <a:gd name="T20" fmla="*/ 6290 w 53"/>
                <a:gd name="T21" fmla="*/ 5715 h 30"/>
                <a:gd name="T22" fmla="*/ 3774 w 53"/>
                <a:gd name="T23" fmla="*/ 7620 h 30"/>
                <a:gd name="T24" fmla="*/ 0 w 53"/>
                <a:gd name="T25" fmla="*/ 11430 h 30"/>
                <a:gd name="T26" fmla="*/ 2935 w 53"/>
                <a:gd name="T27" fmla="*/ 0 h 3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8" name="Freeform 330">
              <a:extLst>
                <a:ext uri="{FF2B5EF4-FFF2-40B4-BE49-F238E27FC236}">
                  <a16:creationId xmlns:a16="http://schemas.microsoft.com/office/drawing/2014/main" id="{5B39673C-056C-459C-810C-59C119986E88}"/>
                </a:ext>
              </a:extLst>
            </p:cNvPr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8453438" y="3929063"/>
              <a:ext cx="11112" cy="57150"/>
            </a:xfrm>
            <a:custGeom>
              <a:avLst/>
              <a:gdLst>
                <a:gd name="T0" fmla="*/ 0 w 33"/>
                <a:gd name="T1" fmla="*/ 11061 h 31"/>
                <a:gd name="T2" fmla="*/ 1347 w 33"/>
                <a:gd name="T3" fmla="*/ 38715 h 31"/>
                <a:gd name="T4" fmla="*/ 2357 w 33"/>
                <a:gd name="T5" fmla="*/ 57150 h 31"/>
                <a:gd name="T6" fmla="*/ 7408 w 33"/>
                <a:gd name="T7" fmla="*/ 57150 h 31"/>
                <a:gd name="T8" fmla="*/ 11112 w 33"/>
                <a:gd name="T9" fmla="*/ 57150 h 31"/>
                <a:gd name="T10" fmla="*/ 11112 w 33"/>
                <a:gd name="T11" fmla="*/ 0 h 31"/>
                <a:gd name="T12" fmla="*/ 9092 w 33"/>
                <a:gd name="T13" fmla="*/ 0 h 31"/>
                <a:gd name="T14" fmla="*/ 6398 w 33"/>
                <a:gd name="T15" fmla="*/ 0 h 31"/>
                <a:gd name="T16" fmla="*/ 3367 w 33"/>
                <a:gd name="T17" fmla="*/ 0 h 31"/>
                <a:gd name="T18" fmla="*/ 0 w 33"/>
                <a:gd name="T19" fmla="*/ 0 h 31"/>
                <a:gd name="T20" fmla="*/ 0 w 33"/>
                <a:gd name="T21" fmla="*/ 11061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9" name="Freeform 331">
              <a:extLst>
                <a:ext uri="{FF2B5EF4-FFF2-40B4-BE49-F238E27FC236}">
                  <a16:creationId xmlns:a16="http://schemas.microsoft.com/office/drawing/2014/main" id="{76F700B6-3A2F-48B2-BCF4-0B7346D1B002}"/>
                </a:ext>
              </a:extLst>
            </p:cNvPr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8969376" y="3886201"/>
              <a:ext cx="28575" cy="55563"/>
            </a:xfrm>
            <a:custGeom>
              <a:avLst/>
              <a:gdLst>
                <a:gd name="T0" fmla="*/ 8353 w 65"/>
                <a:gd name="T1" fmla="*/ 55563 h 68"/>
                <a:gd name="T2" fmla="*/ 7034 w 65"/>
                <a:gd name="T3" fmla="*/ 55563 h 68"/>
                <a:gd name="T4" fmla="*/ 6155 w 65"/>
                <a:gd name="T5" fmla="*/ 53929 h 68"/>
                <a:gd name="T6" fmla="*/ 4836 w 65"/>
                <a:gd name="T7" fmla="*/ 52295 h 68"/>
                <a:gd name="T8" fmla="*/ 3077 w 65"/>
                <a:gd name="T9" fmla="*/ 49843 h 68"/>
                <a:gd name="T10" fmla="*/ 1758 w 65"/>
                <a:gd name="T11" fmla="*/ 48209 h 68"/>
                <a:gd name="T12" fmla="*/ 879 w 65"/>
                <a:gd name="T13" fmla="*/ 44941 h 68"/>
                <a:gd name="T14" fmla="*/ 0 w 65"/>
                <a:gd name="T15" fmla="*/ 42489 h 68"/>
                <a:gd name="T16" fmla="*/ 0 w 65"/>
                <a:gd name="T17" fmla="*/ 40038 h 68"/>
                <a:gd name="T18" fmla="*/ 0 w 65"/>
                <a:gd name="T19" fmla="*/ 31050 h 68"/>
                <a:gd name="T20" fmla="*/ 879 w 65"/>
                <a:gd name="T21" fmla="*/ 23696 h 68"/>
                <a:gd name="T22" fmla="*/ 2198 w 65"/>
                <a:gd name="T23" fmla="*/ 17159 h 68"/>
                <a:gd name="T24" fmla="*/ 3957 w 65"/>
                <a:gd name="T25" fmla="*/ 11439 h 68"/>
                <a:gd name="T26" fmla="*/ 6594 w 65"/>
                <a:gd name="T27" fmla="*/ 6537 h 68"/>
                <a:gd name="T28" fmla="*/ 9672 w 65"/>
                <a:gd name="T29" fmla="*/ 3268 h 68"/>
                <a:gd name="T30" fmla="*/ 13188 w 65"/>
                <a:gd name="T31" fmla="*/ 1634 h 68"/>
                <a:gd name="T32" fmla="*/ 17145 w 65"/>
                <a:gd name="T33" fmla="*/ 0 h 68"/>
                <a:gd name="T34" fmla="*/ 22860 w 65"/>
                <a:gd name="T35" fmla="*/ 0 h 68"/>
                <a:gd name="T36" fmla="*/ 28575 w 65"/>
                <a:gd name="T37" fmla="*/ 0 h 68"/>
                <a:gd name="T38" fmla="*/ 28575 w 65"/>
                <a:gd name="T39" fmla="*/ 35135 h 68"/>
                <a:gd name="T40" fmla="*/ 24618 w 65"/>
                <a:gd name="T41" fmla="*/ 42489 h 68"/>
                <a:gd name="T42" fmla="*/ 19783 w 65"/>
                <a:gd name="T43" fmla="*/ 49843 h 68"/>
                <a:gd name="T44" fmla="*/ 17145 w 65"/>
                <a:gd name="T45" fmla="*/ 52295 h 68"/>
                <a:gd name="T46" fmla="*/ 14947 w 65"/>
                <a:gd name="T47" fmla="*/ 53929 h 68"/>
                <a:gd name="T48" fmla="*/ 11870 w 65"/>
                <a:gd name="T49" fmla="*/ 55563 h 68"/>
                <a:gd name="T50" fmla="*/ 8353 w 65"/>
                <a:gd name="T51" fmla="*/ 55563 h 6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90" name="Freeform 332">
              <a:extLst>
                <a:ext uri="{FF2B5EF4-FFF2-40B4-BE49-F238E27FC236}">
                  <a16:creationId xmlns:a16="http://schemas.microsoft.com/office/drawing/2014/main" id="{80F3C1C4-EE6D-4F4E-BCA5-5E2253A62AB7}"/>
                </a:ext>
              </a:extLst>
            </p:cNvPr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7907339" y="3468688"/>
              <a:ext cx="274637" cy="368300"/>
            </a:xfrm>
            <a:custGeom>
              <a:avLst/>
              <a:gdLst>
                <a:gd name="T0" fmla="*/ 220588 w 625"/>
                <a:gd name="T1" fmla="*/ 178843 h 694"/>
                <a:gd name="T2" fmla="*/ 212679 w 625"/>
                <a:gd name="T3" fmla="*/ 180966 h 694"/>
                <a:gd name="T4" fmla="*/ 210482 w 625"/>
                <a:gd name="T5" fmla="*/ 202724 h 694"/>
                <a:gd name="T6" fmla="*/ 226301 w 625"/>
                <a:gd name="T7" fmla="*/ 214399 h 694"/>
                <a:gd name="T8" fmla="*/ 234650 w 625"/>
                <a:gd name="T9" fmla="*/ 214930 h 694"/>
                <a:gd name="T10" fmla="*/ 241681 w 625"/>
                <a:gd name="T11" fmla="*/ 225013 h 694"/>
                <a:gd name="T12" fmla="*/ 246075 w 625"/>
                <a:gd name="T13" fmla="*/ 243587 h 694"/>
                <a:gd name="T14" fmla="*/ 251348 w 625"/>
                <a:gd name="T15" fmla="*/ 251548 h 694"/>
                <a:gd name="T16" fmla="*/ 258378 w 625"/>
                <a:gd name="T17" fmla="*/ 256324 h 694"/>
                <a:gd name="T18" fmla="*/ 269803 w 625"/>
                <a:gd name="T19" fmla="*/ 258447 h 694"/>
                <a:gd name="T20" fmla="*/ 274637 w 625"/>
                <a:gd name="T21" fmla="*/ 267999 h 694"/>
                <a:gd name="T22" fmla="*/ 274637 w 625"/>
                <a:gd name="T23" fmla="*/ 286043 h 694"/>
                <a:gd name="T24" fmla="*/ 271561 w 625"/>
                <a:gd name="T25" fmla="*/ 320007 h 694"/>
                <a:gd name="T26" fmla="*/ 268485 w 625"/>
                <a:gd name="T27" fmla="*/ 356625 h 694"/>
                <a:gd name="T28" fmla="*/ 246954 w 625"/>
                <a:gd name="T29" fmla="*/ 367769 h 694"/>
                <a:gd name="T30" fmla="*/ 236847 w 625"/>
                <a:gd name="T31" fmla="*/ 367769 h 694"/>
                <a:gd name="T32" fmla="*/ 173131 w 625"/>
                <a:gd name="T33" fmla="*/ 299310 h 694"/>
                <a:gd name="T34" fmla="*/ 174449 w 625"/>
                <a:gd name="T35" fmla="*/ 292942 h 694"/>
                <a:gd name="T36" fmla="*/ 173131 w 625"/>
                <a:gd name="T37" fmla="*/ 286043 h 694"/>
                <a:gd name="T38" fmla="*/ 148524 w 625"/>
                <a:gd name="T39" fmla="*/ 258978 h 694"/>
                <a:gd name="T40" fmla="*/ 134023 w 625"/>
                <a:gd name="T41" fmla="*/ 240403 h 694"/>
                <a:gd name="T42" fmla="*/ 128750 w 625"/>
                <a:gd name="T43" fmla="*/ 222360 h 694"/>
                <a:gd name="T44" fmla="*/ 127871 w 625"/>
                <a:gd name="T45" fmla="*/ 202194 h 694"/>
                <a:gd name="T46" fmla="*/ 125234 w 625"/>
                <a:gd name="T47" fmla="*/ 191049 h 694"/>
                <a:gd name="T48" fmla="*/ 117764 w 625"/>
                <a:gd name="T49" fmla="*/ 181497 h 694"/>
                <a:gd name="T50" fmla="*/ 105900 w 625"/>
                <a:gd name="T51" fmla="*/ 164514 h 694"/>
                <a:gd name="T52" fmla="*/ 98430 w 625"/>
                <a:gd name="T53" fmla="*/ 142756 h 694"/>
                <a:gd name="T54" fmla="*/ 93596 w 625"/>
                <a:gd name="T55" fmla="*/ 126305 h 694"/>
                <a:gd name="T56" fmla="*/ 83490 w 625"/>
                <a:gd name="T57" fmla="*/ 112507 h 694"/>
                <a:gd name="T58" fmla="*/ 65913 w 625"/>
                <a:gd name="T59" fmla="*/ 90748 h 694"/>
                <a:gd name="T60" fmla="*/ 59761 w 625"/>
                <a:gd name="T61" fmla="*/ 77481 h 694"/>
                <a:gd name="T62" fmla="*/ 49215 w 625"/>
                <a:gd name="T63" fmla="*/ 70051 h 694"/>
                <a:gd name="T64" fmla="*/ 35154 w 625"/>
                <a:gd name="T65" fmla="*/ 59968 h 694"/>
                <a:gd name="T66" fmla="*/ 21532 w 625"/>
                <a:gd name="T67" fmla="*/ 45109 h 694"/>
                <a:gd name="T68" fmla="*/ 10107 w 625"/>
                <a:gd name="T69" fmla="*/ 27065 h 694"/>
                <a:gd name="T70" fmla="*/ 2197 w 625"/>
                <a:gd name="T71" fmla="*/ 10083 h 694"/>
                <a:gd name="T72" fmla="*/ 4394 w 625"/>
                <a:gd name="T73" fmla="*/ 2123 h 694"/>
                <a:gd name="T74" fmla="*/ 16259 w 625"/>
                <a:gd name="T75" fmla="*/ 6899 h 694"/>
                <a:gd name="T76" fmla="*/ 36911 w 625"/>
                <a:gd name="T77" fmla="*/ 8491 h 694"/>
                <a:gd name="T78" fmla="*/ 50973 w 625"/>
                <a:gd name="T79" fmla="*/ 10614 h 694"/>
                <a:gd name="T80" fmla="*/ 60640 w 625"/>
                <a:gd name="T81" fmla="*/ 14329 h 694"/>
                <a:gd name="T82" fmla="*/ 68549 w 625"/>
                <a:gd name="T83" fmla="*/ 22289 h 694"/>
                <a:gd name="T84" fmla="*/ 89642 w 625"/>
                <a:gd name="T85" fmla="*/ 57845 h 694"/>
                <a:gd name="T86" fmla="*/ 111612 w 625"/>
                <a:gd name="T87" fmla="*/ 86503 h 694"/>
                <a:gd name="T88" fmla="*/ 131386 w 625"/>
                <a:gd name="T89" fmla="*/ 107200 h 694"/>
                <a:gd name="T90" fmla="*/ 144569 w 625"/>
                <a:gd name="T91" fmla="*/ 116221 h 694"/>
                <a:gd name="T92" fmla="*/ 160827 w 625"/>
                <a:gd name="T93" fmla="*/ 120467 h 694"/>
                <a:gd name="T94" fmla="*/ 170495 w 625"/>
                <a:gd name="T95" fmla="*/ 122059 h 694"/>
                <a:gd name="T96" fmla="*/ 176207 w 625"/>
                <a:gd name="T97" fmla="*/ 127897 h 694"/>
                <a:gd name="T98" fmla="*/ 182798 w 625"/>
                <a:gd name="T99" fmla="*/ 137980 h 694"/>
                <a:gd name="T100" fmla="*/ 187632 w 625"/>
                <a:gd name="T101" fmla="*/ 140633 h 6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91" name="Freeform 333">
              <a:extLst>
                <a:ext uri="{FF2B5EF4-FFF2-40B4-BE49-F238E27FC236}">
                  <a16:creationId xmlns:a16="http://schemas.microsoft.com/office/drawing/2014/main" id="{39B91EED-9190-49E1-A8D3-84265A8C6AE2}"/>
                </a:ext>
              </a:extLst>
            </p:cNvPr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8248650" y="3517901"/>
              <a:ext cx="254000" cy="257175"/>
            </a:xfrm>
            <a:custGeom>
              <a:avLst/>
              <a:gdLst>
                <a:gd name="T0" fmla="*/ 224041 w 585"/>
                <a:gd name="T1" fmla="*/ 14606 h 493"/>
                <a:gd name="T2" fmla="*/ 214923 w 585"/>
                <a:gd name="T3" fmla="*/ 28691 h 493"/>
                <a:gd name="T4" fmla="*/ 222304 w 585"/>
                <a:gd name="T5" fmla="*/ 48514 h 493"/>
                <a:gd name="T6" fmla="*/ 231856 w 585"/>
                <a:gd name="T7" fmla="*/ 67815 h 493"/>
                <a:gd name="T8" fmla="*/ 248790 w 585"/>
                <a:gd name="T9" fmla="*/ 92333 h 493"/>
                <a:gd name="T10" fmla="*/ 251829 w 585"/>
                <a:gd name="T11" fmla="*/ 106939 h 493"/>
                <a:gd name="T12" fmla="*/ 237501 w 585"/>
                <a:gd name="T13" fmla="*/ 106417 h 493"/>
                <a:gd name="T14" fmla="*/ 224041 w 585"/>
                <a:gd name="T15" fmla="*/ 121545 h 493"/>
                <a:gd name="T16" fmla="*/ 219699 w 585"/>
                <a:gd name="T17" fmla="*/ 128327 h 493"/>
                <a:gd name="T18" fmla="*/ 224909 w 585"/>
                <a:gd name="T19" fmla="*/ 141368 h 493"/>
                <a:gd name="T20" fmla="*/ 227949 w 585"/>
                <a:gd name="T21" fmla="*/ 153366 h 493"/>
                <a:gd name="T22" fmla="*/ 219265 w 585"/>
                <a:gd name="T23" fmla="*/ 160669 h 493"/>
                <a:gd name="T24" fmla="*/ 199292 w 585"/>
                <a:gd name="T25" fmla="*/ 168494 h 493"/>
                <a:gd name="T26" fmla="*/ 192345 w 585"/>
                <a:gd name="T27" fmla="*/ 184665 h 493"/>
                <a:gd name="T28" fmla="*/ 193214 w 585"/>
                <a:gd name="T29" fmla="*/ 216486 h 493"/>
                <a:gd name="T30" fmla="*/ 186701 w 585"/>
                <a:gd name="T31" fmla="*/ 236831 h 493"/>
                <a:gd name="T32" fmla="*/ 173675 w 585"/>
                <a:gd name="T33" fmla="*/ 246220 h 493"/>
                <a:gd name="T34" fmla="*/ 160650 w 585"/>
                <a:gd name="T35" fmla="*/ 254567 h 493"/>
                <a:gd name="T36" fmla="*/ 148058 w 585"/>
                <a:gd name="T37" fmla="*/ 257175 h 493"/>
                <a:gd name="T38" fmla="*/ 142848 w 585"/>
                <a:gd name="T39" fmla="*/ 254045 h 493"/>
                <a:gd name="T40" fmla="*/ 141979 w 585"/>
                <a:gd name="T41" fmla="*/ 245699 h 493"/>
                <a:gd name="T42" fmla="*/ 131993 w 585"/>
                <a:gd name="T43" fmla="*/ 235266 h 493"/>
                <a:gd name="T44" fmla="*/ 108981 w 585"/>
                <a:gd name="T45" fmla="*/ 236831 h 493"/>
                <a:gd name="T46" fmla="*/ 95087 w 585"/>
                <a:gd name="T47" fmla="*/ 241004 h 493"/>
                <a:gd name="T48" fmla="*/ 76417 w 585"/>
                <a:gd name="T49" fmla="*/ 229527 h 493"/>
                <a:gd name="T50" fmla="*/ 52971 w 585"/>
                <a:gd name="T51" fmla="*/ 227441 h 493"/>
                <a:gd name="T52" fmla="*/ 41248 w 585"/>
                <a:gd name="T53" fmla="*/ 223789 h 493"/>
                <a:gd name="T54" fmla="*/ 35169 w 585"/>
                <a:gd name="T55" fmla="*/ 190925 h 493"/>
                <a:gd name="T56" fmla="*/ 25183 w 585"/>
                <a:gd name="T57" fmla="*/ 161712 h 493"/>
                <a:gd name="T58" fmla="*/ 15197 w 585"/>
                <a:gd name="T59" fmla="*/ 152323 h 493"/>
                <a:gd name="T60" fmla="*/ 5210 w 585"/>
                <a:gd name="T61" fmla="*/ 135630 h 493"/>
                <a:gd name="T62" fmla="*/ 2171 w 585"/>
                <a:gd name="T63" fmla="*/ 106417 h 493"/>
                <a:gd name="T64" fmla="*/ 13460 w 585"/>
                <a:gd name="T65" fmla="*/ 79813 h 493"/>
                <a:gd name="T66" fmla="*/ 23446 w 585"/>
                <a:gd name="T67" fmla="*/ 73553 h 493"/>
                <a:gd name="T68" fmla="*/ 32564 w 585"/>
                <a:gd name="T69" fmla="*/ 79291 h 493"/>
                <a:gd name="T70" fmla="*/ 42116 w 585"/>
                <a:gd name="T71" fmla="*/ 97549 h 493"/>
                <a:gd name="T72" fmla="*/ 56010 w 585"/>
                <a:gd name="T73" fmla="*/ 111634 h 493"/>
                <a:gd name="T74" fmla="*/ 73812 w 585"/>
                <a:gd name="T75" fmla="*/ 111112 h 493"/>
                <a:gd name="T76" fmla="*/ 95956 w 585"/>
                <a:gd name="T77" fmla="*/ 98592 h 493"/>
                <a:gd name="T78" fmla="*/ 101166 w 585"/>
                <a:gd name="T79" fmla="*/ 89724 h 493"/>
                <a:gd name="T80" fmla="*/ 125046 w 585"/>
                <a:gd name="T81" fmla="*/ 92854 h 493"/>
                <a:gd name="T82" fmla="*/ 141545 w 585"/>
                <a:gd name="T83" fmla="*/ 94419 h 493"/>
                <a:gd name="T84" fmla="*/ 146321 w 585"/>
                <a:gd name="T85" fmla="*/ 88681 h 493"/>
                <a:gd name="T86" fmla="*/ 157176 w 585"/>
                <a:gd name="T87" fmla="*/ 82421 h 493"/>
                <a:gd name="T88" fmla="*/ 166294 w 585"/>
                <a:gd name="T89" fmla="*/ 70945 h 493"/>
                <a:gd name="T90" fmla="*/ 180188 w 585"/>
                <a:gd name="T91" fmla="*/ 41211 h 493"/>
                <a:gd name="T92" fmla="*/ 185398 w 585"/>
                <a:gd name="T93" fmla="*/ 13041 h 493"/>
                <a:gd name="T94" fmla="*/ 194082 w 585"/>
                <a:gd name="T95" fmla="*/ 3130 h 493"/>
                <a:gd name="T96" fmla="*/ 207976 w 585"/>
                <a:gd name="T97" fmla="*/ 1043 h 4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92" name="Freeform 334">
              <a:extLst>
                <a:ext uri="{FF2B5EF4-FFF2-40B4-BE49-F238E27FC236}">
                  <a16:creationId xmlns:a16="http://schemas.microsoft.com/office/drawing/2014/main" id="{E22320B7-3B2E-45AE-9944-973D02809D0D}"/>
                </a:ext>
              </a:extLst>
            </p:cNvPr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8604251" y="3924300"/>
              <a:ext cx="92075" cy="57150"/>
            </a:xfrm>
            <a:custGeom>
              <a:avLst/>
              <a:gdLst>
                <a:gd name="T0" fmla="*/ 0 w 212"/>
                <a:gd name="T1" fmla="*/ 57150 h 105"/>
                <a:gd name="T2" fmla="*/ 6949 w 212"/>
                <a:gd name="T3" fmla="*/ 46264 h 105"/>
                <a:gd name="T4" fmla="*/ 15201 w 212"/>
                <a:gd name="T5" fmla="*/ 37011 h 105"/>
                <a:gd name="T6" fmla="*/ 19110 w 212"/>
                <a:gd name="T7" fmla="*/ 32657 h 105"/>
                <a:gd name="T8" fmla="*/ 23453 w 212"/>
                <a:gd name="T9" fmla="*/ 28847 h 105"/>
                <a:gd name="T10" fmla="*/ 27796 w 212"/>
                <a:gd name="T11" fmla="*/ 25037 h 105"/>
                <a:gd name="T12" fmla="*/ 31705 w 212"/>
                <a:gd name="T13" fmla="*/ 20683 h 105"/>
                <a:gd name="T14" fmla="*/ 36048 w 212"/>
                <a:gd name="T15" fmla="*/ 17417 h 105"/>
                <a:gd name="T16" fmla="*/ 40826 w 212"/>
                <a:gd name="T17" fmla="*/ 14696 h 105"/>
                <a:gd name="T18" fmla="*/ 46038 w 212"/>
                <a:gd name="T19" fmla="*/ 11430 h 105"/>
                <a:gd name="T20" fmla="*/ 51249 w 212"/>
                <a:gd name="T21" fmla="*/ 8709 h 105"/>
                <a:gd name="T22" fmla="*/ 62542 w 212"/>
                <a:gd name="T23" fmla="*/ 4354 h 105"/>
                <a:gd name="T24" fmla="*/ 74702 w 212"/>
                <a:gd name="T25" fmla="*/ 0 h 105"/>
                <a:gd name="T26" fmla="*/ 92075 w 212"/>
                <a:gd name="T27" fmla="*/ 0 h 105"/>
                <a:gd name="T28" fmla="*/ 87732 w 212"/>
                <a:gd name="T29" fmla="*/ 4899 h 105"/>
                <a:gd name="T30" fmla="*/ 82520 w 212"/>
                <a:gd name="T31" fmla="*/ 9797 h 105"/>
                <a:gd name="T32" fmla="*/ 77308 w 212"/>
                <a:gd name="T33" fmla="*/ 14696 h 105"/>
                <a:gd name="T34" fmla="*/ 71662 w 212"/>
                <a:gd name="T35" fmla="*/ 19050 h 105"/>
                <a:gd name="T36" fmla="*/ 59501 w 212"/>
                <a:gd name="T37" fmla="*/ 28303 h 105"/>
                <a:gd name="T38" fmla="*/ 47340 w 212"/>
                <a:gd name="T39" fmla="*/ 35923 h 105"/>
                <a:gd name="T40" fmla="*/ 34311 w 212"/>
                <a:gd name="T41" fmla="*/ 42999 h 105"/>
                <a:gd name="T42" fmla="*/ 21716 w 212"/>
                <a:gd name="T43" fmla="*/ 48986 h 105"/>
                <a:gd name="T44" fmla="*/ 9989 w 212"/>
                <a:gd name="T45" fmla="*/ 53884 h 105"/>
                <a:gd name="T46" fmla="*/ 0 w 212"/>
                <a:gd name="T47" fmla="*/ 57150 h 10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93" name="Freeform 335">
              <a:extLst>
                <a:ext uri="{FF2B5EF4-FFF2-40B4-BE49-F238E27FC236}">
                  <a16:creationId xmlns:a16="http://schemas.microsoft.com/office/drawing/2014/main" id="{5F28829D-2309-40ED-9CE8-168A41D2AE2A}"/>
                </a:ext>
              </a:extLst>
            </p:cNvPr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8720138" y="3590925"/>
              <a:ext cx="42862" cy="88900"/>
            </a:xfrm>
            <a:custGeom>
              <a:avLst/>
              <a:gdLst>
                <a:gd name="T0" fmla="*/ 0 w 92"/>
                <a:gd name="T1" fmla="*/ 43379 h 166"/>
                <a:gd name="T2" fmla="*/ 0 w 92"/>
                <a:gd name="T3" fmla="*/ 79260 h 166"/>
                <a:gd name="T4" fmla="*/ 2329 w 92"/>
                <a:gd name="T5" fmla="*/ 77118 h 166"/>
                <a:gd name="T6" fmla="*/ 5591 w 92"/>
                <a:gd name="T7" fmla="*/ 74440 h 166"/>
                <a:gd name="T8" fmla="*/ 6522 w 92"/>
                <a:gd name="T9" fmla="*/ 73369 h 166"/>
                <a:gd name="T10" fmla="*/ 7920 w 92"/>
                <a:gd name="T11" fmla="*/ 72298 h 166"/>
                <a:gd name="T12" fmla="*/ 8386 w 92"/>
                <a:gd name="T13" fmla="*/ 70692 h 166"/>
                <a:gd name="T14" fmla="*/ 8852 w 92"/>
                <a:gd name="T15" fmla="*/ 69620 h 166"/>
                <a:gd name="T16" fmla="*/ 9318 w 92"/>
                <a:gd name="T17" fmla="*/ 73905 h 166"/>
                <a:gd name="T18" fmla="*/ 11181 w 92"/>
                <a:gd name="T19" fmla="*/ 79260 h 166"/>
                <a:gd name="T20" fmla="*/ 12579 w 92"/>
                <a:gd name="T21" fmla="*/ 82473 h 166"/>
                <a:gd name="T22" fmla="*/ 13977 w 92"/>
                <a:gd name="T23" fmla="*/ 85151 h 166"/>
                <a:gd name="T24" fmla="*/ 16306 w 92"/>
                <a:gd name="T25" fmla="*/ 87293 h 166"/>
                <a:gd name="T26" fmla="*/ 18170 w 92"/>
                <a:gd name="T27" fmla="*/ 88900 h 166"/>
                <a:gd name="T28" fmla="*/ 19102 w 92"/>
                <a:gd name="T29" fmla="*/ 84616 h 166"/>
                <a:gd name="T30" fmla="*/ 19102 w 92"/>
                <a:gd name="T31" fmla="*/ 79260 h 166"/>
                <a:gd name="T32" fmla="*/ 19102 w 92"/>
                <a:gd name="T33" fmla="*/ 73369 h 166"/>
                <a:gd name="T34" fmla="*/ 19102 w 92"/>
                <a:gd name="T35" fmla="*/ 67478 h 166"/>
                <a:gd name="T36" fmla="*/ 18636 w 92"/>
                <a:gd name="T37" fmla="*/ 57303 h 166"/>
                <a:gd name="T38" fmla="*/ 18170 w 92"/>
                <a:gd name="T39" fmla="*/ 53019 h 166"/>
                <a:gd name="T40" fmla="*/ 22363 w 92"/>
                <a:gd name="T41" fmla="*/ 53554 h 166"/>
                <a:gd name="T42" fmla="*/ 26556 w 92"/>
                <a:gd name="T43" fmla="*/ 54625 h 166"/>
                <a:gd name="T44" fmla="*/ 29817 w 92"/>
                <a:gd name="T45" fmla="*/ 56232 h 166"/>
                <a:gd name="T46" fmla="*/ 33078 w 92"/>
                <a:gd name="T47" fmla="*/ 57839 h 166"/>
                <a:gd name="T48" fmla="*/ 35408 w 92"/>
                <a:gd name="T49" fmla="*/ 59445 h 166"/>
                <a:gd name="T50" fmla="*/ 38203 w 92"/>
                <a:gd name="T51" fmla="*/ 61052 h 166"/>
                <a:gd name="T52" fmla="*/ 40533 w 92"/>
                <a:gd name="T53" fmla="*/ 62123 h 166"/>
                <a:gd name="T54" fmla="*/ 42862 w 92"/>
                <a:gd name="T55" fmla="*/ 63194 h 166"/>
                <a:gd name="T56" fmla="*/ 39601 w 92"/>
                <a:gd name="T57" fmla="*/ 55161 h 166"/>
                <a:gd name="T58" fmla="*/ 37737 w 92"/>
                <a:gd name="T59" fmla="*/ 47663 h 166"/>
                <a:gd name="T60" fmla="*/ 35408 w 92"/>
                <a:gd name="T61" fmla="*/ 40166 h 166"/>
                <a:gd name="T62" fmla="*/ 34010 w 92"/>
                <a:gd name="T63" fmla="*/ 32133 h 166"/>
                <a:gd name="T64" fmla="*/ 32612 w 92"/>
                <a:gd name="T65" fmla="*/ 25170 h 166"/>
                <a:gd name="T66" fmla="*/ 31215 w 92"/>
                <a:gd name="T67" fmla="*/ 18208 h 166"/>
                <a:gd name="T68" fmla="*/ 29351 w 92"/>
                <a:gd name="T69" fmla="*/ 12317 h 166"/>
                <a:gd name="T70" fmla="*/ 27488 w 92"/>
                <a:gd name="T71" fmla="*/ 6962 h 166"/>
                <a:gd name="T72" fmla="*/ 27488 w 92"/>
                <a:gd name="T73" fmla="*/ 10175 h 166"/>
                <a:gd name="T74" fmla="*/ 27488 w 92"/>
                <a:gd name="T75" fmla="*/ 13389 h 166"/>
                <a:gd name="T76" fmla="*/ 23295 w 92"/>
                <a:gd name="T77" fmla="*/ 12317 h 166"/>
                <a:gd name="T78" fmla="*/ 19567 w 92"/>
                <a:gd name="T79" fmla="*/ 10175 h 166"/>
                <a:gd name="T80" fmla="*/ 16306 w 92"/>
                <a:gd name="T81" fmla="*/ 8033 h 166"/>
                <a:gd name="T82" fmla="*/ 13511 w 92"/>
                <a:gd name="T83" fmla="*/ 5891 h 166"/>
                <a:gd name="T84" fmla="*/ 10716 w 92"/>
                <a:gd name="T85" fmla="*/ 3749 h 166"/>
                <a:gd name="T86" fmla="*/ 7454 w 92"/>
                <a:gd name="T87" fmla="*/ 1607 h 166"/>
                <a:gd name="T88" fmla="*/ 3727 w 92"/>
                <a:gd name="T89" fmla="*/ 536 h 166"/>
                <a:gd name="T90" fmla="*/ 0 w 92"/>
                <a:gd name="T91" fmla="*/ 0 h 166"/>
                <a:gd name="T92" fmla="*/ 0 w 92"/>
                <a:gd name="T93" fmla="*/ 5355 h 166"/>
                <a:gd name="T94" fmla="*/ 0 w 92"/>
                <a:gd name="T95" fmla="*/ 10175 h 166"/>
                <a:gd name="T96" fmla="*/ 0 w 92"/>
                <a:gd name="T97" fmla="*/ 17673 h 166"/>
                <a:gd name="T98" fmla="*/ 0 w 92"/>
                <a:gd name="T99" fmla="*/ 27848 h 166"/>
                <a:gd name="T100" fmla="*/ 0 w 92"/>
                <a:gd name="T101" fmla="*/ 37488 h 166"/>
                <a:gd name="T102" fmla="*/ 0 w 92"/>
                <a:gd name="T103" fmla="*/ 43379 h 16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94" name="Freeform 336">
              <a:extLst>
                <a:ext uri="{FF2B5EF4-FFF2-40B4-BE49-F238E27FC236}">
                  <a16:creationId xmlns:a16="http://schemas.microsoft.com/office/drawing/2014/main" id="{118BA8EE-0386-4CB2-A214-669A0319E61B}"/>
                </a:ext>
              </a:extLst>
            </p:cNvPr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8732839" y="3735388"/>
              <a:ext cx="71437" cy="55562"/>
            </a:xfrm>
            <a:custGeom>
              <a:avLst/>
              <a:gdLst>
                <a:gd name="T0" fmla="*/ 3012 w 166"/>
                <a:gd name="T1" fmla="*/ 0 h 62"/>
                <a:gd name="T2" fmla="*/ 6025 w 166"/>
                <a:gd name="T3" fmla="*/ 2688 h 62"/>
                <a:gd name="T4" fmla="*/ 9468 w 166"/>
                <a:gd name="T5" fmla="*/ 5377 h 62"/>
                <a:gd name="T6" fmla="*/ 12910 w 166"/>
                <a:gd name="T7" fmla="*/ 6273 h 62"/>
                <a:gd name="T8" fmla="*/ 15492 w 166"/>
                <a:gd name="T9" fmla="*/ 7169 h 62"/>
                <a:gd name="T10" fmla="*/ 20656 w 166"/>
                <a:gd name="T11" fmla="*/ 7169 h 62"/>
                <a:gd name="T12" fmla="*/ 24960 w 166"/>
                <a:gd name="T13" fmla="*/ 6273 h 62"/>
                <a:gd name="T14" fmla="*/ 29694 w 166"/>
                <a:gd name="T15" fmla="*/ 4481 h 62"/>
                <a:gd name="T16" fmla="*/ 34427 w 166"/>
                <a:gd name="T17" fmla="*/ 2688 h 62"/>
                <a:gd name="T18" fmla="*/ 39592 w 166"/>
                <a:gd name="T19" fmla="*/ 896 h 62"/>
                <a:gd name="T20" fmla="*/ 45616 w 166"/>
                <a:gd name="T21" fmla="*/ 0 h 62"/>
                <a:gd name="T22" fmla="*/ 47768 w 166"/>
                <a:gd name="T23" fmla="*/ 896 h 62"/>
                <a:gd name="T24" fmla="*/ 49489 w 166"/>
                <a:gd name="T25" fmla="*/ 1792 h 62"/>
                <a:gd name="T26" fmla="*/ 51641 w 166"/>
                <a:gd name="T27" fmla="*/ 4481 h 62"/>
                <a:gd name="T28" fmla="*/ 53363 w 166"/>
                <a:gd name="T29" fmla="*/ 7169 h 62"/>
                <a:gd name="T30" fmla="*/ 56805 w 166"/>
                <a:gd name="T31" fmla="*/ 15235 h 62"/>
                <a:gd name="T32" fmla="*/ 59387 w 166"/>
                <a:gd name="T33" fmla="*/ 23300 h 62"/>
                <a:gd name="T34" fmla="*/ 62400 w 166"/>
                <a:gd name="T35" fmla="*/ 32262 h 62"/>
                <a:gd name="T36" fmla="*/ 64982 w 166"/>
                <a:gd name="T37" fmla="*/ 40327 h 62"/>
                <a:gd name="T38" fmla="*/ 66703 w 166"/>
                <a:gd name="T39" fmla="*/ 43912 h 62"/>
                <a:gd name="T40" fmla="*/ 67994 w 166"/>
                <a:gd name="T41" fmla="*/ 46600 h 62"/>
                <a:gd name="T42" fmla="*/ 69716 w 166"/>
                <a:gd name="T43" fmla="*/ 48393 h 62"/>
                <a:gd name="T44" fmla="*/ 71437 w 166"/>
                <a:gd name="T45" fmla="*/ 50185 h 62"/>
                <a:gd name="T46" fmla="*/ 68425 w 166"/>
                <a:gd name="T47" fmla="*/ 51081 h 62"/>
                <a:gd name="T48" fmla="*/ 64982 w 166"/>
                <a:gd name="T49" fmla="*/ 52874 h 62"/>
                <a:gd name="T50" fmla="*/ 61539 w 166"/>
                <a:gd name="T51" fmla="*/ 54666 h 62"/>
                <a:gd name="T52" fmla="*/ 57236 w 166"/>
                <a:gd name="T53" fmla="*/ 55562 h 62"/>
                <a:gd name="T54" fmla="*/ 53793 w 166"/>
                <a:gd name="T55" fmla="*/ 54666 h 62"/>
                <a:gd name="T56" fmla="*/ 51211 w 166"/>
                <a:gd name="T57" fmla="*/ 51977 h 62"/>
                <a:gd name="T58" fmla="*/ 48198 w 166"/>
                <a:gd name="T59" fmla="*/ 48393 h 62"/>
                <a:gd name="T60" fmla="*/ 45616 w 166"/>
                <a:gd name="T61" fmla="*/ 44808 h 62"/>
                <a:gd name="T62" fmla="*/ 43034 w 166"/>
                <a:gd name="T63" fmla="*/ 40327 h 62"/>
                <a:gd name="T64" fmla="*/ 40022 w 166"/>
                <a:gd name="T65" fmla="*/ 36743 h 62"/>
                <a:gd name="T66" fmla="*/ 37440 w 166"/>
                <a:gd name="T67" fmla="*/ 34950 h 62"/>
                <a:gd name="T68" fmla="*/ 33997 w 166"/>
                <a:gd name="T69" fmla="*/ 34054 h 62"/>
                <a:gd name="T70" fmla="*/ 24099 w 166"/>
                <a:gd name="T71" fmla="*/ 34054 h 62"/>
                <a:gd name="T72" fmla="*/ 15062 w 166"/>
                <a:gd name="T73" fmla="*/ 34950 h 62"/>
                <a:gd name="T74" fmla="*/ 11189 w 166"/>
                <a:gd name="T75" fmla="*/ 36743 h 62"/>
                <a:gd name="T76" fmla="*/ 8177 w 166"/>
                <a:gd name="T77" fmla="*/ 38535 h 62"/>
                <a:gd name="T78" fmla="*/ 5164 w 166"/>
                <a:gd name="T79" fmla="*/ 41223 h 62"/>
                <a:gd name="T80" fmla="*/ 3012 w 166"/>
                <a:gd name="T81" fmla="*/ 44808 h 62"/>
                <a:gd name="T82" fmla="*/ 861 w 166"/>
                <a:gd name="T83" fmla="*/ 40327 h 62"/>
                <a:gd name="T84" fmla="*/ 430 w 166"/>
                <a:gd name="T85" fmla="*/ 35846 h 62"/>
                <a:gd name="T86" fmla="*/ 0 w 166"/>
                <a:gd name="T87" fmla="*/ 30469 h 62"/>
                <a:gd name="T88" fmla="*/ 430 w 166"/>
                <a:gd name="T89" fmla="*/ 25093 h 62"/>
                <a:gd name="T90" fmla="*/ 1721 w 166"/>
                <a:gd name="T91" fmla="*/ 13442 h 62"/>
                <a:gd name="T92" fmla="*/ 3012 w 166"/>
                <a:gd name="T93" fmla="*/ 0 h 6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95" name="Freeform 337">
              <a:extLst>
                <a:ext uri="{FF2B5EF4-FFF2-40B4-BE49-F238E27FC236}">
                  <a16:creationId xmlns:a16="http://schemas.microsoft.com/office/drawing/2014/main" id="{4CCAB684-C9CE-40ED-906B-16A272E5DC55}"/>
                </a:ext>
              </a:extLst>
            </p:cNvPr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8809039" y="3659188"/>
              <a:ext cx="85725" cy="63500"/>
            </a:xfrm>
            <a:custGeom>
              <a:avLst/>
              <a:gdLst>
                <a:gd name="T0" fmla="*/ 14658 w 193"/>
                <a:gd name="T1" fmla="*/ 18368 h 121"/>
                <a:gd name="T2" fmla="*/ 21320 w 193"/>
                <a:gd name="T3" fmla="*/ 13120 h 121"/>
                <a:gd name="T4" fmla="*/ 30204 w 193"/>
                <a:gd name="T5" fmla="*/ 6298 h 121"/>
                <a:gd name="T6" fmla="*/ 37310 w 193"/>
                <a:gd name="T7" fmla="*/ 2099 h 121"/>
                <a:gd name="T8" fmla="*/ 41752 w 193"/>
                <a:gd name="T9" fmla="*/ 525 h 121"/>
                <a:gd name="T10" fmla="*/ 46638 w 193"/>
                <a:gd name="T11" fmla="*/ 525 h 121"/>
                <a:gd name="T12" fmla="*/ 51524 w 193"/>
                <a:gd name="T13" fmla="*/ 1574 h 121"/>
                <a:gd name="T14" fmla="*/ 58186 w 193"/>
                <a:gd name="T15" fmla="*/ 5248 h 121"/>
                <a:gd name="T16" fmla="*/ 65737 w 193"/>
                <a:gd name="T17" fmla="*/ 11021 h 121"/>
                <a:gd name="T18" fmla="*/ 71956 w 193"/>
                <a:gd name="T19" fmla="*/ 14694 h 121"/>
                <a:gd name="T20" fmla="*/ 76842 w 193"/>
                <a:gd name="T21" fmla="*/ 15744 h 121"/>
                <a:gd name="T22" fmla="*/ 79507 w 193"/>
                <a:gd name="T23" fmla="*/ 25190 h 121"/>
                <a:gd name="T24" fmla="*/ 79062 w 193"/>
                <a:gd name="T25" fmla="*/ 34636 h 121"/>
                <a:gd name="T26" fmla="*/ 80839 w 193"/>
                <a:gd name="T27" fmla="*/ 39360 h 121"/>
                <a:gd name="T28" fmla="*/ 83060 w 193"/>
                <a:gd name="T29" fmla="*/ 46707 h 121"/>
                <a:gd name="T30" fmla="*/ 83504 w 193"/>
                <a:gd name="T31" fmla="*/ 53529 h 121"/>
                <a:gd name="T32" fmla="*/ 84837 w 193"/>
                <a:gd name="T33" fmla="*/ 57202 h 121"/>
                <a:gd name="T34" fmla="*/ 83504 w 193"/>
                <a:gd name="T35" fmla="*/ 59826 h 121"/>
                <a:gd name="T36" fmla="*/ 78618 w 193"/>
                <a:gd name="T37" fmla="*/ 61926 h 121"/>
                <a:gd name="T38" fmla="*/ 70623 w 193"/>
                <a:gd name="T39" fmla="*/ 63500 h 121"/>
                <a:gd name="T40" fmla="*/ 51524 w 193"/>
                <a:gd name="T41" fmla="*/ 62450 h 121"/>
                <a:gd name="T42" fmla="*/ 31980 w 193"/>
                <a:gd name="T43" fmla="*/ 60876 h 121"/>
                <a:gd name="T44" fmla="*/ 27983 w 193"/>
                <a:gd name="T45" fmla="*/ 57727 h 121"/>
                <a:gd name="T46" fmla="*/ 24874 w 193"/>
                <a:gd name="T47" fmla="*/ 52479 h 121"/>
                <a:gd name="T48" fmla="*/ 23985 w 193"/>
                <a:gd name="T49" fmla="*/ 45657 h 121"/>
                <a:gd name="T50" fmla="*/ 20876 w 193"/>
                <a:gd name="T51" fmla="*/ 41459 h 121"/>
                <a:gd name="T52" fmla="*/ 13769 w 193"/>
                <a:gd name="T53" fmla="*/ 39360 h 121"/>
                <a:gd name="T54" fmla="*/ 5774 w 193"/>
                <a:gd name="T55" fmla="*/ 36211 h 121"/>
                <a:gd name="T56" fmla="*/ 1333 w 193"/>
                <a:gd name="T57" fmla="*/ 32537 h 121"/>
                <a:gd name="T58" fmla="*/ 0 w 193"/>
                <a:gd name="T59" fmla="*/ 30438 h 121"/>
                <a:gd name="T60" fmla="*/ 444 w 193"/>
                <a:gd name="T61" fmla="*/ 26764 h 121"/>
                <a:gd name="T62" fmla="*/ 3109 w 193"/>
                <a:gd name="T63" fmla="*/ 23616 h 121"/>
                <a:gd name="T64" fmla="*/ 8883 w 193"/>
                <a:gd name="T65" fmla="*/ 19942 h 12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96" name="Freeform 338">
              <a:extLst>
                <a:ext uri="{FF2B5EF4-FFF2-40B4-BE49-F238E27FC236}">
                  <a16:creationId xmlns:a16="http://schemas.microsoft.com/office/drawing/2014/main" id="{DA1CD0B9-23FA-44C0-B30F-EB1ABB3EF18A}"/>
                </a:ext>
              </a:extLst>
            </p:cNvPr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8497889" y="3597275"/>
              <a:ext cx="166687" cy="230188"/>
            </a:xfrm>
            <a:custGeom>
              <a:avLst/>
              <a:gdLst>
                <a:gd name="T0" fmla="*/ 16273 w 379"/>
                <a:gd name="T1" fmla="*/ 220707 h 437"/>
                <a:gd name="T2" fmla="*/ 20231 w 379"/>
                <a:gd name="T3" fmla="*/ 214386 h 437"/>
                <a:gd name="T4" fmla="*/ 10555 w 379"/>
                <a:gd name="T5" fmla="*/ 163818 h 437"/>
                <a:gd name="T6" fmla="*/ 880 w 379"/>
                <a:gd name="T7" fmla="*/ 154863 h 437"/>
                <a:gd name="T8" fmla="*/ 6597 w 379"/>
                <a:gd name="T9" fmla="*/ 142221 h 437"/>
                <a:gd name="T10" fmla="*/ 13634 w 379"/>
                <a:gd name="T11" fmla="*/ 116411 h 437"/>
                <a:gd name="T12" fmla="*/ 17152 w 379"/>
                <a:gd name="T13" fmla="*/ 90600 h 437"/>
                <a:gd name="T14" fmla="*/ 25069 w 379"/>
                <a:gd name="T15" fmla="*/ 83753 h 437"/>
                <a:gd name="T16" fmla="*/ 28587 w 379"/>
                <a:gd name="T17" fmla="*/ 68477 h 437"/>
                <a:gd name="T18" fmla="*/ 33425 w 379"/>
                <a:gd name="T19" fmla="*/ 41086 h 437"/>
                <a:gd name="T20" fmla="*/ 39583 w 379"/>
                <a:gd name="T21" fmla="*/ 26864 h 437"/>
                <a:gd name="T22" fmla="*/ 50578 w 379"/>
                <a:gd name="T23" fmla="*/ 16329 h 437"/>
                <a:gd name="T24" fmla="*/ 67291 w 379"/>
                <a:gd name="T25" fmla="*/ 13169 h 437"/>
                <a:gd name="T26" fmla="*/ 95438 w 379"/>
                <a:gd name="T27" fmla="*/ 20016 h 437"/>
                <a:gd name="T28" fmla="*/ 115230 w 379"/>
                <a:gd name="T29" fmla="*/ 25284 h 437"/>
                <a:gd name="T30" fmla="*/ 133262 w 379"/>
                <a:gd name="T31" fmla="*/ 23704 h 437"/>
                <a:gd name="T32" fmla="*/ 144697 w 379"/>
                <a:gd name="T33" fmla="*/ 16329 h 437"/>
                <a:gd name="T34" fmla="*/ 156571 w 379"/>
                <a:gd name="T35" fmla="*/ 3687 h 437"/>
                <a:gd name="T36" fmla="*/ 164488 w 379"/>
                <a:gd name="T37" fmla="*/ 4741 h 437"/>
                <a:gd name="T38" fmla="*/ 163608 w 379"/>
                <a:gd name="T39" fmla="*/ 18436 h 437"/>
                <a:gd name="T40" fmla="*/ 144697 w 379"/>
                <a:gd name="T41" fmla="*/ 42140 h 437"/>
                <a:gd name="T42" fmla="*/ 128424 w 379"/>
                <a:gd name="T43" fmla="*/ 51094 h 437"/>
                <a:gd name="T44" fmla="*/ 119188 w 379"/>
                <a:gd name="T45" fmla="*/ 49514 h 437"/>
                <a:gd name="T46" fmla="*/ 104674 w 379"/>
                <a:gd name="T47" fmla="*/ 36345 h 437"/>
                <a:gd name="T48" fmla="*/ 93239 w 379"/>
                <a:gd name="T49" fmla="*/ 29498 h 437"/>
                <a:gd name="T50" fmla="*/ 77846 w 379"/>
                <a:gd name="T51" fmla="*/ 29498 h 437"/>
                <a:gd name="T52" fmla="*/ 60693 w 379"/>
                <a:gd name="T53" fmla="*/ 32132 h 437"/>
                <a:gd name="T54" fmla="*/ 50138 w 379"/>
                <a:gd name="T55" fmla="*/ 41613 h 437"/>
                <a:gd name="T56" fmla="*/ 34745 w 379"/>
                <a:gd name="T57" fmla="*/ 84806 h 437"/>
                <a:gd name="T58" fmla="*/ 52337 w 379"/>
                <a:gd name="T59" fmla="*/ 89020 h 437"/>
                <a:gd name="T60" fmla="*/ 58494 w 379"/>
                <a:gd name="T61" fmla="*/ 100608 h 437"/>
                <a:gd name="T62" fmla="*/ 68170 w 379"/>
                <a:gd name="T63" fmla="*/ 88493 h 437"/>
                <a:gd name="T64" fmla="*/ 75647 w 379"/>
                <a:gd name="T65" fmla="*/ 80592 h 437"/>
                <a:gd name="T66" fmla="*/ 97197 w 379"/>
                <a:gd name="T67" fmla="*/ 79012 h 437"/>
                <a:gd name="T68" fmla="*/ 109952 w 379"/>
                <a:gd name="T69" fmla="*/ 77432 h 437"/>
                <a:gd name="T70" fmla="*/ 120067 w 379"/>
                <a:gd name="T71" fmla="*/ 91127 h 437"/>
                <a:gd name="T72" fmla="*/ 122706 w 379"/>
                <a:gd name="T73" fmla="*/ 106929 h 437"/>
                <a:gd name="T74" fmla="*/ 108193 w 379"/>
                <a:gd name="T75" fmla="*/ 101135 h 437"/>
                <a:gd name="T76" fmla="*/ 95878 w 379"/>
                <a:gd name="T77" fmla="*/ 97448 h 437"/>
                <a:gd name="T78" fmla="*/ 84443 w 379"/>
                <a:gd name="T79" fmla="*/ 102715 h 437"/>
                <a:gd name="T80" fmla="*/ 81804 w 379"/>
                <a:gd name="T81" fmla="*/ 110090 h 437"/>
                <a:gd name="T82" fmla="*/ 84443 w 379"/>
                <a:gd name="T83" fmla="*/ 122732 h 437"/>
                <a:gd name="T84" fmla="*/ 96758 w 379"/>
                <a:gd name="T85" fmla="*/ 143275 h 437"/>
                <a:gd name="T86" fmla="*/ 98957 w 379"/>
                <a:gd name="T87" fmla="*/ 155917 h 437"/>
                <a:gd name="T88" fmla="*/ 94559 w 379"/>
                <a:gd name="T89" fmla="*/ 169612 h 437"/>
                <a:gd name="T90" fmla="*/ 90161 w 379"/>
                <a:gd name="T91" fmla="*/ 181727 h 437"/>
                <a:gd name="T92" fmla="*/ 92360 w 379"/>
                <a:gd name="T93" fmla="*/ 187522 h 437"/>
                <a:gd name="T94" fmla="*/ 103795 w 379"/>
                <a:gd name="T95" fmla="*/ 193843 h 437"/>
                <a:gd name="T96" fmla="*/ 110831 w 379"/>
                <a:gd name="T97" fmla="*/ 210698 h 437"/>
                <a:gd name="T98" fmla="*/ 105114 w 379"/>
                <a:gd name="T99" fmla="*/ 225974 h 437"/>
                <a:gd name="T100" fmla="*/ 97197 w 379"/>
                <a:gd name="T101" fmla="*/ 221760 h 437"/>
                <a:gd name="T102" fmla="*/ 88841 w 379"/>
                <a:gd name="T103" fmla="*/ 219653 h 437"/>
                <a:gd name="T104" fmla="*/ 77846 w 379"/>
                <a:gd name="T105" fmla="*/ 210698 h 437"/>
                <a:gd name="T106" fmla="*/ 67291 w 379"/>
                <a:gd name="T107" fmla="*/ 187522 h 437"/>
                <a:gd name="T108" fmla="*/ 60254 w 379"/>
                <a:gd name="T109" fmla="*/ 160131 h 437"/>
                <a:gd name="T110" fmla="*/ 50138 w 379"/>
                <a:gd name="T111" fmla="*/ 138534 h 437"/>
                <a:gd name="T112" fmla="*/ 42661 w 379"/>
                <a:gd name="T113" fmla="*/ 136427 h 437"/>
                <a:gd name="T114" fmla="*/ 46180 w 379"/>
                <a:gd name="T115" fmla="*/ 200690 h 437"/>
                <a:gd name="T116" fmla="*/ 40902 w 379"/>
                <a:gd name="T117" fmla="*/ 212805 h 437"/>
                <a:gd name="T118" fmla="*/ 25069 w 379"/>
                <a:gd name="T119" fmla="*/ 224394 h 437"/>
                <a:gd name="T120" fmla="*/ 25949 w 379"/>
                <a:gd name="T121" fmla="*/ 230188 h 43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97" name="Freeform 339">
              <a:extLst>
                <a:ext uri="{FF2B5EF4-FFF2-40B4-BE49-F238E27FC236}">
                  <a16:creationId xmlns:a16="http://schemas.microsoft.com/office/drawing/2014/main" id="{076E182C-B4DE-4426-874B-E04391E2FCC6}"/>
                </a:ext>
              </a:extLst>
            </p:cNvPr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8162926" y="3838575"/>
              <a:ext cx="250825" cy="95250"/>
            </a:xfrm>
            <a:custGeom>
              <a:avLst/>
              <a:gdLst>
                <a:gd name="T0" fmla="*/ 4773 w 578"/>
                <a:gd name="T1" fmla="*/ 25883 h 184"/>
                <a:gd name="T2" fmla="*/ 10415 w 578"/>
                <a:gd name="T3" fmla="*/ 16565 h 184"/>
                <a:gd name="T4" fmla="*/ 17792 w 578"/>
                <a:gd name="T5" fmla="*/ 3624 h 184"/>
                <a:gd name="T6" fmla="*/ 23433 w 578"/>
                <a:gd name="T7" fmla="*/ 0 h 184"/>
                <a:gd name="T8" fmla="*/ 34282 w 578"/>
                <a:gd name="T9" fmla="*/ 1035 h 184"/>
                <a:gd name="T10" fmla="*/ 41226 w 578"/>
                <a:gd name="T11" fmla="*/ 1035 h 184"/>
                <a:gd name="T12" fmla="*/ 43829 w 578"/>
                <a:gd name="T13" fmla="*/ 2588 h 184"/>
                <a:gd name="T14" fmla="*/ 49905 w 578"/>
                <a:gd name="T15" fmla="*/ 7765 h 184"/>
                <a:gd name="T16" fmla="*/ 63791 w 578"/>
                <a:gd name="T17" fmla="*/ 13977 h 184"/>
                <a:gd name="T18" fmla="*/ 72904 w 578"/>
                <a:gd name="T19" fmla="*/ 19154 h 184"/>
                <a:gd name="T20" fmla="*/ 77244 w 578"/>
                <a:gd name="T21" fmla="*/ 27436 h 184"/>
                <a:gd name="T22" fmla="*/ 83319 w 578"/>
                <a:gd name="T23" fmla="*/ 31577 h 184"/>
                <a:gd name="T24" fmla="*/ 100243 w 578"/>
                <a:gd name="T25" fmla="*/ 31060 h 184"/>
                <a:gd name="T26" fmla="*/ 120205 w 578"/>
                <a:gd name="T27" fmla="*/ 26401 h 184"/>
                <a:gd name="T28" fmla="*/ 129752 w 578"/>
                <a:gd name="T29" fmla="*/ 20189 h 184"/>
                <a:gd name="T30" fmla="*/ 136261 w 578"/>
                <a:gd name="T31" fmla="*/ 17601 h 184"/>
                <a:gd name="T32" fmla="*/ 141903 w 578"/>
                <a:gd name="T33" fmla="*/ 18118 h 184"/>
                <a:gd name="T34" fmla="*/ 147110 w 578"/>
                <a:gd name="T35" fmla="*/ 16048 h 184"/>
                <a:gd name="T36" fmla="*/ 158827 w 578"/>
                <a:gd name="T37" fmla="*/ 17601 h 184"/>
                <a:gd name="T38" fmla="*/ 173147 w 578"/>
                <a:gd name="T39" fmla="*/ 30542 h 184"/>
                <a:gd name="T40" fmla="*/ 185732 w 578"/>
                <a:gd name="T41" fmla="*/ 46072 h 184"/>
                <a:gd name="T42" fmla="*/ 197883 w 578"/>
                <a:gd name="T43" fmla="*/ 54355 h 184"/>
                <a:gd name="T44" fmla="*/ 207864 w 578"/>
                <a:gd name="T45" fmla="*/ 55390 h 184"/>
                <a:gd name="T46" fmla="*/ 213939 w 578"/>
                <a:gd name="T47" fmla="*/ 55908 h 184"/>
                <a:gd name="T48" fmla="*/ 219146 w 578"/>
                <a:gd name="T49" fmla="*/ 64708 h 184"/>
                <a:gd name="T50" fmla="*/ 226524 w 578"/>
                <a:gd name="T51" fmla="*/ 72473 h 184"/>
                <a:gd name="T52" fmla="*/ 231731 w 578"/>
                <a:gd name="T53" fmla="*/ 71955 h 184"/>
                <a:gd name="T54" fmla="*/ 236938 w 578"/>
                <a:gd name="T55" fmla="*/ 66261 h 184"/>
                <a:gd name="T56" fmla="*/ 242146 w 578"/>
                <a:gd name="T57" fmla="*/ 69367 h 184"/>
                <a:gd name="T58" fmla="*/ 247787 w 578"/>
                <a:gd name="T59" fmla="*/ 75061 h 184"/>
                <a:gd name="T60" fmla="*/ 250825 w 578"/>
                <a:gd name="T61" fmla="*/ 82826 h 184"/>
                <a:gd name="T62" fmla="*/ 249523 w 578"/>
                <a:gd name="T63" fmla="*/ 89556 h 184"/>
                <a:gd name="T64" fmla="*/ 246052 w 578"/>
                <a:gd name="T65" fmla="*/ 94215 h 184"/>
                <a:gd name="T66" fmla="*/ 239108 w 578"/>
                <a:gd name="T67" fmla="*/ 92144 h 184"/>
                <a:gd name="T68" fmla="*/ 228259 w 578"/>
                <a:gd name="T69" fmla="*/ 88003 h 184"/>
                <a:gd name="T70" fmla="*/ 213071 w 578"/>
                <a:gd name="T71" fmla="*/ 89038 h 184"/>
                <a:gd name="T72" fmla="*/ 200486 w 578"/>
                <a:gd name="T73" fmla="*/ 88003 h 184"/>
                <a:gd name="T74" fmla="*/ 195713 w 578"/>
                <a:gd name="T75" fmla="*/ 82826 h 184"/>
                <a:gd name="T76" fmla="*/ 190072 w 578"/>
                <a:gd name="T77" fmla="*/ 79720 h 184"/>
                <a:gd name="T78" fmla="*/ 184864 w 578"/>
                <a:gd name="T79" fmla="*/ 82826 h 184"/>
                <a:gd name="T80" fmla="*/ 180525 w 578"/>
                <a:gd name="T81" fmla="*/ 88003 h 184"/>
                <a:gd name="T82" fmla="*/ 172713 w 578"/>
                <a:gd name="T83" fmla="*/ 88520 h 184"/>
                <a:gd name="T84" fmla="*/ 142337 w 578"/>
                <a:gd name="T85" fmla="*/ 79202 h 184"/>
                <a:gd name="T86" fmla="*/ 120205 w 578"/>
                <a:gd name="T87" fmla="*/ 68332 h 184"/>
                <a:gd name="T88" fmla="*/ 115432 w 578"/>
                <a:gd name="T89" fmla="*/ 63673 h 184"/>
                <a:gd name="T90" fmla="*/ 99809 w 578"/>
                <a:gd name="T91" fmla="*/ 61602 h 184"/>
                <a:gd name="T92" fmla="*/ 87225 w 578"/>
                <a:gd name="T93" fmla="*/ 58496 h 184"/>
                <a:gd name="T94" fmla="*/ 72904 w 578"/>
                <a:gd name="T95" fmla="*/ 57461 h 184"/>
                <a:gd name="T96" fmla="*/ 63357 w 578"/>
                <a:gd name="T97" fmla="*/ 57461 h 184"/>
                <a:gd name="T98" fmla="*/ 53810 w 578"/>
                <a:gd name="T99" fmla="*/ 54355 h 184"/>
                <a:gd name="T100" fmla="*/ 52074 w 578"/>
                <a:gd name="T101" fmla="*/ 51249 h 184"/>
                <a:gd name="T102" fmla="*/ 29943 w 578"/>
                <a:gd name="T103" fmla="*/ 50213 h 184"/>
                <a:gd name="T104" fmla="*/ 19962 w 578"/>
                <a:gd name="T105" fmla="*/ 45554 h 184"/>
                <a:gd name="T106" fmla="*/ 0 w 578"/>
                <a:gd name="T107" fmla="*/ 28471 h 18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98" name="Freeform 340">
              <a:extLst>
                <a:ext uri="{FF2B5EF4-FFF2-40B4-BE49-F238E27FC236}">
                  <a16:creationId xmlns:a16="http://schemas.microsoft.com/office/drawing/2014/main" id="{DA4B818C-3237-4332-8606-65A31883F795}"/>
                </a:ext>
              </a:extLst>
            </p:cNvPr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8843963" y="3695701"/>
              <a:ext cx="214312" cy="252413"/>
            </a:xfrm>
            <a:custGeom>
              <a:avLst/>
              <a:gdLst>
                <a:gd name="T0" fmla="*/ 210384 w 491"/>
                <a:gd name="T1" fmla="*/ 251363 h 481"/>
                <a:gd name="T2" fmla="*/ 199472 w 491"/>
                <a:gd name="T3" fmla="*/ 244017 h 481"/>
                <a:gd name="T4" fmla="*/ 184195 w 491"/>
                <a:gd name="T5" fmla="*/ 227749 h 481"/>
                <a:gd name="T6" fmla="*/ 179830 w 491"/>
                <a:gd name="T7" fmla="*/ 218828 h 481"/>
                <a:gd name="T8" fmla="*/ 164117 w 491"/>
                <a:gd name="T9" fmla="*/ 215155 h 481"/>
                <a:gd name="T10" fmla="*/ 157133 w 491"/>
                <a:gd name="T11" fmla="*/ 213055 h 481"/>
                <a:gd name="T12" fmla="*/ 152768 w 491"/>
                <a:gd name="T13" fmla="*/ 207808 h 481"/>
                <a:gd name="T14" fmla="*/ 151022 w 491"/>
                <a:gd name="T15" fmla="*/ 196263 h 481"/>
                <a:gd name="T16" fmla="*/ 149276 w 491"/>
                <a:gd name="T17" fmla="*/ 174223 h 481"/>
                <a:gd name="T18" fmla="*/ 142729 w 491"/>
                <a:gd name="T19" fmla="*/ 159004 h 481"/>
                <a:gd name="T20" fmla="*/ 139237 w 491"/>
                <a:gd name="T21" fmla="*/ 145361 h 481"/>
                <a:gd name="T22" fmla="*/ 137055 w 491"/>
                <a:gd name="T23" fmla="*/ 128043 h 481"/>
                <a:gd name="T24" fmla="*/ 127452 w 491"/>
                <a:gd name="T25" fmla="*/ 117023 h 481"/>
                <a:gd name="T26" fmla="*/ 113485 w 491"/>
                <a:gd name="T27" fmla="*/ 107577 h 481"/>
                <a:gd name="T28" fmla="*/ 96462 w 491"/>
                <a:gd name="T29" fmla="*/ 99706 h 481"/>
                <a:gd name="T30" fmla="*/ 77694 w 491"/>
                <a:gd name="T31" fmla="*/ 94983 h 481"/>
                <a:gd name="T32" fmla="*/ 58052 w 491"/>
                <a:gd name="T33" fmla="*/ 93409 h 481"/>
                <a:gd name="T34" fmla="*/ 58052 w 491"/>
                <a:gd name="T35" fmla="*/ 81864 h 481"/>
                <a:gd name="T36" fmla="*/ 48013 w 491"/>
                <a:gd name="T37" fmla="*/ 76091 h 481"/>
                <a:gd name="T38" fmla="*/ 37101 w 491"/>
                <a:gd name="T39" fmla="*/ 68220 h 481"/>
                <a:gd name="T40" fmla="*/ 28808 w 491"/>
                <a:gd name="T41" fmla="*/ 58249 h 481"/>
                <a:gd name="T42" fmla="*/ 31863 w 491"/>
                <a:gd name="T43" fmla="*/ 69794 h 481"/>
                <a:gd name="T44" fmla="*/ 23570 w 491"/>
                <a:gd name="T45" fmla="*/ 77141 h 481"/>
                <a:gd name="T46" fmla="*/ 17459 w 491"/>
                <a:gd name="T47" fmla="*/ 93409 h 481"/>
                <a:gd name="T48" fmla="*/ 10476 w 491"/>
                <a:gd name="T49" fmla="*/ 115449 h 481"/>
                <a:gd name="T50" fmla="*/ 5674 w 491"/>
                <a:gd name="T51" fmla="*/ 139063 h 481"/>
                <a:gd name="T52" fmla="*/ 6111 w 491"/>
                <a:gd name="T53" fmla="*/ 124370 h 481"/>
                <a:gd name="T54" fmla="*/ 10039 w 491"/>
                <a:gd name="T55" fmla="*/ 109676 h 481"/>
                <a:gd name="T56" fmla="*/ 13967 w 491"/>
                <a:gd name="T57" fmla="*/ 94983 h 481"/>
                <a:gd name="T58" fmla="*/ 13094 w 491"/>
                <a:gd name="T59" fmla="*/ 75042 h 481"/>
                <a:gd name="T60" fmla="*/ 7420 w 491"/>
                <a:gd name="T61" fmla="*/ 58249 h 481"/>
                <a:gd name="T62" fmla="*/ 0 w 491"/>
                <a:gd name="T63" fmla="*/ 38308 h 481"/>
                <a:gd name="T64" fmla="*/ 14840 w 491"/>
                <a:gd name="T65" fmla="*/ 30961 h 481"/>
                <a:gd name="T66" fmla="*/ 25752 w 491"/>
                <a:gd name="T67" fmla="*/ 28862 h 481"/>
                <a:gd name="T68" fmla="*/ 36664 w 491"/>
                <a:gd name="T69" fmla="*/ 30436 h 481"/>
                <a:gd name="T70" fmla="*/ 44521 w 491"/>
                <a:gd name="T71" fmla="*/ 34635 h 481"/>
                <a:gd name="T72" fmla="*/ 52814 w 491"/>
                <a:gd name="T73" fmla="*/ 43031 h 481"/>
                <a:gd name="T74" fmla="*/ 61107 w 491"/>
                <a:gd name="T75" fmla="*/ 58249 h 481"/>
                <a:gd name="T76" fmla="*/ 79876 w 491"/>
                <a:gd name="T77" fmla="*/ 54051 h 481"/>
                <a:gd name="T78" fmla="*/ 85550 w 491"/>
                <a:gd name="T79" fmla="*/ 50378 h 481"/>
                <a:gd name="T80" fmla="*/ 87296 w 491"/>
                <a:gd name="T81" fmla="*/ 47229 h 481"/>
                <a:gd name="T82" fmla="*/ 90351 w 491"/>
                <a:gd name="T83" fmla="*/ 38308 h 481"/>
                <a:gd name="T84" fmla="*/ 101264 w 491"/>
                <a:gd name="T85" fmla="*/ 28337 h 481"/>
                <a:gd name="T86" fmla="*/ 110866 w 491"/>
                <a:gd name="T87" fmla="*/ 25714 h 481"/>
                <a:gd name="T88" fmla="*/ 114794 w 491"/>
                <a:gd name="T89" fmla="*/ 15743 h 481"/>
                <a:gd name="T90" fmla="*/ 122215 w 491"/>
                <a:gd name="T91" fmla="*/ 4723 h 481"/>
                <a:gd name="T92" fmla="*/ 130944 w 491"/>
                <a:gd name="T93" fmla="*/ 525 h 481"/>
                <a:gd name="T94" fmla="*/ 140983 w 491"/>
                <a:gd name="T95" fmla="*/ 0 h 481"/>
                <a:gd name="T96" fmla="*/ 153205 w 491"/>
                <a:gd name="T97" fmla="*/ 4198 h 481"/>
                <a:gd name="T98" fmla="*/ 174156 w 491"/>
                <a:gd name="T99" fmla="*/ 19941 h 481"/>
                <a:gd name="T100" fmla="*/ 186814 w 491"/>
                <a:gd name="T101" fmla="*/ 27813 h 481"/>
                <a:gd name="T102" fmla="*/ 200345 w 491"/>
                <a:gd name="T103" fmla="*/ 31486 h 481"/>
                <a:gd name="T104" fmla="*/ 214312 w 491"/>
                <a:gd name="T105" fmla="*/ 35159 h 481"/>
                <a:gd name="T106" fmla="*/ 214312 w 491"/>
                <a:gd name="T107" fmla="*/ 171074 h 48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99" name="Freeform 341">
              <a:extLst>
                <a:ext uri="{FF2B5EF4-FFF2-40B4-BE49-F238E27FC236}">
                  <a16:creationId xmlns:a16="http://schemas.microsoft.com/office/drawing/2014/main" id="{1F023839-F37F-42BC-A063-62B7A0F53036}"/>
                </a:ext>
              </a:extLst>
            </p:cNvPr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7375526" y="2527301"/>
              <a:ext cx="53975" cy="60325"/>
            </a:xfrm>
            <a:custGeom>
              <a:avLst/>
              <a:gdLst>
                <a:gd name="T0" fmla="*/ 0 w 133"/>
                <a:gd name="T1" fmla="*/ 9796 h 117"/>
                <a:gd name="T2" fmla="*/ 29220 w 133"/>
                <a:gd name="T3" fmla="*/ 0 h 117"/>
                <a:gd name="T4" fmla="*/ 32872 w 133"/>
                <a:gd name="T5" fmla="*/ 3094 h 117"/>
                <a:gd name="T6" fmla="*/ 36930 w 133"/>
                <a:gd name="T7" fmla="*/ 7218 h 117"/>
                <a:gd name="T8" fmla="*/ 40989 w 133"/>
                <a:gd name="T9" fmla="*/ 12890 h 117"/>
                <a:gd name="T10" fmla="*/ 44235 w 133"/>
                <a:gd name="T11" fmla="*/ 19077 h 117"/>
                <a:gd name="T12" fmla="*/ 47888 w 133"/>
                <a:gd name="T13" fmla="*/ 25264 h 117"/>
                <a:gd name="T14" fmla="*/ 51134 w 133"/>
                <a:gd name="T15" fmla="*/ 31967 h 117"/>
                <a:gd name="T16" fmla="*/ 51946 w 133"/>
                <a:gd name="T17" fmla="*/ 35061 h 117"/>
                <a:gd name="T18" fmla="*/ 52758 w 133"/>
                <a:gd name="T19" fmla="*/ 38154 h 117"/>
                <a:gd name="T20" fmla="*/ 53163 w 133"/>
                <a:gd name="T21" fmla="*/ 41248 h 117"/>
                <a:gd name="T22" fmla="*/ 53975 w 133"/>
                <a:gd name="T23" fmla="*/ 44341 h 117"/>
                <a:gd name="T24" fmla="*/ 53163 w 133"/>
                <a:gd name="T25" fmla="*/ 47435 h 117"/>
                <a:gd name="T26" fmla="*/ 51946 w 133"/>
                <a:gd name="T27" fmla="*/ 50013 h 117"/>
                <a:gd name="T28" fmla="*/ 50323 w 133"/>
                <a:gd name="T29" fmla="*/ 52591 h 117"/>
                <a:gd name="T30" fmla="*/ 47888 w 133"/>
                <a:gd name="T31" fmla="*/ 55169 h 117"/>
                <a:gd name="T32" fmla="*/ 45858 w 133"/>
                <a:gd name="T33" fmla="*/ 57231 h 117"/>
                <a:gd name="T34" fmla="*/ 43423 w 133"/>
                <a:gd name="T35" fmla="*/ 58778 h 117"/>
                <a:gd name="T36" fmla="*/ 41800 w 133"/>
                <a:gd name="T37" fmla="*/ 60325 h 117"/>
                <a:gd name="T38" fmla="*/ 40583 w 133"/>
                <a:gd name="T39" fmla="*/ 60325 h 117"/>
                <a:gd name="T40" fmla="*/ 29220 w 133"/>
                <a:gd name="T41" fmla="*/ 48982 h 117"/>
                <a:gd name="T42" fmla="*/ 18262 w 133"/>
                <a:gd name="T43" fmla="*/ 36092 h 117"/>
                <a:gd name="T44" fmla="*/ 12986 w 133"/>
                <a:gd name="T45" fmla="*/ 29905 h 117"/>
                <a:gd name="T46" fmla="*/ 7305 w 133"/>
                <a:gd name="T47" fmla="*/ 23718 h 117"/>
                <a:gd name="T48" fmla="*/ 3247 w 133"/>
                <a:gd name="T49" fmla="*/ 17015 h 117"/>
                <a:gd name="T50" fmla="*/ 0 w 133"/>
                <a:gd name="T51" fmla="*/ 9796 h 11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00" name="Freeform 342">
              <a:extLst>
                <a:ext uri="{FF2B5EF4-FFF2-40B4-BE49-F238E27FC236}">
                  <a16:creationId xmlns:a16="http://schemas.microsoft.com/office/drawing/2014/main" id="{FC6D444B-38C7-4081-8ABD-4979141E9F95}"/>
                </a:ext>
              </a:extLst>
            </p:cNvPr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5832476" y="1931988"/>
              <a:ext cx="220663" cy="177800"/>
            </a:xfrm>
            <a:custGeom>
              <a:avLst/>
              <a:gdLst>
                <a:gd name="T0" fmla="*/ 118852 w 505"/>
                <a:gd name="T1" fmla="*/ 18881 h 339"/>
                <a:gd name="T2" fmla="*/ 211487 w 505"/>
                <a:gd name="T3" fmla="*/ 45106 h 339"/>
                <a:gd name="T4" fmla="*/ 208865 w 505"/>
                <a:gd name="T5" fmla="*/ 57169 h 339"/>
                <a:gd name="T6" fmla="*/ 205806 w 505"/>
                <a:gd name="T7" fmla="*/ 67658 h 339"/>
                <a:gd name="T8" fmla="*/ 201437 w 505"/>
                <a:gd name="T9" fmla="*/ 76050 h 339"/>
                <a:gd name="T10" fmla="*/ 197067 w 505"/>
                <a:gd name="T11" fmla="*/ 80246 h 339"/>
                <a:gd name="T12" fmla="*/ 201437 w 505"/>
                <a:gd name="T13" fmla="*/ 96505 h 339"/>
                <a:gd name="T14" fmla="*/ 208428 w 505"/>
                <a:gd name="T15" fmla="*/ 112764 h 339"/>
                <a:gd name="T16" fmla="*/ 220663 w 505"/>
                <a:gd name="T17" fmla="*/ 135317 h 339"/>
                <a:gd name="T18" fmla="*/ 215420 w 505"/>
                <a:gd name="T19" fmla="*/ 142135 h 339"/>
                <a:gd name="T20" fmla="*/ 209302 w 505"/>
                <a:gd name="T21" fmla="*/ 153149 h 339"/>
                <a:gd name="T22" fmla="*/ 204496 w 505"/>
                <a:gd name="T23" fmla="*/ 164688 h 339"/>
                <a:gd name="T24" fmla="*/ 202748 w 505"/>
                <a:gd name="T25" fmla="*/ 177800 h 339"/>
                <a:gd name="T26" fmla="*/ 193572 w 505"/>
                <a:gd name="T27" fmla="*/ 177276 h 339"/>
                <a:gd name="T28" fmla="*/ 180900 w 505"/>
                <a:gd name="T29" fmla="*/ 175702 h 339"/>
                <a:gd name="T30" fmla="*/ 168228 w 505"/>
                <a:gd name="T31" fmla="*/ 173604 h 339"/>
                <a:gd name="T32" fmla="*/ 156430 w 505"/>
                <a:gd name="T33" fmla="*/ 170982 h 339"/>
                <a:gd name="T34" fmla="*/ 132835 w 505"/>
                <a:gd name="T35" fmla="*/ 170457 h 339"/>
                <a:gd name="T36" fmla="*/ 115356 w 505"/>
                <a:gd name="T37" fmla="*/ 168359 h 339"/>
                <a:gd name="T38" fmla="*/ 108365 w 505"/>
                <a:gd name="T39" fmla="*/ 166261 h 339"/>
                <a:gd name="T40" fmla="*/ 101374 w 505"/>
                <a:gd name="T41" fmla="*/ 162590 h 339"/>
                <a:gd name="T42" fmla="*/ 93072 w 505"/>
                <a:gd name="T43" fmla="*/ 157345 h 339"/>
                <a:gd name="T44" fmla="*/ 78652 w 505"/>
                <a:gd name="T45" fmla="*/ 151576 h 339"/>
                <a:gd name="T46" fmla="*/ 63796 w 505"/>
                <a:gd name="T47" fmla="*/ 143184 h 339"/>
                <a:gd name="T48" fmla="*/ 42822 w 505"/>
                <a:gd name="T49" fmla="*/ 130596 h 339"/>
                <a:gd name="T50" fmla="*/ 27091 w 505"/>
                <a:gd name="T51" fmla="*/ 108044 h 339"/>
                <a:gd name="T52" fmla="*/ 22722 w 505"/>
                <a:gd name="T53" fmla="*/ 88638 h 339"/>
                <a:gd name="T54" fmla="*/ 15730 w 505"/>
                <a:gd name="T55" fmla="*/ 65036 h 339"/>
                <a:gd name="T56" fmla="*/ 6554 w 505"/>
                <a:gd name="T57" fmla="*/ 43532 h 339"/>
                <a:gd name="T58" fmla="*/ 874 w 505"/>
                <a:gd name="T59" fmla="*/ 33567 h 339"/>
                <a:gd name="T60" fmla="*/ 2185 w 505"/>
                <a:gd name="T61" fmla="*/ 31994 h 339"/>
                <a:gd name="T62" fmla="*/ 4807 w 505"/>
                <a:gd name="T63" fmla="*/ 29371 h 339"/>
                <a:gd name="T64" fmla="*/ 4807 w 505"/>
                <a:gd name="T65" fmla="*/ 25175 h 339"/>
                <a:gd name="T66" fmla="*/ 4807 w 505"/>
                <a:gd name="T67" fmla="*/ 22553 h 339"/>
                <a:gd name="T68" fmla="*/ 14857 w 505"/>
                <a:gd name="T69" fmla="*/ 17832 h 339"/>
                <a:gd name="T70" fmla="*/ 31898 w 505"/>
                <a:gd name="T71" fmla="*/ 11539 h 339"/>
                <a:gd name="T72" fmla="*/ 55930 w 505"/>
                <a:gd name="T73" fmla="*/ 4196 h 339"/>
                <a:gd name="T74" fmla="*/ 75593 w 505"/>
                <a:gd name="T75" fmla="*/ 5769 h 339"/>
                <a:gd name="T76" fmla="*/ 82148 w 505"/>
                <a:gd name="T77" fmla="*/ 14686 h 339"/>
                <a:gd name="T78" fmla="*/ 87828 w 505"/>
                <a:gd name="T79" fmla="*/ 18357 h 339"/>
                <a:gd name="T80" fmla="*/ 95693 w 505"/>
                <a:gd name="T81" fmla="*/ 18881 h 339"/>
                <a:gd name="T82" fmla="*/ 104433 w 505"/>
                <a:gd name="T83" fmla="*/ 18881 h 339"/>
                <a:gd name="T84" fmla="*/ 113172 w 505"/>
                <a:gd name="T85" fmla="*/ 12588 h 3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01" name="Freeform 343">
              <a:extLst>
                <a:ext uri="{FF2B5EF4-FFF2-40B4-BE49-F238E27FC236}">
                  <a16:creationId xmlns:a16="http://schemas.microsoft.com/office/drawing/2014/main" id="{1136F4B7-C6DA-402A-9B32-7CAF016DE97F}"/>
                </a:ext>
              </a:extLst>
            </p:cNvPr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5895975" y="2136775"/>
              <a:ext cx="146050" cy="71438"/>
            </a:xfrm>
            <a:custGeom>
              <a:avLst/>
              <a:gdLst>
                <a:gd name="T0" fmla="*/ 134815 w 338"/>
                <a:gd name="T1" fmla="*/ 0 h 141"/>
                <a:gd name="T2" fmla="*/ 80371 w 338"/>
                <a:gd name="T3" fmla="*/ 0 h 141"/>
                <a:gd name="T4" fmla="*/ 72593 w 338"/>
                <a:gd name="T5" fmla="*/ 4053 h 141"/>
                <a:gd name="T6" fmla="*/ 62222 w 338"/>
                <a:gd name="T7" fmla="*/ 10640 h 141"/>
                <a:gd name="T8" fmla="*/ 57037 w 338"/>
                <a:gd name="T9" fmla="*/ 13680 h 141"/>
                <a:gd name="T10" fmla="*/ 51420 w 338"/>
                <a:gd name="T11" fmla="*/ 16213 h 141"/>
                <a:gd name="T12" fmla="*/ 48395 w 338"/>
                <a:gd name="T13" fmla="*/ 17226 h 141"/>
                <a:gd name="T14" fmla="*/ 45371 w 338"/>
                <a:gd name="T15" fmla="*/ 17733 h 141"/>
                <a:gd name="T16" fmla="*/ 42778 w 338"/>
                <a:gd name="T17" fmla="*/ 18239 h 141"/>
                <a:gd name="T18" fmla="*/ 40185 w 338"/>
                <a:gd name="T19" fmla="*/ 18746 h 141"/>
                <a:gd name="T20" fmla="*/ 38025 w 338"/>
                <a:gd name="T21" fmla="*/ 18239 h 141"/>
                <a:gd name="T22" fmla="*/ 36296 w 338"/>
                <a:gd name="T23" fmla="*/ 17733 h 141"/>
                <a:gd name="T24" fmla="*/ 33704 w 338"/>
                <a:gd name="T25" fmla="*/ 16213 h 141"/>
                <a:gd name="T26" fmla="*/ 31975 w 338"/>
                <a:gd name="T27" fmla="*/ 15200 h 141"/>
                <a:gd name="T28" fmla="*/ 28519 w 338"/>
                <a:gd name="T29" fmla="*/ 12160 h 141"/>
                <a:gd name="T30" fmla="*/ 25494 w 338"/>
                <a:gd name="T31" fmla="*/ 9120 h 141"/>
                <a:gd name="T32" fmla="*/ 21173 w 338"/>
                <a:gd name="T33" fmla="*/ 17226 h 141"/>
                <a:gd name="T34" fmla="*/ 15988 w 338"/>
                <a:gd name="T35" fmla="*/ 25839 h 141"/>
                <a:gd name="T36" fmla="*/ 12963 w 338"/>
                <a:gd name="T37" fmla="*/ 30399 h 141"/>
                <a:gd name="T38" fmla="*/ 9074 w 338"/>
                <a:gd name="T39" fmla="*/ 34452 h 141"/>
                <a:gd name="T40" fmla="*/ 4753 w 338"/>
                <a:gd name="T41" fmla="*/ 37999 h 141"/>
                <a:gd name="T42" fmla="*/ 0 w 338"/>
                <a:gd name="T43" fmla="*/ 40532 h 141"/>
                <a:gd name="T44" fmla="*/ 5185 w 338"/>
                <a:gd name="T45" fmla="*/ 45599 h 141"/>
                <a:gd name="T46" fmla="*/ 9938 w 338"/>
                <a:gd name="T47" fmla="*/ 50665 h 141"/>
                <a:gd name="T48" fmla="*/ 14259 w 338"/>
                <a:gd name="T49" fmla="*/ 54718 h 141"/>
                <a:gd name="T50" fmla="*/ 19012 w 338"/>
                <a:gd name="T51" fmla="*/ 58772 h 141"/>
                <a:gd name="T52" fmla="*/ 23766 w 338"/>
                <a:gd name="T53" fmla="*/ 61812 h 141"/>
                <a:gd name="T54" fmla="*/ 28519 w 338"/>
                <a:gd name="T55" fmla="*/ 65358 h 141"/>
                <a:gd name="T56" fmla="*/ 34136 w 338"/>
                <a:gd name="T57" fmla="*/ 68398 h 141"/>
                <a:gd name="T58" fmla="*/ 40185 w 338"/>
                <a:gd name="T59" fmla="*/ 71438 h 141"/>
                <a:gd name="T60" fmla="*/ 111914 w 338"/>
                <a:gd name="T61" fmla="*/ 71438 h 141"/>
                <a:gd name="T62" fmla="*/ 116235 w 338"/>
                <a:gd name="T63" fmla="*/ 62825 h 141"/>
                <a:gd name="T64" fmla="*/ 121420 w 338"/>
                <a:gd name="T65" fmla="*/ 54212 h 141"/>
                <a:gd name="T66" fmla="*/ 126173 w 338"/>
                <a:gd name="T67" fmla="*/ 46612 h 141"/>
                <a:gd name="T68" fmla="*/ 131359 w 338"/>
                <a:gd name="T69" fmla="*/ 39519 h 141"/>
                <a:gd name="T70" fmla="*/ 136112 w 338"/>
                <a:gd name="T71" fmla="*/ 32426 h 141"/>
                <a:gd name="T72" fmla="*/ 140001 w 338"/>
                <a:gd name="T73" fmla="*/ 24319 h 141"/>
                <a:gd name="T74" fmla="*/ 143889 w 338"/>
                <a:gd name="T75" fmla="*/ 17226 h 141"/>
                <a:gd name="T76" fmla="*/ 146050 w 338"/>
                <a:gd name="T77" fmla="*/ 9120 h 141"/>
                <a:gd name="T78" fmla="*/ 134815 w 338"/>
                <a:gd name="T79" fmla="*/ 0 h 14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02" name="Freeform 344">
              <a:extLst>
                <a:ext uri="{FF2B5EF4-FFF2-40B4-BE49-F238E27FC236}">
                  <a16:creationId xmlns:a16="http://schemas.microsoft.com/office/drawing/2014/main" id="{222EC197-0F8C-48DE-A30F-8563298EC4AF}"/>
                </a:ext>
              </a:extLst>
            </p:cNvPr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5995989" y="1792289"/>
              <a:ext cx="111125" cy="65087"/>
            </a:xfrm>
            <a:custGeom>
              <a:avLst/>
              <a:gdLst>
                <a:gd name="T0" fmla="*/ 111125 w 259"/>
                <a:gd name="T1" fmla="*/ 65087 h 129"/>
                <a:gd name="T2" fmla="*/ 109409 w 259"/>
                <a:gd name="T3" fmla="*/ 51464 h 129"/>
                <a:gd name="T4" fmla="*/ 108122 w 259"/>
                <a:gd name="T5" fmla="*/ 40364 h 129"/>
                <a:gd name="T6" fmla="*/ 108122 w 259"/>
                <a:gd name="T7" fmla="*/ 31787 h 129"/>
                <a:gd name="T8" fmla="*/ 108551 w 259"/>
                <a:gd name="T9" fmla="*/ 25228 h 129"/>
                <a:gd name="T10" fmla="*/ 110267 w 259"/>
                <a:gd name="T11" fmla="*/ 14632 h 129"/>
                <a:gd name="T12" fmla="*/ 111125 w 259"/>
                <a:gd name="T13" fmla="*/ 6055 h 129"/>
                <a:gd name="T14" fmla="*/ 110696 w 259"/>
                <a:gd name="T15" fmla="*/ 7064 h 129"/>
                <a:gd name="T16" fmla="*/ 109838 w 259"/>
                <a:gd name="T17" fmla="*/ 8073 h 129"/>
                <a:gd name="T18" fmla="*/ 108551 w 259"/>
                <a:gd name="T19" fmla="*/ 8577 h 129"/>
                <a:gd name="T20" fmla="*/ 106834 w 259"/>
                <a:gd name="T21" fmla="*/ 9082 h 129"/>
                <a:gd name="T22" fmla="*/ 102544 w 259"/>
                <a:gd name="T23" fmla="*/ 9586 h 129"/>
                <a:gd name="T24" fmla="*/ 97824 w 259"/>
                <a:gd name="T25" fmla="*/ 9586 h 129"/>
                <a:gd name="T26" fmla="*/ 87956 w 259"/>
                <a:gd name="T27" fmla="*/ 9586 h 129"/>
                <a:gd name="T28" fmla="*/ 82378 w 259"/>
                <a:gd name="T29" fmla="*/ 9082 h 129"/>
                <a:gd name="T30" fmla="*/ 77659 w 259"/>
                <a:gd name="T31" fmla="*/ 8577 h 129"/>
                <a:gd name="T32" fmla="*/ 73797 w 259"/>
                <a:gd name="T33" fmla="*/ 7568 h 129"/>
                <a:gd name="T34" fmla="*/ 69936 w 259"/>
                <a:gd name="T35" fmla="*/ 6055 h 129"/>
                <a:gd name="T36" fmla="*/ 66932 w 259"/>
                <a:gd name="T37" fmla="*/ 4541 h 129"/>
                <a:gd name="T38" fmla="*/ 62642 w 259"/>
                <a:gd name="T39" fmla="*/ 3027 h 129"/>
                <a:gd name="T40" fmla="*/ 57493 w 259"/>
                <a:gd name="T41" fmla="*/ 1514 h 129"/>
                <a:gd name="T42" fmla="*/ 50628 w 259"/>
                <a:gd name="T43" fmla="*/ 505 h 129"/>
                <a:gd name="T44" fmla="*/ 42476 w 259"/>
                <a:gd name="T45" fmla="*/ 0 h 129"/>
                <a:gd name="T46" fmla="*/ 35611 w 259"/>
                <a:gd name="T47" fmla="*/ 0 h 129"/>
                <a:gd name="T48" fmla="*/ 28747 w 259"/>
                <a:gd name="T49" fmla="*/ 0 h 129"/>
                <a:gd name="T50" fmla="*/ 21453 w 259"/>
                <a:gd name="T51" fmla="*/ 0 h 129"/>
                <a:gd name="T52" fmla="*/ 14588 w 259"/>
                <a:gd name="T53" fmla="*/ 1009 h 129"/>
                <a:gd name="T54" fmla="*/ 11584 w 259"/>
                <a:gd name="T55" fmla="*/ 2018 h 129"/>
                <a:gd name="T56" fmla="*/ 9010 w 259"/>
                <a:gd name="T57" fmla="*/ 3027 h 129"/>
                <a:gd name="T58" fmla="*/ 6007 w 259"/>
                <a:gd name="T59" fmla="*/ 4541 h 129"/>
                <a:gd name="T60" fmla="*/ 4291 w 259"/>
                <a:gd name="T61" fmla="*/ 6559 h 129"/>
                <a:gd name="T62" fmla="*/ 2145 w 259"/>
                <a:gd name="T63" fmla="*/ 8577 h 129"/>
                <a:gd name="T64" fmla="*/ 858 w 259"/>
                <a:gd name="T65" fmla="*/ 11100 h 129"/>
                <a:gd name="T66" fmla="*/ 0 w 259"/>
                <a:gd name="T67" fmla="*/ 14632 h 129"/>
                <a:gd name="T68" fmla="*/ 0 w 259"/>
                <a:gd name="T69" fmla="*/ 18164 h 129"/>
                <a:gd name="T70" fmla="*/ 0 w 259"/>
                <a:gd name="T71" fmla="*/ 24218 h 129"/>
                <a:gd name="T72" fmla="*/ 1287 w 259"/>
                <a:gd name="T73" fmla="*/ 29264 h 129"/>
                <a:gd name="T74" fmla="*/ 2574 w 259"/>
                <a:gd name="T75" fmla="*/ 32796 h 129"/>
                <a:gd name="T76" fmla="*/ 5149 w 259"/>
                <a:gd name="T77" fmla="*/ 35823 h 129"/>
                <a:gd name="T78" fmla="*/ 7294 w 259"/>
                <a:gd name="T79" fmla="*/ 38346 h 129"/>
                <a:gd name="T80" fmla="*/ 10297 w 259"/>
                <a:gd name="T81" fmla="*/ 40364 h 129"/>
                <a:gd name="T82" fmla="*/ 13301 w 259"/>
                <a:gd name="T83" fmla="*/ 41878 h 129"/>
                <a:gd name="T84" fmla="*/ 15875 w 259"/>
                <a:gd name="T85" fmla="*/ 42887 h 129"/>
                <a:gd name="T86" fmla="*/ 21453 w 259"/>
                <a:gd name="T87" fmla="*/ 44400 h 129"/>
                <a:gd name="T88" fmla="*/ 26172 w 259"/>
                <a:gd name="T89" fmla="*/ 46419 h 129"/>
                <a:gd name="T90" fmla="*/ 27889 w 259"/>
                <a:gd name="T91" fmla="*/ 47932 h 129"/>
                <a:gd name="T92" fmla="*/ 28747 w 259"/>
                <a:gd name="T93" fmla="*/ 49950 h 129"/>
                <a:gd name="T94" fmla="*/ 28747 w 259"/>
                <a:gd name="T95" fmla="*/ 52978 h 129"/>
                <a:gd name="T96" fmla="*/ 28318 w 259"/>
                <a:gd name="T97" fmla="*/ 56005 h 129"/>
                <a:gd name="T98" fmla="*/ 34753 w 259"/>
                <a:gd name="T99" fmla="*/ 55501 h 129"/>
                <a:gd name="T100" fmla="*/ 39044 w 259"/>
                <a:gd name="T101" fmla="*/ 54491 h 129"/>
                <a:gd name="T102" fmla="*/ 42047 w 259"/>
                <a:gd name="T103" fmla="*/ 53482 h 129"/>
                <a:gd name="T104" fmla="*/ 45051 w 259"/>
                <a:gd name="T105" fmla="*/ 52978 h 129"/>
                <a:gd name="T106" fmla="*/ 51486 w 259"/>
                <a:gd name="T107" fmla="*/ 53482 h 129"/>
                <a:gd name="T108" fmla="*/ 60068 w 259"/>
                <a:gd name="T109" fmla="*/ 54491 h 129"/>
                <a:gd name="T110" fmla="*/ 71223 w 259"/>
                <a:gd name="T111" fmla="*/ 56510 h 129"/>
                <a:gd name="T112" fmla="*/ 82378 w 259"/>
                <a:gd name="T113" fmla="*/ 59032 h 129"/>
                <a:gd name="T114" fmla="*/ 102115 w 259"/>
                <a:gd name="T115" fmla="*/ 63069 h 129"/>
                <a:gd name="T116" fmla="*/ 111125 w 259"/>
                <a:gd name="T117" fmla="*/ 65087 h 12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03" name="Freeform 345">
              <a:extLst>
                <a:ext uri="{FF2B5EF4-FFF2-40B4-BE49-F238E27FC236}">
                  <a16:creationId xmlns:a16="http://schemas.microsoft.com/office/drawing/2014/main" id="{700F986B-ABFD-411A-B818-038FBB7B02CF}"/>
                </a:ext>
              </a:extLst>
            </p:cNvPr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6008689" y="2139951"/>
              <a:ext cx="179387" cy="142875"/>
            </a:xfrm>
            <a:custGeom>
              <a:avLst/>
              <a:gdLst>
                <a:gd name="T0" fmla="*/ 176432 w 425"/>
                <a:gd name="T1" fmla="*/ 89297 h 272"/>
                <a:gd name="T2" fmla="*/ 167991 w 425"/>
                <a:gd name="T3" fmla="*/ 98752 h 272"/>
                <a:gd name="T4" fmla="*/ 161659 w 425"/>
                <a:gd name="T5" fmla="*/ 108207 h 272"/>
                <a:gd name="T6" fmla="*/ 162081 w 425"/>
                <a:gd name="T7" fmla="*/ 116086 h 272"/>
                <a:gd name="T8" fmla="*/ 164192 w 425"/>
                <a:gd name="T9" fmla="*/ 124490 h 272"/>
                <a:gd name="T10" fmla="*/ 158283 w 425"/>
                <a:gd name="T11" fmla="*/ 128167 h 272"/>
                <a:gd name="T12" fmla="*/ 146464 w 425"/>
                <a:gd name="T13" fmla="*/ 125016 h 272"/>
                <a:gd name="T14" fmla="*/ 136756 w 425"/>
                <a:gd name="T15" fmla="*/ 123440 h 272"/>
                <a:gd name="T16" fmla="*/ 124516 w 425"/>
                <a:gd name="T17" fmla="*/ 123440 h 272"/>
                <a:gd name="T18" fmla="*/ 111009 w 425"/>
                <a:gd name="T19" fmla="*/ 127642 h 272"/>
                <a:gd name="T20" fmla="*/ 97924 w 425"/>
                <a:gd name="T21" fmla="*/ 133420 h 272"/>
                <a:gd name="T22" fmla="*/ 83151 w 425"/>
                <a:gd name="T23" fmla="*/ 140249 h 272"/>
                <a:gd name="T24" fmla="*/ 42209 w 425"/>
                <a:gd name="T25" fmla="*/ 126066 h 272"/>
                <a:gd name="T26" fmla="*/ 35877 w 425"/>
                <a:gd name="T27" fmla="*/ 118712 h 272"/>
                <a:gd name="T28" fmla="*/ 29546 w 425"/>
                <a:gd name="T29" fmla="*/ 112409 h 272"/>
                <a:gd name="T30" fmla="*/ 15617 w 425"/>
                <a:gd name="T31" fmla="*/ 100853 h 272"/>
                <a:gd name="T32" fmla="*/ 9286 w 425"/>
                <a:gd name="T33" fmla="*/ 94550 h 272"/>
                <a:gd name="T34" fmla="*/ 4643 w 425"/>
                <a:gd name="T35" fmla="*/ 87721 h 272"/>
                <a:gd name="T36" fmla="*/ 844 w 425"/>
                <a:gd name="T37" fmla="*/ 78791 h 272"/>
                <a:gd name="T38" fmla="*/ 0 w 425"/>
                <a:gd name="T39" fmla="*/ 67761 h 272"/>
                <a:gd name="T40" fmla="*/ 21104 w 425"/>
                <a:gd name="T41" fmla="*/ 34668 h 272"/>
                <a:gd name="T42" fmla="*/ 29968 w 425"/>
                <a:gd name="T43" fmla="*/ 18910 h 272"/>
                <a:gd name="T44" fmla="*/ 33767 w 425"/>
                <a:gd name="T45" fmla="*/ 11556 h 272"/>
                <a:gd name="T46" fmla="*/ 35877 w 425"/>
                <a:gd name="T47" fmla="*/ 3152 h 272"/>
                <a:gd name="T48" fmla="*/ 51917 w 425"/>
                <a:gd name="T49" fmla="*/ 5253 h 272"/>
                <a:gd name="T50" fmla="*/ 64579 w 425"/>
                <a:gd name="T51" fmla="*/ 9455 h 272"/>
                <a:gd name="T52" fmla="*/ 75976 w 425"/>
                <a:gd name="T53" fmla="*/ 14182 h 272"/>
                <a:gd name="T54" fmla="*/ 86528 w 425"/>
                <a:gd name="T55" fmla="*/ 16284 h 272"/>
                <a:gd name="T56" fmla="*/ 90327 w 425"/>
                <a:gd name="T57" fmla="*/ 15233 h 272"/>
                <a:gd name="T58" fmla="*/ 93281 w 425"/>
                <a:gd name="T59" fmla="*/ 13657 h 272"/>
                <a:gd name="T60" fmla="*/ 97924 w 425"/>
                <a:gd name="T61" fmla="*/ 7879 h 272"/>
                <a:gd name="T62" fmla="*/ 102145 w 425"/>
                <a:gd name="T63" fmla="*/ 2626 h 272"/>
                <a:gd name="T64" fmla="*/ 105522 w 425"/>
                <a:gd name="T65" fmla="*/ 1051 h 272"/>
                <a:gd name="T66" fmla="*/ 109321 w 425"/>
                <a:gd name="T67" fmla="*/ 0 h 272"/>
                <a:gd name="T68" fmla="*/ 116074 w 425"/>
                <a:gd name="T69" fmla="*/ 1051 h 272"/>
                <a:gd name="T70" fmla="*/ 121983 w 425"/>
                <a:gd name="T71" fmla="*/ 3677 h 272"/>
                <a:gd name="T72" fmla="*/ 127470 w 425"/>
                <a:gd name="T73" fmla="*/ 7879 h 272"/>
                <a:gd name="T74" fmla="*/ 130847 w 425"/>
                <a:gd name="T75" fmla="*/ 13657 h 272"/>
                <a:gd name="T76" fmla="*/ 137178 w 425"/>
                <a:gd name="T77" fmla="*/ 27840 h 272"/>
                <a:gd name="T78" fmla="*/ 142243 w 425"/>
                <a:gd name="T79" fmla="*/ 43073 h 272"/>
                <a:gd name="T80" fmla="*/ 147308 w 425"/>
                <a:gd name="T81" fmla="*/ 59356 h 272"/>
                <a:gd name="T82" fmla="*/ 150263 w 425"/>
                <a:gd name="T83" fmla="*/ 66185 h 272"/>
                <a:gd name="T84" fmla="*/ 154062 w 425"/>
                <a:gd name="T85" fmla="*/ 72488 h 272"/>
                <a:gd name="T86" fmla="*/ 158705 w 425"/>
                <a:gd name="T87" fmla="*/ 77216 h 272"/>
                <a:gd name="T88" fmla="*/ 164192 w 425"/>
                <a:gd name="T89" fmla="*/ 81943 h 272"/>
                <a:gd name="T90" fmla="*/ 170945 w 425"/>
                <a:gd name="T91" fmla="*/ 84044 h 272"/>
                <a:gd name="T92" fmla="*/ 179387 w 425"/>
                <a:gd name="T93" fmla="*/ 84569 h 27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04" name="Freeform 346">
              <a:extLst>
                <a:ext uri="{FF2B5EF4-FFF2-40B4-BE49-F238E27FC236}">
                  <a16:creationId xmlns:a16="http://schemas.microsoft.com/office/drawing/2014/main" id="{E83EA758-E777-4522-9BFC-77952825E147}"/>
                </a:ext>
              </a:extLst>
            </p:cNvPr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4008439" y="3178176"/>
              <a:ext cx="14287" cy="55563"/>
            </a:xfrm>
            <a:custGeom>
              <a:avLst/>
              <a:gdLst>
                <a:gd name="T0" fmla="*/ 5628 w 33"/>
                <a:gd name="T1" fmla="*/ 10754 h 31"/>
                <a:gd name="T2" fmla="*/ 0 w 33"/>
                <a:gd name="T3" fmla="*/ 34055 h 31"/>
                <a:gd name="T4" fmla="*/ 2165 w 33"/>
                <a:gd name="T5" fmla="*/ 37639 h 31"/>
                <a:gd name="T6" fmla="*/ 6061 w 33"/>
                <a:gd name="T7" fmla="*/ 44809 h 31"/>
                <a:gd name="T8" fmla="*/ 8226 w 33"/>
                <a:gd name="T9" fmla="*/ 48394 h 31"/>
                <a:gd name="T10" fmla="*/ 9958 w 33"/>
                <a:gd name="T11" fmla="*/ 51978 h 31"/>
                <a:gd name="T12" fmla="*/ 11689 w 33"/>
                <a:gd name="T13" fmla="*/ 53771 h 31"/>
                <a:gd name="T14" fmla="*/ 14287 w 33"/>
                <a:gd name="T15" fmla="*/ 55563 h 31"/>
                <a:gd name="T16" fmla="*/ 14287 w 33"/>
                <a:gd name="T17" fmla="*/ 0 h 31"/>
                <a:gd name="T18" fmla="*/ 8659 w 33"/>
                <a:gd name="T19" fmla="*/ 0 h 31"/>
                <a:gd name="T20" fmla="*/ 5628 w 33"/>
                <a:gd name="T21" fmla="*/ 10754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05" name="Freeform 347">
              <a:extLst>
                <a:ext uri="{FF2B5EF4-FFF2-40B4-BE49-F238E27FC236}">
                  <a16:creationId xmlns:a16="http://schemas.microsoft.com/office/drawing/2014/main" id="{14575B9E-4E5B-4E8D-A65E-017BE2AD9995}"/>
                </a:ext>
              </a:extLst>
            </p:cNvPr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6113464" y="2132014"/>
              <a:ext cx="85725" cy="79375"/>
            </a:xfrm>
            <a:custGeom>
              <a:avLst/>
              <a:gdLst>
                <a:gd name="T0" fmla="*/ 2679 w 192"/>
                <a:gd name="T1" fmla="*/ 9793 h 154"/>
                <a:gd name="T2" fmla="*/ 23217 w 192"/>
                <a:gd name="T3" fmla="*/ 0 h 154"/>
                <a:gd name="T4" fmla="*/ 41077 w 192"/>
                <a:gd name="T5" fmla="*/ 9793 h 154"/>
                <a:gd name="T6" fmla="*/ 53132 w 192"/>
                <a:gd name="T7" fmla="*/ 15978 h 154"/>
                <a:gd name="T8" fmla="*/ 65187 w 192"/>
                <a:gd name="T9" fmla="*/ 32472 h 154"/>
                <a:gd name="T10" fmla="*/ 74116 w 192"/>
                <a:gd name="T11" fmla="*/ 47934 h 154"/>
                <a:gd name="T12" fmla="*/ 85725 w 192"/>
                <a:gd name="T13" fmla="*/ 60820 h 154"/>
                <a:gd name="T14" fmla="*/ 67866 w 192"/>
                <a:gd name="T15" fmla="*/ 63912 h 154"/>
                <a:gd name="T16" fmla="*/ 56257 w 192"/>
                <a:gd name="T17" fmla="*/ 67005 h 154"/>
                <a:gd name="T18" fmla="*/ 56257 w 192"/>
                <a:gd name="T19" fmla="*/ 79375 h 154"/>
                <a:gd name="T20" fmla="*/ 47327 w 192"/>
                <a:gd name="T21" fmla="*/ 79375 h 154"/>
                <a:gd name="T22" fmla="*/ 44202 w 192"/>
                <a:gd name="T23" fmla="*/ 75252 h 154"/>
                <a:gd name="T24" fmla="*/ 41523 w 192"/>
                <a:gd name="T25" fmla="*/ 70613 h 154"/>
                <a:gd name="T26" fmla="*/ 39291 w 192"/>
                <a:gd name="T27" fmla="*/ 64943 h 154"/>
                <a:gd name="T28" fmla="*/ 36612 w 192"/>
                <a:gd name="T29" fmla="*/ 59274 h 154"/>
                <a:gd name="T30" fmla="*/ 33040 w 192"/>
                <a:gd name="T31" fmla="*/ 47934 h 154"/>
                <a:gd name="T32" fmla="*/ 29021 w 192"/>
                <a:gd name="T33" fmla="*/ 36595 h 154"/>
                <a:gd name="T34" fmla="*/ 26789 w 192"/>
                <a:gd name="T35" fmla="*/ 31441 h 154"/>
                <a:gd name="T36" fmla="*/ 24557 w 192"/>
                <a:gd name="T37" fmla="*/ 25771 h 154"/>
                <a:gd name="T38" fmla="*/ 21431 w 192"/>
                <a:gd name="T39" fmla="*/ 21648 h 154"/>
                <a:gd name="T40" fmla="*/ 18306 w 192"/>
                <a:gd name="T41" fmla="*/ 17524 h 154"/>
                <a:gd name="T42" fmla="*/ 14734 w 192"/>
                <a:gd name="T43" fmla="*/ 14432 h 154"/>
                <a:gd name="T44" fmla="*/ 10716 w 192"/>
                <a:gd name="T45" fmla="*/ 11855 h 154"/>
                <a:gd name="T46" fmla="*/ 8037 w 192"/>
                <a:gd name="T47" fmla="*/ 11339 h 154"/>
                <a:gd name="T48" fmla="*/ 5358 w 192"/>
                <a:gd name="T49" fmla="*/ 10308 h 154"/>
                <a:gd name="T50" fmla="*/ 2679 w 192"/>
                <a:gd name="T51" fmla="*/ 10308 h 154"/>
                <a:gd name="T52" fmla="*/ 0 w 192"/>
                <a:gd name="T53" fmla="*/ 9793 h 154"/>
                <a:gd name="T54" fmla="*/ 2679 w 192"/>
                <a:gd name="T55" fmla="*/ 9793 h 15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06" name="Freeform 348">
              <a:extLst>
                <a:ext uri="{FF2B5EF4-FFF2-40B4-BE49-F238E27FC236}">
                  <a16:creationId xmlns:a16="http://schemas.microsoft.com/office/drawing/2014/main" id="{37F19446-01C3-48D3-9FC8-76733DADC41A}"/>
                </a:ext>
              </a:extLst>
            </p:cNvPr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6030913" y="2014538"/>
              <a:ext cx="381000" cy="247650"/>
            </a:xfrm>
            <a:custGeom>
              <a:avLst/>
              <a:gdLst>
                <a:gd name="T0" fmla="*/ 170299 w 877"/>
                <a:gd name="T1" fmla="*/ 179533 h 469"/>
                <a:gd name="T2" fmla="*/ 138585 w 877"/>
                <a:gd name="T3" fmla="*/ 133594 h 469"/>
                <a:gd name="T4" fmla="*/ 89494 w 877"/>
                <a:gd name="T5" fmla="*/ 127257 h 469"/>
                <a:gd name="T6" fmla="*/ 82977 w 877"/>
                <a:gd name="T7" fmla="*/ 128313 h 469"/>
                <a:gd name="T8" fmla="*/ 77330 w 877"/>
                <a:gd name="T9" fmla="*/ 132538 h 469"/>
                <a:gd name="T10" fmla="*/ 70379 w 877"/>
                <a:gd name="T11" fmla="*/ 140986 h 469"/>
                <a:gd name="T12" fmla="*/ 65600 w 877"/>
                <a:gd name="T13" fmla="*/ 143098 h 469"/>
                <a:gd name="T14" fmla="*/ 52567 w 877"/>
                <a:gd name="T15" fmla="*/ 141514 h 469"/>
                <a:gd name="T16" fmla="*/ 34320 w 877"/>
                <a:gd name="T17" fmla="*/ 134650 h 469"/>
                <a:gd name="T18" fmla="*/ 11295 w 877"/>
                <a:gd name="T19" fmla="*/ 130425 h 469"/>
                <a:gd name="T20" fmla="*/ 3475 w 877"/>
                <a:gd name="T21" fmla="*/ 111944 h 469"/>
                <a:gd name="T22" fmla="*/ 5648 w 877"/>
                <a:gd name="T23" fmla="*/ 98743 h 469"/>
                <a:gd name="T24" fmla="*/ 5648 w 877"/>
                <a:gd name="T25" fmla="*/ 95047 h 469"/>
                <a:gd name="T26" fmla="*/ 9992 w 877"/>
                <a:gd name="T27" fmla="*/ 76038 h 469"/>
                <a:gd name="T28" fmla="*/ 19115 w 877"/>
                <a:gd name="T29" fmla="*/ 59140 h 469"/>
                <a:gd name="T30" fmla="*/ 23460 w 877"/>
                <a:gd name="T31" fmla="*/ 48580 h 469"/>
                <a:gd name="T32" fmla="*/ 11295 w 877"/>
                <a:gd name="T33" fmla="*/ 26402 h 469"/>
                <a:gd name="T34" fmla="*/ 75157 w 877"/>
                <a:gd name="T35" fmla="*/ 13729 h 469"/>
                <a:gd name="T36" fmla="*/ 147274 w 877"/>
                <a:gd name="T37" fmla="*/ 26402 h 469"/>
                <a:gd name="T38" fmla="*/ 170299 w 877"/>
                <a:gd name="T39" fmla="*/ 6864 h 469"/>
                <a:gd name="T40" fmla="*/ 210701 w 877"/>
                <a:gd name="T41" fmla="*/ 0 h 469"/>
                <a:gd name="T42" fmla="*/ 251538 w 877"/>
                <a:gd name="T43" fmla="*/ 20065 h 469"/>
                <a:gd name="T44" fmla="*/ 277170 w 877"/>
                <a:gd name="T45" fmla="*/ 58612 h 469"/>
                <a:gd name="T46" fmla="*/ 314966 w 877"/>
                <a:gd name="T47" fmla="*/ 58612 h 469"/>
                <a:gd name="T48" fmla="*/ 364057 w 877"/>
                <a:gd name="T49" fmla="*/ 81846 h 469"/>
                <a:gd name="T50" fmla="*/ 375352 w 877"/>
                <a:gd name="T51" fmla="*/ 124089 h 469"/>
                <a:gd name="T52" fmla="*/ 349286 w 877"/>
                <a:gd name="T53" fmla="*/ 143626 h 469"/>
                <a:gd name="T54" fmla="*/ 327564 w 877"/>
                <a:gd name="T55" fmla="*/ 165276 h 469"/>
                <a:gd name="T56" fmla="*/ 298892 w 877"/>
                <a:gd name="T57" fmla="*/ 174253 h 469"/>
                <a:gd name="T58" fmla="*/ 288031 w 877"/>
                <a:gd name="T59" fmla="*/ 181117 h 469"/>
                <a:gd name="T60" fmla="*/ 281514 w 877"/>
                <a:gd name="T61" fmla="*/ 189038 h 469"/>
                <a:gd name="T62" fmla="*/ 280645 w 877"/>
                <a:gd name="T63" fmla="*/ 198014 h 469"/>
                <a:gd name="T64" fmla="*/ 283686 w 877"/>
                <a:gd name="T65" fmla="*/ 205935 h 469"/>
                <a:gd name="T66" fmla="*/ 289334 w 877"/>
                <a:gd name="T67" fmla="*/ 211743 h 469"/>
                <a:gd name="T68" fmla="*/ 308884 w 877"/>
                <a:gd name="T69" fmla="*/ 209103 h 469"/>
                <a:gd name="T70" fmla="*/ 321917 w 877"/>
                <a:gd name="T71" fmla="*/ 208047 h 469"/>
                <a:gd name="T72" fmla="*/ 318876 w 877"/>
                <a:gd name="T73" fmla="*/ 212799 h 469"/>
                <a:gd name="T74" fmla="*/ 311056 w 877"/>
                <a:gd name="T75" fmla="*/ 222304 h 469"/>
                <a:gd name="T76" fmla="*/ 303236 w 877"/>
                <a:gd name="T77" fmla="*/ 231281 h 469"/>
                <a:gd name="T78" fmla="*/ 299326 w 877"/>
                <a:gd name="T79" fmla="*/ 221248 h 469"/>
                <a:gd name="T80" fmla="*/ 291506 w 877"/>
                <a:gd name="T81" fmla="*/ 215440 h 469"/>
                <a:gd name="T82" fmla="*/ 289334 w 877"/>
                <a:gd name="T83" fmla="*/ 223360 h 469"/>
                <a:gd name="T84" fmla="*/ 279342 w 877"/>
                <a:gd name="T85" fmla="*/ 233393 h 469"/>
                <a:gd name="T86" fmla="*/ 268916 w 877"/>
                <a:gd name="T87" fmla="*/ 242898 h 469"/>
                <a:gd name="T88" fmla="*/ 265440 w 877"/>
                <a:gd name="T89" fmla="*/ 247650 h 469"/>
                <a:gd name="T90" fmla="*/ 258489 w 877"/>
                <a:gd name="T91" fmla="*/ 245010 h 469"/>
                <a:gd name="T92" fmla="*/ 253710 w 877"/>
                <a:gd name="T93" fmla="*/ 240257 h 469"/>
                <a:gd name="T94" fmla="*/ 249800 w 877"/>
                <a:gd name="T95" fmla="*/ 231809 h 469"/>
                <a:gd name="T96" fmla="*/ 248497 w 877"/>
                <a:gd name="T97" fmla="*/ 215440 h 469"/>
                <a:gd name="T98" fmla="*/ 238071 w 877"/>
                <a:gd name="T99" fmla="*/ 213328 h 469"/>
                <a:gd name="T100" fmla="*/ 225038 w 877"/>
                <a:gd name="T101" fmla="*/ 205407 h 469"/>
                <a:gd name="T102" fmla="*/ 242849 w 877"/>
                <a:gd name="T103" fmla="*/ 200127 h 469"/>
                <a:gd name="T104" fmla="*/ 271522 w 877"/>
                <a:gd name="T105" fmla="*/ 195374 h 469"/>
                <a:gd name="T106" fmla="*/ 214177 w 877"/>
                <a:gd name="T107" fmla="*/ 186926 h 469"/>
                <a:gd name="T108" fmla="*/ 193324 w 877"/>
                <a:gd name="T109" fmla="*/ 175837 h 469"/>
                <a:gd name="T110" fmla="*/ 172905 w 877"/>
                <a:gd name="T111" fmla="*/ 194846 h 469"/>
                <a:gd name="T112" fmla="*/ 165086 w 877"/>
                <a:gd name="T113" fmla="*/ 208575 h 469"/>
                <a:gd name="T114" fmla="*/ 153356 w 877"/>
                <a:gd name="T115" fmla="*/ 211215 h 469"/>
                <a:gd name="T116" fmla="*/ 142495 w 877"/>
                <a:gd name="T117" fmla="*/ 206991 h 469"/>
                <a:gd name="T118" fmla="*/ 132937 w 877"/>
                <a:gd name="T119" fmla="*/ 198542 h 46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07" name="Freeform 349">
              <a:extLst>
                <a:ext uri="{FF2B5EF4-FFF2-40B4-BE49-F238E27FC236}">
                  <a16:creationId xmlns:a16="http://schemas.microsoft.com/office/drawing/2014/main" id="{69AE2F85-A076-4F03-A871-FC30B9044388}"/>
                </a:ext>
              </a:extLst>
            </p:cNvPr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6542089" y="2357438"/>
              <a:ext cx="47625" cy="63500"/>
            </a:xfrm>
            <a:custGeom>
              <a:avLst/>
              <a:gdLst>
                <a:gd name="T0" fmla="*/ 21364 w 107"/>
                <a:gd name="T1" fmla="*/ 0 h 123"/>
                <a:gd name="T2" fmla="*/ 36053 w 107"/>
                <a:gd name="T3" fmla="*/ 16004 h 123"/>
                <a:gd name="T4" fmla="*/ 41839 w 107"/>
                <a:gd name="T5" fmla="*/ 34589 h 123"/>
                <a:gd name="T6" fmla="*/ 47625 w 107"/>
                <a:gd name="T7" fmla="*/ 44398 h 123"/>
                <a:gd name="T8" fmla="*/ 47625 w 107"/>
                <a:gd name="T9" fmla="*/ 60402 h 123"/>
                <a:gd name="T10" fmla="*/ 47625 w 107"/>
                <a:gd name="T11" fmla="*/ 63500 h 123"/>
                <a:gd name="T12" fmla="*/ 39168 w 107"/>
                <a:gd name="T13" fmla="*/ 58854 h 123"/>
                <a:gd name="T14" fmla="*/ 32492 w 107"/>
                <a:gd name="T15" fmla="*/ 54207 h 123"/>
                <a:gd name="T16" fmla="*/ 27151 w 107"/>
                <a:gd name="T17" fmla="*/ 50593 h 123"/>
                <a:gd name="T18" fmla="*/ 24035 w 107"/>
                <a:gd name="T19" fmla="*/ 47496 h 123"/>
                <a:gd name="T20" fmla="*/ 22700 w 107"/>
                <a:gd name="T21" fmla="*/ 42850 h 123"/>
                <a:gd name="T22" fmla="*/ 21364 w 107"/>
                <a:gd name="T23" fmla="*/ 37687 h 123"/>
                <a:gd name="T24" fmla="*/ 17359 w 107"/>
                <a:gd name="T25" fmla="*/ 38203 h 123"/>
                <a:gd name="T26" fmla="*/ 14243 w 107"/>
                <a:gd name="T27" fmla="*/ 37687 h 123"/>
                <a:gd name="T28" fmla="*/ 11572 w 107"/>
                <a:gd name="T29" fmla="*/ 37171 h 123"/>
                <a:gd name="T30" fmla="*/ 9347 w 107"/>
                <a:gd name="T31" fmla="*/ 36138 h 123"/>
                <a:gd name="T32" fmla="*/ 7567 w 107"/>
                <a:gd name="T33" fmla="*/ 34589 h 123"/>
                <a:gd name="T34" fmla="*/ 6231 w 107"/>
                <a:gd name="T35" fmla="*/ 32524 h 123"/>
                <a:gd name="T36" fmla="*/ 4896 w 107"/>
                <a:gd name="T37" fmla="*/ 30459 h 123"/>
                <a:gd name="T38" fmla="*/ 4006 w 107"/>
                <a:gd name="T39" fmla="*/ 27878 h 123"/>
                <a:gd name="T40" fmla="*/ 1780 w 107"/>
                <a:gd name="T41" fmla="*/ 16004 h 123"/>
                <a:gd name="T42" fmla="*/ 0 w 107"/>
                <a:gd name="T43" fmla="*/ 3098 h 123"/>
                <a:gd name="T44" fmla="*/ 15133 w 107"/>
                <a:gd name="T45" fmla="*/ 0 h 123"/>
                <a:gd name="T46" fmla="*/ 21364 w 107"/>
                <a:gd name="T47" fmla="*/ 0 h 1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08" name="Freeform 350">
              <a:extLst>
                <a:ext uri="{FF2B5EF4-FFF2-40B4-BE49-F238E27FC236}">
                  <a16:creationId xmlns:a16="http://schemas.microsoft.com/office/drawing/2014/main" id="{84E96774-48A1-4621-BAC6-608BE70BC796}"/>
                </a:ext>
              </a:extLst>
            </p:cNvPr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7085013" y="2371725"/>
              <a:ext cx="207962" cy="122238"/>
            </a:xfrm>
            <a:custGeom>
              <a:avLst/>
              <a:gdLst>
                <a:gd name="T0" fmla="*/ 46802 w 471"/>
                <a:gd name="T1" fmla="*/ 35000 h 234"/>
                <a:gd name="T2" fmla="*/ 73294 w 471"/>
                <a:gd name="T3" fmla="*/ 44925 h 234"/>
                <a:gd name="T4" fmla="*/ 120097 w 471"/>
                <a:gd name="T5" fmla="*/ 54850 h 234"/>
                <a:gd name="T6" fmla="*/ 164250 w 471"/>
                <a:gd name="T7" fmla="*/ 44925 h 234"/>
                <a:gd name="T8" fmla="*/ 169107 w 471"/>
                <a:gd name="T9" fmla="*/ 49627 h 234"/>
                <a:gd name="T10" fmla="*/ 172639 w 471"/>
                <a:gd name="T11" fmla="*/ 59552 h 234"/>
                <a:gd name="T12" fmla="*/ 179262 w 471"/>
                <a:gd name="T13" fmla="*/ 64776 h 234"/>
                <a:gd name="T14" fmla="*/ 187210 w 471"/>
                <a:gd name="T15" fmla="*/ 67388 h 234"/>
                <a:gd name="T16" fmla="*/ 191184 w 471"/>
                <a:gd name="T17" fmla="*/ 70000 h 234"/>
                <a:gd name="T18" fmla="*/ 194716 w 471"/>
                <a:gd name="T19" fmla="*/ 73656 h 234"/>
                <a:gd name="T20" fmla="*/ 197807 w 471"/>
                <a:gd name="T21" fmla="*/ 78880 h 234"/>
                <a:gd name="T22" fmla="*/ 200897 w 471"/>
                <a:gd name="T23" fmla="*/ 88805 h 234"/>
                <a:gd name="T24" fmla="*/ 207962 w 471"/>
                <a:gd name="T25" fmla="*/ 99253 h 234"/>
                <a:gd name="T26" fmla="*/ 154537 w 471"/>
                <a:gd name="T27" fmla="*/ 105522 h 234"/>
                <a:gd name="T28" fmla="*/ 145706 w 471"/>
                <a:gd name="T29" fmla="*/ 117014 h 234"/>
                <a:gd name="T30" fmla="*/ 139966 w 471"/>
                <a:gd name="T31" fmla="*/ 121716 h 234"/>
                <a:gd name="T32" fmla="*/ 135109 w 471"/>
                <a:gd name="T33" fmla="*/ 121716 h 234"/>
                <a:gd name="T34" fmla="*/ 131577 w 471"/>
                <a:gd name="T35" fmla="*/ 120148 h 234"/>
                <a:gd name="T36" fmla="*/ 128928 w 471"/>
                <a:gd name="T37" fmla="*/ 117014 h 234"/>
                <a:gd name="T38" fmla="*/ 127603 w 471"/>
                <a:gd name="T39" fmla="*/ 112835 h 234"/>
                <a:gd name="T40" fmla="*/ 125395 w 471"/>
                <a:gd name="T41" fmla="*/ 103955 h 234"/>
                <a:gd name="T42" fmla="*/ 122746 w 471"/>
                <a:gd name="T43" fmla="*/ 90895 h 234"/>
                <a:gd name="T44" fmla="*/ 118772 w 471"/>
                <a:gd name="T45" fmla="*/ 80970 h 234"/>
                <a:gd name="T46" fmla="*/ 113915 w 471"/>
                <a:gd name="T47" fmla="*/ 77313 h 234"/>
                <a:gd name="T48" fmla="*/ 108617 w 471"/>
                <a:gd name="T49" fmla="*/ 73656 h 234"/>
                <a:gd name="T50" fmla="*/ 104202 w 471"/>
                <a:gd name="T51" fmla="*/ 69477 h 234"/>
                <a:gd name="T52" fmla="*/ 98903 w 471"/>
                <a:gd name="T53" fmla="*/ 73134 h 234"/>
                <a:gd name="T54" fmla="*/ 91397 w 471"/>
                <a:gd name="T55" fmla="*/ 84626 h 234"/>
                <a:gd name="T56" fmla="*/ 88307 w 471"/>
                <a:gd name="T57" fmla="*/ 92462 h 234"/>
                <a:gd name="T58" fmla="*/ 83008 w 471"/>
                <a:gd name="T59" fmla="*/ 99253 h 234"/>
                <a:gd name="T60" fmla="*/ 73736 w 471"/>
                <a:gd name="T61" fmla="*/ 104999 h 234"/>
                <a:gd name="T62" fmla="*/ 64905 w 471"/>
                <a:gd name="T63" fmla="*/ 111268 h 234"/>
                <a:gd name="T64" fmla="*/ 57399 w 471"/>
                <a:gd name="T65" fmla="*/ 114402 h 234"/>
                <a:gd name="T66" fmla="*/ 50335 w 471"/>
                <a:gd name="T67" fmla="*/ 115969 h 234"/>
                <a:gd name="T68" fmla="*/ 42829 w 471"/>
                <a:gd name="T69" fmla="*/ 115447 h 234"/>
                <a:gd name="T70" fmla="*/ 36206 w 471"/>
                <a:gd name="T71" fmla="*/ 113357 h 234"/>
                <a:gd name="T72" fmla="*/ 27817 w 471"/>
                <a:gd name="T73" fmla="*/ 107089 h 234"/>
                <a:gd name="T74" fmla="*/ 26050 w 471"/>
                <a:gd name="T75" fmla="*/ 102910 h 234"/>
                <a:gd name="T76" fmla="*/ 26050 w 471"/>
                <a:gd name="T77" fmla="*/ 70522 h 234"/>
                <a:gd name="T78" fmla="*/ 0 w 471"/>
                <a:gd name="T79" fmla="*/ 51194 h 234"/>
                <a:gd name="T80" fmla="*/ 23401 w 471"/>
                <a:gd name="T81" fmla="*/ 41791 h 234"/>
                <a:gd name="T82" fmla="*/ 37972 w 471"/>
                <a:gd name="T83" fmla="*/ 15672 h 234"/>
                <a:gd name="T84" fmla="*/ 58724 w 471"/>
                <a:gd name="T85" fmla="*/ 0 h 234"/>
                <a:gd name="T86" fmla="*/ 73294 w 471"/>
                <a:gd name="T87" fmla="*/ 21940 h 2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09" name="Freeform 351">
              <a:extLst>
                <a:ext uri="{FF2B5EF4-FFF2-40B4-BE49-F238E27FC236}">
                  <a16:creationId xmlns:a16="http://schemas.microsoft.com/office/drawing/2014/main" id="{0D1B9449-82DB-4B59-AB58-DA9DB32C855A}"/>
                </a:ext>
              </a:extLst>
            </p:cNvPr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7134226" y="2300288"/>
              <a:ext cx="225425" cy="125412"/>
            </a:xfrm>
            <a:custGeom>
              <a:avLst/>
              <a:gdLst>
                <a:gd name="T0" fmla="*/ 45514 w 525"/>
                <a:gd name="T1" fmla="*/ 96271 h 241"/>
                <a:gd name="T2" fmla="*/ 74283 w 525"/>
                <a:gd name="T3" fmla="*/ 77016 h 241"/>
                <a:gd name="T4" fmla="*/ 39932 w 525"/>
                <a:gd name="T5" fmla="*/ 54640 h 241"/>
                <a:gd name="T6" fmla="*/ 20181 w 525"/>
                <a:gd name="T7" fmla="*/ 60885 h 241"/>
                <a:gd name="T8" fmla="*/ 28339 w 525"/>
                <a:gd name="T9" fmla="*/ 31743 h 241"/>
                <a:gd name="T10" fmla="*/ 17175 w 525"/>
                <a:gd name="T11" fmla="*/ 22376 h 241"/>
                <a:gd name="T12" fmla="*/ 48091 w 525"/>
                <a:gd name="T13" fmla="*/ 13010 h 241"/>
                <a:gd name="T14" fmla="*/ 79865 w 525"/>
                <a:gd name="T15" fmla="*/ 0 h 241"/>
                <a:gd name="T16" fmla="*/ 133967 w 525"/>
                <a:gd name="T17" fmla="*/ 9887 h 241"/>
                <a:gd name="T18" fmla="*/ 188498 w 525"/>
                <a:gd name="T19" fmla="*/ 13010 h 241"/>
                <a:gd name="T20" fmla="*/ 225425 w 525"/>
                <a:gd name="T21" fmla="*/ 28621 h 241"/>
                <a:gd name="T22" fmla="*/ 222849 w 525"/>
                <a:gd name="T23" fmla="*/ 35906 h 241"/>
                <a:gd name="T24" fmla="*/ 218984 w 525"/>
                <a:gd name="T25" fmla="*/ 42671 h 241"/>
                <a:gd name="T26" fmla="*/ 214261 w 525"/>
                <a:gd name="T27" fmla="*/ 47875 h 241"/>
                <a:gd name="T28" fmla="*/ 208250 w 525"/>
                <a:gd name="T29" fmla="*/ 51518 h 241"/>
                <a:gd name="T30" fmla="*/ 189786 w 525"/>
                <a:gd name="T31" fmla="*/ 53599 h 241"/>
                <a:gd name="T32" fmla="*/ 179481 w 525"/>
                <a:gd name="T33" fmla="*/ 55681 h 241"/>
                <a:gd name="T34" fmla="*/ 174758 w 525"/>
                <a:gd name="T35" fmla="*/ 57762 h 241"/>
                <a:gd name="T36" fmla="*/ 171323 w 525"/>
                <a:gd name="T37" fmla="*/ 60885 h 241"/>
                <a:gd name="T38" fmla="*/ 166170 w 525"/>
                <a:gd name="T39" fmla="*/ 70772 h 241"/>
                <a:gd name="T40" fmla="*/ 162306 w 525"/>
                <a:gd name="T41" fmla="*/ 76496 h 241"/>
                <a:gd name="T42" fmla="*/ 156724 w 525"/>
                <a:gd name="T43" fmla="*/ 80139 h 241"/>
                <a:gd name="T44" fmla="*/ 130961 w 525"/>
                <a:gd name="T45" fmla="*/ 86383 h 241"/>
                <a:gd name="T46" fmla="*/ 117221 w 525"/>
                <a:gd name="T47" fmla="*/ 90026 h 241"/>
                <a:gd name="T48" fmla="*/ 111639 w 525"/>
                <a:gd name="T49" fmla="*/ 92628 h 241"/>
                <a:gd name="T50" fmla="*/ 112068 w 525"/>
                <a:gd name="T51" fmla="*/ 99913 h 241"/>
                <a:gd name="T52" fmla="*/ 112927 w 525"/>
                <a:gd name="T53" fmla="*/ 105637 h 241"/>
                <a:gd name="T54" fmla="*/ 117221 w 525"/>
                <a:gd name="T55" fmla="*/ 115525 h 241"/>
                <a:gd name="T56" fmla="*/ 94034 w 525"/>
                <a:gd name="T57" fmla="*/ 118647 h 241"/>
                <a:gd name="T58" fmla="*/ 48091 w 525"/>
                <a:gd name="T59" fmla="*/ 121769 h 241"/>
                <a:gd name="T60" fmla="*/ 8588 w 525"/>
                <a:gd name="T61" fmla="*/ 115525 h 241"/>
                <a:gd name="T62" fmla="*/ 22757 w 525"/>
                <a:gd name="T63" fmla="*/ 86383 h 24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0" name="Freeform 352">
              <a:extLst>
                <a:ext uri="{FF2B5EF4-FFF2-40B4-BE49-F238E27FC236}">
                  <a16:creationId xmlns:a16="http://schemas.microsoft.com/office/drawing/2014/main" id="{8C1A69ED-9713-4C0C-91DB-7783086235A4}"/>
                </a:ext>
              </a:extLst>
            </p:cNvPr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6740525" y="2316163"/>
              <a:ext cx="342900" cy="227012"/>
            </a:xfrm>
            <a:custGeom>
              <a:avLst/>
              <a:gdLst>
                <a:gd name="T0" fmla="*/ 335902 w 784"/>
                <a:gd name="T1" fmla="*/ 154157 h 430"/>
                <a:gd name="T2" fmla="*/ 328467 w 784"/>
                <a:gd name="T3" fmla="*/ 154685 h 430"/>
                <a:gd name="T4" fmla="*/ 319719 w 784"/>
                <a:gd name="T5" fmla="*/ 159436 h 430"/>
                <a:gd name="T6" fmla="*/ 316220 w 784"/>
                <a:gd name="T7" fmla="*/ 162604 h 430"/>
                <a:gd name="T8" fmla="*/ 313596 w 784"/>
                <a:gd name="T9" fmla="*/ 175274 h 430"/>
                <a:gd name="T10" fmla="*/ 311847 w 784"/>
                <a:gd name="T11" fmla="*/ 190057 h 430"/>
                <a:gd name="T12" fmla="*/ 307910 w 784"/>
                <a:gd name="T13" fmla="*/ 198504 h 430"/>
                <a:gd name="T14" fmla="*/ 293477 w 784"/>
                <a:gd name="T15" fmla="*/ 212230 h 430"/>
                <a:gd name="T16" fmla="*/ 276857 w 784"/>
                <a:gd name="T17" fmla="*/ 221733 h 430"/>
                <a:gd name="T18" fmla="*/ 267672 w 784"/>
                <a:gd name="T19" fmla="*/ 223844 h 430"/>
                <a:gd name="T20" fmla="*/ 256738 w 784"/>
                <a:gd name="T21" fmla="*/ 226484 h 430"/>
                <a:gd name="T22" fmla="*/ 247990 w 784"/>
                <a:gd name="T23" fmla="*/ 225956 h 430"/>
                <a:gd name="T24" fmla="*/ 238368 w 784"/>
                <a:gd name="T25" fmla="*/ 204839 h 430"/>
                <a:gd name="T26" fmla="*/ 225247 w 784"/>
                <a:gd name="T27" fmla="*/ 181610 h 430"/>
                <a:gd name="T28" fmla="*/ 209064 w 784"/>
                <a:gd name="T29" fmla="*/ 176330 h 430"/>
                <a:gd name="T30" fmla="*/ 195943 w 784"/>
                <a:gd name="T31" fmla="*/ 166299 h 430"/>
                <a:gd name="T32" fmla="*/ 182384 w 784"/>
                <a:gd name="T33" fmla="*/ 155213 h 430"/>
                <a:gd name="T34" fmla="*/ 163140 w 784"/>
                <a:gd name="T35" fmla="*/ 144654 h 430"/>
                <a:gd name="T36" fmla="*/ 133836 w 784"/>
                <a:gd name="T37" fmla="*/ 136207 h 430"/>
                <a:gd name="T38" fmla="*/ 79602 w 784"/>
                <a:gd name="T39" fmla="*/ 149406 h 430"/>
                <a:gd name="T40" fmla="*/ 66043 w 784"/>
                <a:gd name="T41" fmla="*/ 161548 h 430"/>
                <a:gd name="T42" fmla="*/ 55546 w 784"/>
                <a:gd name="T43" fmla="*/ 162604 h 430"/>
                <a:gd name="T44" fmla="*/ 28867 w 784"/>
                <a:gd name="T45" fmla="*/ 133040 h 430"/>
                <a:gd name="T46" fmla="*/ 28867 w 784"/>
                <a:gd name="T47" fmla="*/ 107699 h 430"/>
                <a:gd name="T48" fmla="*/ 17495 w 784"/>
                <a:gd name="T49" fmla="*/ 94500 h 430"/>
                <a:gd name="T50" fmla="*/ 18370 w 784"/>
                <a:gd name="T51" fmla="*/ 105059 h 430"/>
                <a:gd name="T52" fmla="*/ 15745 w 784"/>
                <a:gd name="T53" fmla="*/ 115090 h 430"/>
                <a:gd name="T54" fmla="*/ 13121 w 784"/>
                <a:gd name="T55" fmla="*/ 116674 h 430"/>
                <a:gd name="T56" fmla="*/ 13559 w 784"/>
                <a:gd name="T57" fmla="*/ 107171 h 430"/>
                <a:gd name="T58" fmla="*/ 11809 w 784"/>
                <a:gd name="T59" fmla="*/ 91861 h 430"/>
                <a:gd name="T60" fmla="*/ 14433 w 784"/>
                <a:gd name="T61" fmla="*/ 86053 h 430"/>
                <a:gd name="T62" fmla="*/ 17495 w 784"/>
                <a:gd name="T63" fmla="*/ 80246 h 430"/>
                <a:gd name="T64" fmla="*/ 11809 w 784"/>
                <a:gd name="T65" fmla="*/ 68104 h 430"/>
                <a:gd name="T66" fmla="*/ 3062 w 784"/>
                <a:gd name="T67" fmla="*/ 66520 h 430"/>
                <a:gd name="T68" fmla="*/ 0 w 784"/>
                <a:gd name="T69" fmla="*/ 61768 h 430"/>
                <a:gd name="T70" fmla="*/ 1312 w 784"/>
                <a:gd name="T71" fmla="*/ 54905 h 430"/>
                <a:gd name="T72" fmla="*/ 4811 w 784"/>
                <a:gd name="T73" fmla="*/ 49626 h 430"/>
                <a:gd name="T74" fmla="*/ 11809 w 784"/>
                <a:gd name="T75" fmla="*/ 48570 h 430"/>
                <a:gd name="T76" fmla="*/ 17932 w 784"/>
                <a:gd name="T77" fmla="*/ 52266 h 430"/>
                <a:gd name="T78" fmla="*/ 24930 w 784"/>
                <a:gd name="T79" fmla="*/ 54905 h 430"/>
                <a:gd name="T80" fmla="*/ 31053 w 784"/>
                <a:gd name="T81" fmla="*/ 48570 h 430"/>
                <a:gd name="T82" fmla="*/ 36302 w 784"/>
                <a:gd name="T83" fmla="*/ 40651 h 430"/>
                <a:gd name="T84" fmla="*/ 38051 w 784"/>
                <a:gd name="T85" fmla="*/ 33788 h 430"/>
                <a:gd name="T86" fmla="*/ 34115 w 784"/>
                <a:gd name="T87" fmla="*/ 29036 h 430"/>
                <a:gd name="T88" fmla="*/ 24055 w 784"/>
                <a:gd name="T89" fmla="*/ 25869 h 430"/>
                <a:gd name="T90" fmla="*/ 20557 w 784"/>
                <a:gd name="T91" fmla="*/ 21117 h 430"/>
                <a:gd name="T92" fmla="*/ 17932 w 784"/>
                <a:gd name="T93" fmla="*/ 14782 h 430"/>
                <a:gd name="T94" fmla="*/ 46799 w 784"/>
                <a:gd name="T95" fmla="*/ 22701 h 430"/>
                <a:gd name="T96" fmla="*/ 95785 w 784"/>
                <a:gd name="T97" fmla="*/ 39067 h 430"/>
                <a:gd name="T98" fmla="*/ 119403 w 784"/>
                <a:gd name="T99" fmla="*/ 0 h 430"/>
                <a:gd name="T100" fmla="*/ 163140 w 784"/>
                <a:gd name="T101" fmla="*/ 22701 h 430"/>
                <a:gd name="T102" fmla="*/ 203378 w 784"/>
                <a:gd name="T103" fmla="*/ 48570 h 430"/>
                <a:gd name="T104" fmla="*/ 258487 w 784"/>
                <a:gd name="T105" fmla="*/ 110866 h 430"/>
                <a:gd name="T106" fmla="*/ 316658 w 784"/>
                <a:gd name="T107" fmla="*/ 139903 h 430"/>
                <a:gd name="T108" fmla="*/ 340276 w 784"/>
                <a:gd name="T109" fmla="*/ 155741 h 4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1" name="Freeform 353">
              <a:extLst>
                <a:ext uri="{FF2B5EF4-FFF2-40B4-BE49-F238E27FC236}">
                  <a16:creationId xmlns:a16="http://schemas.microsoft.com/office/drawing/2014/main" id="{D096D55D-851C-4AA3-86F0-E14E65217AF1}"/>
                </a:ext>
              </a:extLst>
            </p:cNvPr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5949950" y="2203451"/>
              <a:ext cx="107950" cy="149225"/>
            </a:xfrm>
            <a:custGeom>
              <a:avLst/>
              <a:gdLst>
                <a:gd name="T0" fmla="*/ 13165 w 246"/>
                <a:gd name="T1" fmla="*/ 14187 h 284"/>
                <a:gd name="T2" fmla="*/ 12287 w 246"/>
                <a:gd name="T3" fmla="*/ 12611 h 284"/>
                <a:gd name="T4" fmla="*/ 10532 w 246"/>
                <a:gd name="T5" fmla="*/ 8932 h 284"/>
                <a:gd name="T6" fmla="*/ 15359 w 246"/>
                <a:gd name="T7" fmla="*/ 2627 h 284"/>
                <a:gd name="T8" fmla="*/ 29401 w 246"/>
                <a:gd name="T9" fmla="*/ 525 h 284"/>
                <a:gd name="T10" fmla="*/ 55291 w 246"/>
                <a:gd name="T11" fmla="*/ 6305 h 284"/>
                <a:gd name="T12" fmla="*/ 57486 w 246"/>
                <a:gd name="T13" fmla="*/ 15763 h 284"/>
                <a:gd name="T14" fmla="*/ 60996 w 246"/>
                <a:gd name="T15" fmla="*/ 24170 h 284"/>
                <a:gd name="T16" fmla="*/ 66262 w 246"/>
                <a:gd name="T17" fmla="*/ 29950 h 284"/>
                <a:gd name="T18" fmla="*/ 72405 w 246"/>
                <a:gd name="T19" fmla="*/ 35204 h 284"/>
                <a:gd name="T20" fmla="*/ 83815 w 246"/>
                <a:gd name="T21" fmla="*/ 45713 h 284"/>
                <a:gd name="T22" fmla="*/ 89081 w 246"/>
                <a:gd name="T23" fmla="*/ 53069 h 284"/>
                <a:gd name="T24" fmla="*/ 93030 w 246"/>
                <a:gd name="T25" fmla="*/ 61476 h 284"/>
                <a:gd name="T26" fmla="*/ 99174 w 246"/>
                <a:gd name="T27" fmla="*/ 61476 h 284"/>
                <a:gd name="T28" fmla="*/ 96979 w 246"/>
                <a:gd name="T29" fmla="*/ 65155 h 284"/>
                <a:gd name="T30" fmla="*/ 96979 w 246"/>
                <a:gd name="T31" fmla="*/ 67782 h 284"/>
                <a:gd name="T32" fmla="*/ 100051 w 246"/>
                <a:gd name="T33" fmla="*/ 73562 h 284"/>
                <a:gd name="T34" fmla="*/ 104878 w 246"/>
                <a:gd name="T35" fmla="*/ 80918 h 284"/>
                <a:gd name="T36" fmla="*/ 107072 w 246"/>
                <a:gd name="T37" fmla="*/ 85121 h 284"/>
                <a:gd name="T38" fmla="*/ 107950 w 246"/>
                <a:gd name="T39" fmla="*/ 90901 h 284"/>
                <a:gd name="T40" fmla="*/ 105756 w 246"/>
                <a:gd name="T41" fmla="*/ 96681 h 284"/>
                <a:gd name="T42" fmla="*/ 102245 w 246"/>
                <a:gd name="T43" fmla="*/ 100885 h 284"/>
                <a:gd name="T44" fmla="*/ 97857 w 246"/>
                <a:gd name="T45" fmla="*/ 104037 h 284"/>
                <a:gd name="T46" fmla="*/ 96541 w 246"/>
                <a:gd name="T47" fmla="*/ 107190 h 284"/>
                <a:gd name="T48" fmla="*/ 82937 w 246"/>
                <a:gd name="T49" fmla="*/ 112970 h 284"/>
                <a:gd name="T50" fmla="*/ 71967 w 246"/>
                <a:gd name="T51" fmla="*/ 120851 h 284"/>
                <a:gd name="T52" fmla="*/ 49587 w 246"/>
                <a:gd name="T53" fmla="*/ 139242 h 284"/>
                <a:gd name="T54" fmla="*/ 38616 w 246"/>
                <a:gd name="T55" fmla="*/ 121377 h 284"/>
                <a:gd name="T56" fmla="*/ 34667 w 246"/>
                <a:gd name="T57" fmla="*/ 115597 h 284"/>
                <a:gd name="T58" fmla="*/ 31595 w 246"/>
                <a:gd name="T59" fmla="*/ 113495 h 284"/>
                <a:gd name="T60" fmla="*/ 26329 w 246"/>
                <a:gd name="T61" fmla="*/ 114021 h 284"/>
                <a:gd name="T62" fmla="*/ 23696 w 246"/>
                <a:gd name="T63" fmla="*/ 116122 h 284"/>
                <a:gd name="T64" fmla="*/ 21502 w 246"/>
                <a:gd name="T65" fmla="*/ 119800 h 284"/>
                <a:gd name="T66" fmla="*/ 21063 w 246"/>
                <a:gd name="T67" fmla="*/ 124004 h 284"/>
                <a:gd name="T68" fmla="*/ 19747 w 246"/>
                <a:gd name="T69" fmla="*/ 135038 h 284"/>
                <a:gd name="T70" fmla="*/ 17992 w 246"/>
                <a:gd name="T71" fmla="*/ 141869 h 284"/>
                <a:gd name="T72" fmla="*/ 14481 w 246"/>
                <a:gd name="T73" fmla="*/ 149225 h 284"/>
                <a:gd name="T74" fmla="*/ 11409 w 246"/>
                <a:gd name="T75" fmla="*/ 127682 h 284"/>
                <a:gd name="T76" fmla="*/ 7460 w 246"/>
                <a:gd name="T77" fmla="*/ 119275 h 284"/>
                <a:gd name="T78" fmla="*/ 4827 w 246"/>
                <a:gd name="T79" fmla="*/ 116122 h 284"/>
                <a:gd name="T80" fmla="*/ 0 w 246"/>
                <a:gd name="T81" fmla="*/ 113495 h 284"/>
                <a:gd name="T82" fmla="*/ 439 w 246"/>
                <a:gd name="T83" fmla="*/ 107190 h 284"/>
                <a:gd name="T84" fmla="*/ 1755 w 246"/>
                <a:gd name="T85" fmla="*/ 101410 h 284"/>
                <a:gd name="T86" fmla="*/ 6582 w 246"/>
                <a:gd name="T87" fmla="*/ 92477 h 284"/>
                <a:gd name="T88" fmla="*/ 13603 w 246"/>
                <a:gd name="T89" fmla="*/ 84596 h 284"/>
                <a:gd name="T90" fmla="*/ 20186 w 246"/>
                <a:gd name="T91" fmla="*/ 74087 h 284"/>
                <a:gd name="T92" fmla="*/ 14481 w 246"/>
                <a:gd name="T93" fmla="*/ 23119 h 28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12" name="Freeform 354">
              <a:extLst>
                <a:ext uri="{FF2B5EF4-FFF2-40B4-BE49-F238E27FC236}">
                  <a16:creationId xmlns:a16="http://schemas.microsoft.com/office/drawing/2014/main" id="{37712D85-C71E-4C5A-AB03-7A0692386680}"/>
                </a:ext>
              </a:extLst>
            </p:cNvPr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5997576" y="2311401"/>
              <a:ext cx="68263" cy="60325"/>
            </a:xfrm>
            <a:custGeom>
              <a:avLst/>
              <a:gdLst>
                <a:gd name="T0" fmla="*/ 48637 w 160"/>
                <a:gd name="T1" fmla="*/ 0 h 117"/>
                <a:gd name="T2" fmla="*/ 48637 w 160"/>
                <a:gd name="T3" fmla="*/ 4640 h 117"/>
                <a:gd name="T4" fmla="*/ 48637 w 160"/>
                <a:gd name="T5" fmla="*/ 9281 h 117"/>
                <a:gd name="T6" fmla="*/ 49064 w 160"/>
                <a:gd name="T7" fmla="*/ 12890 h 117"/>
                <a:gd name="T8" fmla="*/ 49917 w 160"/>
                <a:gd name="T9" fmla="*/ 16499 h 117"/>
                <a:gd name="T10" fmla="*/ 50771 w 160"/>
                <a:gd name="T11" fmla="*/ 17530 h 117"/>
                <a:gd name="T12" fmla="*/ 51624 w 160"/>
                <a:gd name="T13" fmla="*/ 19077 h 117"/>
                <a:gd name="T14" fmla="*/ 52477 w 160"/>
                <a:gd name="T15" fmla="*/ 19593 h 117"/>
                <a:gd name="T16" fmla="*/ 54184 w 160"/>
                <a:gd name="T17" fmla="*/ 20108 h 117"/>
                <a:gd name="T18" fmla="*/ 55890 w 160"/>
                <a:gd name="T19" fmla="*/ 20624 h 117"/>
                <a:gd name="T20" fmla="*/ 57597 w 160"/>
                <a:gd name="T21" fmla="*/ 20108 h 117"/>
                <a:gd name="T22" fmla="*/ 59730 w 160"/>
                <a:gd name="T23" fmla="*/ 19593 h 117"/>
                <a:gd name="T24" fmla="*/ 62290 w 160"/>
                <a:gd name="T25" fmla="*/ 18562 h 117"/>
                <a:gd name="T26" fmla="*/ 63570 w 160"/>
                <a:gd name="T27" fmla="*/ 22171 h 117"/>
                <a:gd name="T28" fmla="*/ 65276 w 160"/>
                <a:gd name="T29" fmla="*/ 26811 h 117"/>
                <a:gd name="T30" fmla="*/ 66983 w 160"/>
                <a:gd name="T31" fmla="*/ 32998 h 117"/>
                <a:gd name="T32" fmla="*/ 68263 w 160"/>
                <a:gd name="T33" fmla="*/ 38154 h 117"/>
                <a:gd name="T34" fmla="*/ 56744 w 160"/>
                <a:gd name="T35" fmla="*/ 45373 h 117"/>
                <a:gd name="T36" fmla="*/ 45224 w 160"/>
                <a:gd name="T37" fmla="*/ 52591 h 117"/>
                <a:gd name="T38" fmla="*/ 39251 w 160"/>
                <a:gd name="T39" fmla="*/ 55169 h 117"/>
                <a:gd name="T40" fmla="*/ 32425 w 160"/>
                <a:gd name="T41" fmla="*/ 58263 h 117"/>
                <a:gd name="T42" fmla="*/ 26452 w 160"/>
                <a:gd name="T43" fmla="*/ 59809 h 117"/>
                <a:gd name="T44" fmla="*/ 20052 w 160"/>
                <a:gd name="T45" fmla="*/ 60325 h 117"/>
                <a:gd name="T46" fmla="*/ 13653 w 160"/>
                <a:gd name="T47" fmla="*/ 51044 h 117"/>
                <a:gd name="T48" fmla="*/ 8960 w 160"/>
                <a:gd name="T49" fmla="*/ 42795 h 117"/>
                <a:gd name="T50" fmla="*/ 4266 w 160"/>
                <a:gd name="T51" fmla="*/ 35576 h 117"/>
                <a:gd name="T52" fmla="*/ 0 w 160"/>
                <a:gd name="T53" fmla="*/ 28358 h 117"/>
                <a:gd name="T54" fmla="*/ 5546 w 160"/>
                <a:gd name="T55" fmla="*/ 24749 h 117"/>
                <a:gd name="T56" fmla="*/ 17492 w 160"/>
                <a:gd name="T57" fmla="*/ 16499 h 117"/>
                <a:gd name="T58" fmla="*/ 25599 w 160"/>
                <a:gd name="T59" fmla="*/ 11859 h 117"/>
                <a:gd name="T60" fmla="*/ 33278 w 160"/>
                <a:gd name="T61" fmla="*/ 7218 h 117"/>
                <a:gd name="T62" fmla="*/ 41384 w 160"/>
                <a:gd name="T63" fmla="*/ 3094 h 117"/>
                <a:gd name="T64" fmla="*/ 48637 w 160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13" name="Freeform 355">
              <a:extLst>
                <a:ext uri="{FF2B5EF4-FFF2-40B4-BE49-F238E27FC236}">
                  <a16:creationId xmlns:a16="http://schemas.microsoft.com/office/drawing/2014/main" id="{FF247245-3F67-43AA-8CA5-5F542D9DAF0D}"/>
                </a:ext>
              </a:extLst>
            </p:cNvPr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6081713" y="2935289"/>
              <a:ext cx="411162" cy="611187"/>
            </a:xfrm>
            <a:custGeom>
              <a:avLst/>
              <a:gdLst>
                <a:gd name="T0" fmla="*/ 323523 w 943"/>
                <a:gd name="T1" fmla="*/ 2607 h 1172"/>
                <a:gd name="T2" fmla="*/ 333551 w 943"/>
                <a:gd name="T3" fmla="*/ 11994 h 1172"/>
                <a:gd name="T4" fmla="*/ 350120 w 943"/>
                <a:gd name="T5" fmla="*/ 15645 h 1172"/>
                <a:gd name="T6" fmla="*/ 354916 w 943"/>
                <a:gd name="T7" fmla="*/ 28682 h 1172"/>
                <a:gd name="T8" fmla="*/ 364072 w 943"/>
                <a:gd name="T9" fmla="*/ 56842 h 1172"/>
                <a:gd name="T10" fmla="*/ 364944 w 943"/>
                <a:gd name="T11" fmla="*/ 97519 h 1172"/>
                <a:gd name="T12" fmla="*/ 373665 w 943"/>
                <a:gd name="T13" fmla="*/ 126722 h 1172"/>
                <a:gd name="T14" fmla="*/ 402006 w 943"/>
                <a:gd name="T15" fmla="*/ 152275 h 1172"/>
                <a:gd name="T16" fmla="*/ 383257 w 943"/>
                <a:gd name="T17" fmla="*/ 188258 h 1172"/>
                <a:gd name="T18" fmla="*/ 371049 w 943"/>
                <a:gd name="T19" fmla="*/ 213811 h 1172"/>
                <a:gd name="T20" fmla="*/ 352736 w 943"/>
                <a:gd name="T21" fmla="*/ 331147 h 1172"/>
                <a:gd name="T22" fmla="*/ 335731 w 943"/>
                <a:gd name="T23" fmla="*/ 353049 h 1172"/>
                <a:gd name="T24" fmla="*/ 332679 w 943"/>
                <a:gd name="T25" fmla="*/ 375995 h 1172"/>
                <a:gd name="T26" fmla="*/ 324831 w 943"/>
                <a:gd name="T27" fmla="*/ 383296 h 1172"/>
                <a:gd name="T28" fmla="*/ 315239 w 943"/>
                <a:gd name="T29" fmla="*/ 416150 h 1172"/>
                <a:gd name="T30" fmla="*/ 301722 w 943"/>
                <a:gd name="T31" fmla="*/ 457347 h 1172"/>
                <a:gd name="T32" fmla="*/ 288642 w 943"/>
                <a:gd name="T33" fmla="*/ 470906 h 1172"/>
                <a:gd name="T34" fmla="*/ 289514 w 943"/>
                <a:gd name="T35" fmla="*/ 487072 h 1172"/>
                <a:gd name="T36" fmla="*/ 299106 w 943"/>
                <a:gd name="T37" fmla="*/ 489680 h 1172"/>
                <a:gd name="T38" fmla="*/ 309135 w 943"/>
                <a:gd name="T39" fmla="*/ 495416 h 1172"/>
                <a:gd name="T40" fmla="*/ 323523 w 943"/>
                <a:gd name="T41" fmla="*/ 506367 h 1172"/>
                <a:gd name="T42" fmla="*/ 329627 w 943"/>
                <a:gd name="T43" fmla="*/ 525141 h 1172"/>
                <a:gd name="T44" fmla="*/ 337912 w 943"/>
                <a:gd name="T45" fmla="*/ 543915 h 1172"/>
                <a:gd name="T46" fmla="*/ 350120 w 943"/>
                <a:gd name="T47" fmla="*/ 549130 h 1172"/>
                <a:gd name="T48" fmla="*/ 352736 w 943"/>
                <a:gd name="T49" fmla="*/ 570511 h 1172"/>
                <a:gd name="T50" fmla="*/ 313059 w 943"/>
                <a:gd name="T51" fmla="*/ 581462 h 1172"/>
                <a:gd name="T52" fmla="*/ 299542 w 943"/>
                <a:gd name="T53" fmla="*/ 603365 h 1172"/>
                <a:gd name="T54" fmla="*/ 260737 w 943"/>
                <a:gd name="T55" fmla="*/ 610144 h 1172"/>
                <a:gd name="T56" fmla="*/ 224548 w 943"/>
                <a:gd name="T57" fmla="*/ 603886 h 1172"/>
                <a:gd name="T58" fmla="*/ 202311 w 943"/>
                <a:gd name="T59" fmla="*/ 585634 h 1172"/>
                <a:gd name="T60" fmla="*/ 170046 w 943"/>
                <a:gd name="T61" fmla="*/ 586677 h 1172"/>
                <a:gd name="T62" fmla="*/ 139089 w 943"/>
                <a:gd name="T63" fmla="*/ 584069 h 1172"/>
                <a:gd name="T64" fmla="*/ 129496 w 943"/>
                <a:gd name="T65" fmla="*/ 575726 h 1172"/>
                <a:gd name="T66" fmla="*/ 128188 w 943"/>
                <a:gd name="T67" fmla="*/ 560602 h 1172"/>
                <a:gd name="T68" fmla="*/ 119468 w 943"/>
                <a:gd name="T69" fmla="*/ 536614 h 1172"/>
                <a:gd name="T70" fmla="*/ 94179 w 943"/>
                <a:gd name="T71" fmla="*/ 507932 h 1172"/>
                <a:gd name="T72" fmla="*/ 84151 w 943"/>
                <a:gd name="T73" fmla="*/ 482379 h 1172"/>
                <a:gd name="T74" fmla="*/ 66274 w 943"/>
                <a:gd name="T75" fmla="*/ 470906 h 1172"/>
                <a:gd name="T76" fmla="*/ 52322 w 943"/>
                <a:gd name="T77" fmla="*/ 441181 h 1172"/>
                <a:gd name="T78" fmla="*/ 42293 w 943"/>
                <a:gd name="T79" fmla="*/ 410935 h 1172"/>
                <a:gd name="T80" fmla="*/ 28341 w 943"/>
                <a:gd name="T81" fmla="*/ 395290 h 1172"/>
                <a:gd name="T82" fmla="*/ 14388 w 943"/>
                <a:gd name="T83" fmla="*/ 352528 h 1172"/>
                <a:gd name="T84" fmla="*/ 1744 w 943"/>
                <a:gd name="T85" fmla="*/ 318631 h 1172"/>
                <a:gd name="T86" fmla="*/ 7848 w 943"/>
                <a:gd name="T87" fmla="*/ 300900 h 1172"/>
                <a:gd name="T88" fmla="*/ 12644 w 943"/>
                <a:gd name="T89" fmla="*/ 271697 h 1172"/>
                <a:gd name="T90" fmla="*/ 27905 w 943"/>
                <a:gd name="T91" fmla="*/ 247187 h 1172"/>
                <a:gd name="T92" fmla="*/ 49270 w 943"/>
                <a:gd name="T93" fmla="*/ 115771 h 1172"/>
                <a:gd name="T94" fmla="*/ 53630 w 943"/>
                <a:gd name="T95" fmla="*/ 93347 h 1172"/>
                <a:gd name="T96" fmla="*/ 66710 w 943"/>
                <a:gd name="T97" fmla="*/ 89175 h 1172"/>
                <a:gd name="T98" fmla="*/ 69762 w 943"/>
                <a:gd name="T99" fmla="*/ 63622 h 1172"/>
                <a:gd name="T100" fmla="*/ 69326 w 943"/>
                <a:gd name="T101" fmla="*/ 34940 h 1172"/>
                <a:gd name="T102" fmla="*/ 296054 w 943"/>
                <a:gd name="T103" fmla="*/ 35983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4" name="Freeform 356">
              <a:extLst>
                <a:ext uri="{FF2B5EF4-FFF2-40B4-BE49-F238E27FC236}">
                  <a16:creationId xmlns:a16="http://schemas.microsoft.com/office/drawing/2014/main" id="{3D4F43FD-2D45-482C-8EC4-96545FFEC3CF}"/>
                </a:ext>
              </a:extLst>
            </p:cNvPr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6565901" y="3275013"/>
              <a:ext cx="244475" cy="431800"/>
            </a:xfrm>
            <a:custGeom>
              <a:avLst/>
              <a:gdLst>
                <a:gd name="T0" fmla="*/ 43091 w 556"/>
                <a:gd name="T1" fmla="*/ 32688 h 819"/>
                <a:gd name="T2" fmla="*/ 49247 w 556"/>
                <a:gd name="T3" fmla="*/ 29525 h 819"/>
                <a:gd name="T4" fmla="*/ 56722 w 556"/>
                <a:gd name="T5" fmla="*/ 36379 h 819"/>
                <a:gd name="T6" fmla="*/ 65516 w 556"/>
                <a:gd name="T7" fmla="*/ 44814 h 819"/>
                <a:gd name="T8" fmla="*/ 75189 w 556"/>
                <a:gd name="T9" fmla="*/ 48505 h 819"/>
                <a:gd name="T10" fmla="*/ 94536 w 556"/>
                <a:gd name="T11" fmla="*/ 46396 h 819"/>
                <a:gd name="T12" fmla="*/ 113004 w 556"/>
                <a:gd name="T13" fmla="*/ 43233 h 819"/>
                <a:gd name="T14" fmla="*/ 127954 w 556"/>
                <a:gd name="T15" fmla="*/ 41651 h 819"/>
                <a:gd name="T16" fmla="*/ 132351 w 556"/>
                <a:gd name="T17" fmla="*/ 39015 h 819"/>
                <a:gd name="T18" fmla="*/ 132351 w 556"/>
                <a:gd name="T19" fmla="*/ 35852 h 819"/>
                <a:gd name="T20" fmla="*/ 156095 w 556"/>
                <a:gd name="T21" fmla="*/ 33215 h 819"/>
                <a:gd name="T22" fmla="*/ 190831 w 556"/>
                <a:gd name="T23" fmla="*/ 23725 h 819"/>
                <a:gd name="T24" fmla="*/ 210618 w 556"/>
                <a:gd name="T25" fmla="*/ 14762 h 819"/>
                <a:gd name="T26" fmla="*/ 226007 w 556"/>
                <a:gd name="T27" fmla="*/ 4218 h 819"/>
                <a:gd name="T28" fmla="*/ 240518 w 556"/>
                <a:gd name="T29" fmla="*/ 16344 h 819"/>
                <a:gd name="T30" fmla="*/ 244035 w 556"/>
                <a:gd name="T31" fmla="*/ 30052 h 819"/>
                <a:gd name="T32" fmla="*/ 242716 w 556"/>
                <a:gd name="T33" fmla="*/ 59577 h 819"/>
                <a:gd name="T34" fmla="*/ 233922 w 556"/>
                <a:gd name="T35" fmla="*/ 91738 h 819"/>
                <a:gd name="T36" fmla="*/ 220731 w 556"/>
                <a:gd name="T37" fmla="*/ 121790 h 819"/>
                <a:gd name="T38" fmla="*/ 196547 w 556"/>
                <a:gd name="T39" fmla="*/ 169240 h 819"/>
                <a:gd name="T40" fmla="*/ 185994 w 556"/>
                <a:gd name="T41" fmla="*/ 197711 h 819"/>
                <a:gd name="T42" fmla="*/ 180278 w 556"/>
                <a:gd name="T43" fmla="*/ 218800 h 819"/>
                <a:gd name="T44" fmla="*/ 166648 w 556"/>
                <a:gd name="T45" fmla="*/ 249379 h 819"/>
                <a:gd name="T46" fmla="*/ 145102 w 556"/>
                <a:gd name="T47" fmla="*/ 279958 h 819"/>
                <a:gd name="T48" fmla="*/ 126635 w 556"/>
                <a:gd name="T49" fmla="*/ 298411 h 819"/>
                <a:gd name="T50" fmla="*/ 105089 w 556"/>
                <a:gd name="T51" fmla="*/ 316337 h 819"/>
                <a:gd name="T52" fmla="*/ 73870 w 556"/>
                <a:gd name="T53" fmla="*/ 343226 h 819"/>
                <a:gd name="T54" fmla="*/ 62878 w 556"/>
                <a:gd name="T55" fmla="*/ 358515 h 819"/>
                <a:gd name="T56" fmla="*/ 57601 w 556"/>
                <a:gd name="T57" fmla="*/ 369060 h 819"/>
                <a:gd name="T58" fmla="*/ 51006 w 556"/>
                <a:gd name="T59" fmla="*/ 378023 h 819"/>
                <a:gd name="T60" fmla="*/ 31219 w 556"/>
                <a:gd name="T61" fmla="*/ 392785 h 819"/>
                <a:gd name="T62" fmla="*/ 8354 w 556"/>
                <a:gd name="T63" fmla="*/ 422310 h 819"/>
                <a:gd name="T64" fmla="*/ 879 w 556"/>
                <a:gd name="T65" fmla="*/ 297357 h 819"/>
                <a:gd name="T66" fmla="*/ 1319 w 556"/>
                <a:gd name="T67" fmla="*/ 292084 h 819"/>
                <a:gd name="T68" fmla="*/ 11872 w 556"/>
                <a:gd name="T69" fmla="*/ 281013 h 819"/>
                <a:gd name="T70" fmla="*/ 18468 w 556"/>
                <a:gd name="T71" fmla="*/ 272050 h 819"/>
                <a:gd name="T72" fmla="*/ 26382 w 556"/>
                <a:gd name="T73" fmla="*/ 262032 h 819"/>
                <a:gd name="T74" fmla="*/ 48807 w 556"/>
                <a:gd name="T75" fmla="*/ 253070 h 819"/>
                <a:gd name="T76" fmla="*/ 52325 w 556"/>
                <a:gd name="T77" fmla="*/ 247797 h 819"/>
                <a:gd name="T78" fmla="*/ 56722 w 556"/>
                <a:gd name="T79" fmla="*/ 238307 h 819"/>
                <a:gd name="T80" fmla="*/ 66835 w 556"/>
                <a:gd name="T81" fmla="*/ 231980 h 819"/>
                <a:gd name="T82" fmla="*/ 76508 w 556"/>
                <a:gd name="T83" fmla="*/ 231453 h 819"/>
                <a:gd name="T84" fmla="*/ 86182 w 556"/>
                <a:gd name="T85" fmla="*/ 231453 h 819"/>
                <a:gd name="T86" fmla="*/ 100252 w 556"/>
                <a:gd name="T87" fmla="*/ 226181 h 819"/>
                <a:gd name="T88" fmla="*/ 110366 w 556"/>
                <a:gd name="T89" fmla="*/ 213527 h 819"/>
                <a:gd name="T90" fmla="*/ 116521 w 556"/>
                <a:gd name="T91" fmla="*/ 199820 h 819"/>
                <a:gd name="T92" fmla="*/ 130152 w 556"/>
                <a:gd name="T93" fmla="*/ 182948 h 819"/>
                <a:gd name="T94" fmla="*/ 155655 w 556"/>
                <a:gd name="T95" fmla="*/ 154478 h 819"/>
                <a:gd name="T96" fmla="*/ 165768 w 556"/>
                <a:gd name="T97" fmla="*/ 140243 h 819"/>
                <a:gd name="T98" fmla="*/ 142464 w 556"/>
                <a:gd name="T99" fmla="*/ 129698 h 819"/>
                <a:gd name="T100" fmla="*/ 113004 w 556"/>
                <a:gd name="T101" fmla="*/ 120208 h 819"/>
                <a:gd name="T102" fmla="*/ 80905 w 556"/>
                <a:gd name="T103" fmla="*/ 110191 h 819"/>
                <a:gd name="T104" fmla="*/ 65516 w 556"/>
                <a:gd name="T105" fmla="*/ 98592 h 819"/>
                <a:gd name="T106" fmla="*/ 49247 w 556"/>
                <a:gd name="T107" fmla="*/ 81193 h 819"/>
                <a:gd name="T108" fmla="*/ 39134 w 556"/>
                <a:gd name="T109" fmla="*/ 63795 h 819"/>
                <a:gd name="T110" fmla="*/ 33857 w 556"/>
                <a:gd name="T111" fmla="*/ 42178 h 819"/>
                <a:gd name="T112" fmla="*/ 28581 w 556"/>
                <a:gd name="T113" fmla="*/ 45869 h 819"/>
                <a:gd name="T114" fmla="*/ 36935 w 556"/>
                <a:gd name="T115" fmla="*/ 35852 h 81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5" name="Freeform 357">
              <a:extLst>
                <a:ext uri="{FF2B5EF4-FFF2-40B4-BE49-F238E27FC236}">
                  <a16:creationId xmlns:a16="http://schemas.microsoft.com/office/drawing/2014/main" id="{797A6553-C8D1-4333-A696-8873408B05DA}"/>
                </a:ext>
              </a:extLst>
            </p:cNvPr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6573838" y="3262314"/>
              <a:ext cx="38100" cy="58737"/>
            </a:xfrm>
            <a:custGeom>
              <a:avLst/>
              <a:gdLst>
                <a:gd name="T0" fmla="*/ 26138 w 86"/>
                <a:gd name="T1" fmla="*/ 0 h 97"/>
                <a:gd name="T2" fmla="*/ 24809 w 86"/>
                <a:gd name="T3" fmla="*/ 1211 h 97"/>
                <a:gd name="T4" fmla="*/ 23037 w 86"/>
                <a:gd name="T5" fmla="*/ 1817 h 97"/>
                <a:gd name="T6" fmla="*/ 20379 w 86"/>
                <a:gd name="T7" fmla="*/ 1817 h 97"/>
                <a:gd name="T8" fmla="*/ 17721 w 86"/>
                <a:gd name="T9" fmla="*/ 1817 h 97"/>
                <a:gd name="T10" fmla="*/ 14620 w 86"/>
                <a:gd name="T11" fmla="*/ 1817 h 97"/>
                <a:gd name="T12" fmla="*/ 11962 w 86"/>
                <a:gd name="T13" fmla="*/ 1817 h 97"/>
                <a:gd name="T14" fmla="*/ 10190 w 86"/>
                <a:gd name="T15" fmla="*/ 2422 h 97"/>
                <a:gd name="T16" fmla="*/ 8860 w 86"/>
                <a:gd name="T17" fmla="*/ 3633 h 97"/>
                <a:gd name="T18" fmla="*/ 7088 w 86"/>
                <a:gd name="T19" fmla="*/ 5450 h 97"/>
                <a:gd name="T20" fmla="*/ 5759 w 86"/>
                <a:gd name="T21" fmla="*/ 7266 h 97"/>
                <a:gd name="T22" fmla="*/ 4873 w 86"/>
                <a:gd name="T23" fmla="*/ 9083 h 97"/>
                <a:gd name="T24" fmla="*/ 3544 w 86"/>
                <a:gd name="T25" fmla="*/ 12111 h 97"/>
                <a:gd name="T26" fmla="*/ 1772 w 86"/>
                <a:gd name="T27" fmla="*/ 17561 h 97"/>
                <a:gd name="T28" fmla="*/ 886 w 86"/>
                <a:gd name="T29" fmla="*/ 23010 h 97"/>
                <a:gd name="T30" fmla="*/ 0 w 86"/>
                <a:gd name="T31" fmla="*/ 34516 h 97"/>
                <a:gd name="T32" fmla="*/ 0 w 86"/>
                <a:gd name="T33" fmla="*/ 45415 h 97"/>
                <a:gd name="T34" fmla="*/ 0 w 86"/>
                <a:gd name="T35" fmla="*/ 49048 h 97"/>
                <a:gd name="T36" fmla="*/ 443 w 86"/>
                <a:gd name="T37" fmla="*/ 52076 h 97"/>
                <a:gd name="T38" fmla="*/ 1329 w 86"/>
                <a:gd name="T39" fmla="*/ 54498 h 97"/>
                <a:gd name="T40" fmla="*/ 3101 w 86"/>
                <a:gd name="T41" fmla="*/ 56315 h 97"/>
                <a:gd name="T42" fmla="*/ 4430 w 86"/>
                <a:gd name="T43" fmla="*/ 57526 h 97"/>
                <a:gd name="T44" fmla="*/ 5759 w 86"/>
                <a:gd name="T45" fmla="*/ 58131 h 97"/>
                <a:gd name="T46" fmla="*/ 7974 w 86"/>
                <a:gd name="T47" fmla="*/ 58737 h 97"/>
                <a:gd name="T48" fmla="*/ 9303 w 86"/>
                <a:gd name="T49" fmla="*/ 58737 h 97"/>
                <a:gd name="T50" fmla="*/ 17721 w 86"/>
                <a:gd name="T51" fmla="*/ 57526 h 97"/>
                <a:gd name="T52" fmla="*/ 23480 w 86"/>
                <a:gd name="T53" fmla="*/ 56315 h 97"/>
                <a:gd name="T54" fmla="*/ 38100 w 86"/>
                <a:gd name="T55" fmla="*/ 41176 h 97"/>
                <a:gd name="T56" fmla="*/ 26138 w 86"/>
                <a:gd name="T57" fmla="*/ 0 h 9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6" name="Freeform 358">
              <a:extLst>
                <a:ext uri="{FF2B5EF4-FFF2-40B4-BE49-F238E27FC236}">
                  <a16:creationId xmlns:a16="http://schemas.microsoft.com/office/drawing/2014/main" id="{C60D9B02-DF03-4B70-A038-8D02582E1D6A}"/>
                </a:ext>
              </a:extLst>
            </p:cNvPr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6372225" y="3173414"/>
              <a:ext cx="363538" cy="376237"/>
            </a:xfrm>
            <a:custGeom>
              <a:avLst/>
              <a:gdLst>
                <a:gd name="T0" fmla="*/ 78300 w 845"/>
                <a:gd name="T1" fmla="*/ 18812 h 720"/>
                <a:gd name="T2" fmla="*/ 88196 w 845"/>
                <a:gd name="T3" fmla="*/ 14631 h 720"/>
                <a:gd name="T4" fmla="*/ 106265 w 845"/>
                <a:gd name="T5" fmla="*/ 0 h 720"/>
                <a:gd name="T6" fmla="*/ 117451 w 845"/>
                <a:gd name="T7" fmla="*/ 6271 h 720"/>
                <a:gd name="T8" fmla="*/ 140683 w 845"/>
                <a:gd name="T9" fmla="*/ 19334 h 720"/>
                <a:gd name="T10" fmla="*/ 163485 w 845"/>
                <a:gd name="T11" fmla="*/ 35011 h 720"/>
                <a:gd name="T12" fmla="*/ 183275 w 845"/>
                <a:gd name="T13" fmla="*/ 51210 h 720"/>
                <a:gd name="T14" fmla="*/ 190158 w 845"/>
                <a:gd name="T15" fmla="*/ 65319 h 720"/>
                <a:gd name="T16" fmla="*/ 190589 w 845"/>
                <a:gd name="T17" fmla="*/ 73157 h 720"/>
                <a:gd name="T18" fmla="*/ 197042 w 845"/>
                <a:gd name="T19" fmla="*/ 76815 h 720"/>
                <a:gd name="T20" fmla="*/ 214681 w 845"/>
                <a:gd name="T21" fmla="*/ 93014 h 720"/>
                <a:gd name="T22" fmla="*/ 217693 w 845"/>
                <a:gd name="T23" fmla="*/ 89879 h 720"/>
                <a:gd name="T24" fmla="*/ 209949 w 845"/>
                <a:gd name="T25" fmla="*/ 96149 h 720"/>
                <a:gd name="T26" fmla="*/ 206937 w 845"/>
                <a:gd name="T27" fmla="*/ 105555 h 720"/>
                <a:gd name="T28" fmla="*/ 206937 w 845"/>
                <a:gd name="T29" fmla="*/ 131683 h 720"/>
                <a:gd name="T30" fmla="*/ 212100 w 845"/>
                <a:gd name="T31" fmla="*/ 137954 h 720"/>
                <a:gd name="T32" fmla="*/ 226297 w 845"/>
                <a:gd name="T33" fmla="*/ 138476 h 720"/>
                <a:gd name="T34" fmla="*/ 234471 w 845"/>
                <a:gd name="T35" fmla="*/ 166694 h 720"/>
                <a:gd name="T36" fmla="*/ 250820 w 845"/>
                <a:gd name="T37" fmla="*/ 188641 h 720"/>
                <a:gd name="T38" fmla="*/ 277494 w 845"/>
                <a:gd name="T39" fmla="*/ 209021 h 720"/>
                <a:gd name="T40" fmla="*/ 317504 w 845"/>
                <a:gd name="T41" fmla="*/ 224697 h 720"/>
                <a:gd name="T42" fmla="*/ 363538 w 845"/>
                <a:gd name="T43" fmla="*/ 234626 h 720"/>
                <a:gd name="T44" fmla="*/ 348910 w 845"/>
                <a:gd name="T45" fmla="*/ 251870 h 720"/>
                <a:gd name="T46" fmla="*/ 314493 w 845"/>
                <a:gd name="T47" fmla="*/ 285836 h 720"/>
                <a:gd name="T48" fmla="*/ 306318 w 845"/>
                <a:gd name="T49" fmla="*/ 302557 h 720"/>
                <a:gd name="T50" fmla="*/ 299865 w 845"/>
                <a:gd name="T51" fmla="*/ 322414 h 720"/>
                <a:gd name="T52" fmla="*/ 289970 w 845"/>
                <a:gd name="T53" fmla="*/ 328685 h 720"/>
                <a:gd name="T54" fmla="*/ 249529 w 845"/>
                <a:gd name="T55" fmla="*/ 342271 h 720"/>
                <a:gd name="T56" fmla="*/ 240494 w 845"/>
                <a:gd name="T57" fmla="*/ 350632 h 720"/>
                <a:gd name="T58" fmla="*/ 225867 w 845"/>
                <a:gd name="T59" fmla="*/ 355857 h 720"/>
                <a:gd name="T60" fmla="*/ 207367 w 845"/>
                <a:gd name="T61" fmla="*/ 362128 h 720"/>
                <a:gd name="T62" fmla="*/ 198333 w 845"/>
                <a:gd name="T63" fmla="*/ 355335 h 720"/>
                <a:gd name="T64" fmla="*/ 183705 w 845"/>
                <a:gd name="T65" fmla="*/ 354812 h 720"/>
                <a:gd name="T66" fmla="*/ 174240 w 845"/>
                <a:gd name="T67" fmla="*/ 365263 h 720"/>
                <a:gd name="T68" fmla="*/ 167787 w 845"/>
                <a:gd name="T69" fmla="*/ 373102 h 720"/>
                <a:gd name="T70" fmla="*/ 154880 w 845"/>
                <a:gd name="T71" fmla="*/ 376237 h 720"/>
                <a:gd name="T72" fmla="*/ 136811 w 845"/>
                <a:gd name="T73" fmla="*/ 373102 h 720"/>
                <a:gd name="T74" fmla="*/ 124334 w 845"/>
                <a:gd name="T75" fmla="*/ 364741 h 720"/>
                <a:gd name="T76" fmla="*/ 105835 w 845"/>
                <a:gd name="T77" fmla="*/ 350632 h 720"/>
                <a:gd name="T78" fmla="*/ 77870 w 845"/>
                <a:gd name="T79" fmla="*/ 345406 h 720"/>
                <a:gd name="T80" fmla="*/ 60231 w 845"/>
                <a:gd name="T81" fmla="*/ 341226 h 720"/>
                <a:gd name="T82" fmla="*/ 64964 w 845"/>
                <a:gd name="T83" fmla="*/ 320847 h 720"/>
                <a:gd name="T84" fmla="*/ 54638 w 845"/>
                <a:gd name="T85" fmla="*/ 311441 h 720"/>
                <a:gd name="T86" fmla="*/ 46464 w 845"/>
                <a:gd name="T87" fmla="*/ 304647 h 720"/>
                <a:gd name="T88" fmla="*/ 40011 w 845"/>
                <a:gd name="T89" fmla="*/ 287926 h 720"/>
                <a:gd name="T90" fmla="*/ 33127 w 845"/>
                <a:gd name="T91" fmla="*/ 267024 h 720"/>
                <a:gd name="T92" fmla="*/ 21081 w 845"/>
                <a:gd name="T93" fmla="*/ 255528 h 720"/>
                <a:gd name="T94" fmla="*/ 6884 w 845"/>
                <a:gd name="T95" fmla="*/ 249257 h 720"/>
                <a:gd name="T96" fmla="*/ 2151 w 845"/>
                <a:gd name="T97" fmla="*/ 246644 h 720"/>
                <a:gd name="T98" fmla="*/ 860 w 845"/>
                <a:gd name="T99" fmla="*/ 234103 h 720"/>
                <a:gd name="T100" fmla="*/ 9035 w 845"/>
                <a:gd name="T101" fmla="*/ 220517 h 720"/>
                <a:gd name="T102" fmla="*/ 23662 w 845"/>
                <a:gd name="T103" fmla="*/ 215814 h 720"/>
                <a:gd name="T104" fmla="*/ 28825 w 845"/>
                <a:gd name="T105" fmla="*/ 167739 h 720"/>
                <a:gd name="T106" fmla="*/ 35278 w 845"/>
                <a:gd name="T107" fmla="*/ 143702 h 720"/>
                <a:gd name="T108" fmla="*/ 40871 w 845"/>
                <a:gd name="T109" fmla="*/ 135863 h 720"/>
                <a:gd name="T110" fmla="*/ 44313 w 845"/>
                <a:gd name="T111" fmla="*/ 123322 h 720"/>
                <a:gd name="T112" fmla="*/ 49906 w 845"/>
                <a:gd name="T113" fmla="*/ 107646 h 720"/>
                <a:gd name="T114" fmla="*/ 63673 w 845"/>
                <a:gd name="T115" fmla="*/ 93014 h 720"/>
                <a:gd name="T116" fmla="*/ 71847 w 845"/>
                <a:gd name="T117" fmla="*/ 83608 h 72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7" name="Line 359">
              <a:extLst>
                <a:ext uri="{FF2B5EF4-FFF2-40B4-BE49-F238E27FC236}">
                  <a16:creationId xmlns:a16="http://schemas.microsoft.com/office/drawing/2014/main" id="{1C3DD6ED-557A-4CF5-91BD-147214B09930}"/>
                </a:ext>
              </a:extLst>
            </p:cNvPr>
            <p:cNvSpPr>
              <a:spLocks noChangeShapeType="1"/>
            </p:cNvSpPr>
            <p:nvPr>
              <p:custDataLst>
                <p:tags r:id="rId262"/>
              </p:custDataLst>
            </p:nvPr>
          </p:nvSpPr>
          <p:spPr bwMode="auto">
            <a:xfrm flipH="1">
              <a:off x="3232151" y="3692525"/>
              <a:ext cx="4763" cy="793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18" name="Freeform 360">
              <a:extLst>
                <a:ext uri="{FF2B5EF4-FFF2-40B4-BE49-F238E27FC236}">
                  <a16:creationId xmlns:a16="http://schemas.microsoft.com/office/drawing/2014/main" id="{D4C0858D-1390-44FA-A8E0-A57E47C1736C}"/>
                </a:ext>
              </a:extLst>
            </p:cNvPr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3232150" y="3700464"/>
              <a:ext cx="12700" cy="58737"/>
            </a:xfrm>
            <a:custGeom>
              <a:avLst/>
              <a:gdLst>
                <a:gd name="T0" fmla="*/ 0 w 33"/>
                <a:gd name="T1" fmla="*/ 0 h 6"/>
                <a:gd name="T2" fmla="*/ 2694 w 33"/>
                <a:gd name="T3" fmla="*/ 9790 h 6"/>
                <a:gd name="T4" fmla="*/ 5773 w 33"/>
                <a:gd name="T5" fmla="*/ 29369 h 6"/>
                <a:gd name="T6" fmla="*/ 8852 w 33"/>
                <a:gd name="T7" fmla="*/ 48948 h 6"/>
                <a:gd name="T8" fmla="*/ 12700 w 33"/>
                <a:gd name="T9" fmla="*/ 5873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9" name="Freeform 361">
              <a:extLst>
                <a:ext uri="{FF2B5EF4-FFF2-40B4-BE49-F238E27FC236}">
                  <a16:creationId xmlns:a16="http://schemas.microsoft.com/office/drawing/2014/main" id="{519F0314-B269-490B-9E0F-65A399592321}"/>
                </a:ext>
              </a:extLst>
            </p:cNvPr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3240088" y="3687763"/>
              <a:ext cx="4762" cy="57150"/>
            </a:xfrm>
            <a:custGeom>
              <a:avLst/>
              <a:gdLst>
                <a:gd name="T0" fmla="*/ 4762 w 13"/>
                <a:gd name="T1" fmla="*/ 57150 h 30"/>
                <a:gd name="T2" fmla="*/ 4762 w 13"/>
                <a:gd name="T3" fmla="*/ 0 h 30"/>
                <a:gd name="T4" fmla="*/ 0 w 13"/>
                <a:gd name="T5" fmla="*/ 0 h 3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820" name="Group 362">
              <a:extLst>
                <a:ext uri="{FF2B5EF4-FFF2-40B4-BE49-F238E27FC236}">
                  <a16:creationId xmlns:a16="http://schemas.microsoft.com/office/drawing/2014/main" id="{02C2A6E7-FC72-4F5A-B1EA-E3735FE8485F}"/>
                </a:ext>
              </a:extLst>
            </p:cNvPr>
            <p:cNvGrpSpPr>
              <a:grpSpLocks/>
            </p:cNvGrpSpPr>
            <p:nvPr>
              <p:custDataLst>
                <p:tags r:id="rId265"/>
              </p:custDataLst>
            </p:nvPr>
          </p:nvGrpSpPr>
          <p:grpSpPr bwMode="auto">
            <a:xfrm>
              <a:off x="3232151" y="3622676"/>
              <a:ext cx="417513" cy="201613"/>
              <a:chOff x="912" y="2626"/>
              <a:chExt cx="311" cy="127"/>
            </a:xfrm>
          </p:grpSpPr>
          <p:sp>
            <p:nvSpPr>
              <p:cNvPr id="1006" name="Freeform 363">
                <a:extLst>
                  <a:ext uri="{FF2B5EF4-FFF2-40B4-BE49-F238E27FC236}">
                    <a16:creationId xmlns:a16="http://schemas.microsoft.com/office/drawing/2014/main" id="{3C508715-E163-4B16-9A21-6B8F223F1A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100 w 352"/>
                  <a:gd name="T1" fmla="*/ 26 h 387"/>
                  <a:gd name="T2" fmla="*/ 92 w 352"/>
                  <a:gd name="T3" fmla="*/ 26 h 387"/>
                  <a:gd name="T4" fmla="*/ 85 w 352"/>
                  <a:gd name="T5" fmla="*/ 26 h 387"/>
                  <a:gd name="T6" fmla="*/ 80 w 352"/>
                  <a:gd name="T7" fmla="*/ 24 h 387"/>
                  <a:gd name="T8" fmla="*/ 71 w 352"/>
                  <a:gd name="T9" fmla="*/ 19 h 387"/>
                  <a:gd name="T10" fmla="*/ 54 w 352"/>
                  <a:gd name="T11" fmla="*/ 7 h 387"/>
                  <a:gd name="T12" fmla="*/ 44 w 352"/>
                  <a:gd name="T13" fmla="*/ 2 h 387"/>
                  <a:gd name="T14" fmla="*/ 41 w 352"/>
                  <a:gd name="T15" fmla="*/ 6 h 387"/>
                  <a:gd name="T16" fmla="*/ 38 w 352"/>
                  <a:gd name="T17" fmla="*/ 10 h 387"/>
                  <a:gd name="T18" fmla="*/ 34 w 352"/>
                  <a:gd name="T19" fmla="*/ 11 h 387"/>
                  <a:gd name="T20" fmla="*/ 28 w 352"/>
                  <a:gd name="T21" fmla="*/ 18 h 387"/>
                  <a:gd name="T22" fmla="*/ 17 w 352"/>
                  <a:gd name="T23" fmla="*/ 32 h 387"/>
                  <a:gd name="T24" fmla="*/ 10 w 352"/>
                  <a:gd name="T25" fmla="*/ 43 h 387"/>
                  <a:gd name="T26" fmla="*/ 5 w 352"/>
                  <a:gd name="T27" fmla="*/ 51 h 387"/>
                  <a:gd name="T28" fmla="*/ 2 w 352"/>
                  <a:gd name="T29" fmla="*/ 58 h 387"/>
                  <a:gd name="T30" fmla="*/ 0 w 352"/>
                  <a:gd name="T31" fmla="*/ 65 h 387"/>
                  <a:gd name="T32" fmla="*/ 0 w 352"/>
                  <a:gd name="T33" fmla="*/ 70 h 387"/>
                  <a:gd name="T34" fmla="*/ 1 w 352"/>
                  <a:gd name="T35" fmla="*/ 73 h 387"/>
                  <a:gd name="T36" fmla="*/ 3 w 352"/>
                  <a:gd name="T37" fmla="*/ 76 h 387"/>
                  <a:gd name="T38" fmla="*/ 8 w 352"/>
                  <a:gd name="T39" fmla="*/ 79 h 387"/>
                  <a:gd name="T40" fmla="*/ 13 w 352"/>
                  <a:gd name="T41" fmla="*/ 80 h 387"/>
                  <a:gd name="T42" fmla="*/ 17 w 352"/>
                  <a:gd name="T43" fmla="*/ 80 h 387"/>
                  <a:gd name="T44" fmla="*/ 20 w 352"/>
                  <a:gd name="T45" fmla="*/ 79 h 387"/>
                  <a:gd name="T46" fmla="*/ 23 w 352"/>
                  <a:gd name="T47" fmla="*/ 77 h 387"/>
                  <a:gd name="T48" fmla="*/ 25 w 352"/>
                  <a:gd name="T49" fmla="*/ 77 h 387"/>
                  <a:gd name="T50" fmla="*/ 26 w 352"/>
                  <a:gd name="T51" fmla="*/ 78 h 387"/>
                  <a:gd name="T52" fmla="*/ 26 w 352"/>
                  <a:gd name="T53" fmla="*/ 84 h 387"/>
                  <a:gd name="T54" fmla="*/ 24 w 352"/>
                  <a:gd name="T55" fmla="*/ 92 h 387"/>
                  <a:gd name="T56" fmla="*/ 23 w 352"/>
                  <a:gd name="T57" fmla="*/ 95 h 387"/>
                  <a:gd name="T58" fmla="*/ 23 w 352"/>
                  <a:gd name="T59" fmla="*/ 101 h 387"/>
                  <a:gd name="T60" fmla="*/ 26 w 352"/>
                  <a:gd name="T61" fmla="*/ 109 h 387"/>
                  <a:gd name="T62" fmla="*/ 29 w 352"/>
                  <a:gd name="T63" fmla="*/ 115 h 387"/>
                  <a:gd name="T64" fmla="*/ 39 w 352"/>
                  <a:gd name="T65" fmla="*/ 122 h 387"/>
                  <a:gd name="T66" fmla="*/ 46 w 352"/>
                  <a:gd name="T67" fmla="*/ 126 h 387"/>
                  <a:gd name="T68" fmla="*/ 49 w 352"/>
                  <a:gd name="T69" fmla="*/ 127 h 387"/>
                  <a:gd name="T70" fmla="*/ 52 w 352"/>
                  <a:gd name="T71" fmla="*/ 124 h 387"/>
                  <a:gd name="T72" fmla="*/ 56 w 352"/>
                  <a:gd name="T73" fmla="*/ 119 h 387"/>
                  <a:gd name="T74" fmla="*/ 57 w 352"/>
                  <a:gd name="T75" fmla="*/ 115 h 387"/>
                  <a:gd name="T76" fmla="*/ 58 w 352"/>
                  <a:gd name="T77" fmla="*/ 111 h 387"/>
                  <a:gd name="T78" fmla="*/ 59 w 352"/>
                  <a:gd name="T79" fmla="*/ 106 h 387"/>
                  <a:gd name="T80" fmla="*/ 63 w 352"/>
                  <a:gd name="T81" fmla="*/ 100 h 387"/>
                  <a:gd name="T82" fmla="*/ 69 w 352"/>
                  <a:gd name="T83" fmla="*/ 92 h 387"/>
                  <a:gd name="T84" fmla="*/ 76 w 352"/>
                  <a:gd name="T85" fmla="*/ 86 h 387"/>
                  <a:gd name="T86" fmla="*/ 85 w 352"/>
                  <a:gd name="T87" fmla="*/ 82 h 387"/>
                  <a:gd name="T88" fmla="*/ 96 w 352"/>
                  <a:gd name="T89" fmla="*/ 75 h 387"/>
                  <a:gd name="T90" fmla="*/ 104 w 352"/>
                  <a:gd name="T91" fmla="*/ 70 h 387"/>
                  <a:gd name="T92" fmla="*/ 109 w 352"/>
                  <a:gd name="T93" fmla="*/ 65 h 387"/>
                  <a:gd name="T94" fmla="*/ 111 w 352"/>
                  <a:gd name="T95" fmla="*/ 61 h 387"/>
                  <a:gd name="T96" fmla="*/ 113 w 352"/>
                  <a:gd name="T97" fmla="*/ 55 h 387"/>
                  <a:gd name="T98" fmla="*/ 113 w 352"/>
                  <a:gd name="T99" fmla="*/ 49 h 387"/>
                  <a:gd name="T100" fmla="*/ 110 w 352"/>
                  <a:gd name="T101" fmla="*/ 41 h 387"/>
                  <a:gd name="T102" fmla="*/ 106 w 352"/>
                  <a:gd name="T103" fmla="*/ 30 h 38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07" name="Freeform 364">
                <a:extLst>
                  <a:ext uri="{FF2B5EF4-FFF2-40B4-BE49-F238E27FC236}">
                    <a16:creationId xmlns:a16="http://schemas.microsoft.com/office/drawing/2014/main" id="{DAEC26E0-4318-4353-9841-FAB0F40DFA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5 w 52"/>
                  <a:gd name="T1" fmla="*/ 0 h 78"/>
                  <a:gd name="T2" fmla="*/ 7 w 52"/>
                  <a:gd name="T3" fmla="*/ 0 h 78"/>
                  <a:gd name="T4" fmla="*/ 8 w 52"/>
                  <a:gd name="T5" fmla="*/ 1 h 78"/>
                  <a:gd name="T6" fmla="*/ 10 w 52"/>
                  <a:gd name="T7" fmla="*/ 2 h 78"/>
                  <a:gd name="T8" fmla="*/ 12 w 52"/>
                  <a:gd name="T9" fmla="*/ 3 h 78"/>
                  <a:gd name="T10" fmla="*/ 13 w 52"/>
                  <a:gd name="T11" fmla="*/ 4 h 78"/>
                  <a:gd name="T12" fmla="*/ 15 w 52"/>
                  <a:gd name="T13" fmla="*/ 6 h 78"/>
                  <a:gd name="T14" fmla="*/ 15 w 52"/>
                  <a:gd name="T15" fmla="*/ 7 h 78"/>
                  <a:gd name="T16" fmla="*/ 16 w 52"/>
                  <a:gd name="T17" fmla="*/ 8 h 78"/>
                  <a:gd name="T18" fmla="*/ 17 w 52"/>
                  <a:gd name="T19" fmla="*/ 11 h 78"/>
                  <a:gd name="T20" fmla="*/ 17 w 52"/>
                  <a:gd name="T21" fmla="*/ 14 h 78"/>
                  <a:gd name="T22" fmla="*/ 17 w 52"/>
                  <a:gd name="T23" fmla="*/ 15 h 78"/>
                  <a:gd name="T24" fmla="*/ 16 w 52"/>
                  <a:gd name="T25" fmla="*/ 17 h 78"/>
                  <a:gd name="T26" fmla="*/ 15 w 52"/>
                  <a:gd name="T27" fmla="*/ 18 h 78"/>
                  <a:gd name="T28" fmla="*/ 14 w 52"/>
                  <a:gd name="T29" fmla="*/ 20 h 78"/>
                  <a:gd name="T30" fmla="*/ 13 w 52"/>
                  <a:gd name="T31" fmla="*/ 22 h 78"/>
                  <a:gd name="T32" fmla="*/ 13 w 52"/>
                  <a:gd name="T33" fmla="*/ 24 h 78"/>
                  <a:gd name="T34" fmla="*/ 9 w 52"/>
                  <a:gd name="T35" fmla="*/ 25 h 78"/>
                  <a:gd name="T36" fmla="*/ 5 w 52"/>
                  <a:gd name="T37" fmla="*/ 26 h 78"/>
                  <a:gd name="T38" fmla="*/ 4 w 52"/>
                  <a:gd name="T39" fmla="*/ 26 h 78"/>
                  <a:gd name="T40" fmla="*/ 2 w 52"/>
                  <a:gd name="T41" fmla="*/ 26 h 78"/>
                  <a:gd name="T42" fmla="*/ 1 w 52"/>
                  <a:gd name="T43" fmla="*/ 26 h 78"/>
                  <a:gd name="T44" fmla="*/ 1 w 52"/>
                  <a:gd name="T45" fmla="*/ 26 h 78"/>
                  <a:gd name="T46" fmla="*/ 1 w 52"/>
                  <a:gd name="T47" fmla="*/ 25 h 78"/>
                  <a:gd name="T48" fmla="*/ 0 w 52"/>
                  <a:gd name="T49" fmla="*/ 24 h 78"/>
                  <a:gd name="T50" fmla="*/ 0 w 52"/>
                  <a:gd name="T51" fmla="*/ 23 h 78"/>
                  <a:gd name="T52" fmla="*/ 0 w 52"/>
                  <a:gd name="T53" fmla="*/ 21 h 78"/>
                  <a:gd name="T54" fmla="*/ 1 w 52"/>
                  <a:gd name="T55" fmla="*/ 20 h 78"/>
                  <a:gd name="T56" fmla="*/ 2 w 52"/>
                  <a:gd name="T57" fmla="*/ 19 h 78"/>
                  <a:gd name="T58" fmla="*/ 6 w 52"/>
                  <a:gd name="T59" fmla="*/ 16 h 78"/>
                  <a:gd name="T60" fmla="*/ 9 w 52"/>
                  <a:gd name="T61" fmla="*/ 14 h 78"/>
                  <a:gd name="T62" fmla="*/ 8 w 52"/>
                  <a:gd name="T63" fmla="*/ 11 h 78"/>
                  <a:gd name="T64" fmla="*/ 7 w 52"/>
                  <a:gd name="T65" fmla="*/ 7 h 78"/>
                  <a:gd name="T66" fmla="*/ 6 w 52"/>
                  <a:gd name="T67" fmla="*/ 3 h 78"/>
                  <a:gd name="T68" fmla="*/ 5 w 52"/>
                  <a:gd name="T69" fmla="*/ 0 h 7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08" name="Freeform 365">
                <a:extLst>
                  <a:ext uri="{FF2B5EF4-FFF2-40B4-BE49-F238E27FC236}">
                    <a16:creationId xmlns:a16="http://schemas.microsoft.com/office/drawing/2014/main" id="{0D839CEB-0A43-428C-B4F7-43B52194A7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4 w 33"/>
                  <a:gd name="T1" fmla="*/ 2 h 30"/>
                  <a:gd name="T2" fmla="*/ 0 w 33"/>
                  <a:gd name="T3" fmla="*/ 8 h 30"/>
                  <a:gd name="T4" fmla="*/ 2 w 33"/>
                  <a:gd name="T5" fmla="*/ 8 h 30"/>
                  <a:gd name="T6" fmla="*/ 4 w 33"/>
                  <a:gd name="T7" fmla="*/ 9 h 30"/>
                  <a:gd name="T8" fmla="*/ 6 w 33"/>
                  <a:gd name="T9" fmla="*/ 10 h 30"/>
                  <a:gd name="T10" fmla="*/ 9 w 33"/>
                  <a:gd name="T11" fmla="*/ 10 h 30"/>
                  <a:gd name="T12" fmla="*/ 9 w 33"/>
                  <a:gd name="T13" fmla="*/ 0 h 30"/>
                  <a:gd name="T14" fmla="*/ 5 w 33"/>
                  <a:gd name="T15" fmla="*/ 0 h 30"/>
                  <a:gd name="T16" fmla="*/ 4 w 33"/>
                  <a:gd name="T17" fmla="*/ 2 h 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821" name="Freeform 366">
              <a:extLst>
                <a:ext uri="{FF2B5EF4-FFF2-40B4-BE49-F238E27FC236}">
                  <a16:creationId xmlns:a16="http://schemas.microsoft.com/office/drawing/2014/main" id="{49E4B0E2-9F3F-47ED-BA7A-70C9A6FBCF28}"/>
                </a:ext>
              </a:extLst>
            </p:cNvPr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6880225" y="4340225"/>
              <a:ext cx="19050" cy="58738"/>
            </a:xfrm>
            <a:custGeom>
              <a:avLst/>
              <a:gdLst>
                <a:gd name="T0" fmla="*/ 5269 w 47"/>
                <a:gd name="T1" fmla="*/ 0 h 28"/>
                <a:gd name="T2" fmla="*/ 10133 w 47"/>
                <a:gd name="T3" fmla="*/ 0 h 28"/>
                <a:gd name="T4" fmla="*/ 12565 w 47"/>
                <a:gd name="T5" fmla="*/ 4196 h 28"/>
                <a:gd name="T6" fmla="*/ 13376 w 47"/>
                <a:gd name="T7" fmla="*/ 8391 h 28"/>
                <a:gd name="T8" fmla="*/ 13376 w 47"/>
                <a:gd name="T9" fmla="*/ 12587 h 28"/>
                <a:gd name="T10" fmla="*/ 12970 w 47"/>
                <a:gd name="T11" fmla="*/ 16782 h 28"/>
                <a:gd name="T12" fmla="*/ 13376 w 47"/>
                <a:gd name="T13" fmla="*/ 20978 h 28"/>
                <a:gd name="T14" fmla="*/ 14997 w 47"/>
                <a:gd name="T15" fmla="*/ 25173 h 28"/>
                <a:gd name="T16" fmla="*/ 19050 w 47"/>
                <a:gd name="T17" fmla="*/ 25173 h 28"/>
                <a:gd name="T18" fmla="*/ 17023 w 47"/>
                <a:gd name="T19" fmla="*/ 39858 h 28"/>
                <a:gd name="T20" fmla="*/ 14997 w 47"/>
                <a:gd name="T21" fmla="*/ 52445 h 28"/>
                <a:gd name="T22" fmla="*/ 13376 w 47"/>
                <a:gd name="T23" fmla="*/ 56640 h 28"/>
                <a:gd name="T24" fmla="*/ 11349 w 47"/>
                <a:gd name="T25" fmla="*/ 58738 h 28"/>
                <a:gd name="T26" fmla="*/ 6485 w 47"/>
                <a:gd name="T27" fmla="*/ 56640 h 28"/>
                <a:gd name="T28" fmla="*/ 0 w 47"/>
                <a:gd name="T29" fmla="*/ 52445 h 28"/>
                <a:gd name="T30" fmla="*/ 405 w 47"/>
                <a:gd name="T31" fmla="*/ 39858 h 28"/>
                <a:gd name="T32" fmla="*/ 811 w 47"/>
                <a:gd name="T33" fmla="*/ 31467 h 28"/>
                <a:gd name="T34" fmla="*/ 1621 w 47"/>
                <a:gd name="T35" fmla="*/ 27271 h 28"/>
                <a:gd name="T36" fmla="*/ 2432 w 47"/>
                <a:gd name="T37" fmla="*/ 25173 h 28"/>
                <a:gd name="T38" fmla="*/ 3648 w 47"/>
                <a:gd name="T39" fmla="*/ 23076 h 28"/>
                <a:gd name="T40" fmla="*/ 4459 w 47"/>
                <a:gd name="T41" fmla="*/ 18880 h 28"/>
                <a:gd name="T42" fmla="*/ 5269 w 47"/>
                <a:gd name="T43" fmla="*/ 10489 h 28"/>
                <a:gd name="T44" fmla="*/ 5269 w 47"/>
                <a:gd name="T45" fmla="*/ 0 h 2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22" name="Freeform 367">
              <a:extLst>
                <a:ext uri="{FF2B5EF4-FFF2-40B4-BE49-F238E27FC236}">
                  <a16:creationId xmlns:a16="http://schemas.microsoft.com/office/drawing/2014/main" id="{8E26AFE3-F860-4DA4-8CCE-E34529D40480}"/>
                </a:ext>
              </a:extLst>
            </p:cNvPr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6851651" y="4367213"/>
              <a:ext cx="23813" cy="57150"/>
            </a:xfrm>
            <a:custGeom>
              <a:avLst/>
              <a:gdLst>
                <a:gd name="T0" fmla="*/ 5841 w 53"/>
                <a:gd name="T1" fmla="*/ 0 h 33"/>
                <a:gd name="T2" fmla="*/ 11682 w 53"/>
                <a:gd name="T3" fmla="*/ 1732 h 33"/>
                <a:gd name="T4" fmla="*/ 15276 w 53"/>
                <a:gd name="T5" fmla="*/ 1732 h 33"/>
                <a:gd name="T6" fmla="*/ 16624 w 53"/>
                <a:gd name="T7" fmla="*/ 5195 h 33"/>
                <a:gd name="T8" fmla="*/ 16624 w 53"/>
                <a:gd name="T9" fmla="*/ 6927 h 33"/>
                <a:gd name="T10" fmla="*/ 16624 w 53"/>
                <a:gd name="T11" fmla="*/ 10391 h 33"/>
                <a:gd name="T12" fmla="*/ 17523 w 53"/>
                <a:gd name="T13" fmla="*/ 13855 h 33"/>
                <a:gd name="T14" fmla="*/ 19769 w 53"/>
                <a:gd name="T15" fmla="*/ 17318 h 33"/>
                <a:gd name="T16" fmla="*/ 23813 w 53"/>
                <a:gd name="T17" fmla="*/ 20782 h 33"/>
                <a:gd name="T18" fmla="*/ 21566 w 53"/>
                <a:gd name="T19" fmla="*/ 38100 h 33"/>
                <a:gd name="T20" fmla="*/ 19769 w 53"/>
                <a:gd name="T21" fmla="*/ 48491 h 33"/>
                <a:gd name="T22" fmla="*/ 18871 w 53"/>
                <a:gd name="T23" fmla="*/ 53686 h 33"/>
                <a:gd name="T24" fmla="*/ 17073 w 53"/>
                <a:gd name="T25" fmla="*/ 55418 h 33"/>
                <a:gd name="T26" fmla="*/ 16175 w 53"/>
                <a:gd name="T27" fmla="*/ 57150 h 33"/>
                <a:gd name="T28" fmla="*/ 15276 w 53"/>
                <a:gd name="T29" fmla="*/ 57150 h 33"/>
                <a:gd name="T30" fmla="*/ 8986 w 53"/>
                <a:gd name="T31" fmla="*/ 51955 h 33"/>
                <a:gd name="T32" fmla="*/ 0 w 53"/>
                <a:gd name="T33" fmla="*/ 41564 h 33"/>
                <a:gd name="T34" fmla="*/ 0 w 53"/>
                <a:gd name="T35" fmla="*/ 32905 h 33"/>
                <a:gd name="T36" fmla="*/ 899 w 53"/>
                <a:gd name="T37" fmla="*/ 27709 h 33"/>
                <a:gd name="T38" fmla="*/ 1797 w 53"/>
                <a:gd name="T39" fmla="*/ 24245 h 33"/>
                <a:gd name="T40" fmla="*/ 3145 w 53"/>
                <a:gd name="T41" fmla="*/ 20782 h 33"/>
                <a:gd name="T42" fmla="*/ 4044 w 53"/>
                <a:gd name="T43" fmla="*/ 19050 h 33"/>
                <a:gd name="T44" fmla="*/ 4942 w 53"/>
                <a:gd name="T45" fmla="*/ 15586 h 33"/>
                <a:gd name="T46" fmla="*/ 5392 w 53"/>
                <a:gd name="T47" fmla="*/ 10391 h 33"/>
                <a:gd name="T48" fmla="*/ 5841 w 53"/>
                <a:gd name="T49" fmla="*/ 0 h 3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823" name="Group 368">
              <a:extLst>
                <a:ext uri="{FF2B5EF4-FFF2-40B4-BE49-F238E27FC236}">
                  <a16:creationId xmlns:a16="http://schemas.microsoft.com/office/drawing/2014/main" id="{E5C2E181-B89D-4E74-B4AC-BEE975A40F8C}"/>
                </a:ext>
              </a:extLst>
            </p:cNvPr>
            <p:cNvGrpSpPr>
              <a:grpSpLocks/>
            </p:cNvGrpSpPr>
            <p:nvPr>
              <p:custDataLst>
                <p:tags r:id="rId268"/>
              </p:custDataLst>
            </p:nvPr>
          </p:nvGrpSpPr>
          <p:grpSpPr bwMode="auto">
            <a:xfrm>
              <a:off x="6692901" y="3859214"/>
              <a:ext cx="168275" cy="103187"/>
              <a:chOff x="3481" y="2773"/>
              <a:chExt cx="125" cy="65"/>
            </a:xfrm>
          </p:grpSpPr>
          <p:sp>
            <p:nvSpPr>
              <p:cNvPr id="995" name="Freeform 369">
                <a:extLst>
                  <a:ext uri="{FF2B5EF4-FFF2-40B4-BE49-F238E27FC236}">
                    <a16:creationId xmlns:a16="http://schemas.microsoft.com/office/drawing/2014/main" id="{A2159056-104F-4300-AC08-372B94C210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5 w 13"/>
                  <a:gd name="T1" fmla="*/ 0 h 18"/>
                  <a:gd name="T2" fmla="*/ 4 w 13"/>
                  <a:gd name="T3" fmla="*/ 3 h 18"/>
                  <a:gd name="T4" fmla="*/ 2 w 13"/>
                  <a:gd name="T5" fmla="*/ 6 h 18"/>
                  <a:gd name="T6" fmla="*/ 2 w 13"/>
                  <a:gd name="T7" fmla="*/ 6 h 18"/>
                  <a:gd name="T8" fmla="*/ 1 w 13"/>
                  <a:gd name="T9" fmla="*/ 5 h 18"/>
                  <a:gd name="T10" fmla="*/ 0 w 13"/>
                  <a:gd name="T11" fmla="*/ 3 h 18"/>
                  <a:gd name="T12" fmla="*/ 0 w 13"/>
                  <a:gd name="T13" fmla="*/ 2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96" name="Line 370">
                <a:extLst>
                  <a:ext uri="{FF2B5EF4-FFF2-40B4-BE49-F238E27FC236}">
                    <a16:creationId xmlns:a16="http://schemas.microsoft.com/office/drawing/2014/main" id="{36B1F5FB-F043-4848-AF57-D22A5363FD7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97" name="Freeform 371">
                <a:extLst>
                  <a:ext uri="{FF2B5EF4-FFF2-40B4-BE49-F238E27FC236}">
                    <a16:creationId xmlns:a16="http://schemas.microsoft.com/office/drawing/2014/main" id="{E7C20012-F0B5-4ABF-B68F-6F3A255AF2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5 w 14"/>
                  <a:gd name="T1" fmla="*/ 6 h 19"/>
                  <a:gd name="T2" fmla="*/ 0 w 14"/>
                  <a:gd name="T3" fmla="*/ 0 h 19"/>
                  <a:gd name="T4" fmla="*/ 5 w 14"/>
                  <a:gd name="T5" fmla="*/ 6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98" name="Freeform 372">
                <a:extLst>
                  <a:ext uri="{FF2B5EF4-FFF2-40B4-BE49-F238E27FC236}">
                    <a16:creationId xmlns:a16="http://schemas.microsoft.com/office/drawing/2014/main" id="{DC19BD9C-8AA9-4DBC-99F6-721DB8842B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2 h 18"/>
                  <a:gd name="T2" fmla="*/ 2 w 7"/>
                  <a:gd name="T3" fmla="*/ 6 h 18"/>
                  <a:gd name="T4" fmla="*/ 0 w 7"/>
                  <a:gd name="T5" fmla="*/ 6 h 18"/>
                  <a:gd name="T6" fmla="*/ 0 w 7"/>
                  <a:gd name="T7" fmla="*/ 0 h 18"/>
                  <a:gd name="T8" fmla="*/ 2 w 7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99" name="Freeform 373">
                <a:extLst>
                  <a:ext uri="{FF2B5EF4-FFF2-40B4-BE49-F238E27FC236}">
                    <a16:creationId xmlns:a16="http://schemas.microsoft.com/office/drawing/2014/main" id="{E623C77E-B91F-40A0-B259-5D7A6B8C31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7 w 20"/>
                  <a:gd name="T1" fmla="*/ 4 h 12"/>
                  <a:gd name="T2" fmla="*/ 4 w 20"/>
                  <a:gd name="T3" fmla="*/ 3 h 12"/>
                  <a:gd name="T4" fmla="*/ 0 w 20"/>
                  <a:gd name="T5" fmla="*/ 2 h 12"/>
                  <a:gd name="T6" fmla="*/ 0 w 20"/>
                  <a:gd name="T7" fmla="*/ 2 h 12"/>
                  <a:gd name="T8" fmla="*/ 1 w 20"/>
                  <a:gd name="T9" fmla="*/ 1 h 12"/>
                  <a:gd name="T10" fmla="*/ 3 w 20"/>
                  <a:gd name="T11" fmla="*/ 0 h 12"/>
                  <a:gd name="T12" fmla="*/ 5 w 20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00" name="Line 374">
                <a:extLst>
                  <a:ext uri="{FF2B5EF4-FFF2-40B4-BE49-F238E27FC236}">
                    <a16:creationId xmlns:a16="http://schemas.microsoft.com/office/drawing/2014/main" id="{FB05A834-1242-48BC-AFFD-61005B439D1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01" name="Freeform 375">
                <a:extLst>
                  <a:ext uri="{FF2B5EF4-FFF2-40B4-BE49-F238E27FC236}">
                    <a16:creationId xmlns:a16="http://schemas.microsoft.com/office/drawing/2014/main" id="{8E23C589-F32E-4019-88EA-51AA021A72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6 h 18"/>
                  <a:gd name="T4" fmla="*/ 7 w 20"/>
                  <a:gd name="T5" fmla="*/ 6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02" name="Freeform 376">
                <a:extLst>
                  <a:ext uri="{FF2B5EF4-FFF2-40B4-BE49-F238E27FC236}">
                    <a16:creationId xmlns:a16="http://schemas.microsoft.com/office/drawing/2014/main" id="{DF62DB11-A5D3-4841-8841-14EB868CB7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3 w 7"/>
                  <a:gd name="T1" fmla="*/ 4 h 12"/>
                  <a:gd name="T2" fmla="*/ 2 w 7"/>
                  <a:gd name="T3" fmla="*/ 2 h 12"/>
                  <a:gd name="T4" fmla="*/ 0 w 7"/>
                  <a:gd name="T5" fmla="*/ 0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03" name="Freeform 377">
                <a:extLst>
                  <a:ext uri="{FF2B5EF4-FFF2-40B4-BE49-F238E27FC236}">
                    <a16:creationId xmlns:a16="http://schemas.microsoft.com/office/drawing/2014/main" id="{012F490E-0D6E-4552-BED4-E86F756221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6 h 18"/>
                  <a:gd name="T4" fmla="*/ 7 w 20"/>
                  <a:gd name="T5" fmla="*/ 6 h 18"/>
                  <a:gd name="T6" fmla="*/ 6 w 20"/>
                  <a:gd name="T7" fmla="*/ 4 h 18"/>
                  <a:gd name="T8" fmla="*/ 5 w 20"/>
                  <a:gd name="T9" fmla="*/ 2 h 18"/>
                  <a:gd name="T10" fmla="*/ 0 w 20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04" name="Freeform 378">
                <a:extLst>
                  <a:ext uri="{FF2B5EF4-FFF2-40B4-BE49-F238E27FC236}">
                    <a16:creationId xmlns:a16="http://schemas.microsoft.com/office/drawing/2014/main" id="{8A5EC8FA-46CF-4F21-97D5-053D5AAAB5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2 h 18"/>
                  <a:gd name="T2" fmla="*/ 2 w 7"/>
                  <a:gd name="T3" fmla="*/ 6 h 18"/>
                  <a:gd name="T4" fmla="*/ 0 w 7"/>
                  <a:gd name="T5" fmla="*/ 6 h 18"/>
                  <a:gd name="T6" fmla="*/ 0 w 7"/>
                  <a:gd name="T7" fmla="*/ 0 h 18"/>
                  <a:gd name="T8" fmla="*/ 2 w 7"/>
                  <a:gd name="T9" fmla="*/ 0 h 18"/>
                  <a:gd name="T10" fmla="*/ 0 w 7"/>
                  <a:gd name="T11" fmla="*/ 2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05" name="Freeform 379">
                <a:extLst>
                  <a:ext uri="{FF2B5EF4-FFF2-40B4-BE49-F238E27FC236}">
                    <a16:creationId xmlns:a16="http://schemas.microsoft.com/office/drawing/2014/main" id="{01BDBEE6-7B00-453D-A868-490D166C28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5 w 13"/>
                  <a:gd name="T1" fmla="*/ 0 h 18"/>
                  <a:gd name="T2" fmla="*/ 4 w 13"/>
                  <a:gd name="T3" fmla="*/ 3 h 18"/>
                  <a:gd name="T4" fmla="*/ 2 w 13"/>
                  <a:gd name="T5" fmla="*/ 6 h 18"/>
                  <a:gd name="T6" fmla="*/ 2 w 13"/>
                  <a:gd name="T7" fmla="*/ 6 h 18"/>
                  <a:gd name="T8" fmla="*/ 1 w 13"/>
                  <a:gd name="T9" fmla="*/ 5 h 18"/>
                  <a:gd name="T10" fmla="*/ 0 w 13"/>
                  <a:gd name="T11" fmla="*/ 3 h 18"/>
                  <a:gd name="T12" fmla="*/ 0 w 13"/>
                  <a:gd name="T13" fmla="*/ 2 h 18"/>
                  <a:gd name="T14" fmla="*/ 2 w 13"/>
                  <a:gd name="T15" fmla="*/ 2 h 18"/>
                  <a:gd name="T16" fmla="*/ 5 w 13"/>
                  <a:gd name="T17" fmla="*/ 0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824" name="Freeform 380">
              <a:extLst>
                <a:ext uri="{FF2B5EF4-FFF2-40B4-BE49-F238E27FC236}">
                  <a16:creationId xmlns:a16="http://schemas.microsoft.com/office/drawing/2014/main" id="{A12F5177-2F68-4367-B3D9-0C3E4E5C1C27}"/>
                </a:ext>
              </a:extLst>
            </p:cNvPr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5821364" y="3851276"/>
              <a:ext cx="319087" cy="379413"/>
            </a:xfrm>
            <a:custGeom>
              <a:avLst/>
              <a:gdLst>
                <a:gd name="T0" fmla="*/ 26013 w 736"/>
                <a:gd name="T1" fmla="*/ 360469 h 721"/>
                <a:gd name="T2" fmla="*/ 39452 w 736"/>
                <a:gd name="T3" fmla="*/ 351523 h 721"/>
                <a:gd name="T4" fmla="*/ 54626 w 736"/>
                <a:gd name="T5" fmla="*/ 351523 h 721"/>
                <a:gd name="T6" fmla="*/ 84974 w 736"/>
                <a:gd name="T7" fmla="*/ 364152 h 721"/>
                <a:gd name="T8" fmla="*/ 106218 w 736"/>
                <a:gd name="T9" fmla="*/ 370993 h 721"/>
                <a:gd name="T10" fmla="*/ 126594 w 736"/>
                <a:gd name="T11" fmla="*/ 369941 h 721"/>
                <a:gd name="T12" fmla="*/ 264894 w 736"/>
                <a:gd name="T13" fmla="*/ 377308 h 721"/>
                <a:gd name="T14" fmla="*/ 282236 w 736"/>
                <a:gd name="T15" fmla="*/ 372046 h 721"/>
                <a:gd name="T16" fmla="*/ 271831 w 736"/>
                <a:gd name="T17" fmla="*/ 345734 h 721"/>
                <a:gd name="T18" fmla="*/ 287872 w 736"/>
                <a:gd name="T19" fmla="*/ 227858 h 721"/>
                <a:gd name="T20" fmla="*/ 307381 w 736"/>
                <a:gd name="T21" fmla="*/ 225753 h 721"/>
                <a:gd name="T22" fmla="*/ 313451 w 736"/>
                <a:gd name="T23" fmla="*/ 218912 h 721"/>
                <a:gd name="T24" fmla="*/ 318220 w 736"/>
                <a:gd name="T25" fmla="*/ 189443 h 721"/>
                <a:gd name="T26" fmla="*/ 313017 w 736"/>
                <a:gd name="T27" fmla="*/ 158922 h 721"/>
                <a:gd name="T28" fmla="*/ 306948 w 736"/>
                <a:gd name="T29" fmla="*/ 159974 h 721"/>
                <a:gd name="T30" fmla="*/ 293074 w 736"/>
                <a:gd name="T31" fmla="*/ 157869 h 721"/>
                <a:gd name="T32" fmla="*/ 274866 w 736"/>
                <a:gd name="T33" fmla="*/ 157343 h 721"/>
                <a:gd name="T34" fmla="*/ 270097 w 736"/>
                <a:gd name="T35" fmla="*/ 152607 h 721"/>
                <a:gd name="T36" fmla="*/ 267495 w 736"/>
                <a:gd name="T37" fmla="*/ 133137 h 721"/>
                <a:gd name="T38" fmla="*/ 263160 w 736"/>
                <a:gd name="T39" fmla="*/ 115245 h 721"/>
                <a:gd name="T40" fmla="*/ 258825 w 736"/>
                <a:gd name="T41" fmla="*/ 97879 h 721"/>
                <a:gd name="T42" fmla="*/ 263160 w 736"/>
                <a:gd name="T43" fmla="*/ 87881 h 721"/>
                <a:gd name="T44" fmla="*/ 267495 w 736"/>
                <a:gd name="T45" fmla="*/ 77882 h 721"/>
                <a:gd name="T46" fmla="*/ 264894 w 736"/>
                <a:gd name="T47" fmla="*/ 52623 h 721"/>
                <a:gd name="T48" fmla="*/ 235847 w 736"/>
                <a:gd name="T49" fmla="*/ 36836 h 721"/>
                <a:gd name="T50" fmla="*/ 206800 w 736"/>
                <a:gd name="T51" fmla="*/ 34731 h 721"/>
                <a:gd name="T52" fmla="*/ 204198 w 736"/>
                <a:gd name="T53" fmla="*/ 42625 h 721"/>
                <a:gd name="T54" fmla="*/ 200730 w 736"/>
                <a:gd name="T55" fmla="*/ 53149 h 721"/>
                <a:gd name="T56" fmla="*/ 190759 w 736"/>
                <a:gd name="T57" fmla="*/ 64200 h 721"/>
                <a:gd name="T58" fmla="*/ 169949 w 736"/>
                <a:gd name="T59" fmla="*/ 68410 h 721"/>
                <a:gd name="T60" fmla="*/ 157809 w 736"/>
                <a:gd name="T61" fmla="*/ 60517 h 721"/>
                <a:gd name="T62" fmla="*/ 146971 w 736"/>
                <a:gd name="T63" fmla="*/ 43151 h 721"/>
                <a:gd name="T64" fmla="*/ 138300 w 736"/>
                <a:gd name="T65" fmla="*/ 20523 h 721"/>
                <a:gd name="T66" fmla="*/ 135265 w 736"/>
                <a:gd name="T67" fmla="*/ 0 h 721"/>
                <a:gd name="T68" fmla="*/ 13006 w 736"/>
                <a:gd name="T69" fmla="*/ 7893 h 721"/>
                <a:gd name="T70" fmla="*/ 20376 w 736"/>
                <a:gd name="T71" fmla="*/ 15261 h 721"/>
                <a:gd name="T72" fmla="*/ 32516 w 736"/>
                <a:gd name="T73" fmla="*/ 39467 h 721"/>
                <a:gd name="T74" fmla="*/ 44221 w 736"/>
                <a:gd name="T75" fmla="*/ 68410 h 721"/>
                <a:gd name="T76" fmla="*/ 44655 w 736"/>
                <a:gd name="T77" fmla="*/ 89986 h 721"/>
                <a:gd name="T78" fmla="*/ 40319 w 736"/>
                <a:gd name="T79" fmla="*/ 106825 h 721"/>
                <a:gd name="T80" fmla="*/ 41620 w 736"/>
                <a:gd name="T81" fmla="*/ 120507 h 721"/>
                <a:gd name="T82" fmla="*/ 51592 w 736"/>
                <a:gd name="T83" fmla="*/ 143135 h 721"/>
                <a:gd name="T84" fmla="*/ 56794 w 736"/>
                <a:gd name="T85" fmla="*/ 161553 h 721"/>
                <a:gd name="T86" fmla="*/ 55060 w 736"/>
                <a:gd name="T87" fmla="*/ 185234 h 721"/>
                <a:gd name="T88" fmla="*/ 45955 w 736"/>
                <a:gd name="T89" fmla="*/ 212071 h 721"/>
                <a:gd name="T90" fmla="*/ 33383 w 736"/>
                <a:gd name="T91" fmla="*/ 234699 h 721"/>
                <a:gd name="T92" fmla="*/ 17775 w 736"/>
                <a:gd name="T93" fmla="*/ 251012 h 721"/>
                <a:gd name="T94" fmla="*/ 10839 w 736"/>
                <a:gd name="T95" fmla="*/ 311003 h 721"/>
                <a:gd name="T96" fmla="*/ 4769 w 736"/>
                <a:gd name="T97" fmla="*/ 329947 h 72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25" name="Freeform 381">
              <a:extLst>
                <a:ext uri="{FF2B5EF4-FFF2-40B4-BE49-F238E27FC236}">
                  <a16:creationId xmlns:a16="http://schemas.microsoft.com/office/drawing/2014/main" id="{C4AFB0D5-51A9-49E2-9C7D-9D7AFCE34DC8}"/>
                </a:ext>
              </a:extLst>
            </p:cNvPr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5832476" y="3824289"/>
              <a:ext cx="15875" cy="60325"/>
            </a:xfrm>
            <a:custGeom>
              <a:avLst/>
              <a:gdLst>
                <a:gd name="T0" fmla="*/ 0 w 39"/>
                <a:gd name="T1" fmla="*/ 60325 h 31"/>
                <a:gd name="T2" fmla="*/ 4885 w 39"/>
                <a:gd name="T3" fmla="*/ 54487 h 31"/>
                <a:gd name="T4" fmla="*/ 8955 w 39"/>
                <a:gd name="T5" fmla="*/ 54487 h 31"/>
                <a:gd name="T6" fmla="*/ 10583 w 39"/>
                <a:gd name="T7" fmla="*/ 54487 h 31"/>
                <a:gd name="T8" fmla="*/ 12212 w 39"/>
                <a:gd name="T9" fmla="*/ 54487 h 31"/>
                <a:gd name="T10" fmla="*/ 14247 w 39"/>
                <a:gd name="T11" fmla="*/ 52541 h 31"/>
                <a:gd name="T12" fmla="*/ 15875 w 39"/>
                <a:gd name="T13" fmla="*/ 48649 h 31"/>
                <a:gd name="T14" fmla="*/ 15875 w 39"/>
                <a:gd name="T15" fmla="*/ 0 h 31"/>
                <a:gd name="T16" fmla="*/ 10583 w 39"/>
                <a:gd name="T17" fmla="*/ 0 h 31"/>
                <a:gd name="T18" fmla="*/ 6920 w 39"/>
                <a:gd name="T19" fmla="*/ 0 h 31"/>
                <a:gd name="T20" fmla="*/ 3256 w 39"/>
                <a:gd name="T21" fmla="*/ 0 h 31"/>
                <a:gd name="T22" fmla="*/ 0 w 39"/>
                <a:gd name="T23" fmla="*/ 0 h 31"/>
                <a:gd name="T24" fmla="*/ 0 w 39"/>
                <a:gd name="T25" fmla="*/ 60325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26" name="Freeform 382">
              <a:extLst>
                <a:ext uri="{FF2B5EF4-FFF2-40B4-BE49-F238E27FC236}">
                  <a16:creationId xmlns:a16="http://schemas.microsoft.com/office/drawing/2014/main" id="{DD069621-E6F6-4539-8C5D-F16DBF42A3A0}"/>
                </a:ext>
              </a:extLst>
            </p:cNvPr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5934076" y="4367213"/>
              <a:ext cx="396875" cy="398462"/>
            </a:xfrm>
            <a:custGeom>
              <a:avLst/>
              <a:gdLst>
                <a:gd name="T0" fmla="*/ 395117 w 903"/>
                <a:gd name="T1" fmla="*/ 152770 h 759"/>
                <a:gd name="T2" fmla="*/ 379295 w 903"/>
                <a:gd name="T3" fmla="*/ 203693 h 759"/>
                <a:gd name="T4" fmla="*/ 365670 w 903"/>
                <a:gd name="T5" fmla="*/ 217343 h 759"/>
                <a:gd name="T6" fmla="*/ 334465 w 903"/>
                <a:gd name="T7" fmla="*/ 266166 h 759"/>
                <a:gd name="T8" fmla="*/ 316445 w 903"/>
                <a:gd name="T9" fmla="*/ 294515 h 759"/>
                <a:gd name="T10" fmla="*/ 284361 w 903"/>
                <a:gd name="T11" fmla="*/ 321815 h 759"/>
                <a:gd name="T12" fmla="*/ 256233 w 903"/>
                <a:gd name="T13" fmla="*/ 349639 h 759"/>
                <a:gd name="T14" fmla="*/ 244806 w 903"/>
                <a:gd name="T15" fmla="*/ 366438 h 759"/>
                <a:gd name="T16" fmla="*/ 228544 w 903"/>
                <a:gd name="T17" fmla="*/ 370113 h 759"/>
                <a:gd name="T18" fmla="*/ 217996 w 903"/>
                <a:gd name="T19" fmla="*/ 372738 h 759"/>
                <a:gd name="T20" fmla="*/ 213161 w 903"/>
                <a:gd name="T21" fmla="*/ 381663 h 759"/>
                <a:gd name="T22" fmla="*/ 163497 w 903"/>
                <a:gd name="T23" fmla="*/ 381663 h 759"/>
                <a:gd name="T24" fmla="*/ 148993 w 903"/>
                <a:gd name="T25" fmla="*/ 384287 h 759"/>
                <a:gd name="T26" fmla="*/ 138884 w 903"/>
                <a:gd name="T27" fmla="*/ 384287 h 759"/>
                <a:gd name="T28" fmla="*/ 125699 w 903"/>
                <a:gd name="T29" fmla="*/ 381663 h 759"/>
                <a:gd name="T30" fmla="*/ 115590 w 903"/>
                <a:gd name="T31" fmla="*/ 386912 h 759"/>
                <a:gd name="T32" fmla="*/ 64168 w 903"/>
                <a:gd name="T33" fmla="*/ 398462 h 759"/>
                <a:gd name="T34" fmla="*/ 50983 w 903"/>
                <a:gd name="T35" fmla="*/ 395312 h 759"/>
                <a:gd name="T36" fmla="*/ 39556 w 903"/>
                <a:gd name="T37" fmla="*/ 387962 h 759"/>
                <a:gd name="T38" fmla="*/ 33403 w 903"/>
                <a:gd name="T39" fmla="*/ 377463 h 759"/>
                <a:gd name="T40" fmla="*/ 34721 w 903"/>
                <a:gd name="T41" fmla="*/ 365913 h 759"/>
                <a:gd name="T42" fmla="*/ 32963 w 903"/>
                <a:gd name="T43" fmla="*/ 329689 h 759"/>
                <a:gd name="T44" fmla="*/ 34721 w 903"/>
                <a:gd name="T45" fmla="*/ 319190 h 759"/>
                <a:gd name="T46" fmla="*/ 29886 w 903"/>
                <a:gd name="T47" fmla="*/ 300290 h 759"/>
                <a:gd name="T48" fmla="*/ 9669 w 903"/>
                <a:gd name="T49" fmla="*/ 270891 h 759"/>
                <a:gd name="T50" fmla="*/ 5274 w 903"/>
                <a:gd name="T51" fmla="*/ 254092 h 759"/>
                <a:gd name="T52" fmla="*/ 4395 w 903"/>
                <a:gd name="T53" fmla="*/ 230467 h 759"/>
                <a:gd name="T54" fmla="*/ 0 w 903"/>
                <a:gd name="T55" fmla="*/ 197919 h 759"/>
                <a:gd name="T56" fmla="*/ 17141 w 903"/>
                <a:gd name="T57" fmla="*/ 197919 h 759"/>
                <a:gd name="T58" fmla="*/ 25052 w 903"/>
                <a:gd name="T59" fmla="*/ 207893 h 759"/>
                <a:gd name="T60" fmla="*/ 41314 w 903"/>
                <a:gd name="T61" fmla="*/ 215243 h 759"/>
                <a:gd name="T62" fmla="*/ 59333 w 903"/>
                <a:gd name="T63" fmla="*/ 215768 h 759"/>
                <a:gd name="T64" fmla="*/ 70321 w 903"/>
                <a:gd name="T65" fmla="*/ 209993 h 759"/>
                <a:gd name="T66" fmla="*/ 79990 w 903"/>
                <a:gd name="T67" fmla="*/ 195294 h 759"/>
                <a:gd name="T68" fmla="*/ 86583 w 903"/>
                <a:gd name="T69" fmla="*/ 120221 h 759"/>
                <a:gd name="T70" fmla="*/ 89659 w 903"/>
                <a:gd name="T71" fmla="*/ 96597 h 759"/>
                <a:gd name="T72" fmla="*/ 92297 w 903"/>
                <a:gd name="T73" fmla="*/ 88197 h 759"/>
                <a:gd name="T74" fmla="*/ 105042 w 903"/>
                <a:gd name="T75" fmla="*/ 93447 h 759"/>
                <a:gd name="T76" fmla="*/ 107679 w 903"/>
                <a:gd name="T77" fmla="*/ 124946 h 759"/>
                <a:gd name="T78" fmla="*/ 108558 w 903"/>
                <a:gd name="T79" fmla="*/ 143845 h 759"/>
                <a:gd name="T80" fmla="*/ 112514 w 903"/>
                <a:gd name="T81" fmla="*/ 150670 h 759"/>
                <a:gd name="T82" fmla="*/ 126139 w 903"/>
                <a:gd name="T83" fmla="*/ 154870 h 759"/>
                <a:gd name="T84" fmla="*/ 137126 w 903"/>
                <a:gd name="T85" fmla="*/ 153820 h 759"/>
                <a:gd name="T86" fmla="*/ 146356 w 903"/>
                <a:gd name="T87" fmla="*/ 142795 h 759"/>
                <a:gd name="T88" fmla="*/ 153828 w 903"/>
                <a:gd name="T89" fmla="*/ 122846 h 759"/>
                <a:gd name="T90" fmla="*/ 161739 w 903"/>
                <a:gd name="T91" fmla="*/ 105522 h 759"/>
                <a:gd name="T92" fmla="*/ 170089 w 903"/>
                <a:gd name="T93" fmla="*/ 100272 h 759"/>
                <a:gd name="T94" fmla="*/ 181956 w 903"/>
                <a:gd name="T95" fmla="*/ 101322 h 759"/>
                <a:gd name="T96" fmla="*/ 198218 w 903"/>
                <a:gd name="T97" fmla="*/ 109196 h 759"/>
                <a:gd name="T98" fmla="*/ 210084 w 903"/>
                <a:gd name="T99" fmla="*/ 113396 h 759"/>
                <a:gd name="T100" fmla="*/ 225028 w 903"/>
                <a:gd name="T101" fmla="*/ 111821 h 759"/>
                <a:gd name="T102" fmla="*/ 233378 w 903"/>
                <a:gd name="T103" fmla="*/ 104997 h 759"/>
                <a:gd name="T104" fmla="*/ 247882 w 903"/>
                <a:gd name="T105" fmla="*/ 66673 h 759"/>
                <a:gd name="T106" fmla="*/ 272494 w 903"/>
                <a:gd name="T107" fmla="*/ 41999 h 759"/>
                <a:gd name="T108" fmla="*/ 321719 w 903"/>
                <a:gd name="T109" fmla="*/ 5775 h 759"/>
                <a:gd name="T110" fmla="*/ 354243 w 903"/>
                <a:gd name="T111" fmla="*/ 1575 h 759"/>
                <a:gd name="T112" fmla="*/ 364791 w 903"/>
                <a:gd name="T113" fmla="*/ 3150 h 759"/>
                <a:gd name="T114" fmla="*/ 375339 w 903"/>
                <a:gd name="T115" fmla="*/ 18374 h 759"/>
                <a:gd name="T116" fmla="*/ 383690 w 903"/>
                <a:gd name="T117" fmla="*/ 37274 h 759"/>
                <a:gd name="T118" fmla="*/ 388085 w 903"/>
                <a:gd name="T119" fmla="*/ 56173 h 759"/>
                <a:gd name="T120" fmla="*/ 381492 w 903"/>
                <a:gd name="T121" fmla="*/ 108671 h 759"/>
                <a:gd name="T122" fmla="*/ 364791 w 903"/>
                <a:gd name="T123" fmla="*/ 107097 h 759"/>
                <a:gd name="T124" fmla="*/ 363033 w 903"/>
                <a:gd name="T125" fmla="*/ 147520 h 75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27" name="Freeform 383">
              <a:extLst>
                <a:ext uri="{FF2B5EF4-FFF2-40B4-BE49-F238E27FC236}">
                  <a16:creationId xmlns:a16="http://schemas.microsoft.com/office/drawing/2014/main" id="{F07FD54F-B9CF-4040-B61B-704FC6082DFC}"/>
                </a:ext>
              </a:extLst>
            </p:cNvPr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6081713" y="2935289"/>
              <a:ext cx="411162" cy="611187"/>
            </a:xfrm>
            <a:custGeom>
              <a:avLst/>
              <a:gdLst>
                <a:gd name="T0" fmla="*/ 323523 w 943"/>
                <a:gd name="T1" fmla="*/ 2607 h 1172"/>
                <a:gd name="T2" fmla="*/ 333551 w 943"/>
                <a:gd name="T3" fmla="*/ 11994 h 1172"/>
                <a:gd name="T4" fmla="*/ 350120 w 943"/>
                <a:gd name="T5" fmla="*/ 15645 h 1172"/>
                <a:gd name="T6" fmla="*/ 354916 w 943"/>
                <a:gd name="T7" fmla="*/ 28682 h 1172"/>
                <a:gd name="T8" fmla="*/ 364072 w 943"/>
                <a:gd name="T9" fmla="*/ 56842 h 1172"/>
                <a:gd name="T10" fmla="*/ 364944 w 943"/>
                <a:gd name="T11" fmla="*/ 97519 h 1172"/>
                <a:gd name="T12" fmla="*/ 373665 w 943"/>
                <a:gd name="T13" fmla="*/ 126722 h 1172"/>
                <a:gd name="T14" fmla="*/ 402006 w 943"/>
                <a:gd name="T15" fmla="*/ 152275 h 1172"/>
                <a:gd name="T16" fmla="*/ 383257 w 943"/>
                <a:gd name="T17" fmla="*/ 188258 h 1172"/>
                <a:gd name="T18" fmla="*/ 371049 w 943"/>
                <a:gd name="T19" fmla="*/ 213811 h 1172"/>
                <a:gd name="T20" fmla="*/ 352736 w 943"/>
                <a:gd name="T21" fmla="*/ 331147 h 1172"/>
                <a:gd name="T22" fmla="*/ 335731 w 943"/>
                <a:gd name="T23" fmla="*/ 353049 h 1172"/>
                <a:gd name="T24" fmla="*/ 332679 w 943"/>
                <a:gd name="T25" fmla="*/ 375995 h 1172"/>
                <a:gd name="T26" fmla="*/ 324831 w 943"/>
                <a:gd name="T27" fmla="*/ 383296 h 1172"/>
                <a:gd name="T28" fmla="*/ 315239 w 943"/>
                <a:gd name="T29" fmla="*/ 416150 h 1172"/>
                <a:gd name="T30" fmla="*/ 301722 w 943"/>
                <a:gd name="T31" fmla="*/ 457347 h 1172"/>
                <a:gd name="T32" fmla="*/ 288642 w 943"/>
                <a:gd name="T33" fmla="*/ 470906 h 1172"/>
                <a:gd name="T34" fmla="*/ 289514 w 943"/>
                <a:gd name="T35" fmla="*/ 487072 h 1172"/>
                <a:gd name="T36" fmla="*/ 299106 w 943"/>
                <a:gd name="T37" fmla="*/ 489680 h 1172"/>
                <a:gd name="T38" fmla="*/ 309135 w 943"/>
                <a:gd name="T39" fmla="*/ 495416 h 1172"/>
                <a:gd name="T40" fmla="*/ 323523 w 943"/>
                <a:gd name="T41" fmla="*/ 506367 h 1172"/>
                <a:gd name="T42" fmla="*/ 329627 w 943"/>
                <a:gd name="T43" fmla="*/ 525141 h 1172"/>
                <a:gd name="T44" fmla="*/ 337912 w 943"/>
                <a:gd name="T45" fmla="*/ 543915 h 1172"/>
                <a:gd name="T46" fmla="*/ 350120 w 943"/>
                <a:gd name="T47" fmla="*/ 549130 h 1172"/>
                <a:gd name="T48" fmla="*/ 352736 w 943"/>
                <a:gd name="T49" fmla="*/ 570511 h 1172"/>
                <a:gd name="T50" fmla="*/ 313059 w 943"/>
                <a:gd name="T51" fmla="*/ 581462 h 1172"/>
                <a:gd name="T52" fmla="*/ 299542 w 943"/>
                <a:gd name="T53" fmla="*/ 603365 h 1172"/>
                <a:gd name="T54" fmla="*/ 260737 w 943"/>
                <a:gd name="T55" fmla="*/ 610144 h 1172"/>
                <a:gd name="T56" fmla="*/ 224548 w 943"/>
                <a:gd name="T57" fmla="*/ 603886 h 1172"/>
                <a:gd name="T58" fmla="*/ 202311 w 943"/>
                <a:gd name="T59" fmla="*/ 585634 h 1172"/>
                <a:gd name="T60" fmla="*/ 170046 w 943"/>
                <a:gd name="T61" fmla="*/ 586677 h 1172"/>
                <a:gd name="T62" fmla="*/ 139089 w 943"/>
                <a:gd name="T63" fmla="*/ 584069 h 1172"/>
                <a:gd name="T64" fmla="*/ 129496 w 943"/>
                <a:gd name="T65" fmla="*/ 575726 h 1172"/>
                <a:gd name="T66" fmla="*/ 128188 w 943"/>
                <a:gd name="T67" fmla="*/ 560602 h 1172"/>
                <a:gd name="T68" fmla="*/ 119468 w 943"/>
                <a:gd name="T69" fmla="*/ 536614 h 1172"/>
                <a:gd name="T70" fmla="*/ 94179 w 943"/>
                <a:gd name="T71" fmla="*/ 507932 h 1172"/>
                <a:gd name="T72" fmla="*/ 84151 w 943"/>
                <a:gd name="T73" fmla="*/ 482379 h 1172"/>
                <a:gd name="T74" fmla="*/ 66274 w 943"/>
                <a:gd name="T75" fmla="*/ 470906 h 1172"/>
                <a:gd name="T76" fmla="*/ 52322 w 943"/>
                <a:gd name="T77" fmla="*/ 441181 h 1172"/>
                <a:gd name="T78" fmla="*/ 42293 w 943"/>
                <a:gd name="T79" fmla="*/ 410935 h 1172"/>
                <a:gd name="T80" fmla="*/ 28341 w 943"/>
                <a:gd name="T81" fmla="*/ 395290 h 1172"/>
                <a:gd name="T82" fmla="*/ 14388 w 943"/>
                <a:gd name="T83" fmla="*/ 352528 h 1172"/>
                <a:gd name="T84" fmla="*/ 1744 w 943"/>
                <a:gd name="T85" fmla="*/ 318631 h 1172"/>
                <a:gd name="T86" fmla="*/ 7848 w 943"/>
                <a:gd name="T87" fmla="*/ 300900 h 1172"/>
                <a:gd name="T88" fmla="*/ 12644 w 943"/>
                <a:gd name="T89" fmla="*/ 271697 h 1172"/>
                <a:gd name="T90" fmla="*/ 27905 w 943"/>
                <a:gd name="T91" fmla="*/ 247187 h 1172"/>
                <a:gd name="T92" fmla="*/ 49270 w 943"/>
                <a:gd name="T93" fmla="*/ 115771 h 1172"/>
                <a:gd name="T94" fmla="*/ 53630 w 943"/>
                <a:gd name="T95" fmla="*/ 93347 h 1172"/>
                <a:gd name="T96" fmla="*/ 66710 w 943"/>
                <a:gd name="T97" fmla="*/ 89175 h 1172"/>
                <a:gd name="T98" fmla="*/ 69762 w 943"/>
                <a:gd name="T99" fmla="*/ 63622 h 1172"/>
                <a:gd name="T100" fmla="*/ 69326 w 943"/>
                <a:gd name="T101" fmla="*/ 34940 h 1172"/>
                <a:gd name="T102" fmla="*/ 296054 w 943"/>
                <a:gd name="T103" fmla="*/ 35983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828" name="Group 384">
              <a:extLst>
                <a:ext uri="{FF2B5EF4-FFF2-40B4-BE49-F238E27FC236}">
                  <a16:creationId xmlns:a16="http://schemas.microsoft.com/office/drawing/2014/main" id="{5BA515BB-8435-4F66-9996-6B0541A6C2D7}"/>
                </a:ext>
              </a:extLst>
            </p:cNvPr>
            <p:cNvGrpSpPr>
              <a:grpSpLocks/>
            </p:cNvGrpSpPr>
            <p:nvPr>
              <p:custDataLst>
                <p:tags r:id="rId273"/>
              </p:custDataLst>
            </p:nvPr>
          </p:nvGrpSpPr>
          <p:grpSpPr bwMode="auto">
            <a:xfrm>
              <a:off x="4865688" y="3136900"/>
              <a:ext cx="80962" cy="82550"/>
              <a:chOff x="2352" y="2343"/>
              <a:chExt cx="65" cy="53"/>
            </a:xfrm>
          </p:grpSpPr>
          <p:sp>
            <p:nvSpPr>
              <p:cNvPr id="989" name="Freeform 385">
                <a:extLst>
                  <a:ext uri="{FF2B5EF4-FFF2-40B4-BE49-F238E27FC236}">
                    <a16:creationId xmlns:a16="http://schemas.microsoft.com/office/drawing/2014/main" id="{C65EDD54-630C-4698-9CD1-5C2B5D6F88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14 w 51"/>
                  <a:gd name="T1" fmla="*/ 0 h 33"/>
                  <a:gd name="T2" fmla="*/ 0 w 51"/>
                  <a:gd name="T3" fmla="*/ 2 h 33"/>
                  <a:gd name="T4" fmla="*/ 1 w 51"/>
                  <a:gd name="T5" fmla="*/ 9 h 33"/>
                  <a:gd name="T6" fmla="*/ 3 w 51"/>
                  <a:gd name="T7" fmla="*/ 11 h 33"/>
                  <a:gd name="T8" fmla="*/ 11 w 51"/>
                  <a:gd name="T9" fmla="*/ 8 h 33"/>
                  <a:gd name="T10" fmla="*/ 15 w 51"/>
                  <a:gd name="T11" fmla="*/ 5 h 33"/>
                  <a:gd name="T12" fmla="*/ 16 w 51"/>
                  <a:gd name="T13" fmla="*/ 3 h 33"/>
                  <a:gd name="T14" fmla="*/ 14 w 51"/>
                  <a:gd name="T15" fmla="*/ 0 h 3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90" name="Freeform 386">
                <a:extLst>
                  <a:ext uri="{FF2B5EF4-FFF2-40B4-BE49-F238E27FC236}">
                    <a16:creationId xmlns:a16="http://schemas.microsoft.com/office/drawing/2014/main" id="{713E7FFE-EBA5-4649-B694-2564BAD2D4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20 w 61"/>
                  <a:gd name="T1" fmla="*/ 2 h 20"/>
                  <a:gd name="T2" fmla="*/ 17 w 61"/>
                  <a:gd name="T3" fmla="*/ 1 h 20"/>
                  <a:gd name="T4" fmla="*/ 0 w 61"/>
                  <a:gd name="T5" fmla="*/ 0 h 20"/>
                  <a:gd name="T6" fmla="*/ 1 w 61"/>
                  <a:gd name="T7" fmla="*/ 5 h 20"/>
                  <a:gd name="T8" fmla="*/ 2 w 61"/>
                  <a:gd name="T9" fmla="*/ 7 h 20"/>
                  <a:gd name="T10" fmla="*/ 6 w 61"/>
                  <a:gd name="T11" fmla="*/ 5 h 20"/>
                  <a:gd name="T12" fmla="*/ 20 w 61"/>
                  <a:gd name="T13" fmla="*/ 2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91" name="Freeform 387">
                <a:extLst>
                  <a:ext uri="{FF2B5EF4-FFF2-40B4-BE49-F238E27FC236}">
                    <a16:creationId xmlns:a16="http://schemas.microsoft.com/office/drawing/2014/main" id="{04CEE3B2-0AE8-42DC-B9AA-B191C8BCBE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1 w 15"/>
                  <a:gd name="T1" fmla="*/ 0 h 36"/>
                  <a:gd name="T2" fmla="*/ 0 w 15"/>
                  <a:gd name="T3" fmla="*/ 7 h 36"/>
                  <a:gd name="T4" fmla="*/ 0 w 15"/>
                  <a:gd name="T5" fmla="*/ 12 h 36"/>
                  <a:gd name="T6" fmla="*/ 4 w 15"/>
                  <a:gd name="T7" fmla="*/ 12 h 36"/>
                  <a:gd name="T8" fmla="*/ 5 w 15"/>
                  <a:gd name="T9" fmla="*/ 5 h 36"/>
                  <a:gd name="T10" fmla="*/ 1 w 15"/>
                  <a:gd name="T11" fmla="*/ 0 h 3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92" name="Freeform 388">
                <a:extLst>
                  <a:ext uri="{FF2B5EF4-FFF2-40B4-BE49-F238E27FC236}">
                    <a16:creationId xmlns:a16="http://schemas.microsoft.com/office/drawing/2014/main" id="{64899F82-EAEA-4A58-AF06-71DE886681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1 w 37"/>
                  <a:gd name="T1" fmla="*/ 1 h 33"/>
                  <a:gd name="T2" fmla="*/ 7 w 37"/>
                  <a:gd name="T3" fmla="*/ 0 h 33"/>
                  <a:gd name="T4" fmla="*/ 10 w 37"/>
                  <a:gd name="T5" fmla="*/ 2 h 33"/>
                  <a:gd name="T6" fmla="*/ 11 w 37"/>
                  <a:gd name="T7" fmla="*/ 7 h 33"/>
                  <a:gd name="T8" fmla="*/ 7 w 37"/>
                  <a:gd name="T9" fmla="*/ 11 h 33"/>
                  <a:gd name="T10" fmla="*/ 3 w 37"/>
                  <a:gd name="T11" fmla="*/ 11 h 33"/>
                  <a:gd name="T12" fmla="*/ 1 w 37"/>
                  <a:gd name="T13" fmla="*/ 8 h 33"/>
                  <a:gd name="T14" fmla="*/ 0 w 37"/>
                  <a:gd name="T15" fmla="*/ 5 h 33"/>
                  <a:gd name="T16" fmla="*/ 1 w 37"/>
                  <a:gd name="T17" fmla="*/ 1 h 3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93" name="Freeform 389">
                <a:extLst>
                  <a:ext uri="{FF2B5EF4-FFF2-40B4-BE49-F238E27FC236}">
                    <a16:creationId xmlns:a16="http://schemas.microsoft.com/office/drawing/2014/main" id="{4020BDB0-BE61-4A03-A509-A86F8B252B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1 w 49"/>
                  <a:gd name="T1" fmla="*/ 0 h 54"/>
                  <a:gd name="T2" fmla="*/ 0 w 49"/>
                  <a:gd name="T3" fmla="*/ 0 h 54"/>
                  <a:gd name="T4" fmla="*/ 1 w 49"/>
                  <a:gd name="T5" fmla="*/ 17 h 54"/>
                  <a:gd name="T6" fmla="*/ 6 w 49"/>
                  <a:gd name="T7" fmla="*/ 18 h 54"/>
                  <a:gd name="T8" fmla="*/ 14 w 49"/>
                  <a:gd name="T9" fmla="*/ 15 h 54"/>
                  <a:gd name="T10" fmla="*/ 16 w 49"/>
                  <a:gd name="T11" fmla="*/ 10 h 54"/>
                  <a:gd name="T12" fmla="*/ 13 w 49"/>
                  <a:gd name="T13" fmla="*/ 7 h 54"/>
                  <a:gd name="T14" fmla="*/ 6 w 49"/>
                  <a:gd name="T15" fmla="*/ 3 h 54"/>
                  <a:gd name="T16" fmla="*/ 1 w 49"/>
                  <a:gd name="T17" fmla="*/ 0 h 5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94" name="Freeform 390">
                <a:extLst>
                  <a:ext uri="{FF2B5EF4-FFF2-40B4-BE49-F238E27FC236}">
                    <a16:creationId xmlns:a16="http://schemas.microsoft.com/office/drawing/2014/main" id="{8A06688A-0F02-4142-A7F1-7767578A0E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6 w 26"/>
                  <a:gd name="T1" fmla="*/ 0 h 22"/>
                  <a:gd name="T2" fmla="*/ 1 w 26"/>
                  <a:gd name="T3" fmla="*/ 1 h 22"/>
                  <a:gd name="T4" fmla="*/ 0 w 26"/>
                  <a:gd name="T5" fmla="*/ 5 h 22"/>
                  <a:gd name="T6" fmla="*/ 2 w 26"/>
                  <a:gd name="T7" fmla="*/ 7 h 22"/>
                  <a:gd name="T8" fmla="*/ 7 w 26"/>
                  <a:gd name="T9" fmla="*/ 7 h 22"/>
                  <a:gd name="T10" fmla="*/ 9 w 26"/>
                  <a:gd name="T11" fmla="*/ 4 h 22"/>
                  <a:gd name="T12" fmla="*/ 6 w 26"/>
                  <a:gd name="T13" fmla="*/ 0 h 2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829" name="Group 391">
              <a:extLst>
                <a:ext uri="{FF2B5EF4-FFF2-40B4-BE49-F238E27FC236}">
                  <a16:creationId xmlns:a16="http://schemas.microsoft.com/office/drawing/2014/main" id="{FA819371-56E8-469D-B4AE-F2822031F08E}"/>
                </a:ext>
              </a:extLst>
            </p:cNvPr>
            <p:cNvGrpSpPr>
              <a:grpSpLocks/>
            </p:cNvGrpSpPr>
            <p:nvPr>
              <p:custDataLst>
                <p:tags r:id="rId274"/>
              </p:custDataLst>
            </p:nvPr>
          </p:nvGrpSpPr>
          <p:grpSpPr bwMode="auto">
            <a:xfrm>
              <a:off x="2711451" y="1196976"/>
              <a:ext cx="1897063" cy="1133475"/>
              <a:chOff x="527" y="1110"/>
              <a:chExt cx="1410" cy="709"/>
            </a:xfrm>
            <a:solidFill>
              <a:srgbClr val="0070C0"/>
            </a:solidFill>
          </p:grpSpPr>
          <p:sp>
            <p:nvSpPr>
              <p:cNvPr id="947" name="Freeform 392">
                <a:extLst>
                  <a:ext uri="{FF2B5EF4-FFF2-40B4-BE49-F238E27FC236}">
                    <a16:creationId xmlns:a16="http://schemas.microsoft.com/office/drawing/2014/main" id="{28FFA0A0-A629-4D6A-A959-65C232B694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13 h 54"/>
                  <a:gd name="T2" fmla="*/ 2 w 98"/>
                  <a:gd name="T3" fmla="*/ 14 h 54"/>
                  <a:gd name="T4" fmla="*/ 4 w 98"/>
                  <a:gd name="T5" fmla="*/ 16 h 54"/>
                  <a:gd name="T6" fmla="*/ 7 w 98"/>
                  <a:gd name="T7" fmla="*/ 17 h 54"/>
                  <a:gd name="T8" fmla="*/ 10 w 98"/>
                  <a:gd name="T9" fmla="*/ 17 h 54"/>
                  <a:gd name="T10" fmla="*/ 12 w 98"/>
                  <a:gd name="T11" fmla="*/ 17 h 54"/>
                  <a:gd name="T12" fmla="*/ 14 w 98"/>
                  <a:gd name="T13" fmla="*/ 17 h 54"/>
                  <a:gd name="T14" fmla="*/ 16 w 98"/>
                  <a:gd name="T15" fmla="*/ 16 h 54"/>
                  <a:gd name="T16" fmla="*/ 18 w 98"/>
                  <a:gd name="T17" fmla="*/ 15 h 54"/>
                  <a:gd name="T18" fmla="*/ 21 w 98"/>
                  <a:gd name="T19" fmla="*/ 13 h 54"/>
                  <a:gd name="T20" fmla="*/ 24 w 98"/>
                  <a:gd name="T21" fmla="*/ 11 h 54"/>
                  <a:gd name="T22" fmla="*/ 27 w 98"/>
                  <a:gd name="T23" fmla="*/ 9 h 54"/>
                  <a:gd name="T24" fmla="*/ 29 w 98"/>
                  <a:gd name="T25" fmla="*/ 6 h 54"/>
                  <a:gd name="T26" fmla="*/ 30 w 98"/>
                  <a:gd name="T27" fmla="*/ 4 h 54"/>
                  <a:gd name="T28" fmla="*/ 31 w 98"/>
                  <a:gd name="T29" fmla="*/ 1 h 54"/>
                  <a:gd name="T30" fmla="*/ 29 w 98"/>
                  <a:gd name="T31" fmla="*/ 1 h 54"/>
                  <a:gd name="T32" fmla="*/ 26 w 98"/>
                  <a:gd name="T33" fmla="*/ 0 h 54"/>
                  <a:gd name="T34" fmla="*/ 24 w 98"/>
                  <a:gd name="T35" fmla="*/ 0 h 54"/>
                  <a:gd name="T36" fmla="*/ 22 w 98"/>
                  <a:gd name="T37" fmla="*/ 0 h 54"/>
                  <a:gd name="T38" fmla="*/ 19 w 98"/>
                  <a:gd name="T39" fmla="*/ 0 h 54"/>
                  <a:gd name="T40" fmla="*/ 16 w 98"/>
                  <a:gd name="T41" fmla="*/ 1 h 54"/>
                  <a:gd name="T42" fmla="*/ 14 w 98"/>
                  <a:gd name="T43" fmla="*/ 2 h 54"/>
                  <a:gd name="T44" fmla="*/ 12 w 98"/>
                  <a:gd name="T45" fmla="*/ 3 h 54"/>
                  <a:gd name="T46" fmla="*/ 7 w 98"/>
                  <a:gd name="T47" fmla="*/ 5 h 54"/>
                  <a:gd name="T48" fmla="*/ 4 w 98"/>
                  <a:gd name="T49" fmla="*/ 8 h 54"/>
                  <a:gd name="T50" fmla="*/ 2 w 98"/>
                  <a:gd name="T51" fmla="*/ 9 h 54"/>
                  <a:gd name="T52" fmla="*/ 1 w 98"/>
                  <a:gd name="T53" fmla="*/ 10 h 54"/>
                  <a:gd name="T54" fmla="*/ 0 w 98"/>
                  <a:gd name="T55" fmla="*/ 12 h 54"/>
                  <a:gd name="T56" fmla="*/ 0 w 98"/>
                  <a:gd name="T57" fmla="*/ 13 h 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48" name="Freeform 393">
                <a:extLst>
                  <a:ext uri="{FF2B5EF4-FFF2-40B4-BE49-F238E27FC236}">
                    <a16:creationId xmlns:a16="http://schemas.microsoft.com/office/drawing/2014/main" id="{2F1F7BCE-0801-4E7F-94F5-2053C8A419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8 h 28"/>
                  <a:gd name="T2" fmla="*/ 3 w 67"/>
                  <a:gd name="T3" fmla="*/ 8 h 28"/>
                  <a:gd name="T4" fmla="*/ 7 w 67"/>
                  <a:gd name="T5" fmla="*/ 8 h 28"/>
                  <a:gd name="T6" fmla="*/ 10 w 67"/>
                  <a:gd name="T7" fmla="*/ 7 h 28"/>
                  <a:gd name="T8" fmla="*/ 13 w 67"/>
                  <a:gd name="T9" fmla="*/ 6 h 28"/>
                  <a:gd name="T10" fmla="*/ 15 w 67"/>
                  <a:gd name="T11" fmla="*/ 5 h 28"/>
                  <a:gd name="T12" fmla="*/ 18 w 67"/>
                  <a:gd name="T13" fmla="*/ 3 h 28"/>
                  <a:gd name="T14" fmla="*/ 20 w 67"/>
                  <a:gd name="T15" fmla="*/ 2 h 28"/>
                  <a:gd name="T16" fmla="*/ 21 w 67"/>
                  <a:gd name="T17" fmla="*/ 1 h 28"/>
                  <a:gd name="T18" fmla="*/ 18 w 67"/>
                  <a:gd name="T19" fmla="*/ 0 h 28"/>
                  <a:gd name="T20" fmla="*/ 14 w 67"/>
                  <a:gd name="T21" fmla="*/ 0 h 28"/>
                  <a:gd name="T22" fmla="*/ 11 w 67"/>
                  <a:gd name="T23" fmla="*/ 0 h 28"/>
                  <a:gd name="T24" fmla="*/ 8 w 67"/>
                  <a:gd name="T25" fmla="*/ 1 h 28"/>
                  <a:gd name="T26" fmla="*/ 5 w 67"/>
                  <a:gd name="T27" fmla="*/ 2 h 28"/>
                  <a:gd name="T28" fmla="*/ 3 w 67"/>
                  <a:gd name="T29" fmla="*/ 3 h 28"/>
                  <a:gd name="T30" fmla="*/ 2 w 67"/>
                  <a:gd name="T31" fmla="*/ 4 h 28"/>
                  <a:gd name="T32" fmla="*/ 1 w 67"/>
                  <a:gd name="T33" fmla="*/ 5 h 28"/>
                  <a:gd name="T34" fmla="*/ 1 w 67"/>
                  <a:gd name="T35" fmla="*/ 6 h 28"/>
                  <a:gd name="T36" fmla="*/ 0 w 67"/>
                  <a:gd name="T37" fmla="*/ 8 h 2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49" name="Freeform 394">
                <a:extLst>
                  <a:ext uri="{FF2B5EF4-FFF2-40B4-BE49-F238E27FC236}">
                    <a16:creationId xmlns:a16="http://schemas.microsoft.com/office/drawing/2014/main" id="{EA2B896D-AAC4-40F5-89BC-ED4EA0CD5C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6 h 36"/>
                  <a:gd name="T2" fmla="*/ 0 w 32"/>
                  <a:gd name="T3" fmla="*/ 7 h 36"/>
                  <a:gd name="T4" fmla="*/ 1 w 32"/>
                  <a:gd name="T5" fmla="*/ 9 h 36"/>
                  <a:gd name="T6" fmla="*/ 2 w 32"/>
                  <a:gd name="T7" fmla="*/ 10 h 36"/>
                  <a:gd name="T8" fmla="*/ 3 w 32"/>
                  <a:gd name="T9" fmla="*/ 10 h 36"/>
                  <a:gd name="T10" fmla="*/ 4 w 32"/>
                  <a:gd name="T11" fmla="*/ 11 h 36"/>
                  <a:gd name="T12" fmla="*/ 4 w 32"/>
                  <a:gd name="T13" fmla="*/ 11 h 36"/>
                  <a:gd name="T14" fmla="*/ 11 w 32"/>
                  <a:gd name="T15" fmla="*/ 11 h 36"/>
                  <a:gd name="T16" fmla="*/ 11 w 32"/>
                  <a:gd name="T17" fmla="*/ 7 h 36"/>
                  <a:gd name="T18" fmla="*/ 11 w 32"/>
                  <a:gd name="T19" fmla="*/ 4 h 36"/>
                  <a:gd name="T20" fmla="*/ 10 w 32"/>
                  <a:gd name="T21" fmla="*/ 2 h 36"/>
                  <a:gd name="T22" fmla="*/ 9 w 32"/>
                  <a:gd name="T23" fmla="*/ 0 h 36"/>
                  <a:gd name="T24" fmla="*/ 7 w 32"/>
                  <a:gd name="T25" fmla="*/ 1 h 36"/>
                  <a:gd name="T26" fmla="*/ 4 w 32"/>
                  <a:gd name="T27" fmla="*/ 2 h 36"/>
                  <a:gd name="T28" fmla="*/ 2 w 32"/>
                  <a:gd name="T29" fmla="*/ 3 h 36"/>
                  <a:gd name="T30" fmla="*/ 1 w 32"/>
                  <a:gd name="T31" fmla="*/ 4 h 36"/>
                  <a:gd name="T32" fmla="*/ 0 w 32"/>
                  <a:gd name="T33" fmla="*/ 5 h 36"/>
                  <a:gd name="T34" fmla="*/ 0 w 32"/>
                  <a:gd name="T35" fmla="*/ 6 h 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50" name="Freeform 395">
                <a:extLst>
                  <a:ext uri="{FF2B5EF4-FFF2-40B4-BE49-F238E27FC236}">
                    <a16:creationId xmlns:a16="http://schemas.microsoft.com/office/drawing/2014/main" id="{4E3FBDFA-A231-4F9B-969F-1C385F7A54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14 h 52"/>
                  <a:gd name="T2" fmla="*/ 3 w 146"/>
                  <a:gd name="T3" fmla="*/ 15 h 52"/>
                  <a:gd name="T4" fmla="*/ 7 w 146"/>
                  <a:gd name="T5" fmla="*/ 16 h 52"/>
                  <a:gd name="T6" fmla="*/ 10 w 146"/>
                  <a:gd name="T7" fmla="*/ 17 h 52"/>
                  <a:gd name="T8" fmla="*/ 14 w 146"/>
                  <a:gd name="T9" fmla="*/ 17 h 52"/>
                  <a:gd name="T10" fmla="*/ 20 w 146"/>
                  <a:gd name="T11" fmla="*/ 17 h 52"/>
                  <a:gd name="T12" fmla="*/ 26 w 146"/>
                  <a:gd name="T13" fmla="*/ 17 h 52"/>
                  <a:gd name="T14" fmla="*/ 37 w 146"/>
                  <a:gd name="T15" fmla="*/ 15 h 52"/>
                  <a:gd name="T16" fmla="*/ 46 w 146"/>
                  <a:gd name="T17" fmla="*/ 14 h 52"/>
                  <a:gd name="T18" fmla="*/ 45 w 146"/>
                  <a:gd name="T19" fmla="*/ 12 h 52"/>
                  <a:gd name="T20" fmla="*/ 45 w 146"/>
                  <a:gd name="T21" fmla="*/ 10 h 52"/>
                  <a:gd name="T22" fmla="*/ 44 w 146"/>
                  <a:gd name="T23" fmla="*/ 8 h 52"/>
                  <a:gd name="T24" fmla="*/ 43 w 146"/>
                  <a:gd name="T25" fmla="*/ 6 h 52"/>
                  <a:gd name="T26" fmla="*/ 42 w 146"/>
                  <a:gd name="T27" fmla="*/ 5 h 52"/>
                  <a:gd name="T28" fmla="*/ 41 w 146"/>
                  <a:gd name="T29" fmla="*/ 4 h 52"/>
                  <a:gd name="T30" fmla="*/ 39 w 146"/>
                  <a:gd name="T31" fmla="*/ 3 h 52"/>
                  <a:gd name="T32" fmla="*/ 38 w 146"/>
                  <a:gd name="T33" fmla="*/ 2 h 52"/>
                  <a:gd name="T34" fmla="*/ 35 w 146"/>
                  <a:gd name="T35" fmla="*/ 1 h 52"/>
                  <a:gd name="T36" fmla="*/ 32 w 146"/>
                  <a:gd name="T37" fmla="*/ 0 h 52"/>
                  <a:gd name="T38" fmla="*/ 28 w 146"/>
                  <a:gd name="T39" fmla="*/ 0 h 52"/>
                  <a:gd name="T40" fmla="*/ 25 w 146"/>
                  <a:gd name="T41" fmla="*/ 1 h 52"/>
                  <a:gd name="T42" fmla="*/ 21 w 146"/>
                  <a:gd name="T43" fmla="*/ 2 h 52"/>
                  <a:gd name="T44" fmla="*/ 17 w 146"/>
                  <a:gd name="T45" fmla="*/ 3 h 52"/>
                  <a:gd name="T46" fmla="*/ 14 w 146"/>
                  <a:gd name="T47" fmla="*/ 5 h 52"/>
                  <a:gd name="T48" fmla="*/ 10 w 146"/>
                  <a:gd name="T49" fmla="*/ 6 h 52"/>
                  <a:gd name="T50" fmla="*/ 7 w 146"/>
                  <a:gd name="T51" fmla="*/ 8 h 52"/>
                  <a:gd name="T52" fmla="*/ 4 w 146"/>
                  <a:gd name="T53" fmla="*/ 10 h 52"/>
                  <a:gd name="T54" fmla="*/ 2 w 146"/>
                  <a:gd name="T55" fmla="*/ 12 h 52"/>
                  <a:gd name="T56" fmla="*/ 0 w 146"/>
                  <a:gd name="T57" fmla="*/ 14 h 5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51" name="Freeform 396">
                <a:extLst>
                  <a:ext uri="{FF2B5EF4-FFF2-40B4-BE49-F238E27FC236}">
                    <a16:creationId xmlns:a16="http://schemas.microsoft.com/office/drawing/2014/main" id="{9841DAB3-A403-4DBC-98B8-3AA47BD9F0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20 w 60"/>
                  <a:gd name="T1" fmla="*/ 0 h 31"/>
                  <a:gd name="T2" fmla="*/ 16 w 60"/>
                  <a:gd name="T3" fmla="*/ 0 h 31"/>
                  <a:gd name="T4" fmla="*/ 13 w 60"/>
                  <a:gd name="T5" fmla="*/ 0 h 31"/>
                  <a:gd name="T6" fmla="*/ 10 w 60"/>
                  <a:gd name="T7" fmla="*/ 0 h 31"/>
                  <a:gd name="T8" fmla="*/ 9 w 60"/>
                  <a:gd name="T9" fmla="*/ 0 h 31"/>
                  <a:gd name="T10" fmla="*/ 6 w 60"/>
                  <a:gd name="T11" fmla="*/ 0 h 31"/>
                  <a:gd name="T12" fmla="*/ 3 w 60"/>
                  <a:gd name="T13" fmla="*/ 1 h 31"/>
                  <a:gd name="T14" fmla="*/ 2 w 60"/>
                  <a:gd name="T15" fmla="*/ 1 h 31"/>
                  <a:gd name="T16" fmla="*/ 1 w 60"/>
                  <a:gd name="T17" fmla="*/ 2 h 31"/>
                  <a:gd name="T18" fmla="*/ 0 w 60"/>
                  <a:gd name="T19" fmla="*/ 3 h 31"/>
                  <a:gd name="T20" fmla="*/ 0 w 60"/>
                  <a:gd name="T21" fmla="*/ 4 h 31"/>
                  <a:gd name="T22" fmla="*/ 0 w 60"/>
                  <a:gd name="T23" fmla="*/ 5 h 31"/>
                  <a:gd name="T24" fmla="*/ 1 w 60"/>
                  <a:gd name="T25" fmla="*/ 6 h 31"/>
                  <a:gd name="T26" fmla="*/ 2 w 60"/>
                  <a:gd name="T27" fmla="*/ 7 h 31"/>
                  <a:gd name="T28" fmla="*/ 3 w 60"/>
                  <a:gd name="T29" fmla="*/ 8 h 31"/>
                  <a:gd name="T30" fmla="*/ 4 w 60"/>
                  <a:gd name="T31" fmla="*/ 9 h 31"/>
                  <a:gd name="T32" fmla="*/ 6 w 60"/>
                  <a:gd name="T33" fmla="*/ 9 h 31"/>
                  <a:gd name="T34" fmla="*/ 7 w 60"/>
                  <a:gd name="T35" fmla="*/ 10 h 31"/>
                  <a:gd name="T36" fmla="*/ 9 w 60"/>
                  <a:gd name="T37" fmla="*/ 10 h 31"/>
                  <a:gd name="T38" fmla="*/ 11 w 60"/>
                  <a:gd name="T39" fmla="*/ 10 h 31"/>
                  <a:gd name="T40" fmla="*/ 12 w 60"/>
                  <a:gd name="T41" fmla="*/ 9 h 31"/>
                  <a:gd name="T42" fmla="*/ 14 w 60"/>
                  <a:gd name="T43" fmla="*/ 8 h 31"/>
                  <a:gd name="T44" fmla="*/ 16 w 60"/>
                  <a:gd name="T45" fmla="*/ 6 h 31"/>
                  <a:gd name="T46" fmla="*/ 19 w 60"/>
                  <a:gd name="T47" fmla="*/ 3 h 31"/>
                  <a:gd name="T48" fmla="*/ 20 w 60"/>
                  <a:gd name="T49" fmla="*/ 2 h 31"/>
                  <a:gd name="T50" fmla="*/ 20 w 60"/>
                  <a:gd name="T51" fmla="*/ 0 h 3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52" name="Freeform 397">
                <a:extLst>
                  <a:ext uri="{FF2B5EF4-FFF2-40B4-BE49-F238E27FC236}">
                    <a16:creationId xmlns:a16="http://schemas.microsoft.com/office/drawing/2014/main" id="{8276F7F1-E5E8-4974-9E84-9455926C76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14 h 62"/>
                  <a:gd name="T2" fmla="*/ 0 w 80"/>
                  <a:gd name="T3" fmla="*/ 15 h 62"/>
                  <a:gd name="T4" fmla="*/ 0 w 80"/>
                  <a:gd name="T5" fmla="*/ 16 h 62"/>
                  <a:gd name="T6" fmla="*/ 1 w 80"/>
                  <a:gd name="T7" fmla="*/ 16 h 62"/>
                  <a:gd name="T8" fmla="*/ 1 w 80"/>
                  <a:gd name="T9" fmla="*/ 17 h 62"/>
                  <a:gd name="T10" fmla="*/ 3 w 80"/>
                  <a:gd name="T11" fmla="*/ 18 h 62"/>
                  <a:gd name="T12" fmla="*/ 5 w 80"/>
                  <a:gd name="T13" fmla="*/ 19 h 62"/>
                  <a:gd name="T14" fmla="*/ 9 w 80"/>
                  <a:gd name="T15" fmla="*/ 20 h 62"/>
                  <a:gd name="T16" fmla="*/ 13 w 80"/>
                  <a:gd name="T17" fmla="*/ 20 h 62"/>
                  <a:gd name="T18" fmla="*/ 15 w 80"/>
                  <a:gd name="T19" fmla="*/ 20 h 62"/>
                  <a:gd name="T20" fmla="*/ 16 w 80"/>
                  <a:gd name="T21" fmla="*/ 19 h 62"/>
                  <a:gd name="T22" fmla="*/ 18 w 80"/>
                  <a:gd name="T23" fmla="*/ 18 h 62"/>
                  <a:gd name="T24" fmla="*/ 19 w 80"/>
                  <a:gd name="T25" fmla="*/ 17 h 62"/>
                  <a:gd name="T26" fmla="*/ 21 w 80"/>
                  <a:gd name="T27" fmla="*/ 15 h 62"/>
                  <a:gd name="T28" fmla="*/ 23 w 80"/>
                  <a:gd name="T29" fmla="*/ 12 h 62"/>
                  <a:gd name="T30" fmla="*/ 24 w 80"/>
                  <a:gd name="T31" fmla="*/ 9 h 62"/>
                  <a:gd name="T32" fmla="*/ 25 w 80"/>
                  <a:gd name="T33" fmla="*/ 6 h 62"/>
                  <a:gd name="T34" fmla="*/ 26 w 80"/>
                  <a:gd name="T35" fmla="*/ 3 h 62"/>
                  <a:gd name="T36" fmla="*/ 26 w 80"/>
                  <a:gd name="T37" fmla="*/ 0 h 62"/>
                  <a:gd name="T38" fmla="*/ 23 w 80"/>
                  <a:gd name="T39" fmla="*/ 0 h 62"/>
                  <a:gd name="T40" fmla="*/ 19 w 80"/>
                  <a:gd name="T41" fmla="*/ 1 h 62"/>
                  <a:gd name="T42" fmla="*/ 15 w 80"/>
                  <a:gd name="T43" fmla="*/ 3 h 62"/>
                  <a:gd name="T44" fmla="*/ 11 w 80"/>
                  <a:gd name="T45" fmla="*/ 4 h 62"/>
                  <a:gd name="T46" fmla="*/ 7 w 80"/>
                  <a:gd name="T47" fmla="*/ 6 h 62"/>
                  <a:gd name="T48" fmla="*/ 3 w 80"/>
                  <a:gd name="T49" fmla="*/ 8 h 62"/>
                  <a:gd name="T50" fmla="*/ 2 w 80"/>
                  <a:gd name="T51" fmla="*/ 10 h 62"/>
                  <a:gd name="T52" fmla="*/ 1 w 80"/>
                  <a:gd name="T53" fmla="*/ 11 h 62"/>
                  <a:gd name="T54" fmla="*/ 0 w 80"/>
                  <a:gd name="T55" fmla="*/ 13 h 62"/>
                  <a:gd name="T56" fmla="*/ 0 w 80"/>
                  <a:gd name="T57" fmla="*/ 14 h 6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53" name="Freeform 398">
                <a:extLst>
                  <a:ext uri="{FF2B5EF4-FFF2-40B4-BE49-F238E27FC236}">
                    <a16:creationId xmlns:a16="http://schemas.microsoft.com/office/drawing/2014/main" id="{85F305C3-862A-4DC5-B181-86EFB9978D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25 w 106"/>
                  <a:gd name="T1" fmla="*/ 4 h 49"/>
                  <a:gd name="T2" fmla="*/ 22 w 106"/>
                  <a:gd name="T3" fmla="*/ 4 h 49"/>
                  <a:gd name="T4" fmla="*/ 21 w 106"/>
                  <a:gd name="T5" fmla="*/ 4 h 49"/>
                  <a:gd name="T6" fmla="*/ 18 w 106"/>
                  <a:gd name="T7" fmla="*/ 3 h 49"/>
                  <a:gd name="T8" fmla="*/ 17 w 106"/>
                  <a:gd name="T9" fmla="*/ 2 h 49"/>
                  <a:gd name="T10" fmla="*/ 15 w 106"/>
                  <a:gd name="T11" fmla="*/ 1 h 49"/>
                  <a:gd name="T12" fmla="*/ 13 w 106"/>
                  <a:gd name="T13" fmla="*/ 1 h 49"/>
                  <a:gd name="T14" fmla="*/ 11 w 106"/>
                  <a:gd name="T15" fmla="*/ 0 h 49"/>
                  <a:gd name="T16" fmla="*/ 8 w 106"/>
                  <a:gd name="T17" fmla="*/ 0 h 49"/>
                  <a:gd name="T18" fmla="*/ 5 w 106"/>
                  <a:gd name="T19" fmla="*/ 0 h 49"/>
                  <a:gd name="T20" fmla="*/ 0 w 106"/>
                  <a:gd name="T21" fmla="*/ 0 h 49"/>
                  <a:gd name="T22" fmla="*/ 3 w 106"/>
                  <a:gd name="T23" fmla="*/ 4 h 49"/>
                  <a:gd name="T24" fmla="*/ 5 w 106"/>
                  <a:gd name="T25" fmla="*/ 7 h 49"/>
                  <a:gd name="T26" fmla="*/ 8 w 106"/>
                  <a:gd name="T27" fmla="*/ 9 h 49"/>
                  <a:gd name="T28" fmla="*/ 11 w 106"/>
                  <a:gd name="T29" fmla="*/ 12 h 49"/>
                  <a:gd name="T30" fmla="*/ 13 w 106"/>
                  <a:gd name="T31" fmla="*/ 14 h 49"/>
                  <a:gd name="T32" fmla="*/ 16 w 106"/>
                  <a:gd name="T33" fmla="*/ 15 h 49"/>
                  <a:gd name="T34" fmla="*/ 19 w 106"/>
                  <a:gd name="T35" fmla="*/ 16 h 49"/>
                  <a:gd name="T36" fmla="*/ 22 w 106"/>
                  <a:gd name="T37" fmla="*/ 16 h 49"/>
                  <a:gd name="T38" fmla="*/ 25 w 106"/>
                  <a:gd name="T39" fmla="*/ 16 h 49"/>
                  <a:gd name="T40" fmla="*/ 27 w 106"/>
                  <a:gd name="T41" fmla="*/ 15 h 49"/>
                  <a:gd name="T42" fmla="*/ 30 w 106"/>
                  <a:gd name="T43" fmla="*/ 13 h 49"/>
                  <a:gd name="T44" fmla="*/ 33 w 106"/>
                  <a:gd name="T45" fmla="*/ 10 h 49"/>
                  <a:gd name="T46" fmla="*/ 31 w 106"/>
                  <a:gd name="T47" fmla="*/ 10 h 49"/>
                  <a:gd name="T48" fmla="*/ 31 w 106"/>
                  <a:gd name="T49" fmla="*/ 9 h 49"/>
                  <a:gd name="T50" fmla="*/ 29 w 106"/>
                  <a:gd name="T51" fmla="*/ 8 h 49"/>
                  <a:gd name="T52" fmla="*/ 28 w 106"/>
                  <a:gd name="T53" fmla="*/ 7 h 49"/>
                  <a:gd name="T54" fmla="*/ 27 w 106"/>
                  <a:gd name="T55" fmla="*/ 6 h 49"/>
                  <a:gd name="T56" fmla="*/ 26 w 106"/>
                  <a:gd name="T57" fmla="*/ 5 h 49"/>
                  <a:gd name="T58" fmla="*/ 26 w 106"/>
                  <a:gd name="T59" fmla="*/ 5 h 49"/>
                  <a:gd name="T60" fmla="*/ 25 w 106"/>
                  <a:gd name="T61" fmla="*/ 4 h 49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54" name="Freeform 399">
                <a:extLst>
                  <a:ext uri="{FF2B5EF4-FFF2-40B4-BE49-F238E27FC236}">
                    <a16:creationId xmlns:a16="http://schemas.microsoft.com/office/drawing/2014/main" id="{CB456B8F-C310-4716-8E62-E971D9FDAB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6 h 22"/>
                  <a:gd name="T2" fmla="*/ 2 w 47"/>
                  <a:gd name="T3" fmla="*/ 7 h 22"/>
                  <a:gd name="T4" fmla="*/ 4 w 47"/>
                  <a:gd name="T5" fmla="*/ 7 h 22"/>
                  <a:gd name="T6" fmla="*/ 6 w 47"/>
                  <a:gd name="T7" fmla="*/ 7 h 22"/>
                  <a:gd name="T8" fmla="*/ 8 w 47"/>
                  <a:gd name="T9" fmla="*/ 7 h 22"/>
                  <a:gd name="T10" fmla="*/ 11 w 47"/>
                  <a:gd name="T11" fmla="*/ 6 h 22"/>
                  <a:gd name="T12" fmla="*/ 12 w 47"/>
                  <a:gd name="T13" fmla="*/ 5 h 22"/>
                  <a:gd name="T14" fmla="*/ 13 w 47"/>
                  <a:gd name="T15" fmla="*/ 4 h 22"/>
                  <a:gd name="T16" fmla="*/ 14 w 47"/>
                  <a:gd name="T17" fmla="*/ 3 h 22"/>
                  <a:gd name="T18" fmla="*/ 14 w 47"/>
                  <a:gd name="T19" fmla="*/ 2 h 22"/>
                  <a:gd name="T20" fmla="*/ 15 w 47"/>
                  <a:gd name="T21" fmla="*/ 0 h 22"/>
                  <a:gd name="T22" fmla="*/ 0 w 47"/>
                  <a:gd name="T23" fmla="*/ 6 h 2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55" name="Freeform 400">
                <a:extLst>
                  <a:ext uri="{FF2B5EF4-FFF2-40B4-BE49-F238E27FC236}">
                    <a16:creationId xmlns:a16="http://schemas.microsoft.com/office/drawing/2014/main" id="{19048E89-A770-4B9E-81CF-A2E740BD01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17 w 53"/>
                  <a:gd name="T1" fmla="*/ 0 h 32"/>
                  <a:gd name="T2" fmla="*/ 12 w 53"/>
                  <a:gd name="T3" fmla="*/ 3 h 32"/>
                  <a:gd name="T4" fmla="*/ 7 w 53"/>
                  <a:gd name="T5" fmla="*/ 6 h 32"/>
                  <a:gd name="T6" fmla="*/ 4 w 53"/>
                  <a:gd name="T7" fmla="*/ 9 h 32"/>
                  <a:gd name="T8" fmla="*/ 0 w 53"/>
                  <a:gd name="T9" fmla="*/ 11 h 32"/>
                  <a:gd name="T10" fmla="*/ 4 w 53"/>
                  <a:gd name="T11" fmla="*/ 11 h 32"/>
                  <a:gd name="T12" fmla="*/ 8 w 53"/>
                  <a:gd name="T13" fmla="*/ 11 h 32"/>
                  <a:gd name="T14" fmla="*/ 13 w 53"/>
                  <a:gd name="T15" fmla="*/ 11 h 32"/>
                  <a:gd name="T16" fmla="*/ 17 w 53"/>
                  <a:gd name="T17" fmla="*/ 11 h 32"/>
                  <a:gd name="T18" fmla="*/ 17 w 53"/>
                  <a:gd name="T19" fmla="*/ 8 h 32"/>
                  <a:gd name="T20" fmla="*/ 17 w 53"/>
                  <a:gd name="T21" fmla="*/ 6 h 32"/>
                  <a:gd name="T22" fmla="*/ 17 w 53"/>
                  <a:gd name="T23" fmla="*/ 3 h 32"/>
                  <a:gd name="T24" fmla="*/ 17 w 53"/>
                  <a:gd name="T25" fmla="*/ 0 h 3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56" name="Freeform 401">
                <a:extLst>
                  <a:ext uri="{FF2B5EF4-FFF2-40B4-BE49-F238E27FC236}">
                    <a16:creationId xmlns:a16="http://schemas.microsoft.com/office/drawing/2014/main" id="{0751309C-0A90-4F1E-99AC-D9E2A28767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8 w 46"/>
                  <a:gd name="T1" fmla="*/ 1 h 34"/>
                  <a:gd name="T2" fmla="*/ 0 w 46"/>
                  <a:gd name="T3" fmla="*/ 6 h 34"/>
                  <a:gd name="T4" fmla="*/ 0 w 46"/>
                  <a:gd name="T5" fmla="*/ 12 h 34"/>
                  <a:gd name="T6" fmla="*/ 8 w 46"/>
                  <a:gd name="T7" fmla="*/ 12 h 34"/>
                  <a:gd name="T8" fmla="*/ 9 w 46"/>
                  <a:gd name="T9" fmla="*/ 11 h 34"/>
                  <a:gd name="T10" fmla="*/ 11 w 46"/>
                  <a:gd name="T11" fmla="*/ 10 h 34"/>
                  <a:gd name="T12" fmla="*/ 12 w 46"/>
                  <a:gd name="T13" fmla="*/ 9 h 34"/>
                  <a:gd name="T14" fmla="*/ 13 w 46"/>
                  <a:gd name="T15" fmla="*/ 7 h 34"/>
                  <a:gd name="T16" fmla="*/ 13 w 46"/>
                  <a:gd name="T17" fmla="*/ 6 h 34"/>
                  <a:gd name="T18" fmla="*/ 14 w 46"/>
                  <a:gd name="T19" fmla="*/ 5 h 34"/>
                  <a:gd name="T20" fmla="*/ 14 w 46"/>
                  <a:gd name="T21" fmla="*/ 3 h 34"/>
                  <a:gd name="T22" fmla="*/ 14 w 46"/>
                  <a:gd name="T23" fmla="*/ 1 h 34"/>
                  <a:gd name="T24" fmla="*/ 14 w 46"/>
                  <a:gd name="T25" fmla="*/ 0 h 34"/>
                  <a:gd name="T26" fmla="*/ 13 w 46"/>
                  <a:gd name="T27" fmla="*/ 0 h 34"/>
                  <a:gd name="T28" fmla="*/ 13 w 46"/>
                  <a:gd name="T29" fmla="*/ 0 h 34"/>
                  <a:gd name="T30" fmla="*/ 12 w 46"/>
                  <a:gd name="T31" fmla="*/ 0 h 34"/>
                  <a:gd name="T32" fmla="*/ 10 w 46"/>
                  <a:gd name="T33" fmla="*/ 1 h 34"/>
                  <a:gd name="T34" fmla="*/ 8 w 46"/>
                  <a:gd name="T35" fmla="*/ 1 h 3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57" name="Freeform 402">
                <a:extLst>
                  <a:ext uri="{FF2B5EF4-FFF2-40B4-BE49-F238E27FC236}">
                    <a16:creationId xmlns:a16="http://schemas.microsoft.com/office/drawing/2014/main" id="{753056DA-915A-4F5C-A682-0CBA2017F8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8 h 25"/>
                  <a:gd name="T2" fmla="*/ 5 w 48"/>
                  <a:gd name="T3" fmla="*/ 8 h 25"/>
                  <a:gd name="T4" fmla="*/ 9 w 48"/>
                  <a:gd name="T5" fmla="*/ 8 h 25"/>
                  <a:gd name="T6" fmla="*/ 10 w 48"/>
                  <a:gd name="T7" fmla="*/ 8 h 25"/>
                  <a:gd name="T8" fmla="*/ 11 w 48"/>
                  <a:gd name="T9" fmla="*/ 7 h 25"/>
                  <a:gd name="T10" fmla="*/ 12 w 48"/>
                  <a:gd name="T11" fmla="*/ 6 h 25"/>
                  <a:gd name="T12" fmla="*/ 13 w 48"/>
                  <a:gd name="T13" fmla="*/ 5 h 25"/>
                  <a:gd name="T14" fmla="*/ 15 w 48"/>
                  <a:gd name="T15" fmla="*/ 2 h 25"/>
                  <a:gd name="T16" fmla="*/ 16 w 48"/>
                  <a:gd name="T17" fmla="*/ 0 h 25"/>
                  <a:gd name="T18" fmla="*/ 13 w 48"/>
                  <a:gd name="T19" fmla="*/ 0 h 25"/>
                  <a:gd name="T20" fmla="*/ 11 w 48"/>
                  <a:gd name="T21" fmla="*/ 1 h 25"/>
                  <a:gd name="T22" fmla="*/ 9 w 48"/>
                  <a:gd name="T23" fmla="*/ 2 h 25"/>
                  <a:gd name="T24" fmla="*/ 7 w 48"/>
                  <a:gd name="T25" fmla="*/ 3 h 25"/>
                  <a:gd name="T26" fmla="*/ 4 w 48"/>
                  <a:gd name="T27" fmla="*/ 5 h 25"/>
                  <a:gd name="T28" fmla="*/ 0 w 48"/>
                  <a:gd name="T29" fmla="*/ 8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58" name="Freeform 403">
                <a:extLst>
                  <a:ext uri="{FF2B5EF4-FFF2-40B4-BE49-F238E27FC236}">
                    <a16:creationId xmlns:a16="http://schemas.microsoft.com/office/drawing/2014/main" id="{0E2B4A3B-284E-42B5-86E0-78ED2BE9C0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11 h 37"/>
                  <a:gd name="T4" fmla="*/ 3 w 30"/>
                  <a:gd name="T5" fmla="*/ 11 h 37"/>
                  <a:gd name="T6" fmla="*/ 5 w 30"/>
                  <a:gd name="T7" fmla="*/ 10 h 37"/>
                  <a:gd name="T8" fmla="*/ 6 w 30"/>
                  <a:gd name="T9" fmla="*/ 10 h 37"/>
                  <a:gd name="T10" fmla="*/ 7 w 30"/>
                  <a:gd name="T11" fmla="*/ 10 h 37"/>
                  <a:gd name="T12" fmla="*/ 7 w 30"/>
                  <a:gd name="T13" fmla="*/ 9 h 37"/>
                  <a:gd name="T14" fmla="*/ 8 w 30"/>
                  <a:gd name="T15" fmla="*/ 8 h 37"/>
                  <a:gd name="T16" fmla="*/ 8 w 30"/>
                  <a:gd name="T17" fmla="*/ 7 h 37"/>
                  <a:gd name="T18" fmla="*/ 8 w 30"/>
                  <a:gd name="T19" fmla="*/ 5 h 37"/>
                  <a:gd name="T20" fmla="*/ 8 w 30"/>
                  <a:gd name="T21" fmla="*/ 3 h 37"/>
                  <a:gd name="T22" fmla="*/ 7 w 30"/>
                  <a:gd name="T23" fmla="*/ 0 h 37"/>
                  <a:gd name="T24" fmla="*/ 0 w 30"/>
                  <a:gd name="T25" fmla="*/ 0 h 3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59" name="Freeform 404">
                <a:extLst>
                  <a:ext uri="{FF2B5EF4-FFF2-40B4-BE49-F238E27FC236}">
                    <a16:creationId xmlns:a16="http://schemas.microsoft.com/office/drawing/2014/main" id="{E0A13F47-9F94-424E-878C-03E58D113E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11 w 113"/>
                  <a:gd name="T1" fmla="*/ 1 h 46"/>
                  <a:gd name="T2" fmla="*/ 7 w 113"/>
                  <a:gd name="T3" fmla="*/ 1 h 46"/>
                  <a:gd name="T4" fmla="*/ 4 w 113"/>
                  <a:gd name="T5" fmla="*/ 2 h 46"/>
                  <a:gd name="T6" fmla="*/ 2 w 113"/>
                  <a:gd name="T7" fmla="*/ 2 h 46"/>
                  <a:gd name="T8" fmla="*/ 1 w 113"/>
                  <a:gd name="T9" fmla="*/ 4 h 46"/>
                  <a:gd name="T10" fmla="*/ 0 w 113"/>
                  <a:gd name="T11" fmla="*/ 5 h 46"/>
                  <a:gd name="T12" fmla="*/ 0 w 113"/>
                  <a:gd name="T13" fmla="*/ 7 h 46"/>
                  <a:gd name="T14" fmla="*/ 2 w 113"/>
                  <a:gd name="T15" fmla="*/ 9 h 46"/>
                  <a:gd name="T16" fmla="*/ 3 w 113"/>
                  <a:gd name="T17" fmla="*/ 11 h 46"/>
                  <a:gd name="T18" fmla="*/ 5 w 113"/>
                  <a:gd name="T19" fmla="*/ 13 h 46"/>
                  <a:gd name="T20" fmla="*/ 6 w 113"/>
                  <a:gd name="T21" fmla="*/ 14 h 46"/>
                  <a:gd name="T22" fmla="*/ 8 w 113"/>
                  <a:gd name="T23" fmla="*/ 15 h 46"/>
                  <a:gd name="T24" fmla="*/ 10 w 113"/>
                  <a:gd name="T25" fmla="*/ 16 h 46"/>
                  <a:gd name="T26" fmla="*/ 11 w 113"/>
                  <a:gd name="T27" fmla="*/ 16 h 46"/>
                  <a:gd name="T28" fmla="*/ 13 w 113"/>
                  <a:gd name="T29" fmla="*/ 16 h 46"/>
                  <a:gd name="T30" fmla="*/ 18 w 113"/>
                  <a:gd name="T31" fmla="*/ 16 h 46"/>
                  <a:gd name="T32" fmla="*/ 22 w 113"/>
                  <a:gd name="T33" fmla="*/ 15 h 46"/>
                  <a:gd name="T34" fmla="*/ 24 w 113"/>
                  <a:gd name="T35" fmla="*/ 14 h 46"/>
                  <a:gd name="T36" fmla="*/ 26 w 113"/>
                  <a:gd name="T37" fmla="*/ 13 h 46"/>
                  <a:gd name="T38" fmla="*/ 28 w 113"/>
                  <a:gd name="T39" fmla="*/ 13 h 46"/>
                  <a:gd name="T40" fmla="*/ 29 w 113"/>
                  <a:gd name="T41" fmla="*/ 11 h 46"/>
                  <a:gd name="T42" fmla="*/ 32 w 113"/>
                  <a:gd name="T43" fmla="*/ 9 h 46"/>
                  <a:gd name="T44" fmla="*/ 34 w 113"/>
                  <a:gd name="T45" fmla="*/ 7 h 46"/>
                  <a:gd name="T46" fmla="*/ 35 w 113"/>
                  <a:gd name="T47" fmla="*/ 4 h 46"/>
                  <a:gd name="T48" fmla="*/ 36 w 113"/>
                  <a:gd name="T49" fmla="*/ 1 h 46"/>
                  <a:gd name="T50" fmla="*/ 32 w 113"/>
                  <a:gd name="T51" fmla="*/ 0 h 46"/>
                  <a:gd name="T52" fmla="*/ 28 w 113"/>
                  <a:gd name="T53" fmla="*/ 0 h 46"/>
                  <a:gd name="T54" fmla="*/ 24 w 113"/>
                  <a:gd name="T55" fmla="*/ 0 h 46"/>
                  <a:gd name="T56" fmla="*/ 21 w 113"/>
                  <a:gd name="T57" fmla="*/ 0 h 46"/>
                  <a:gd name="T58" fmla="*/ 15 w 113"/>
                  <a:gd name="T59" fmla="*/ 1 h 46"/>
                  <a:gd name="T60" fmla="*/ 11 w 113"/>
                  <a:gd name="T61" fmla="*/ 1 h 4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60" name="Freeform 405">
                <a:extLst>
                  <a:ext uri="{FF2B5EF4-FFF2-40B4-BE49-F238E27FC236}">
                    <a16:creationId xmlns:a16="http://schemas.microsoft.com/office/drawing/2014/main" id="{9D651486-3B5E-4EB5-A90B-9EA0E83A74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27 h 82"/>
                  <a:gd name="T2" fmla="*/ 1 w 153"/>
                  <a:gd name="T3" fmla="*/ 28 h 82"/>
                  <a:gd name="T4" fmla="*/ 2 w 153"/>
                  <a:gd name="T5" fmla="*/ 28 h 82"/>
                  <a:gd name="T6" fmla="*/ 3 w 153"/>
                  <a:gd name="T7" fmla="*/ 28 h 82"/>
                  <a:gd name="T8" fmla="*/ 4 w 153"/>
                  <a:gd name="T9" fmla="*/ 28 h 82"/>
                  <a:gd name="T10" fmla="*/ 7 w 153"/>
                  <a:gd name="T11" fmla="*/ 27 h 82"/>
                  <a:gd name="T12" fmla="*/ 11 w 153"/>
                  <a:gd name="T13" fmla="*/ 27 h 82"/>
                  <a:gd name="T14" fmla="*/ 13 w 153"/>
                  <a:gd name="T15" fmla="*/ 27 h 82"/>
                  <a:gd name="T16" fmla="*/ 15 w 153"/>
                  <a:gd name="T17" fmla="*/ 27 h 82"/>
                  <a:gd name="T18" fmla="*/ 18 w 153"/>
                  <a:gd name="T19" fmla="*/ 26 h 82"/>
                  <a:gd name="T20" fmla="*/ 21 w 153"/>
                  <a:gd name="T21" fmla="*/ 25 h 82"/>
                  <a:gd name="T22" fmla="*/ 27 w 153"/>
                  <a:gd name="T23" fmla="*/ 23 h 82"/>
                  <a:gd name="T24" fmla="*/ 33 w 153"/>
                  <a:gd name="T25" fmla="*/ 20 h 82"/>
                  <a:gd name="T26" fmla="*/ 36 w 153"/>
                  <a:gd name="T27" fmla="*/ 18 h 82"/>
                  <a:gd name="T28" fmla="*/ 39 w 153"/>
                  <a:gd name="T29" fmla="*/ 17 h 82"/>
                  <a:gd name="T30" fmla="*/ 41 w 153"/>
                  <a:gd name="T31" fmla="*/ 15 h 82"/>
                  <a:gd name="T32" fmla="*/ 44 w 153"/>
                  <a:gd name="T33" fmla="*/ 13 h 82"/>
                  <a:gd name="T34" fmla="*/ 45 w 153"/>
                  <a:gd name="T35" fmla="*/ 11 h 82"/>
                  <a:gd name="T36" fmla="*/ 47 w 153"/>
                  <a:gd name="T37" fmla="*/ 9 h 82"/>
                  <a:gd name="T38" fmla="*/ 48 w 153"/>
                  <a:gd name="T39" fmla="*/ 6 h 82"/>
                  <a:gd name="T40" fmla="*/ 49 w 153"/>
                  <a:gd name="T41" fmla="*/ 4 h 82"/>
                  <a:gd name="T42" fmla="*/ 43 w 153"/>
                  <a:gd name="T43" fmla="*/ 3 h 82"/>
                  <a:gd name="T44" fmla="*/ 37 w 153"/>
                  <a:gd name="T45" fmla="*/ 1 h 82"/>
                  <a:gd name="T46" fmla="*/ 31 w 153"/>
                  <a:gd name="T47" fmla="*/ 0 h 82"/>
                  <a:gd name="T48" fmla="*/ 25 w 153"/>
                  <a:gd name="T49" fmla="*/ 0 h 82"/>
                  <a:gd name="T50" fmla="*/ 22 w 153"/>
                  <a:gd name="T51" fmla="*/ 0 h 82"/>
                  <a:gd name="T52" fmla="*/ 19 w 153"/>
                  <a:gd name="T53" fmla="*/ 0 h 82"/>
                  <a:gd name="T54" fmla="*/ 17 w 153"/>
                  <a:gd name="T55" fmla="*/ 1 h 82"/>
                  <a:gd name="T56" fmla="*/ 14 w 153"/>
                  <a:gd name="T57" fmla="*/ 1 h 82"/>
                  <a:gd name="T58" fmla="*/ 12 w 153"/>
                  <a:gd name="T59" fmla="*/ 2 h 82"/>
                  <a:gd name="T60" fmla="*/ 11 w 153"/>
                  <a:gd name="T61" fmla="*/ 3 h 82"/>
                  <a:gd name="T62" fmla="*/ 10 w 153"/>
                  <a:gd name="T63" fmla="*/ 5 h 82"/>
                  <a:gd name="T64" fmla="*/ 8 w 153"/>
                  <a:gd name="T65" fmla="*/ 6 h 82"/>
                  <a:gd name="T66" fmla="*/ 10 w 153"/>
                  <a:gd name="T67" fmla="*/ 8 h 82"/>
                  <a:gd name="T68" fmla="*/ 12 w 153"/>
                  <a:gd name="T69" fmla="*/ 10 h 82"/>
                  <a:gd name="T70" fmla="*/ 12 w 153"/>
                  <a:gd name="T71" fmla="*/ 11 h 82"/>
                  <a:gd name="T72" fmla="*/ 13 w 153"/>
                  <a:gd name="T73" fmla="*/ 12 h 82"/>
                  <a:gd name="T74" fmla="*/ 14 w 153"/>
                  <a:gd name="T75" fmla="*/ 12 h 82"/>
                  <a:gd name="T76" fmla="*/ 15 w 153"/>
                  <a:gd name="T77" fmla="*/ 12 h 82"/>
                  <a:gd name="T78" fmla="*/ 13 w 153"/>
                  <a:gd name="T79" fmla="*/ 14 h 82"/>
                  <a:gd name="T80" fmla="*/ 11 w 153"/>
                  <a:gd name="T81" fmla="*/ 16 h 82"/>
                  <a:gd name="T82" fmla="*/ 9 w 153"/>
                  <a:gd name="T83" fmla="*/ 18 h 82"/>
                  <a:gd name="T84" fmla="*/ 7 w 153"/>
                  <a:gd name="T85" fmla="*/ 19 h 82"/>
                  <a:gd name="T86" fmla="*/ 6 w 153"/>
                  <a:gd name="T87" fmla="*/ 22 h 82"/>
                  <a:gd name="T88" fmla="*/ 4 w 153"/>
                  <a:gd name="T89" fmla="*/ 24 h 82"/>
                  <a:gd name="T90" fmla="*/ 2 w 153"/>
                  <a:gd name="T91" fmla="*/ 26 h 82"/>
                  <a:gd name="T92" fmla="*/ 0 w 153"/>
                  <a:gd name="T93" fmla="*/ 27 h 8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61" name="Freeform 406">
                <a:extLst>
                  <a:ext uri="{FF2B5EF4-FFF2-40B4-BE49-F238E27FC236}">
                    <a16:creationId xmlns:a16="http://schemas.microsoft.com/office/drawing/2014/main" id="{F63C4D97-E5DB-47CF-A35E-0E4D129342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13 h 50"/>
                  <a:gd name="T2" fmla="*/ 2 w 86"/>
                  <a:gd name="T3" fmla="*/ 14 h 50"/>
                  <a:gd name="T4" fmla="*/ 4 w 86"/>
                  <a:gd name="T5" fmla="*/ 15 h 50"/>
                  <a:gd name="T6" fmla="*/ 5 w 86"/>
                  <a:gd name="T7" fmla="*/ 16 h 50"/>
                  <a:gd name="T8" fmla="*/ 8 w 86"/>
                  <a:gd name="T9" fmla="*/ 16 h 50"/>
                  <a:gd name="T10" fmla="*/ 12 w 86"/>
                  <a:gd name="T11" fmla="*/ 17 h 50"/>
                  <a:gd name="T12" fmla="*/ 16 w 86"/>
                  <a:gd name="T13" fmla="*/ 17 h 50"/>
                  <a:gd name="T14" fmla="*/ 20 w 86"/>
                  <a:gd name="T15" fmla="*/ 17 h 50"/>
                  <a:gd name="T16" fmla="*/ 23 w 86"/>
                  <a:gd name="T17" fmla="*/ 16 h 50"/>
                  <a:gd name="T18" fmla="*/ 25 w 86"/>
                  <a:gd name="T19" fmla="*/ 16 h 50"/>
                  <a:gd name="T20" fmla="*/ 27 w 86"/>
                  <a:gd name="T21" fmla="*/ 15 h 50"/>
                  <a:gd name="T22" fmla="*/ 28 w 86"/>
                  <a:gd name="T23" fmla="*/ 14 h 50"/>
                  <a:gd name="T24" fmla="*/ 28 w 86"/>
                  <a:gd name="T25" fmla="*/ 13 h 50"/>
                  <a:gd name="T26" fmla="*/ 29 w 86"/>
                  <a:gd name="T27" fmla="*/ 11 h 50"/>
                  <a:gd name="T28" fmla="*/ 29 w 86"/>
                  <a:gd name="T29" fmla="*/ 9 h 50"/>
                  <a:gd name="T30" fmla="*/ 29 w 86"/>
                  <a:gd name="T31" fmla="*/ 6 h 50"/>
                  <a:gd name="T32" fmla="*/ 28 w 86"/>
                  <a:gd name="T33" fmla="*/ 3 h 50"/>
                  <a:gd name="T34" fmla="*/ 28 w 86"/>
                  <a:gd name="T35" fmla="*/ 2 h 50"/>
                  <a:gd name="T36" fmla="*/ 27 w 86"/>
                  <a:gd name="T37" fmla="*/ 2 h 50"/>
                  <a:gd name="T38" fmla="*/ 26 w 86"/>
                  <a:gd name="T39" fmla="*/ 1 h 50"/>
                  <a:gd name="T40" fmla="*/ 25 w 86"/>
                  <a:gd name="T41" fmla="*/ 0 h 50"/>
                  <a:gd name="T42" fmla="*/ 0 w 86"/>
                  <a:gd name="T43" fmla="*/ 13 h 5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62" name="Freeform 407">
                <a:extLst>
                  <a:ext uri="{FF2B5EF4-FFF2-40B4-BE49-F238E27FC236}">
                    <a16:creationId xmlns:a16="http://schemas.microsoft.com/office/drawing/2014/main" id="{8A8D7EF9-186F-4EB4-BF65-1286D959DA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38 w 172"/>
                  <a:gd name="T1" fmla="*/ 21 h 74"/>
                  <a:gd name="T2" fmla="*/ 35 w 172"/>
                  <a:gd name="T3" fmla="*/ 21 h 74"/>
                  <a:gd name="T4" fmla="*/ 32 w 172"/>
                  <a:gd name="T5" fmla="*/ 21 h 74"/>
                  <a:gd name="T6" fmla="*/ 29 w 172"/>
                  <a:gd name="T7" fmla="*/ 21 h 74"/>
                  <a:gd name="T8" fmla="*/ 26 w 172"/>
                  <a:gd name="T9" fmla="*/ 21 h 74"/>
                  <a:gd name="T10" fmla="*/ 19 w 172"/>
                  <a:gd name="T11" fmla="*/ 25 h 74"/>
                  <a:gd name="T12" fmla="*/ 11 w 172"/>
                  <a:gd name="T13" fmla="*/ 25 h 74"/>
                  <a:gd name="T14" fmla="*/ 12 w 172"/>
                  <a:gd name="T15" fmla="*/ 21 h 74"/>
                  <a:gd name="T16" fmla="*/ 12 w 172"/>
                  <a:gd name="T17" fmla="*/ 17 h 74"/>
                  <a:gd name="T18" fmla="*/ 10 w 172"/>
                  <a:gd name="T19" fmla="*/ 17 h 74"/>
                  <a:gd name="T20" fmla="*/ 7 w 172"/>
                  <a:gd name="T21" fmla="*/ 16 h 74"/>
                  <a:gd name="T22" fmla="*/ 5 w 172"/>
                  <a:gd name="T23" fmla="*/ 16 h 74"/>
                  <a:gd name="T24" fmla="*/ 3 w 172"/>
                  <a:gd name="T25" fmla="*/ 15 h 74"/>
                  <a:gd name="T26" fmla="*/ 2 w 172"/>
                  <a:gd name="T27" fmla="*/ 14 h 74"/>
                  <a:gd name="T28" fmla="*/ 1 w 172"/>
                  <a:gd name="T29" fmla="*/ 13 h 74"/>
                  <a:gd name="T30" fmla="*/ 0 w 172"/>
                  <a:gd name="T31" fmla="*/ 12 h 74"/>
                  <a:gd name="T32" fmla="*/ 0 w 172"/>
                  <a:gd name="T33" fmla="*/ 10 h 74"/>
                  <a:gd name="T34" fmla="*/ 0 w 172"/>
                  <a:gd name="T35" fmla="*/ 9 h 74"/>
                  <a:gd name="T36" fmla="*/ 1 w 172"/>
                  <a:gd name="T37" fmla="*/ 7 h 74"/>
                  <a:gd name="T38" fmla="*/ 2 w 172"/>
                  <a:gd name="T39" fmla="*/ 6 h 74"/>
                  <a:gd name="T40" fmla="*/ 3 w 172"/>
                  <a:gd name="T41" fmla="*/ 5 h 74"/>
                  <a:gd name="T42" fmla="*/ 4 w 172"/>
                  <a:gd name="T43" fmla="*/ 3 h 74"/>
                  <a:gd name="T44" fmla="*/ 6 w 172"/>
                  <a:gd name="T45" fmla="*/ 2 h 74"/>
                  <a:gd name="T46" fmla="*/ 8 w 172"/>
                  <a:gd name="T47" fmla="*/ 2 h 74"/>
                  <a:gd name="T48" fmla="*/ 9 w 172"/>
                  <a:gd name="T49" fmla="*/ 1 h 74"/>
                  <a:gd name="T50" fmla="*/ 13 w 172"/>
                  <a:gd name="T51" fmla="*/ 0 h 74"/>
                  <a:gd name="T52" fmla="*/ 18 w 172"/>
                  <a:gd name="T53" fmla="*/ 0 h 74"/>
                  <a:gd name="T54" fmla="*/ 22 w 172"/>
                  <a:gd name="T55" fmla="*/ 0 h 74"/>
                  <a:gd name="T56" fmla="*/ 26 w 172"/>
                  <a:gd name="T57" fmla="*/ 0 h 74"/>
                  <a:gd name="T58" fmla="*/ 30 w 172"/>
                  <a:gd name="T59" fmla="*/ 0 h 74"/>
                  <a:gd name="T60" fmla="*/ 34 w 172"/>
                  <a:gd name="T61" fmla="*/ 1 h 74"/>
                  <a:gd name="T62" fmla="*/ 37 w 172"/>
                  <a:gd name="T63" fmla="*/ 2 h 74"/>
                  <a:gd name="T64" fmla="*/ 41 w 172"/>
                  <a:gd name="T65" fmla="*/ 4 h 74"/>
                  <a:gd name="T66" fmla="*/ 44 w 172"/>
                  <a:gd name="T67" fmla="*/ 6 h 74"/>
                  <a:gd name="T68" fmla="*/ 48 w 172"/>
                  <a:gd name="T69" fmla="*/ 7 h 74"/>
                  <a:gd name="T70" fmla="*/ 51 w 172"/>
                  <a:gd name="T71" fmla="*/ 8 h 74"/>
                  <a:gd name="T72" fmla="*/ 55 w 172"/>
                  <a:gd name="T73" fmla="*/ 8 h 74"/>
                  <a:gd name="T74" fmla="*/ 55 w 172"/>
                  <a:gd name="T75" fmla="*/ 15 h 74"/>
                  <a:gd name="T76" fmla="*/ 54 w 172"/>
                  <a:gd name="T77" fmla="*/ 16 h 74"/>
                  <a:gd name="T78" fmla="*/ 53 w 172"/>
                  <a:gd name="T79" fmla="*/ 18 h 74"/>
                  <a:gd name="T80" fmla="*/ 51 w 172"/>
                  <a:gd name="T81" fmla="*/ 19 h 74"/>
                  <a:gd name="T82" fmla="*/ 51 w 172"/>
                  <a:gd name="T83" fmla="*/ 20 h 74"/>
                  <a:gd name="T84" fmla="*/ 49 w 172"/>
                  <a:gd name="T85" fmla="*/ 21 h 74"/>
                  <a:gd name="T86" fmla="*/ 48 w 172"/>
                  <a:gd name="T87" fmla="*/ 21 h 74"/>
                  <a:gd name="T88" fmla="*/ 47 w 172"/>
                  <a:gd name="T89" fmla="*/ 22 h 74"/>
                  <a:gd name="T90" fmla="*/ 45 w 172"/>
                  <a:gd name="T91" fmla="*/ 22 h 74"/>
                  <a:gd name="T92" fmla="*/ 42 w 172"/>
                  <a:gd name="T93" fmla="*/ 22 h 74"/>
                  <a:gd name="T94" fmla="*/ 39 w 172"/>
                  <a:gd name="T95" fmla="*/ 21 h 74"/>
                  <a:gd name="T96" fmla="*/ 36 w 172"/>
                  <a:gd name="T97" fmla="*/ 20 h 74"/>
                  <a:gd name="T98" fmla="*/ 32 w 172"/>
                  <a:gd name="T99" fmla="*/ 19 h 74"/>
                  <a:gd name="T100" fmla="*/ 34 w 172"/>
                  <a:gd name="T101" fmla="*/ 19 h 74"/>
                  <a:gd name="T102" fmla="*/ 38 w 172"/>
                  <a:gd name="T103" fmla="*/ 21 h 74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63" name="Freeform 408">
                <a:extLst>
                  <a:ext uri="{FF2B5EF4-FFF2-40B4-BE49-F238E27FC236}">
                    <a16:creationId xmlns:a16="http://schemas.microsoft.com/office/drawing/2014/main" id="{C233B12E-1D5D-4803-AF9B-98849D5D06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9 w 120"/>
                  <a:gd name="T1" fmla="*/ 17 h 49"/>
                  <a:gd name="T2" fmla="*/ 15 w 120"/>
                  <a:gd name="T3" fmla="*/ 17 h 49"/>
                  <a:gd name="T4" fmla="*/ 20 w 120"/>
                  <a:gd name="T5" fmla="*/ 17 h 49"/>
                  <a:gd name="T6" fmla="*/ 25 w 120"/>
                  <a:gd name="T7" fmla="*/ 16 h 49"/>
                  <a:gd name="T8" fmla="*/ 29 w 120"/>
                  <a:gd name="T9" fmla="*/ 15 h 49"/>
                  <a:gd name="T10" fmla="*/ 30 w 120"/>
                  <a:gd name="T11" fmla="*/ 14 h 49"/>
                  <a:gd name="T12" fmla="*/ 32 w 120"/>
                  <a:gd name="T13" fmla="*/ 13 h 49"/>
                  <a:gd name="T14" fmla="*/ 33 w 120"/>
                  <a:gd name="T15" fmla="*/ 12 h 49"/>
                  <a:gd name="T16" fmla="*/ 34 w 120"/>
                  <a:gd name="T17" fmla="*/ 11 h 49"/>
                  <a:gd name="T18" fmla="*/ 36 w 120"/>
                  <a:gd name="T19" fmla="*/ 8 h 49"/>
                  <a:gd name="T20" fmla="*/ 38 w 120"/>
                  <a:gd name="T21" fmla="*/ 4 h 49"/>
                  <a:gd name="T22" fmla="*/ 32 w 120"/>
                  <a:gd name="T23" fmla="*/ 2 h 49"/>
                  <a:gd name="T24" fmla="*/ 27 w 120"/>
                  <a:gd name="T25" fmla="*/ 1 h 49"/>
                  <a:gd name="T26" fmla="*/ 21 w 120"/>
                  <a:gd name="T27" fmla="*/ 0 h 49"/>
                  <a:gd name="T28" fmla="*/ 16 w 120"/>
                  <a:gd name="T29" fmla="*/ 0 h 49"/>
                  <a:gd name="T30" fmla="*/ 11 w 120"/>
                  <a:gd name="T31" fmla="*/ 0 h 49"/>
                  <a:gd name="T32" fmla="*/ 6 w 120"/>
                  <a:gd name="T33" fmla="*/ 1 h 49"/>
                  <a:gd name="T34" fmla="*/ 3 w 120"/>
                  <a:gd name="T35" fmla="*/ 1 h 49"/>
                  <a:gd name="T36" fmla="*/ 0 w 120"/>
                  <a:gd name="T37" fmla="*/ 2 h 49"/>
                  <a:gd name="T38" fmla="*/ 0 w 120"/>
                  <a:gd name="T39" fmla="*/ 10 h 49"/>
                  <a:gd name="T40" fmla="*/ 1 w 120"/>
                  <a:gd name="T41" fmla="*/ 12 h 49"/>
                  <a:gd name="T42" fmla="*/ 2 w 120"/>
                  <a:gd name="T43" fmla="*/ 13 h 49"/>
                  <a:gd name="T44" fmla="*/ 3 w 120"/>
                  <a:gd name="T45" fmla="*/ 14 h 49"/>
                  <a:gd name="T46" fmla="*/ 4 w 120"/>
                  <a:gd name="T47" fmla="*/ 16 h 49"/>
                  <a:gd name="T48" fmla="*/ 6 w 120"/>
                  <a:gd name="T49" fmla="*/ 17 h 49"/>
                  <a:gd name="T50" fmla="*/ 9 w 120"/>
                  <a:gd name="T51" fmla="*/ 17 h 4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64" name="Freeform 409">
                <a:extLst>
                  <a:ext uri="{FF2B5EF4-FFF2-40B4-BE49-F238E27FC236}">
                    <a16:creationId xmlns:a16="http://schemas.microsoft.com/office/drawing/2014/main" id="{83883DFD-60AB-4C6A-B305-52CB157FF2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10 w 85"/>
                  <a:gd name="T1" fmla="*/ 0 h 61"/>
                  <a:gd name="T2" fmla="*/ 7 w 85"/>
                  <a:gd name="T3" fmla="*/ 2 h 61"/>
                  <a:gd name="T4" fmla="*/ 3 w 85"/>
                  <a:gd name="T5" fmla="*/ 4 h 61"/>
                  <a:gd name="T6" fmla="*/ 2 w 85"/>
                  <a:gd name="T7" fmla="*/ 5 h 61"/>
                  <a:gd name="T8" fmla="*/ 1 w 85"/>
                  <a:gd name="T9" fmla="*/ 7 h 61"/>
                  <a:gd name="T10" fmla="*/ 0 w 85"/>
                  <a:gd name="T11" fmla="*/ 8 h 61"/>
                  <a:gd name="T12" fmla="*/ 0 w 85"/>
                  <a:gd name="T13" fmla="*/ 10 h 61"/>
                  <a:gd name="T14" fmla="*/ 0 w 85"/>
                  <a:gd name="T15" fmla="*/ 11 h 61"/>
                  <a:gd name="T16" fmla="*/ 0 w 85"/>
                  <a:gd name="T17" fmla="*/ 12 h 61"/>
                  <a:gd name="T18" fmla="*/ 1 w 85"/>
                  <a:gd name="T19" fmla="*/ 12 h 61"/>
                  <a:gd name="T20" fmla="*/ 2 w 85"/>
                  <a:gd name="T21" fmla="*/ 13 h 61"/>
                  <a:gd name="T22" fmla="*/ 3 w 85"/>
                  <a:gd name="T23" fmla="*/ 15 h 61"/>
                  <a:gd name="T24" fmla="*/ 6 w 85"/>
                  <a:gd name="T25" fmla="*/ 17 h 61"/>
                  <a:gd name="T26" fmla="*/ 8 w 85"/>
                  <a:gd name="T27" fmla="*/ 17 h 61"/>
                  <a:gd name="T28" fmla="*/ 11 w 85"/>
                  <a:gd name="T29" fmla="*/ 18 h 61"/>
                  <a:gd name="T30" fmla="*/ 14 w 85"/>
                  <a:gd name="T31" fmla="*/ 19 h 61"/>
                  <a:gd name="T32" fmla="*/ 16 w 85"/>
                  <a:gd name="T33" fmla="*/ 19 h 61"/>
                  <a:gd name="T34" fmla="*/ 17 w 85"/>
                  <a:gd name="T35" fmla="*/ 19 h 61"/>
                  <a:gd name="T36" fmla="*/ 18 w 85"/>
                  <a:gd name="T37" fmla="*/ 19 h 61"/>
                  <a:gd name="T38" fmla="*/ 19 w 85"/>
                  <a:gd name="T39" fmla="*/ 18 h 61"/>
                  <a:gd name="T40" fmla="*/ 20 w 85"/>
                  <a:gd name="T41" fmla="*/ 18 h 61"/>
                  <a:gd name="T42" fmla="*/ 22 w 85"/>
                  <a:gd name="T43" fmla="*/ 16 h 61"/>
                  <a:gd name="T44" fmla="*/ 24 w 85"/>
                  <a:gd name="T45" fmla="*/ 15 h 61"/>
                  <a:gd name="T46" fmla="*/ 24 w 85"/>
                  <a:gd name="T47" fmla="*/ 12 h 61"/>
                  <a:gd name="T48" fmla="*/ 25 w 85"/>
                  <a:gd name="T49" fmla="*/ 10 h 61"/>
                  <a:gd name="T50" fmla="*/ 26 w 85"/>
                  <a:gd name="T51" fmla="*/ 8 h 61"/>
                  <a:gd name="T52" fmla="*/ 26 w 85"/>
                  <a:gd name="T53" fmla="*/ 6 h 61"/>
                  <a:gd name="T54" fmla="*/ 10 w 85"/>
                  <a:gd name="T55" fmla="*/ 0 h 6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65" name="Freeform 410">
                <a:extLst>
                  <a:ext uri="{FF2B5EF4-FFF2-40B4-BE49-F238E27FC236}">
                    <a16:creationId xmlns:a16="http://schemas.microsoft.com/office/drawing/2014/main" id="{95AC4848-FE7C-47DE-BCC6-E650DE488D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2 h 19"/>
                  <a:gd name="T2" fmla="*/ 2 w 100"/>
                  <a:gd name="T3" fmla="*/ 3 h 19"/>
                  <a:gd name="T4" fmla="*/ 4 w 100"/>
                  <a:gd name="T5" fmla="*/ 5 h 19"/>
                  <a:gd name="T6" fmla="*/ 7 w 100"/>
                  <a:gd name="T7" fmla="*/ 6 h 19"/>
                  <a:gd name="T8" fmla="*/ 8 w 100"/>
                  <a:gd name="T9" fmla="*/ 6 h 19"/>
                  <a:gd name="T10" fmla="*/ 31 w 100"/>
                  <a:gd name="T11" fmla="*/ 2 h 19"/>
                  <a:gd name="T12" fmla="*/ 23 w 100"/>
                  <a:gd name="T13" fmla="*/ 1 h 19"/>
                  <a:gd name="T14" fmla="*/ 15 w 100"/>
                  <a:gd name="T15" fmla="*/ 0 h 19"/>
                  <a:gd name="T16" fmla="*/ 11 w 100"/>
                  <a:gd name="T17" fmla="*/ 0 h 19"/>
                  <a:gd name="T18" fmla="*/ 7 w 100"/>
                  <a:gd name="T19" fmla="*/ 0 h 19"/>
                  <a:gd name="T20" fmla="*/ 4 w 100"/>
                  <a:gd name="T21" fmla="*/ 1 h 19"/>
                  <a:gd name="T22" fmla="*/ 0 w 100"/>
                  <a:gd name="T23" fmla="*/ 2 h 1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66" name="Freeform 411">
                <a:extLst>
                  <a:ext uri="{FF2B5EF4-FFF2-40B4-BE49-F238E27FC236}">
                    <a16:creationId xmlns:a16="http://schemas.microsoft.com/office/drawing/2014/main" id="{E1C91D7C-101A-49DA-88AE-ED9786E2E8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9 h 45"/>
                  <a:gd name="T2" fmla="*/ 0 w 166"/>
                  <a:gd name="T3" fmla="*/ 10 h 45"/>
                  <a:gd name="T4" fmla="*/ 1 w 166"/>
                  <a:gd name="T5" fmla="*/ 10 h 45"/>
                  <a:gd name="T6" fmla="*/ 3 w 166"/>
                  <a:gd name="T7" fmla="*/ 11 h 45"/>
                  <a:gd name="T8" fmla="*/ 4 w 166"/>
                  <a:gd name="T9" fmla="*/ 12 h 45"/>
                  <a:gd name="T10" fmla="*/ 9 w 166"/>
                  <a:gd name="T11" fmla="*/ 13 h 45"/>
                  <a:gd name="T12" fmla="*/ 14 w 166"/>
                  <a:gd name="T13" fmla="*/ 14 h 45"/>
                  <a:gd name="T14" fmla="*/ 24 w 166"/>
                  <a:gd name="T15" fmla="*/ 15 h 45"/>
                  <a:gd name="T16" fmla="*/ 29 w 166"/>
                  <a:gd name="T17" fmla="*/ 15 h 45"/>
                  <a:gd name="T18" fmla="*/ 53 w 166"/>
                  <a:gd name="T19" fmla="*/ 9 h 45"/>
                  <a:gd name="T20" fmla="*/ 50 w 166"/>
                  <a:gd name="T21" fmla="*/ 8 h 45"/>
                  <a:gd name="T22" fmla="*/ 44 w 166"/>
                  <a:gd name="T23" fmla="*/ 6 h 45"/>
                  <a:gd name="T24" fmla="*/ 35 w 166"/>
                  <a:gd name="T25" fmla="*/ 4 h 45"/>
                  <a:gd name="T26" fmla="*/ 26 w 166"/>
                  <a:gd name="T27" fmla="*/ 1 h 45"/>
                  <a:gd name="T28" fmla="*/ 21 w 166"/>
                  <a:gd name="T29" fmla="*/ 1 h 45"/>
                  <a:gd name="T30" fmla="*/ 16 w 166"/>
                  <a:gd name="T31" fmla="*/ 0 h 45"/>
                  <a:gd name="T32" fmla="*/ 11 w 166"/>
                  <a:gd name="T33" fmla="*/ 0 h 45"/>
                  <a:gd name="T34" fmla="*/ 8 w 166"/>
                  <a:gd name="T35" fmla="*/ 1 h 45"/>
                  <a:gd name="T36" fmla="*/ 6 w 166"/>
                  <a:gd name="T37" fmla="*/ 1 h 45"/>
                  <a:gd name="T38" fmla="*/ 4 w 166"/>
                  <a:gd name="T39" fmla="*/ 2 h 45"/>
                  <a:gd name="T40" fmla="*/ 3 w 166"/>
                  <a:gd name="T41" fmla="*/ 2 h 45"/>
                  <a:gd name="T42" fmla="*/ 2 w 166"/>
                  <a:gd name="T43" fmla="*/ 3 h 45"/>
                  <a:gd name="T44" fmla="*/ 1 w 166"/>
                  <a:gd name="T45" fmla="*/ 4 h 45"/>
                  <a:gd name="T46" fmla="*/ 0 w 166"/>
                  <a:gd name="T47" fmla="*/ 6 h 45"/>
                  <a:gd name="T48" fmla="*/ 0 w 166"/>
                  <a:gd name="T49" fmla="*/ 7 h 45"/>
                  <a:gd name="T50" fmla="*/ 0 w 166"/>
                  <a:gd name="T51" fmla="*/ 9 h 4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67" name="Freeform 412">
                <a:extLst>
                  <a:ext uri="{FF2B5EF4-FFF2-40B4-BE49-F238E27FC236}">
                    <a16:creationId xmlns:a16="http://schemas.microsoft.com/office/drawing/2014/main" id="{674481F9-744D-4C7A-9CF1-3DFB97166B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3 h 25"/>
                  <a:gd name="T4" fmla="*/ 1 w 33"/>
                  <a:gd name="T5" fmla="*/ 5 h 25"/>
                  <a:gd name="T6" fmla="*/ 2 w 33"/>
                  <a:gd name="T7" fmla="*/ 6 h 25"/>
                  <a:gd name="T8" fmla="*/ 4 w 33"/>
                  <a:gd name="T9" fmla="*/ 7 h 25"/>
                  <a:gd name="T10" fmla="*/ 5 w 33"/>
                  <a:gd name="T11" fmla="*/ 8 h 25"/>
                  <a:gd name="T12" fmla="*/ 7 w 33"/>
                  <a:gd name="T13" fmla="*/ 8 h 25"/>
                  <a:gd name="T14" fmla="*/ 9 w 33"/>
                  <a:gd name="T15" fmla="*/ 8 h 25"/>
                  <a:gd name="T16" fmla="*/ 11 w 33"/>
                  <a:gd name="T17" fmla="*/ 8 h 25"/>
                  <a:gd name="T18" fmla="*/ 11 w 33"/>
                  <a:gd name="T19" fmla="*/ 0 h 25"/>
                  <a:gd name="T20" fmla="*/ 8 w 33"/>
                  <a:gd name="T21" fmla="*/ 0 h 25"/>
                  <a:gd name="T22" fmla="*/ 5 w 33"/>
                  <a:gd name="T23" fmla="*/ 0 h 25"/>
                  <a:gd name="T24" fmla="*/ 3 w 33"/>
                  <a:gd name="T25" fmla="*/ 0 h 25"/>
                  <a:gd name="T26" fmla="*/ 0 w 33"/>
                  <a:gd name="T27" fmla="*/ 0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68" name="Freeform 413">
                <a:extLst>
                  <a:ext uri="{FF2B5EF4-FFF2-40B4-BE49-F238E27FC236}">
                    <a16:creationId xmlns:a16="http://schemas.microsoft.com/office/drawing/2014/main" id="{576EB197-5C2E-4FF6-B44C-894F35A711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20 h 62"/>
                  <a:gd name="T2" fmla="*/ 4 w 48"/>
                  <a:gd name="T3" fmla="*/ 18 h 62"/>
                  <a:gd name="T4" fmla="*/ 7 w 48"/>
                  <a:gd name="T5" fmla="*/ 16 h 62"/>
                  <a:gd name="T6" fmla="*/ 10 w 48"/>
                  <a:gd name="T7" fmla="*/ 14 h 62"/>
                  <a:gd name="T8" fmla="*/ 12 w 48"/>
                  <a:gd name="T9" fmla="*/ 12 h 62"/>
                  <a:gd name="T10" fmla="*/ 14 w 48"/>
                  <a:gd name="T11" fmla="*/ 9 h 62"/>
                  <a:gd name="T12" fmla="*/ 15 w 48"/>
                  <a:gd name="T13" fmla="*/ 6 h 62"/>
                  <a:gd name="T14" fmla="*/ 16 w 48"/>
                  <a:gd name="T15" fmla="*/ 3 h 62"/>
                  <a:gd name="T16" fmla="*/ 16 w 48"/>
                  <a:gd name="T17" fmla="*/ 0 h 62"/>
                  <a:gd name="T18" fmla="*/ 13 w 48"/>
                  <a:gd name="T19" fmla="*/ 1 h 62"/>
                  <a:gd name="T20" fmla="*/ 11 w 48"/>
                  <a:gd name="T21" fmla="*/ 2 h 62"/>
                  <a:gd name="T22" fmla="*/ 8 w 48"/>
                  <a:gd name="T23" fmla="*/ 3 h 62"/>
                  <a:gd name="T24" fmla="*/ 6 w 48"/>
                  <a:gd name="T25" fmla="*/ 5 h 62"/>
                  <a:gd name="T26" fmla="*/ 3 w 48"/>
                  <a:gd name="T27" fmla="*/ 7 h 62"/>
                  <a:gd name="T28" fmla="*/ 2 w 48"/>
                  <a:gd name="T29" fmla="*/ 9 h 62"/>
                  <a:gd name="T30" fmla="*/ 1 w 48"/>
                  <a:gd name="T31" fmla="*/ 10 h 62"/>
                  <a:gd name="T32" fmla="*/ 1 w 48"/>
                  <a:gd name="T33" fmla="*/ 11 h 62"/>
                  <a:gd name="T34" fmla="*/ 0 w 48"/>
                  <a:gd name="T35" fmla="*/ 13 h 62"/>
                  <a:gd name="T36" fmla="*/ 0 w 48"/>
                  <a:gd name="T37" fmla="*/ 14 h 62"/>
                  <a:gd name="T38" fmla="*/ 0 w 48"/>
                  <a:gd name="T39" fmla="*/ 17 h 62"/>
                  <a:gd name="T40" fmla="*/ 0 w 48"/>
                  <a:gd name="T41" fmla="*/ 20 h 6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69" name="Freeform 414">
                <a:extLst>
                  <a:ext uri="{FF2B5EF4-FFF2-40B4-BE49-F238E27FC236}">
                    <a16:creationId xmlns:a16="http://schemas.microsoft.com/office/drawing/2014/main" id="{2C624D4F-508F-46B3-8EA8-B2B9C193A2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15 w 113"/>
                  <a:gd name="T1" fmla="*/ 0 h 62"/>
                  <a:gd name="T2" fmla="*/ 11 w 113"/>
                  <a:gd name="T3" fmla="*/ 2 h 62"/>
                  <a:gd name="T4" fmla="*/ 7 w 113"/>
                  <a:gd name="T5" fmla="*/ 5 h 62"/>
                  <a:gd name="T6" fmla="*/ 4 w 113"/>
                  <a:gd name="T7" fmla="*/ 9 h 62"/>
                  <a:gd name="T8" fmla="*/ 0 w 113"/>
                  <a:gd name="T9" fmla="*/ 12 h 62"/>
                  <a:gd name="T10" fmla="*/ 7 w 113"/>
                  <a:gd name="T11" fmla="*/ 15 h 62"/>
                  <a:gd name="T12" fmla="*/ 13 w 113"/>
                  <a:gd name="T13" fmla="*/ 17 h 62"/>
                  <a:gd name="T14" fmla="*/ 16 w 113"/>
                  <a:gd name="T15" fmla="*/ 18 h 62"/>
                  <a:gd name="T16" fmla="*/ 20 w 113"/>
                  <a:gd name="T17" fmla="*/ 19 h 62"/>
                  <a:gd name="T18" fmla="*/ 23 w 113"/>
                  <a:gd name="T19" fmla="*/ 20 h 62"/>
                  <a:gd name="T20" fmla="*/ 28 w 113"/>
                  <a:gd name="T21" fmla="*/ 20 h 62"/>
                  <a:gd name="T22" fmla="*/ 31 w 113"/>
                  <a:gd name="T23" fmla="*/ 20 h 62"/>
                  <a:gd name="T24" fmla="*/ 34 w 113"/>
                  <a:gd name="T25" fmla="*/ 19 h 62"/>
                  <a:gd name="T26" fmla="*/ 35 w 113"/>
                  <a:gd name="T27" fmla="*/ 18 h 62"/>
                  <a:gd name="T28" fmla="*/ 35 w 113"/>
                  <a:gd name="T29" fmla="*/ 17 h 62"/>
                  <a:gd name="T30" fmla="*/ 36 w 113"/>
                  <a:gd name="T31" fmla="*/ 17 h 62"/>
                  <a:gd name="T32" fmla="*/ 36 w 113"/>
                  <a:gd name="T33" fmla="*/ 16 h 62"/>
                  <a:gd name="T34" fmla="*/ 29 w 113"/>
                  <a:gd name="T35" fmla="*/ 13 h 62"/>
                  <a:gd name="T36" fmla="*/ 22 w 113"/>
                  <a:gd name="T37" fmla="*/ 10 h 62"/>
                  <a:gd name="T38" fmla="*/ 21 w 113"/>
                  <a:gd name="T39" fmla="*/ 9 h 62"/>
                  <a:gd name="T40" fmla="*/ 19 w 113"/>
                  <a:gd name="T41" fmla="*/ 8 h 62"/>
                  <a:gd name="T42" fmla="*/ 18 w 113"/>
                  <a:gd name="T43" fmla="*/ 7 h 62"/>
                  <a:gd name="T44" fmla="*/ 17 w 113"/>
                  <a:gd name="T45" fmla="*/ 6 h 62"/>
                  <a:gd name="T46" fmla="*/ 16 w 113"/>
                  <a:gd name="T47" fmla="*/ 5 h 62"/>
                  <a:gd name="T48" fmla="*/ 15 w 113"/>
                  <a:gd name="T49" fmla="*/ 3 h 62"/>
                  <a:gd name="T50" fmla="*/ 15 w 113"/>
                  <a:gd name="T51" fmla="*/ 2 h 62"/>
                  <a:gd name="T52" fmla="*/ 15 w 113"/>
                  <a:gd name="T53" fmla="*/ 0 h 6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70" name="Freeform 415">
                <a:extLst>
                  <a:ext uri="{FF2B5EF4-FFF2-40B4-BE49-F238E27FC236}">
                    <a16:creationId xmlns:a16="http://schemas.microsoft.com/office/drawing/2014/main" id="{D2B6E3F7-1032-467C-BD15-C92002A3F3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5 w 93"/>
                  <a:gd name="T3" fmla="*/ 0 h 50"/>
                  <a:gd name="T4" fmla="*/ 9 w 93"/>
                  <a:gd name="T5" fmla="*/ 0 h 50"/>
                  <a:gd name="T6" fmla="*/ 14 w 93"/>
                  <a:gd name="T7" fmla="*/ 1 h 50"/>
                  <a:gd name="T8" fmla="*/ 18 w 93"/>
                  <a:gd name="T9" fmla="*/ 2 h 50"/>
                  <a:gd name="T10" fmla="*/ 20 w 93"/>
                  <a:gd name="T11" fmla="*/ 2 h 50"/>
                  <a:gd name="T12" fmla="*/ 22 w 93"/>
                  <a:gd name="T13" fmla="*/ 3 h 50"/>
                  <a:gd name="T14" fmla="*/ 23 w 93"/>
                  <a:gd name="T15" fmla="*/ 4 h 50"/>
                  <a:gd name="T16" fmla="*/ 25 w 93"/>
                  <a:gd name="T17" fmla="*/ 5 h 50"/>
                  <a:gd name="T18" fmla="*/ 27 w 93"/>
                  <a:gd name="T19" fmla="*/ 6 h 50"/>
                  <a:gd name="T20" fmla="*/ 28 w 93"/>
                  <a:gd name="T21" fmla="*/ 8 h 50"/>
                  <a:gd name="T22" fmla="*/ 28 w 93"/>
                  <a:gd name="T23" fmla="*/ 9 h 50"/>
                  <a:gd name="T24" fmla="*/ 29 w 93"/>
                  <a:gd name="T25" fmla="*/ 11 h 50"/>
                  <a:gd name="T26" fmla="*/ 25 w 93"/>
                  <a:gd name="T27" fmla="*/ 11 h 50"/>
                  <a:gd name="T28" fmla="*/ 21 w 93"/>
                  <a:gd name="T29" fmla="*/ 12 h 50"/>
                  <a:gd name="T30" fmla="*/ 19 w 93"/>
                  <a:gd name="T31" fmla="*/ 12 h 50"/>
                  <a:gd name="T32" fmla="*/ 16 w 93"/>
                  <a:gd name="T33" fmla="*/ 13 h 50"/>
                  <a:gd name="T34" fmla="*/ 13 w 93"/>
                  <a:gd name="T35" fmla="*/ 14 h 50"/>
                  <a:gd name="T36" fmla="*/ 10 w 93"/>
                  <a:gd name="T37" fmla="*/ 15 h 50"/>
                  <a:gd name="T38" fmla="*/ 9 w 93"/>
                  <a:gd name="T39" fmla="*/ 15 h 50"/>
                  <a:gd name="T40" fmla="*/ 9 w 93"/>
                  <a:gd name="T41" fmla="*/ 14 h 50"/>
                  <a:gd name="T42" fmla="*/ 8 w 93"/>
                  <a:gd name="T43" fmla="*/ 14 h 50"/>
                  <a:gd name="T44" fmla="*/ 8 w 93"/>
                  <a:gd name="T45" fmla="*/ 14 h 50"/>
                  <a:gd name="T46" fmla="*/ 7 w 93"/>
                  <a:gd name="T47" fmla="*/ 12 h 50"/>
                  <a:gd name="T48" fmla="*/ 7 w 93"/>
                  <a:gd name="T49" fmla="*/ 11 h 50"/>
                  <a:gd name="T50" fmla="*/ 7 w 93"/>
                  <a:gd name="T51" fmla="*/ 9 h 50"/>
                  <a:gd name="T52" fmla="*/ 7 w 93"/>
                  <a:gd name="T53" fmla="*/ 8 h 50"/>
                  <a:gd name="T54" fmla="*/ 7 w 93"/>
                  <a:gd name="T55" fmla="*/ 7 h 50"/>
                  <a:gd name="T56" fmla="*/ 8 w 93"/>
                  <a:gd name="T57" fmla="*/ 6 h 50"/>
                  <a:gd name="T58" fmla="*/ 0 w 93"/>
                  <a:gd name="T59" fmla="*/ 6 h 50"/>
                  <a:gd name="T60" fmla="*/ 0 w 93"/>
                  <a:gd name="T61" fmla="*/ 0 h 5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71" name="Freeform 416">
                <a:extLst>
                  <a:ext uri="{FF2B5EF4-FFF2-40B4-BE49-F238E27FC236}">
                    <a16:creationId xmlns:a16="http://schemas.microsoft.com/office/drawing/2014/main" id="{C0A3E56E-E0B3-4058-9A93-A22C2F9FCF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6 w 1029"/>
                  <a:gd name="T1" fmla="*/ 37 h 604"/>
                  <a:gd name="T2" fmla="*/ 22 w 1029"/>
                  <a:gd name="T3" fmla="*/ 20 h 604"/>
                  <a:gd name="T4" fmla="*/ 86 w 1029"/>
                  <a:gd name="T5" fmla="*/ 0 h 604"/>
                  <a:gd name="T6" fmla="*/ 66 w 1029"/>
                  <a:gd name="T7" fmla="*/ 15 h 604"/>
                  <a:gd name="T8" fmla="*/ 58 w 1029"/>
                  <a:gd name="T9" fmla="*/ 34 h 604"/>
                  <a:gd name="T10" fmla="*/ 88 w 1029"/>
                  <a:gd name="T11" fmla="*/ 20 h 604"/>
                  <a:gd name="T12" fmla="*/ 128 w 1029"/>
                  <a:gd name="T13" fmla="*/ 5 h 604"/>
                  <a:gd name="T14" fmla="*/ 141 w 1029"/>
                  <a:gd name="T15" fmla="*/ 8 h 604"/>
                  <a:gd name="T16" fmla="*/ 139 w 1029"/>
                  <a:gd name="T17" fmla="*/ 23 h 604"/>
                  <a:gd name="T18" fmla="*/ 187 w 1029"/>
                  <a:gd name="T19" fmla="*/ 26 h 604"/>
                  <a:gd name="T20" fmla="*/ 217 w 1029"/>
                  <a:gd name="T21" fmla="*/ 29 h 604"/>
                  <a:gd name="T22" fmla="*/ 241 w 1029"/>
                  <a:gd name="T23" fmla="*/ 36 h 604"/>
                  <a:gd name="T24" fmla="*/ 241 w 1029"/>
                  <a:gd name="T25" fmla="*/ 44 h 604"/>
                  <a:gd name="T26" fmla="*/ 229 w 1029"/>
                  <a:gd name="T27" fmla="*/ 60 h 604"/>
                  <a:gd name="T28" fmla="*/ 257 w 1029"/>
                  <a:gd name="T29" fmla="*/ 55 h 604"/>
                  <a:gd name="T30" fmla="*/ 279 w 1029"/>
                  <a:gd name="T31" fmla="*/ 63 h 604"/>
                  <a:gd name="T32" fmla="*/ 275 w 1029"/>
                  <a:gd name="T33" fmla="*/ 78 h 604"/>
                  <a:gd name="T34" fmla="*/ 253 w 1029"/>
                  <a:gd name="T35" fmla="*/ 81 h 604"/>
                  <a:gd name="T36" fmla="*/ 276 w 1029"/>
                  <a:gd name="T37" fmla="*/ 93 h 604"/>
                  <a:gd name="T38" fmla="*/ 290 w 1029"/>
                  <a:gd name="T39" fmla="*/ 107 h 604"/>
                  <a:gd name="T40" fmla="*/ 314 w 1029"/>
                  <a:gd name="T41" fmla="*/ 108 h 604"/>
                  <a:gd name="T42" fmla="*/ 331 w 1029"/>
                  <a:gd name="T43" fmla="*/ 115 h 604"/>
                  <a:gd name="T44" fmla="*/ 302 w 1029"/>
                  <a:gd name="T45" fmla="*/ 134 h 604"/>
                  <a:gd name="T46" fmla="*/ 289 w 1029"/>
                  <a:gd name="T47" fmla="*/ 137 h 604"/>
                  <a:gd name="T48" fmla="*/ 281 w 1029"/>
                  <a:gd name="T49" fmla="*/ 145 h 604"/>
                  <a:gd name="T50" fmla="*/ 267 w 1029"/>
                  <a:gd name="T51" fmla="*/ 136 h 604"/>
                  <a:gd name="T52" fmla="*/ 274 w 1029"/>
                  <a:gd name="T53" fmla="*/ 129 h 604"/>
                  <a:gd name="T54" fmla="*/ 255 w 1029"/>
                  <a:gd name="T55" fmla="*/ 124 h 604"/>
                  <a:gd name="T56" fmla="*/ 244 w 1029"/>
                  <a:gd name="T57" fmla="*/ 119 h 604"/>
                  <a:gd name="T58" fmla="*/ 239 w 1029"/>
                  <a:gd name="T59" fmla="*/ 129 h 604"/>
                  <a:gd name="T60" fmla="*/ 240 w 1029"/>
                  <a:gd name="T61" fmla="*/ 146 h 604"/>
                  <a:gd name="T62" fmla="*/ 256 w 1029"/>
                  <a:gd name="T63" fmla="*/ 171 h 604"/>
                  <a:gd name="T64" fmla="*/ 248 w 1029"/>
                  <a:gd name="T65" fmla="*/ 179 h 604"/>
                  <a:gd name="T66" fmla="*/ 228 w 1029"/>
                  <a:gd name="T67" fmla="*/ 182 h 604"/>
                  <a:gd name="T68" fmla="*/ 199 w 1029"/>
                  <a:gd name="T69" fmla="*/ 169 h 604"/>
                  <a:gd name="T70" fmla="*/ 215 w 1029"/>
                  <a:gd name="T71" fmla="*/ 186 h 604"/>
                  <a:gd name="T72" fmla="*/ 214 w 1029"/>
                  <a:gd name="T73" fmla="*/ 198 h 604"/>
                  <a:gd name="T74" fmla="*/ 167 w 1029"/>
                  <a:gd name="T75" fmla="*/ 187 h 604"/>
                  <a:gd name="T76" fmla="*/ 152 w 1029"/>
                  <a:gd name="T77" fmla="*/ 171 h 604"/>
                  <a:gd name="T78" fmla="*/ 132 w 1029"/>
                  <a:gd name="T79" fmla="*/ 155 h 604"/>
                  <a:gd name="T80" fmla="*/ 118 w 1029"/>
                  <a:gd name="T81" fmla="*/ 149 h 604"/>
                  <a:gd name="T82" fmla="*/ 126 w 1029"/>
                  <a:gd name="T83" fmla="*/ 142 h 604"/>
                  <a:gd name="T84" fmla="*/ 148 w 1029"/>
                  <a:gd name="T85" fmla="*/ 131 h 604"/>
                  <a:gd name="T86" fmla="*/ 161 w 1029"/>
                  <a:gd name="T87" fmla="*/ 124 h 604"/>
                  <a:gd name="T88" fmla="*/ 186 w 1029"/>
                  <a:gd name="T89" fmla="*/ 125 h 604"/>
                  <a:gd name="T90" fmla="*/ 198 w 1029"/>
                  <a:gd name="T91" fmla="*/ 129 h 604"/>
                  <a:gd name="T92" fmla="*/ 221 w 1029"/>
                  <a:gd name="T93" fmla="*/ 127 h 604"/>
                  <a:gd name="T94" fmla="*/ 187 w 1029"/>
                  <a:gd name="T95" fmla="*/ 116 h 604"/>
                  <a:gd name="T96" fmla="*/ 174 w 1029"/>
                  <a:gd name="T97" fmla="*/ 118 h 604"/>
                  <a:gd name="T98" fmla="*/ 173 w 1029"/>
                  <a:gd name="T99" fmla="*/ 115 h 604"/>
                  <a:gd name="T100" fmla="*/ 185 w 1029"/>
                  <a:gd name="T101" fmla="*/ 100 h 604"/>
                  <a:gd name="T102" fmla="*/ 185 w 1029"/>
                  <a:gd name="T103" fmla="*/ 90 h 604"/>
                  <a:gd name="T104" fmla="*/ 169 w 1029"/>
                  <a:gd name="T105" fmla="*/ 83 h 604"/>
                  <a:gd name="T106" fmla="*/ 152 w 1029"/>
                  <a:gd name="T107" fmla="*/ 65 h 604"/>
                  <a:gd name="T108" fmla="*/ 140 w 1029"/>
                  <a:gd name="T109" fmla="*/ 55 h 604"/>
                  <a:gd name="T110" fmla="*/ 131 w 1029"/>
                  <a:gd name="T111" fmla="*/ 53 h 604"/>
                  <a:gd name="T112" fmla="*/ 122 w 1029"/>
                  <a:gd name="T113" fmla="*/ 67 h 604"/>
                  <a:gd name="T114" fmla="*/ 67 w 1029"/>
                  <a:gd name="T115" fmla="*/ 57 h 604"/>
                  <a:gd name="T116" fmla="*/ 37 w 1029"/>
                  <a:gd name="T117" fmla="*/ 62 h 604"/>
                  <a:gd name="T118" fmla="*/ 25 w 1029"/>
                  <a:gd name="T119" fmla="*/ 61 h 604"/>
                  <a:gd name="T120" fmla="*/ 5 w 1029"/>
                  <a:gd name="T121" fmla="*/ 59 h 604"/>
                  <a:gd name="T122" fmla="*/ 3 w 1029"/>
                  <a:gd name="T123" fmla="*/ 52 h 604"/>
                  <a:gd name="T124" fmla="*/ 24 w 1029"/>
                  <a:gd name="T125" fmla="*/ 49 h 60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72" name="Freeform 417">
                <a:extLst>
                  <a:ext uri="{FF2B5EF4-FFF2-40B4-BE49-F238E27FC236}">
                    <a16:creationId xmlns:a16="http://schemas.microsoft.com/office/drawing/2014/main" id="{F48037E2-A65F-47D0-A090-FCDEC19F34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257 w 1268"/>
                  <a:gd name="T1" fmla="*/ 12 h 321"/>
                  <a:gd name="T2" fmla="*/ 262 w 1268"/>
                  <a:gd name="T3" fmla="*/ 5 h 321"/>
                  <a:gd name="T4" fmla="*/ 273 w 1268"/>
                  <a:gd name="T5" fmla="*/ 3 h 321"/>
                  <a:gd name="T6" fmla="*/ 279 w 1268"/>
                  <a:gd name="T7" fmla="*/ 8 h 321"/>
                  <a:gd name="T8" fmla="*/ 303 w 1268"/>
                  <a:gd name="T9" fmla="*/ 5 h 321"/>
                  <a:gd name="T10" fmla="*/ 329 w 1268"/>
                  <a:gd name="T11" fmla="*/ 0 h 321"/>
                  <a:gd name="T12" fmla="*/ 350 w 1268"/>
                  <a:gd name="T13" fmla="*/ 6 h 321"/>
                  <a:gd name="T14" fmla="*/ 365 w 1268"/>
                  <a:gd name="T15" fmla="*/ 7 h 321"/>
                  <a:gd name="T16" fmla="*/ 409 w 1268"/>
                  <a:gd name="T17" fmla="*/ 10 h 321"/>
                  <a:gd name="T18" fmla="*/ 401 w 1268"/>
                  <a:gd name="T19" fmla="*/ 16 h 321"/>
                  <a:gd name="T20" fmla="*/ 375 w 1268"/>
                  <a:gd name="T21" fmla="*/ 21 h 321"/>
                  <a:gd name="T22" fmla="*/ 340 w 1268"/>
                  <a:gd name="T23" fmla="*/ 25 h 321"/>
                  <a:gd name="T24" fmla="*/ 332 w 1268"/>
                  <a:gd name="T25" fmla="*/ 31 h 321"/>
                  <a:gd name="T26" fmla="*/ 322 w 1268"/>
                  <a:gd name="T27" fmla="*/ 34 h 321"/>
                  <a:gd name="T28" fmla="*/ 304 w 1268"/>
                  <a:gd name="T29" fmla="*/ 33 h 321"/>
                  <a:gd name="T30" fmla="*/ 300 w 1268"/>
                  <a:gd name="T31" fmla="*/ 39 h 321"/>
                  <a:gd name="T32" fmla="*/ 241 w 1268"/>
                  <a:gd name="T33" fmla="*/ 44 h 321"/>
                  <a:gd name="T34" fmla="*/ 215 w 1268"/>
                  <a:gd name="T35" fmla="*/ 51 h 321"/>
                  <a:gd name="T36" fmla="*/ 205 w 1268"/>
                  <a:gd name="T37" fmla="*/ 59 h 321"/>
                  <a:gd name="T38" fmla="*/ 191 w 1268"/>
                  <a:gd name="T39" fmla="*/ 55 h 321"/>
                  <a:gd name="T40" fmla="*/ 184 w 1268"/>
                  <a:gd name="T41" fmla="*/ 59 h 321"/>
                  <a:gd name="T42" fmla="*/ 190 w 1268"/>
                  <a:gd name="T43" fmla="*/ 68 h 321"/>
                  <a:gd name="T44" fmla="*/ 176 w 1268"/>
                  <a:gd name="T45" fmla="*/ 78 h 321"/>
                  <a:gd name="T46" fmla="*/ 156 w 1268"/>
                  <a:gd name="T47" fmla="*/ 77 h 321"/>
                  <a:gd name="T48" fmla="*/ 130 w 1268"/>
                  <a:gd name="T49" fmla="*/ 79 h 321"/>
                  <a:gd name="T50" fmla="*/ 131 w 1268"/>
                  <a:gd name="T51" fmla="*/ 84 h 321"/>
                  <a:gd name="T52" fmla="*/ 126 w 1268"/>
                  <a:gd name="T53" fmla="*/ 96 h 321"/>
                  <a:gd name="T54" fmla="*/ 107 w 1268"/>
                  <a:gd name="T55" fmla="*/ 105 h 321"/>
                  <a:gd name="T56" fmla="*/ 94 w 1268"/>
                  <a:gd name="T57" fmla="*/ 97 h 321"/>
                  <a:gd name="T58" fmla="*/ 82 w 1268"/>
                  <a:gd name="T59" fmla="*/ 93 h 321"/>
                  <a:gd name="T60" fmla="*/ 31 w 1268"/>
                  <a:gd name="T61" fmla="*/ 90 h 321"/>
                  <a:gd name="T62" fmla="*/ 0 w 1268"/>
                  <a:gd name="T63" fmla="*/ 93 h 321"/>
                  <a:gd name="T64" fmla="*/ 3 w 1268"/>
                  <a:gd name="T65" fmla="*/ 87 h 321"/>
                  <a:gd name="T66" fmla="*/ 18 w 1268"/>
                  <a:gd name="T67" fmla="*/ 80 h 321"/>
                  <a:gd name="T68" fmla="*/ 46 w 1268"/>
                  <a:gd name="T69" fmla="*/ 77 h 321"/>
                  <a:gd name="T70" fmla="*/ 55 w 1268"/>
                  <a:gd name="T71" fmla="*/ 74 h 321"/>
                  <a:gd name="T72" fmla="*/ 61 w 1268"/>
                  <a:gd name="T73" fmla="*/ 71 h 321"/>
                  <a:gd name="T74" fmla="*/ 71 w 1268"/>
                  <a:gd name="T75" fmla="*/ 76 h 321"/>
                  <a:gd name="T76" fmla="*/ 80 w 1268"/>
                  <a:gd name="T77" fmla="*/ 81 h 321"/>
                  <a:gd name="T78" fmla="*/ 67 w 1268"/>
                  <a:gd name="T79" fmla="*/ 68 h 321"/>
                  <a:gd name="T80" fmla="*/ 62 w 1268"/>
                  <a:gd name="T81" fmla="*/ 65 h 321"/>
                  <a:gd name="T82" fmla="*/ 64 w 1268"/>
                  <a:gd name="T83" fmla="*/ 59 h 321"/>
                  <a:gd name="T84" fmla="*/ 79 w 1268"/>
                  <a:gd name="T85" fmla="*/ 57 h 321"/>
                  <a:gd name="T86" fmla="*/ 118 w 1268"/>
                  <a:gd name="T87" fmla="*/ 61 h 321"/>
                  <a:gd name="T88" fmla="*/ 135 w 1268"/>
                  <a:gd name="T89" fmla="*/ 57 h 321"/>
                  <a:gd name="T90" fmla="*/ 104 w 1268"/>
                  <a:gd name="T91" fmla="*/ 55 h 321"/>
                  <a:gd name="T92" fmla="*/ 96 w 1268"/>
                  <a:gd name="T93" fmla="*/ 49 h 321"/>
                  <a:gd name="T94" fmla="*/ 122 w 1268"/>
                  <a:gd name="T95" fmla="*/ 45 h 321"/>
                  <a:gd name="T96" fmla="*/ 141 w 1268"/>
                  <a:gd name="T97" fmla="*/ 51 h 321"/>
                  <a:gd name="T98" fmla="*/ 154 w 1268"/>
                  <a:gd name="T99" fmla="*/ 41 h 321"/>
                  <a:gd name="T100" fmla="*/ 214 w 1268"/>
                  <a:gd name="T101" fmla="*/ 28 h 321"/>
                  <a:gd name="T102" fmla="*/ 190 w 1268"/>
                  <a:gd name="T103" fmla="*/ 36 h 321"/>
                  <a:gd name="T104" fmla="*/ 145 w 1268"/>
                  <a:gd name="T105" fmla="*/ 36 h 321"/>
                  <a:gd name="T106" fmla="*/ 101 w 1268"/>
                  <a:gd name="T107" fmla="*/ 38 h 321"/>
                  <a:gd name="T108" fmla="*/ 82 w 1268"/>
                  <a:gd name="T109" fmla="*/ 33 h 321"/>
                  <a:gd name="T110" fmla="*/ 71 w 1268"/>
                  <a:gd name="T111" fmla="*/ 26 h 321"/>
                  <a:gd name="T112" fmla="*/ 82 w 1268"/>
                  <a:gd name="T113" fmla="*/ 23 h 321"/>
                  <a:gd name="T114" fmla="*/ 144 w 1268"/>
                  <a:gd name="T115" fmla="*/ 15 h 321"/>
                  <a:gd name="T116" fmla="*/ 199 w 1268"/>
                  <a:gd name="T117" fmla="*/ 10 h 321"/>
                  <a:gd name="T118" fmla="*/ 217 w 1268"/>
                  <a:gd name="T119" fmla="*/ 7 h 321"/>
                  <a:gd name="T120" fmla="*/ 244 w 1268"/>
                  <a:gd name="T121" fmla="*/ 9 h 32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73" name="Freeform 418">
                <a:extLst>
                  <a:ext uri="{FF2B5EF4-FFF2-40B4-BE49-F238E27FC236}">
                    <a16:creationId xmlns:a16="http://schemas.microsoft.com/office/drawing/2014/main" id="{7134287C-A0BF-4832-A553-AD063D7C00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0 w 160"/>
                  <a:gd name="T3" fmla="*/ 3 h 117"/>
                  <a:gd name="T4" fmla="*/ 1 w 160"/>
                  <a:gd name="T5" fmla="*/ 6 h 117"/>
                  <a:gd name="T6" fmla="*/ 3 w 160"/>
                  <a:gd name="T7" fmla="*/ 9 h 117"/>
                  <a:gd name="T8" fmla="*/ 5 w 160"/>
                  <a:gd name="T9" fmla="*/ 13 h 117"/>
                  <a:gd name="T10" fmla="*/ 7 w 160"/>
                  <a:gd name="T11" fmla="*/ 16 h 117"/>
                  <a:gd name="T12" fmla="*/ 10 w 160"/>
                  <a:gd name="T13" fmla="*/ 19 h 117"/>
                  <a:gd name="T14" fmla="*/ 13 w 160"/>
                  <a:gd name="T15" fmla="*/ 22 h 117"/>
                  <a:gd name="T16" fmla="*/ 16 w 160"/>
                  <a:gd name="T17" fmla="*/ 25 h 117"/>
                  <a:gd name="T18" fmla="*/ 20 w 160"/>
                  <a:gd name="T19" fmla="*/ 28 h 117"/>
                  <a:gd name="T20" fmla="*/ 23 w 160"/>
                  <a:gd name="T21" fmla="*/ 30 h 117"/>
                  <a:gd name="T22" fmla="*/ 27 w 160"/>
                  <a:gd name="T23" fmla="*/ 32 h 117"/>
                  <a:gd name="T24" fmla="*/ 30 w 160"/>
                  <a:gd name="T25" fmla="*/ 34 h 117"/>
                  <a:gd name="T26" fmla="*/ 34 w 160"/>
                  <a:gd name="T27" fmla="*/ 36 h 117"/>
                  <a:gd name="T28" fmla="*/ 37 w 160"/>
                  <a:gd name="T29" fmla="*/ 37 h 117"/>
                  <a:gd name="T30" fmla="*/ 40 w 160"/>
                  <a:gd name="T31" fmla="*/ 38 h 117"/>
                  <a:gd name="T32" fmla="*/ 42 w 160"/>
                  <a:gd name="T33" fmla="*/ 38 h 117"/>
                  <a:gd name="T34" fmla="*/ 44 w 160"/>
                  <a:gd name="T35" fmla="*/ 38 h 117"/>
                  <a:gd name="T36" fmla="*/ 47 w 160"/>
                  <a:gd name="T37" fmla="*/ 37 h 117"/>
                  <a:gd name="T38" fmla="*/ 49 w 160"/>
                  <a:gd name="T39" fmla="*/ 36 h 117"/>
                  <a:gd name="T40" fmla="*/ 51 w 160"/>
                  <a:gd name="T41" fmla="*/ 34 h 117"/>
                  <a:gd name="T42" fmla="*/ 48 w 160"/>
                  <a:gd name="T43" fmla="*/ 30 h 117"/>
                  <a:gd name="T44" fmla="*/ 45 w 160"/>
                  <a:gd name="T45" fmla="*/ 26 h 117"/>
                  <a:gd name="T46" fmla="*/ 44 w 160"/>
                  <a:gd name="T47" fmla="*/ 24 h 117"/>
                  <a:gd name="T48" fmla="*/ 43 w 160"/>
                  <a:gd name="T49" fmla="*/ 21 h 117"/>
                  <a:gd name="T50" fmla="*/ 42 w 160"/>
                  <a:gd name="T51" fmla="*/ 19 h 117"/>
                  <a:gd name="T52" fmla="*/ 42 w 160"/>
                  <a:gd name="T53" fmla="*/ 16 h 117"/>
                  <a:gd name="T54" fmla="*/ 40 w 160"/>
                  <a:gd name="T55" fmla="*/ 16 h 117"/>
                  <a:gd name="T56" fmla="*/ 38 w 160"/>
                  <a:gd name="T57" fmla="*/ 15 h 117"/>
                  <a:gd name="T58" fmla="*/ 34 w 160"/>
                  <a:gd name="T59" fmla="*/ 13 h 117"/>
                  <a:gd name="T60" fmla="*/ 31 w 160"/>
                  <a:gd name="T61" fmla="*/ 11 h 117"/>
                  <a:gd name="T62" fmla="*/ 28 w 160"/>
                  <a:gd name="T63" fmla="*/ 9 h 117"/>
                  <a:gd name="T64" fmla="*/ 25 w 160"/>
                  <a:gd name="T65" fmla="*/ 7 h 117"/>
                  <a:gd name="T66" fmla="*/ 24 w 160"/>
                  <a:gd name="T67" fmla="*/ 6 h 117"/>
                  <a:gd name="T68" fmla="*/ 23 w 160"/>
                  <a:gd name="T69" fmla="*/ 4 h 117"/>
                  <a:gd name="T70" fmla="*/ 22 w 160"/>
                  <a:gd name="T71" fmla="*/ 3 h 117"/>
                  <a:gd name="T72" fmla="*/ 21 w 160"/>
                  <a:gd name="T73" fmla="*/ 2 h 117"/>
                  <a:gd name="T74" fmla="*/ 19 w 160"/>
                  <a:gd name="T75" fmla="*/ 2 h 117"/>
                  <a:gd name="T76" fmla="*/ 17 w 160"/>
                  <a:gd name="T77" fmla="*/ 2 h 117"/>
                  <a:gd name="T78" fmla="*/ 14 w 160"/>
                  <a:gd name="T79" fmla="*/ 1 h 117"/>
                  <a:gd name="T80" fmla="*/ 11 w 160"/>
                  <a:gd name="T81" fmla="*/ 0 h 117"/>
                  <a:gd name="T82" fmla="*/ 0 w 160"/>
                  <a:gd name="T83" fmla="*/ 0 h 117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74" name="Freeform 419">
                <a:extLst>
                  <a:ext uri="{FF2B5EF4-FFF2-40B4-BE49-F238E27FC236}">
                    <a16:creationId xmlns:a16="http://schemas.microsoft.com/office/drawing/2014/main" id="{71E7FA8C-A925-4E0D-AD54-E0786DA0DF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13 w 80"/>
                  <a:gd name="T1" fmla="*/ 40 h 141"/>
                  <a:gd name="T2" fmla="*/ 26 w 80"/>
                  <a:gd name="T3" fmla="*/ 12 h 141"/>
                  <a:gd name="T4" fmla="*/ 26 w 80"/>
                  <a:gd name="T5" fmla="*/ 6 h 141"/>
                  <a:gd name="T6" fmla="*/ 22 w 80"/>
                  <a:gd name="T7" fmla="*/ 6 h 141"/>
                  <a:gd name="T8" fmla="*/ 19 w 80"/>
                  <a:gd name="T9" fmla="*/ 5 h 141"/>
                  <a:gd name="T10" fmla="*/ 17 w 80"/>
                  <a:gd name="T11" fmla="*/ 5 h 141"/>
                  <a:gd name="T12" fmla="*/ 15 w 80"/>
                  <a:gd name="T13" fmla="*/ 4 h 141"/>
                  <a:gd name="T14" fmla="*/ 14 w 80"/>
                  <a:gd name="T15" fmla="*/ 3 h 141"/>
                  <a:gd name="T16" fmla="*/ 14 w 80"/>
                  <a:gd name="T17" fmla="*/ 2 h 141"/>
                  <a:gd name="T18" fmla="*/ 13 w 80"/>
                  <a:gd name="T19" fmla="*/ 1 h 141"/>
                  <a:gd name="T20" fmla="*/ 13 w 80"/>
                  <a:gd name="T21" fmla="*/ 0 h 141"/>
                  <a:gd name="T22" fmla="*/ 0 w 80"/>
                  <a:gd name="T23" fmla="*/ 0 h 141"/>
                  <a:gd name="T24" fmla="*/ 0 w 80"/>
                  <a:gd name="T25" fmla="*/ 8 h 141"/>
                  <a:gd name="T26" fmla="*/ 0 w 80"/>
                  <a:gd name="T27" fmla="*/ 13 h 141"/>
                  <a:gd name="T28" fmla="*/ 0 w 80"/>
                  <a:gd name="T29" fmla="*/ 17 h 141"/>
                  <a:gd name="T30" fmla="*/ 0 w 80"/>
                  <a:gd name="T31" fmla="*/ 20 h 141"/>
                  <a:gd name="T32" fmla="*/ 0 w 80"/>
                  <a:gd name="T33" fmla="*/ 23 h 141"/>
                  <a:gd name="T34" fmla="*/ 1 w 80"/>
                  <a:gd name="T35" fmla="*/ 25 h 141"/>
                  <a:gd name="T36" fmla="*/ 2 w 80"/>
                  <a:gd name="T37" fmla="*/ 29 h 141"/>
                  <a:gd name="T38" fmla="*/ 4 w 80"/>
                  <a:gd name="T39" fmla="*/ 32 h 141"/>
                  <a:gd name="T40" fmla="*/ 7 w 80"/>
                  <a:gd name="T41" fmla="*/ 39 h 141"/>
                  <a:gd name="T42" fmla="*/ 9 w 80"/>
                  <a:gd name="T43" fmla="*/ 46 h 141"/>
                  <a:gd name="T44" fmla="*/ 10 w 80"/>
                  <a:gd name="T45" fmla="*/ 44 h 141"/>
                  <a:gd name="T46" fmla="*/ 11 w 80"/>
                  <a:gd name="T47" fmla="*/ 42 h 141"/>
                  <a:gd name="T48" fmla="*/ 11 w 80"/>
                  <a:gd name="T49" fmla="*/ 41 h 141"/>
                  <a:gd name="T50" fmla="*/ 12 w 80"/>
                  <a:gd name="T51" fmla="*/ 41 h 141"/>
                  <a:gd name="T52" fmla="*/ 12 w 80"/>
                  <a:gd name="T53" fmla="*/ 40 h 141"/>
                  <a:gd name="T54" fmla="*/ 13 w 80"/>
                  <a:gd name="T55" fmla="*/ 40 h 14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75" name="Freeform 420">
                <a:extLst>
                  <a:ext uri="{FF2B5EF4-FFF2-40B4-BE49-F238E27FC236}">
                    <a16:creationId xmlns:a16="http://schemas.microsoft.com/office/drawing/2014/main" id="{5A5B6871-447F-4F85-9F68-50ECD3B771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31 h 124"/>
                  <a:gd name="T2" fmla="*/ 0 w 259"/>
                  <a:gd name="T3" fmla="*/ 32 h 124"/>
                  <a:gd name="T4" fmla="*/ 1 w 259"/>
                  <a:gd name="T5" fmla="*/ 33 h 124"/>
                  <a:gd name="T6" fmla="*/ 1 w 259"/>
                  <a:gd name="T7" fmla="*/ 34 h 124"/>
                  <a:gd name="T8" fmla="*/ 2 w 259"/>
                  <a:gd name="T9" fmla="*/ 35 h 124"/>
                  <a:gd name="T10" fmla="*/ 4 w 259"/>
                  <a:gd name="T11" fmla="*/ 37 h 124"/>
                  <a:gd name="T12" fmla="*/ 7 w 259"/>
                  <a:gd name="T13" fmla="*/ 38 h 124"/>
                  <a:gd name="T14" fmla="*/ 10 w 259"/>
                  <a:gd name="T15" fmla="*/ 40 h 124"/>
                  <a:gd name="T16" fmla="*/ 13 w 259"/>
                  <a:gd name="T17" fmla="*/ 40 h 124"/>
                  <a:gd name="T18" fmla="*/ 16 w 259"/>
                  <a:gd name="T19" fmla="*/ 41 h 124"/>
                  <a:gd name="T20" fmla="*/ 19 w 259"/>
                  <a:gd name="T21" fmla="*/ 41 h 124"/>
                  <a:gd name="T22" fmla="*/ 22 w 259"/>
                  <a:gd name="T23" fmla="*/ 41 h 124"/>
                  <a:gd name="T24" fmla="*/ 24 w 259"/>
                  <a:gd name="T25" fmla="*/ 41 h 124"/>
                  <a:gd name="T26" fmla="*/ 26 w 259"/>
                  <a:gd name="T27" fmla="*/ 40 h 124"/>
                  <a:gd name="T28" fmla="*/ 28 w 259"/>
                  <a:gd name="T29" fmla="*/ 40 h 124"/>
                  <a:gd name="T30" fmla="*/ 31 w 259"/>
                  <a:gd name="T31" fmla="*/ 38 h 124"/>
                  <a:gd name="T32" fmla="*/ 34 w 259"/>
                  <a:gd name="T33" fmla="*/ 36 h 124"/>
                  <a:gd name="T34" fmla="*/ 37 w 259"/>
                  <a:gd name="T35" fmla="*/ 34 h 124"/>
                  <a:gd name="T36" fmla="*/ 40 w 259"/>
                  <a:gd name="T37" fmla="*/ 32 h 124"/>
                  <a:gd name="T38" fmla="*/ 42 w 259"/>
                  <a:gd name="T39" fmla="*/ 32 h 124"/>
                  <a:gd name="T40" fmla="*/ 44 w 259"/>
                  <a:gd name="T41" fmla="*/ 31 h 124"/>
                  <a:gd name="T42" fmla="*/ 46 w 259"/>
                  <a:gd name="T43" fmla="*/ 31 h 124"/>
                  <a:gd name="T44" fmla="*/ 49 w 259"/>
                  <a:gd name="T45" fmla="*/ 31 h 124"/>
                  <a:gd name="T46" fmla="*/ 52 w 259"/>
                  <a:gd name="T47" fmla="*/ 31 h 124"/>
                  <a:gd name="T48" fmla="*/ 55 w 259"/>
                  <a:gd name="T49" fmla="*/ 32 h 124"/>
                  <a:gd name="T50" fmla="*/ 58 w 259"/>
                  <a:gd name="T51" fmla="*/ 33 h 124"/>
                  <a:gd name="T52" fmla="*/ 60 w 259"/>
                  <a:gd name="T53" fmla="*/ 34 h 124"/>
                  <a:gd name="T54" fmla="*/ 65 w 259"/>
                  <a:gd name="T55" fmla="*/ 37 h 124"/>
                  <a:gd name="T56" fmla="*/ 70 w 259"/>
                  <a:gd name="T57" fmla="*/ 39 h 124"/>
                  <a:gd name="T58" fmla="*/ 83 w 259"/>
                  <a:gd name="T59" fmla="*/ 39 h 124"/>
                  <a:gd name="T60" fmla="*/ 83 w 259"/>
                  <a:gd name="T61" fmla="*/ 33 h 124"/>
                  <a:gd name="T62" fmla="*/ 81 w 259"/>
                  <a:gd name="T63" fmla="*/ 32 h 124"/>
                  <a:gd name="T64" fmla="*/ 78 w 259"/>
                  <a:gd name="T65" fmla="*/ 32 h 124"/>
                  <a:gd name="T66" fmla="*/ 76 w 259"/>
                  <a:gd name="T67" fmla="*/ 31 h 124"/>
                  <a:gd name="T68" fmla="*/ 72 w 259"/>
                  <a:gd name="T69" fmla="*/ 31 h 124"/>
                  <a:gd name="T70" fmla="*/ 74 w 259"/>
                  <a:gd name="T71" fmla="*/ 28 h 124"/>
                  <a:gd name="T72" fmla="*/ 76 w 259"/>
                  <a:gd name="T73" fmla="*/ 26 h 124"/>
                  <a:gd name="T74" fmla="*/ 77 w 259"/>
                  <a:gd name="T75" fmla="*/ 24 h 124"/>
                  <a:gd name="T76" fmla="*/ 79 w 259"/>
                  <a:gd name="T77" fmla="*/ 23 h 124"/>
                  <a:gd name="T78" fmla="*/ 76 w 259"/>
                  <a:gd name="T79" fmla="*/ 20 h 124"/>
                  <a:gd name="T80" fmla="*/ 74 w 259"/>
                  <a:gd name="T81" fmla="*/ 19 h 124"/>
                  <a:gd name="T82" fmla="*/ 71 w 259"/>
                  <a:gd name="T83" fmla="*/ 17 h 124"/>
                  <a:gd name="T84" fmla="*/ 69 w 259"/>
                  <a:gd name="T85" fmla="*/ 15 h 124"/>
                  <a:gd name="T86" fmla="*/ 63 w 259"/>
                  <a:gd name="T87" fmla="*/ 12 h 124"/>
                  <a:gd name="T88" fmla="*/ 58 w 259"/>
                  <a:gd name="T89" fmla="*/ 10 h 124"/>
                  <a:gd name="T90" fmla="*/ 53 w 259"/>
                  <a:gd name="T91" fmla="*/ 8 h 124"/>
                  <a:gd name="T92" fmla="*/ 49 w 259"/>
                  <a:gd name="T93" fmla="*/ 6 h 124"/>
                  <a:gd name="T94" fmla="*/ 47 w 259"/>
                  <a:gd name="T95" fmla="*/ 4 h 124"/>
                  <a:gd name="T96" fmla="*/ 45 w 259"/>
                  <a:gd name="T97" fmla="*/ 3 h 124"/>
                  <a:gd name="T98" fmla="*/ 44 w 259"/>
                  <a:gd name="T99" fmla="*/ 2 h 124"/>
                  <a:gd name="T100" fmla="*/ 42 w 259"/>
                  <a:gd name="T101" fmla="*/ 0 h 124"/>
                  <a:gd name="T102" fmla="*/ 40 w 259"/>
                  <a:gd name="T103" fmla="*/ 1 h 124"/>
                  <a:gd name="T104" fmla="*/ 37 w 259"/>
                  <a:gd name="T105" fmla="*/ 2 h 124"/>
                  <a:gd name="T106" fmla="*/ 34 w 259"/>
                  <a:gd name="T107" fmla="*/ 4 h 124"/>
                  <a:gd name="T108" fmla="*/ 30 w 259"/>
                  <a:gd name="T109" fmla="*/ 6 h 124"/>
                  <a:gd name="T110" fmla="*/ 24 w 259"/>
                  <a:gd name="T111" fmla="*/ 10 h 124"/>
                  <a:gd name="T112" fmla="*/ 18 w 259"/>
                  <a:gd name="T113" fmla="*/ 14 h 124"/>
                  <a:gd name="T114" fmla="*/ 12 w 259"/>
                  <a:gd name="T115" fmla="*/ 19 h 124"/>
                  <a:gd name="T116" fmla="*/ 7 w 259"/>
                  <a:gd name="T117" fmla="*/ 23 h 124"/>
                  <a:gd name="T118" fmla="*/ 3 w 259"/>
                  <a:gd name="T119" fmla="*/ 27 h 124"/>
                  <a:gd name="T120" fmla="*/ 0 w 259"/>
                  <a:gd name="T121" fmla="*/ 31 h 12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76" name="Freeform 421">
                <a:extLst>
                  <a:ext uri="{FF2B5EF4-FFF2-40B4-BE49-F238E27FC236}">
                    <a16:creationId xmlns:a16="http://schemas.microsoft.com/office/drawing/2014/main" id="{1B67619A-12D9-4230-A492-518EDF57C2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11 h 57"/>
                  <a:gd name="T2" fmla="*/ 2 w 119"/>
                  <a:gd name="T3" fmla="*/ 12 h 57"/>
                  <a:gd name="T4" fmla="*/ 4 w 119"/>
                  <a:gd name="T5" fmla="*/ 13 h 57"/>
                  <a:gd name="T6" fmla="*/ 6 w 119"/>
                  <a:gd name="T7" fmla="*/ 14 h 57"/>
                  <a:gd name="T8" fmla="*/ 8 w 119"/>
                  <a:gd name="T9" fmla="*/ 16 h 57"/>
                  <a:gd name="T10" fmla="*/ 10 w 119"/>
                  <a:gd name="T11" fmla="*/ 17 h 57"/>
                  <a:gd name="T12" fmla="*/ 11 w 119"/>
                  <a:gd name="T13" fmla="*/ 18 h 57"/>
                  <a:gd name="T14" fmla="*/ 13 w 119"/>
                  <a:gd name="T15" fmla="*/ 19 h 57"/>
                  <a:gd name="T16" fmla="*/ 15 w 119"/>
                  <a:gd name="T17" fmla="*/ 19 h 57"/>
                  <a:gd name="T18" fmla="*/ 18 w 119"/>
                  <a:gd name="T19" fmla="*/ 19 h 57"/>
                  <a:gd name="T20" fmla="*/ 20 w 119"/>
                  <a:gd name="T21" fmla="*/ 19 h 57"/>
                  <a:gd name="T22" fmla="*/ 22 w 119"/>
                  <a:gd name="T23" fmla="*/ 18 h 57"/>
                  <a:gd name="T24" fmla="*/ 25 w 119"/>
                  <a:gd name="T25" fmla="*/ 18 h 57"/>
                  <a:gd name="T26" fmla="*/ 27 w 119"/>
                  <a:gd name="T27" fmla="*/ 17 h 57"/>
                  <a:gd name="T28" fmla="*/ 28 w 119"/>
                  <a:gd name="T29" fmla="*/ 16 h 57"/>
                  <a:gd name="T30" fmla="*/ 30 w 119"/>
                  <a:gd name="T31" fmla="*/ 15 h 57"/>
                  <a:gd name="T32" fmla="*/ 31 w 119"/>
                  <a:gd name="T33" fmla="*/ 13 h 57"/>
                  <a:gd name="T34" fmla="*/ 34 w 119"/>
                  <a:gd name="T35" fmla="*/ 11 h 57"/>
                  <a:gd name="T36" fmla="*/ 36 w 119"/>
                  <a:gd name="T37" fmla="*/ 8 h 57"/>
                  <a:gd name="T38" fmla="*/ 37 w 119"/>
                  <a:gd name="T39" fmla="*/ 4 h 57"/>
                  <a:gd name="T40" fmla="*/ 38 w 119"/>
                  <a:gd name="T41" fmla="*/ 0 h 57"/>
                  <a:gd name="T42" fmla="*/ 32 w 119"/>
                  <a:gd name="T43" fmla="*/ 0 h 57"/>
                  <a:gd name="T44" fmla="*/ 26 w 119"/>
                  <a:gd name="T45" fmla="*/ 0 h 57"/>
                  <a:gd name="T46" fmla="*/ 20 w 119"/>
                  <a:gd name="T47" fmla="*/ 1 h 57"/>
                  <a:gd name="T48" fmla="*/ 14 w 119"/>
                  <a:gd name="T49" fmla="*/ 2 h 57"/>
                  <a:gd name="T50" fmla="*/ 11 w 119"/>
                  <a:gd name="T51" fmla="*/ 2 h 57"/>
                  <a:gd name="T52" fmla="*/ 9 w 119"/>
                  <a:gd name="T53" fmla="*/ 3 h 57"/>
                  <a:gd name="T54" fmla="*/ 7 w 119"/>
                  <a:gd name="T55" fmla="*/ 4 h 57"/>
                  <a:gd name="T56" fmla="*/ 5 w 119"/>
                  <a:gd name="T57" fmla="*/ 5 h 57"/>
                  <a:gd name="T58" fmla="*/ 3 w 119"/>
                  <a:gd name="T59" fmla="*/ 6 h 57"/>
                  <a:gd name="T60" fmla="*/ 2 w 119"/>
                  <a:gd name="T61" fmla="*/ 8 h 57"/>
                  <a:gd name="T62" fmla="*/ 1 w 119"/>
                  <a:gd name="T63" fmla="*/ 9 h 57"/>
                  <a:gd name="T64" fmla="*/ 0 w 119"/>
                  <a:gd name="T65" fmla="*/ 11 h 5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77" name="Freeform 422">
                <a:extLst>
                  <a:ext uri="{FF2B5EF4-FFF2-40B4-BE49-F238E27FC236}">
                    <a16:creationId xmlns:a16="http://schemas.microsoft.com/office/drawing/2014/main" id="{914A0F56-344C-4790-BE26-ED4388A0D8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16 h 52"/>
                  <a:gd name="T2" fmla="*/ 2 w 107"/>
                  <a:gd name="T3" fmla="*/ 17 h 52"/>
                  <a:gd name="T4" fmla="*/ 3 w 107"/>
                  <a:gd name="T5" fmla="*/ 17 h 52"/>
                  <a:gd name="T6" fmla="*/ 4 w 107"/>
                  <a:gd name="T7" fmla="*/ 17 h 52"/>
                  <a:gd name="T8" fmla="*/ 5 w 107"/>
                  <a:gd name="T9" fmla="*/ 17 h 52"/>
                  <a:gd name="T10" fmla="*/ 8 w 107"/>
                  <a:gd name="T11" fmla="*/ 16 h 52"/>
                  <a:gd name="T12" fmla="*/ 11 w 107"/>
                  <a:gd name="T13" fmla="*/ 16 h 52"/>
                  <a:gd name="T14" fmla="*/ 14 w 107"/>
                  <a:gd name="T15" fmla="*/ 16 h 52"/>
                  <a:gd name="T16" fmla="*/ 17 w 107"/>
                  <a:gd name="T17" fmla="*/ 16 h 52"/>
                  <a:gd name="T18" fmla="*/ 20 w 107"/>
                  <a:gd name="T19" fmla="*/ 15 h 52"/>
                  <a:gd name="T20" fmla="*/ 22 w 107"/>
                  <a:gd name="T21" fmla="*/ 14 h 52"/>
                  <a:gd name="T22" fmla="*/ 25 w 107"/>
                  <a:gd name="T23" fmla="*/ 13 h 52"/>
                  <a:gd name="T24" fmla="*/ 28 w 107"/>
                  <a:gd name="T25" fmla="*/ 12 h 52"/>
                  <a:gd name="T26" fmla="*/ 31 w 107"/>
                  <a:gd name="T27" fmla="*/ 10 h 52"/>
                  <a:gd name="T28" fmla="*/ 34 w 107"/>
                  <a:gd name="T29" fmla="*/ 8 h 52"/>
                  <a:gd name="T30" fmla="*/ 34 w 107"/>
                  <a:gd name="T31" fmla="*/ 0 h 52"/>
                  <a:gd name="T32" fmla="*/ 31 w 107"/>
                  <a:gd name="T33" fmla="*/ 0 h 52"/>
                  <a:gd name="T34" fmla="*/ 27 w 107"/>
                  <a:gd name="T35" fmla="*/ 1 h 52"/>
                  <a:gd name="T36" fmla="*/ 23 w 107"/>
                  <a:gd name="T37" fmla="*/ 2 h 52"/>
                  <a:gd name="T38" fmla="*/ 18 w 107"/>
                  <a:gd name="T39" fmla="*/ 4 h 52"/>
                  <a:gd name="T40" fmla="*/ 13 w 107"/>
                  <a:gd name="T41" fmla="*/ 7 h 52"/>
                  <a:gd name="T42" fmla="*/ 8 w 107"/>
                  <a:gd name="T43" fmla="*/ 9 h 52"/>
                  <a:gd name="T44" fmla="*/ 6 w 107"/>
                  <a:gd name="T45" fmla="*/ 11 h 52"/>
                  <a:gd name="T46" fmla="*/ 4 w 107"/>
                  <a:gd name="T47" fmla="*/ 12 h 52"/>
                  <a:gd name="T48" fmla="*/ 2 w 107"/>
                  <a:gd name="T49" fmla="*/ 14 h 52"/>
                  <a:gd name="T50" fmla="*/ 0 w 107"/>
                  <a:gd name="T51" fmla="*/ 16 h 5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78" name="Freeform 423">
                <a:extLst>
                  <a:ext uri="{FF2B5EF4-FFF2-40B4-BE49-F238E27FC236}">
                    <a16:creationId xmlns:a16="http://schemas.microsoft.com/office/drawing/2014/main" id="{5A2B11C0-D3CE-4121-B2C9-80BD23B874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9 w 246"/>
                  <a:gd name="T1" fmla="*/ 32 h 99"/>
                  <a:gd name="T2" fmla="*/ 7 w 246"/>
                  <a:gd name="T3" fmla="*/ 31 h 99"/>
                  <a:gd name="T4" fmla="*/ 5 w 246"/>
                  <a:gd name="T5" fmla="*/ 31 h 99"/>
                  <a:gd name="T6" fmla="*/ 4 w 246"/>
                  <a:gd name="T7" fmla="*/ 30 h 99"/>
                  <a:gd name="T8" fmla="*/ 3 w 246"/>
                  <a:gd name="T9" fmla="*/ 29 h 99"/>
                  <a:gd name="T10" fmla="*/ 2 w 246"/>
                  <a:gd name="T11" fmla="*/ 28 h 99"/>
                  <a:gd name="T12" fmla="*/ 1 w 246"/>
                  <a:gd name="T13" fmla="*/ 27 h 99"/>
                  <a:gd name="T14" fmla="*/ 0 w 246"/>
                  <a:gd name="T15" fmla="*/ 25 h 99"/>
                  <a:gd name="T16" fmla="*/ 0 w 246"/>
                  <a:gd name="T17" fmla="*/ 24 h 99"/>
                  <a:gd name="T18" fmla="*/ 0 w 246"/>
                  <a:gd name="T19" fmla="*/ 22 h 99"/>
                  <a:gd name="T20" fmla="*/ 0 w 246"/>
                  <a:gd name="T21" fmla="*/ 21 h 99"/>
                  <a:gd name="T22" fmla="*/ 1 w 246"/>
                  <a:gd name="T23" fmla="*/ 19 h 99"/>
                  <a:gd name="T24" fmla="*/ 2 w 246"/>
                  <a:gd name="T25" fmla="*/ 18 h 99"/>
                  <a:gd name="T26" fmla="*/ 3 w 246"/>
                  <a:gd name="T27" fmla="*/ 16 h 99"/>
                  <a:gd name="T28" fmla="*/ 6 w 246"/>
                  <a:gd name="T29" fmla="*/ 13 h 99"/>
                  <a:gd name="T30" fmla="*/ 8 w 246"/>
                  <a:gd name="T31" fmla="*/ 11 h 99"/>
                  <a:gd name="T32" fmla="*/ 11 w 246"/>
                  <a:gd name="T33" fmla="*/ 9 h 99"/>
                  <a:gd name="T34" fmla="*/ 15 w 246"/>
                  <a:gd name="T35" fmla="*/ 7 h 99"/>
                  <a:gd name="T36" fmla="*/ 18 w 246"/>
                  <a:gd name="T37" fmla="*/ 6 h 99"/>
                  <a:gd name="T38" fmla="*/ 22 w 246"/>
                  <a:gd name="T39" fmla="*/ 5 h 99"/>
                  <a:gd name="T40" fmla="*/ 26 w 246"/>
                  <a:gd name="T41" fmla="*/ 3 h 99"/>
                  <a:gd name="T42" fmla="*/ 30 w 246"/>
                  <a:gd name="T43" fmla="*/ 2 h 99"/>
                  <a:gd name="T44" fmla="*/ 33 w 246"/>
                  <a:gd name="T45" fmla="*/ 1 h 99"/>
                  <a:gd name="T46" fmla="*/ 40 w 246"/>
                  <a:gd name="T47" fmla="*/ 0 h 99"/>
                  <a:gd name="T48" fmla="*/ 45 w 246"/>
                  <a:gd name="T49" fmla="*/ 0 h 99"/>
                  <a:gd name="T50" fmla="*/ 54 w 246"/>
                  <a:gd name="T51" fmla="*/ 0 h 99"/>
                  <a:gd name="T52" fmla="*/ 62 w 246"/>
                  <a:gd name="T53" fmla="*/ 0 h 99"/>
                  <a:gd name="T54" fmla="*/ 70 w 246"/>
                  <a:gd name="T55" fmla="*/ 1 h 99"/>
                  <a:gd name="T56" fmla="*/ 79 w 246"/>
                  <a:gd name="T57" fmla="*/ 2 h 99"/>
                  <a:gd name="T58" fmla="*/ 78 w 246"/>
                  <a:gd name="T59" fmla="*/ 4 h 99"/>
                  <a:gd name="T60" fmla="*/ 77 w 246"/>
                  <a:gd name="T61" fmla="*/ 5 h 99"/>
                  <a:gd name="T62" fmla="*/ 76 w 246"/>
                  <a:gd name="T63" fmla="*/ 6 h 99"/>
                  <a:gd name="T64" fmla="*/ 74 w 246"/>
                  <a:gd name="T65" fmla="*/ 8 h 99"/>
                  <a:gd name="T66" fmla="*/ 69 w 246"/>
                  <a:gd name="T67" fmla="*/ 12 h 99"/>
                  <a:gd name="T68" fmla="*/ 64 w 246"/>
                  <a:gd name="T69" fmla="*/ 15 h 99"/>
                  <a:gd name="T70" fmla="*/ 58 w 246"/>
                  <a:gd name="T71" fmla="*/ 18 h 99"/>
                  <a:gd name="T72" fmla="*/ 52 w 246"/>
                  <a:gd name="T73" fmla="*/ 20 h 99"/>
                  <a:gd name="T74" fmla="*/ 49 w 246"/>
                  <a:gd name="T75" fmla="*/ 21 h 99"/>
                  <a:gd name="T76" fmla="*/ 46 w 246"/>
                  <a:gd name="T77" fmla="*/ 21 h 99"/>
                  <a:gd name="T78" fmla="*/ 43 w 246"/>
                  <a:gd name="T79" fmla="*/ 22 h 99"/>
                  <a:gd name="T80" fmla="*/ 40 w 246"/>
                  <a:gd name="T81" fmla="*/ 22 h 99"/>
                  <a:gd name="T82" fmla="*/ 39 w 246"/>
                  <a:gd name="T83" fmla="*/ 22 h 99"/>
                  <a:gd name="T84" fmla="*/ 35 w 246"/>
                  <a:gd name="T85" fmla="*/ 22 h 99"/>
                  <a:gd name="T86" fmla="*/ 32 w 246"/>
                  <a:gd name="T87" fmla="*/ 22 h 99"/>
                  <a:gd name="T88" fmla="*/ 30 w 246"/>
                  <a:gd name="T89" fmla="*/ 22 h 99"/>
                  <a:gd name="T90" fmla="*/ 28 w 246"/>
                  <a:gd name="T91" fmla="*/ 22 h 99"/>
                  <a:gd name="T92" fmla="*/ 26 w 246"/>
                  <a:gd name="T93" fmla="*/ 23 h 99"/>
                  <a:gd name="T94" fmla="*/ 23 w 246"/>
                  <a:gd name="T95" fmla="*/ 25 h 99"/>
                  <a:gd name="T96" fmla="*/ 20 w 246"/>
                  <a:gd name="T97" fmla="*/ 27 h 99"/>
                  <a:gd name="T98" fmla="*/ 17 w 246"/>
                  <a:gd name="T99" fmla="*/ 28 h 99"/>
                  <a:gd name="T100" fmla="*/ 14 w 246"/>
                  <a:gd name="T101" fmla="*/ 30 h 99"/>
                  <a:gd name="T102" fmla="*/ 11 w 246"/>
                  <a:gd name="T103" fmla="*/ 31 h 99"/>
                  <a:gd name="T104" fmla="*/ 9 w 246"/>
                  <a:gd name="T105" fmla="*/ 32 h 9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79" name="Freeform 424">
                <a:extLst>
                  <a:ext uri="{FF2B5EF4-FFF2-40B4-BE49-F238E27FC236}">
                    <a16:creationId xmlns:a16="http://schemas.microsoft.com/office/drawing/2014/main" id="{9BA93AEF-FC2D-44A9-8E6C-90E3F232CD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11 w 233"/>
                  <a:gd name="T1" fmla="*/ 29 h 123"/>
                  <a:gd name="T2" fmla="*/ 3 w 233"/>
                  <a:gd name="T3" fmla="*/ 25 h 123"/>
                  <a:gd name="T4" fmla="*/ 0 w 233"/>
                  <a:gd name="T5" fmla="*/ 18 h 123"/>
                  <a:gd name="T6" fmla="*/ 7 w 233"/>
                  <a:gd name="T7" fmla="*/ 12 h 123"/>
                  <a:gd name="T8" fmla="*/ 13 w 233"/>
                  <a:gd name="T9" fmla="*/ 12 h 123"/>
                  <a:gd name="T10" fmla="*/ 20 w 233"/>
                  <a:gd name="T11" fmla="*/ 12 h 123"/>
                  <a:gd name="T12" fmla="*/ 23 w 233"/>
                  <a:gd name="T13" fmla="*/ 12 h 123"/>
                  <a:gd name="T14" fmla="*/ 27 w 233"/>
                  <a:gd name="T15" fmla="*/ 11 h 123"/>
                  <a:gd name="T16" fmla="*/ 34 w 233"/>
                  <a:gd name="T17" fmla="*/ 7 h 123"/>
                  <a:gd name="T18" fmla="*/ 40 w 233"/>
                  <a:gd name="T19" fmla="*/ 4 h 123"/>
                  <a:gd name="T20" fmla="*/ 48 w 233"/>
                  <a:gd name="T21" fmla="*/ 0 h 123"/>
                  <a:gd name="T22" fmla="*/ 53 w 233"/>
                  <a:gd name="T23" fmla="*/ 3 h 123"/>
                  <a:gd name="T24" fmla="*/ 59 w 233"/>
                  <a:gd name="T25" fmla="*/ 4 h 123"/>
                  <a:gd name="T26" fmla="*/ 62 w 233"/>
                  <a:gd name="T27" fmla="*/ 3 h 123"/>
                  <a:gd name="T28" fmla="*/ 66 w 233"/>
                  <a:gd name="T29" fmla="*/ 2 h 123"/>
                  <a:gd name="T30" fmla="*/ 69 w 233"/>
                  <a:gd name="T31" fmla="*/ 0 h 123"/>
                  <a:gd name="T32" fmla="*/ 76 w 233"/>
                  <a:gd name="T33" fmla="*/ 2 h 123"/>
                  <a:gd name="T34" fmla="*/ 74 w 233"/>
                  <a:gd name="T35" fmla="*/ 6 h 123"/>
                  <a:gd name="T36" fmla="*/ 71 w 233"/>
                  <a:gd name="T37" fmla="*/ 8 h 123"/>
                  <a:gd name="T38" fmla="*/ 68 w 233"/>
                  <a:gd name="T39" fmla="*/ 10 h 123"/>
                  <a:gd name="T40" fmla="*/ 66 w 233"/>
                  <a:gd name="T41" fmla="*/ 14 h 123"/>
                  <a:gd name="T42" fmla="*/ 67 w 233"/>
                  <a:gd name="T43" fmla="*/ 20 h 123"/>
                  <a:gd name="T44" fmla="*/ 60 w 233"/>
                  <a:gd name="T45" fmla="*/ 28 h 123"/>
                  <a:gd name="T46" fmla="*/ 51 w 233"/>
                  <a:gd name="T47" fmla="*/ 31 h 123"/>
                  <a:gd name="T48" fmla="*/ 45 w 233"/>
                  <a:gd name="T49" fmla="*/ 32 h 123"/>
                  <a:gd name="T50" fmla="*/ 38 w 233"/>
                  <a:gd name="T51" fmla="*/ 33 h 123"/>
                  <a:gd name="T52" fmla="*/ 31 w 233"/>
                  <a:gd name="T53" fmla="*/ 34 h 123"/>
                  <a:gd name="T54" fmla="*/ 27 w 233"/>
                  <a:gd name="T55" fmla="*/ 37 h 123"/>
                  <a:gd name="T56" fmla="*/ 22 w 233"/>
                  <a:gd name="T57" fmla="*/ 40 h 123"/>
                  <a:gd name="T58" fmla="*/ 19 w 233"/>
                  <a:gd name="T59" fmla="*/ 40 h 123"/>
                  <a:gd name="T60" fmla="*/ 17 w 233"/>
                  <a:gd name="T61" fmla="*/ 37 h 123"/>
                  <a:gd name="T62" fmla="*/ 16 w 233"/>
                  <a:gd name="T63" fmla="*/ 33 h 123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80" name="Freeform 425">
                <a:extLst>
                  <a:ext uri="{FF2B5EF4-FFF2-40B4-BE49-F238E27FC236}">
                    <a16:creationId xmlns:a16="http://schemas.microsoft.com/office/drawing/2014/main" id="{A128D439-5329-4BEE-B2AF-2E9B09E01E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48 h 172"/>
                  <a:gd name="T2" fmla="*/ 1 w 484"/>
                  <a:gd name="T3" fmla="*/ 51 h 172"/>
                  <a:gd name="T4" fmla="*/ 3 w 484"/>
                  <a:gd name="T5" fmla="*/ 53 h 172"/>
                  <a:gd name="T6" fmla="*/ 6 w 484"/>
                  <a:gd name="T7" fmla="*/ 54 h 172"/>
                  <a:gd name="T8" fmla="*/ 10 w 484"/>
                  <a:gd name="T9" fmla="*/ 55 h 172"/>
                  <a:gd name="T10" fmla="*/ 17 w 484"/>
                  <a:gd name="T11" fmla="*/ 56 h 172"/>
                  <a:gd name="T12" fmla="*/ 24 w 484"/>
                  <a:gd name="T13" fmla="*/ 56 h 172"/>
                  <a:gd name="T14" fmla="*/ 32 w 484"/>
                  <a:gd name="T15" fmla="*/ 54 h 172"/>
                  <a:gd name="T16" fmla="*/ 45 w 484"/>
                  <a:gd name="T17" fmla="*/ 51 h 172"/>
                  <a:gd name="T18" fmla="*/ 61 w 484"/>
                  <a:gd name="T19" fmla="*/ 44 h 172"/>
                  <a:gd name="T20" fmla="*/ 78 w 484"/>
                  <a:gd name="T21" fmla="*/ 37 h 172"/>
                  <a:gd name="T22" fmla="*/ 93 w 484"/>
                  <a:gd name="T23" fmla="*/ 33 h 172"/>
                  <a:gd name="T24" fmla="*/ 114 w 484"/>
                  <a:gd name="T25" fmla="*/ 28 h 172"/>
                  <a:gd name="T26" fmla="*/ 130 w 484"/>
                  <a:gd name="T27" fmla="*/ 24 h 172"/>
                  <a:gd name="T28" fmla="*/ 141 w 484"/>
                  <a:gd name="T29" fmla="*/ 21 h 172"/>
                  <a:gd name="T30" fmla="*/ 150 w 484"/>
                  <a:gd name="T31" fmla="*/ 17 h 172"/>
                  <a:gd name="T32" fmla="*/ 154 w 484"/>
                  <a:gd name="T33" fmla="*/ 14 h 172"/>
                  <a:gd name="T34" fmla="*/ 156 w 484"/>
                  <a:gd name="T35" fmla="*/ 11 h 172"/>
                  <a:gd name="T36" fmla="*/ 146 w 484"/>
                  <a:gd name="T37" fmla="*/ 8 h 172"/>
                  <a:gd name="T38" fmla="*/ 126 w 484"/>
                  <a:gd name="T39" fmla="*/ 5 h 172"/>
                  <a:gd name="T40" fmla="*/ 107 w 484"/>
                  <a:gd name="T41" fmla="*/ 2 h 172"/>
                  <a:gd name="T42" fmla="*/ 88 w 484"/>
                  <a:gd name="T43" fmla="*/ 0 h 172"/>
                  <a:gd name="T44" fmla="*/ 73 w 484"/>
                  <a:gd name="T45" fmla="*/ 0 h 172"/>
                  <a:gd name="T46" fmla="*/ 66 w 484"/>
                  <a:gd name="T47" fmla="*/ 1 h 172"/>
                  <a:gd name="T48" fmla="*/ 60 w 484"/>
                  <a:gd name="T49" fmla="*/ 3 h 172"/>
                  <a:gd name="T50" fmla="*/ 57 w 484"/>
                  <a:gd name="T51" fmla="*/ 2 h 172"/>
                  <a:gd name="T52" fmla="*/ 55 w 484"/>
                  <a:gd name="T53" fmla="*/ 1 h 172"/>
                  <a:gd name="T54" fmla="*/ 54 w 484"/>
                  <a:gd name="T55" fmla="*/ 3 h 172"/>
                  <a:gd name="T56" fmla="*/ 52 w 484"/>
                  <a:gd name="T57" fmla="*/ 8 h 172"/>
                  <a:gd name="T58" fmla="*/ 50 w 484"/>
                  <a:gd name="T59" fmla="*/ 12 h 172"/>
                  <a:gd name="T60" fmla="*/ 47 w 484"/>
                  <a:gd name="T61" fmla="*/ 15 h 172"/>
                  <a:gd name="T62" fmla="*/ 41 w 484"/>
                  <a:gd name="T63" fmla="*/ 19 h 172"/>
                  <a:gd name="T64" fmla="*/ 31 w 484"/>
                  <a:gd name="T65" fmla="*/ 22 h 172"/>
                  <a:gd name="T66" fmla="*/ 21 w 484"/>
                  <a:gd name="T67" fmla="*/ 25 h 172"/>
                  <a:gd name="T68" fmla="*/ 12 w 484"/>
                  <a:gd name="T69" fmla="*/ 29 h 172"/>
                  <a:gd name="T70" fmla="*/ 6 w 484"/>
                  <a:gd name="T71" fmla="*/ 32 h 172"/>
                  <a:gd name="T72" fmla="*/ 3 w 484"/>
                  <a:gd name="T73" fmla="*/ 35 h 172"/>
                  <a:gd name="T74" fmla="*/ 1 w 484"/>
                  <a:gd name="T75" fmla="*/ 39 h 172"/>
                  <a:gd name="T76" fmla="*/ 0 w 484"/>
                  <a:gd name="T77" fmla="*/ 44 h 17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81" name="Freeform 426">
                <a:extLst>
                  <a:ext uri="{FF2B5EF4-FFF2-40B4-BE49-F238E27FC236}">
                    <a16:creationId xmlns:a16="http://schemas.microsoft.com/office/drawing/2014/main" id="{BFE51C60-E933-4104-A77F-455381F554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102 w 684"/>
                  <a:gd name="T1" fmla="*/ 2 h 240"/>
                  <a:gd name="T2" fmla="*/ 98 w 684"/>
                  <a:gd name="T3" fmla="*/ 9 h 240"/>
                  <a:gd name="T4" fmla="*/ 96 w 684"/>
                  <a:gd name="T5" fmla="*/ 13 h 240"/>
                  <a:gd name="T6" fmla="*/ 97 w 684"/>
                  <a:gd name="T7" fmla="*/ 14 h 240"/>
                  <a:gd name="T8" fmla="*/ 109 w 684"/>
                  <a:gd name="T9" fmla="*/ 13 h 240"/>
                  <a:gd name="T10" fmla="*/ 120 w 684"/>
                  <a:gd name="T11" fmla="*/ 6 h 240"/>
                  <a:gd name="T12" fmla="*/ 122 w 684"/>
                  <a:gd name="T13" fmla="*/ 13 h 240"/>
                  <a:gd name="T14" fmla="*/ 122 w 684"/>
                  <a:gd name="T15" fmla="*/ 18 h 240"/>
                  <a:gd name="T16" fmla="*/ 131 w 684"/>
                  <a:gd name="T17" fmla="*/ 23 h 240"/>
                  <a:gd name="T18" fmla="*/ 165 w 684"/>
                  <a:gd name="T19" fmla="*/ 17 h 240"/>
                  <a:gd name="T20" fmla="*/ 166 w 684"/>
                  <a:gd name="T21" fmla="*/ 23 h 240"/>
                  <a:gd name="T22" fmla="*/ 175 w 684"/>
                  <a:gd name="T23" fmla="*/ 21 h 240"/>
                  <a:gd name="T24" fmla="*/ 180 w 684"/>
                  <a:gd name="T25" fmla="*/ 15 h 240"/>
                  <a:gd name="T26" fmla="*/ 180 w 684"/>
                  <a:gd name="T27" fmla="*/ 6 h 240"/>
                  <a:gd name="T28" fmla="*/ 182 w 684"/>
                  <a:gd name="T29" fmla="*/ 3 h 240"/>
                  <a:gd name="T30" fmla="*/ 187 w 684"/>
                  <a:gd name="T31" fmla="*/ 0 h 240"/>
                  <a:gd name="T32" fmla="*/ 202 w 684"/>
                  <a:gd name="T33" fmla="*/ 1 h 240"/>
                  <a:gd name="T34" fmla="*/ 208 w 684"/>
                  <a:gd name="T35" fmla="*/ 0 h 240"/>
                  <a:gd name="T36" fmla="*/ 212 w 684"/>
                  <a:gd name="T37" fmla="*/ 13 h 240"/>
                  <a:gd name="T38" fmla="*/ 211 w 684"/>
                  <a:gd name="T39" fmla="*/ 23 h 240"/>
                  <a:gd name="T40" fmla="*/ 206 w 684"/>
                  <a:gd name="T41" fmla="*/ 33 h 240"/>
                  <a:gd name="T42" fmla="*/ 200 w 684"/>
                  <a:gd name="T43" fmla="*/ 41 h 240"/>
                  <a:gd name="T44" fmla="*/ 209 w 684"/>
                  <a:gd name="T45" fmla="*/ 45 h 240"/>
                  <a:gd name="T46" fmla="*/ 217 w 684"/>
                  <a:gd name="T47" fmla="*/ 48 h 240"/>
                  <a:gd name="T48" fmla="*/ 221 w 684"/>
                  <a:gd name="T49" fmla="*/ 59 h 240"/>
                  <a:gd name="T50" fmla="*/ 206 w 684"/>
                  <a:gd name="T51" fmla="*/ 61 h 240"/>
                  <a:gd name="T52" fmla="*/ 196 w 684"/>
                  <a:gd name="T53" fmla="*/ 60 h 240"/>
                  <a:gd name="T54" fmla="*/ 185 w 684"/>
                  <a:gd name="T55" fmla="*/ 59 h 240"/>
                  <a:gd name="T56" fmla="*/ 182 w 684"/>
                  <a:gd name="T57" fmla="*/ 61 h 240"/>
                  <a:gd name="T58" fmla="*/ 175 w 684"/>
                  <a:gd name="T59" fmla="*/ 66 h 240"/>
                  <a:gd name="T60" fmla="*/ 169 w 684"/>
                  <a:gd name="T61" fmla="*/ 69 h 240"/>
                  <a:gd name="T62" fmla="*/ 159 w 684"/>
                  <a:gd name="T63" fmla="*/ 69 h 240"/>
                  <a:gd name="T64" fmla="*/ 146 w 684"/>
                  <a:gd name="T65" fmla="*/ 67 h 240"/>
                  <a:gd name="T66" fmla="*/ 136 w 684"/>
                  <a:gd name="T67" fmla="*/ 65 h 240"/>
                  <a:gd name="T68" fmla="*/ 109 w 684"/>
                  <a:gd name="T69" fmla="*/ 69 h 240"/>
                  <a:gd name="T70" fmla="*/ 75 w 684"/>
                  <a:gd name="T71" fmla="*/ 76 h 240"/>
                  <a:gd name="T72" fmla="*/ 55 w 684"/>
                  <a:gd name="T73" fmla="*/ 78 h 240"/>
                  <a:gd name="T74" fmla="*/ 40 w 684"/>
                  <a:gd name="T75" fmla="*/ 78 h 240"/>
                  <a:gd name="T76" fmla="*/ 32 w 684"/>
                  <a:gd name="T77" fmla="*/ 75 h 240"/>
                  <a:gd name="T78" fmla="*/ 22 w 684"/>
                  <a:gd name="T79" fmla="*/ 68 h 240"/>
                  <a:gd name="T80" fmla="*/ 9 w 684"/>
                  <a:gd name="T81" fmla="*/ 65 h 240"/>
                  <a:gd name="T82" fmla="*/ 0 w 684"/>
                  <a:gd name="T83" fmla="*/ 57 h 240"/>
                  <a:gd name="T84" fmla="*/ 21 w 684"/>
                  <a:gd name="T85" fmla="*/ 52 h 240"/>
                  <a:gd name="T86" fmla="*/ 32 w 684"/>
                  <a:gd name="T87" fmla="*/ 51 h 240"/>
                  <a:gd name="T88" fmla="*/ 50 w 684"/>
                  <a:gd name="T89" fmla="*/ 53 h 240"/>
                  <a:gd name="T90" fmla="*/ 65 w 684"/>
                  <a:gd name="T91" fmla="*/ 54 h 240"/>
                  <a:gd name="T92" fmla="*/ 72 w 684"/>
                  <a:gd name="T93" fmla="*/ 53 h 240"/>
                  <a:gd name="T94" fmla="*/ 8 w 684"/>
                  <a:gd name="T95" fmla="*/ 45 h 240"/>
                  <a:gd name="T96" fmla="*/ 17 w 684"/>
                  <a:gd name="T97" fmla="*/ 42 h 240"/>
                  <a:gd name="T98" fmla="*/ 35 w 684"/>
                  <a:gd name="T99" fmla="*/ 39 h 240"/>
                  <a:gd name="T100" fmla="*/ 53 w 684"/>
                  <a:gd name="T101" fmla="*/ 36 h 240"/>
                  <a:gd name="T102" fmla="*/ 60 w 684"/>
                  <a:gd name="T103" fmla="*/ 33 h 240"/>
                  <a:gd name="T104" fmla="*/ 54 w 684"/>
                  <a:gd name="T105" fmla="*/ 31 h 240"/>
                  <a:gd name="T106" fmla="*/ 40 w 684"/>
                  <a:gd name="T107" fmla="*/ 32 h 240"/>
                  <a:gd name="T108" fmla="*/ 23 w 684"/>
                  <a:gd name="T109" fmla="*/ 36 h 240"/>
                  <a:gd name="T110" fmla="*/ 17 w 684"/>
                  <a:gd name="T111" fmla="*/ 35 h 240"/>
                  <a:gd name="T112" fmla="*/ 18 w 684"/>
                  <a:gd name="T113" fmla="*/ 30 h 240"/>
                  <a:gd name="T114" fmla="*/ 17 w 684"/>
                  <a:gd name="T115" fmla="*/ 27 h 240"/>
                  <a:gd name="T116" fmla="*/ 19 w 684"/>
                  <a:gd name="T117" fmla="*/ 26 h 24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82" name="Freeform 427">
                <a:extLst>
                  <a:ext uri="{FF2B5EF4-FFF2-40B4-BE49-F238E27FC236}">
                    <a16:creationId xmlns:a16="http://schemas.microsoft.com/office/drawing/2014/main" id="{E71B7CD8-B94F-4E59-BB65-02058C3BA6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59 w 332"/>
                  <a:gd name="T1" fmla="*/ 12 h 287"/>
                  <a:gd name="T2" fmla="*/ 66 w 332"/>
                  <a:gd name="T3" fmla="*/ 8 h 287"/>
                  <a:gd name="T4" fmla="*/ 74 w 332"/>
                  <a:gd name="T5" fmla="*/ 2 h 287"/>
                  <a:gd name="T6" fmla="*/ 78 w 332"/>
                  <a:gd name="T7" fmla="*/ 0 h 287"/>
                  <a:gd name="T8" fmla="*/ 80 w 332"/>
                  <a:gd name="T9" fmla="*/ 0 h 287"/>
                  <a:gd name="T10" fmla="*/ 80 w 332"/>
                  <a:gd name="T11" fmla="*/ 4 h 287"/>
                  <a:gd name="T12" fmla="*/ 76 w 332"/>
                  <a:gd name="T13" fmla="*/ 11 h 287"/>
                  <a:gd name="T14" fmla="*/ 71 w 332"/>
                  <a:gd name="T15" fmla="*/ 18 h 287"/>
                  <a:gd name="T16" fmla="*/ 66 w 332"/>
                  <a:gd name="T17" fmla="*/ 22 h 287"/>
                  <a:gd name="T18" fmla="*/ 62 w 332"/>
                  <a:gd name="T19" fmla="*/ 23 h 287"/>
                  <a:gd name="T20" fmla="*/ 62 w 332"/>
                  <a:gd name="T21" fmla="*/ 24 h 287"/>
                  <a:gd name="T22" fmla="*/ 65 w 332"/>
                  <a:gd name="T23" fmla="*/ 24 h 287"/>
                  <a:gd name="T24" fmla="*/ 70 w 332"/>
                  <a:gd name="T25" fmla="*/ 23 h 287"/>
                  <a:gd name="T26" fmla="*/ 73 w 332"/>
                  <a:gd name="T27" fmla="*/ 25 h 287"/>
                  <a:gd name="T28" fmla="*/ 71 w 332"/>
                  <a:gd name="T29" fmla="*/ 29 h 287"/>
                  <a:gd name="T30" fmla="*/ 70 w 332"/>
                  <a:gd name="T31" fmla="*/ 31 h 287"/>
                  <a:gd name="T32" fmla="*/ 71 w 332"/>
                  <a:gd name="T33" fmla="*/ 34 h 287"/>
                  <a:gd name="T34" fmla="*/ 81 w 332"/>
                  <a:gd name="T35" fmla="*/ 37 h 287"/>
                  <a:gd name="T36" fmla="*/ 100 w 332"/>
                  <a:gd name="T37" fmla="*/ 40 h 287"/>
                  <a:gd name="T38" fmla="*/ 105 w 332"/>
                  <a:gd name="T39" fmla="*/ 42 h 287"/>
                  <a:gd name="T40" fmla="*/ 102 w 332"/>
                  <a:gd name="T41" fmla="*/ 45 h 287"/>
                  <a:gd name="T42" fmla="*/ 99 w 332"/>
                  <a:gd name="T43" fmla="*/ 48 h 287"/>
                  <a:gd name="T44" fmla="*/ 97 w 332"/>
                  <a:gd name="T45" fmla="*/ 50 h 287"/>
                  <a:gd name="T46" fmla="*/ 98 w 332"/>
                  <a:gd name="T47" fmla="*/ 52 h 287"/>
                  <a:gd name="T48" fmla="*/ 100 w 332"/>
                  <a:gd name="T49" fmla="*/ 54 h 287"/>
                  <a:gd name="T50" fmla="*/ 104 w 332"/>
                  <a:gd name="T51" fmla="*/ 57 h 287"/>
                  <a:gd name="T52" fmla="*/ 107 w 332"/>
                  <a:gd name="T53" fmla="*/ 60 h 287"/>
                  <a:gd name="T54" fmla="*/ 94 w 332"/>
                  <a:gd name="T55" fmla="*/ 68 h 287"/>
                  <a:gd name="T56" fmla="*/ 78 w 332"/>
                  <a:gd name="T57" fmla="*/ 78 h 287"/>
                  <a:gd name="T58" fmla="*/ 67 w 332"/>
                  <a:gd name="T59" fmla="*/ 87 h 287"/>
                  <a:gd name="T60" fmla="*/ 56 w 332"/>
                  <a:gd name="T61" fmla="*/ 79 h 287"/>
                  <a:gd name="T62" fmla="*/ 59 w 332"/>
                  <a:gd name="T63" fmla="*/ 79 h 287"/>
                  <a:gd name="T64" fmla="*/ 61 w 332"/>
                  <a:gd name="T65" fmla="*/ 78 h 287"/>
                  <a:gd name="T66" fmla="*/ 65 w 332"/>
                  <a:gd name="T67" fmla="*/ 75 h 287"/>
                  <a:gd name="T68" fmla="*/ 48 w 332"/>
                  <a:gd name="T69" fmla="*/ 75 h 287"/>
                  <a:gd name="T70" fmla="*/ 33 w 332"/>
                  <a:gd name="T71" fmla="*/ 75 h 287"/>
                  <a:gd name="T72" fmla="*/ 19 w 332"/>
                  <a:gd name="T73" fmla="*/ 75 h 287"/>
                  <a:gd name="T74" fmla="*/ 9 w 332"/>
                  <a:gd name="T75" fmla="*/ 75 h 287"/>
                  <a:gd name="T76" fmla="*/ 4 w 332"/>
                  <a:gd name="T77" fmla="*/ 74 h 287"/>
                  <a:gd name="T78" fmla="*/ 1 w 332"/>
                  <a:gd name="T79" fmla="*/ 72 h 287"/>
                  <a:gd name="T80" fmla="*/ 0 w 332"/>
                  <a:gd name="T81" fmla="*/ 69 h 287"/>
                  <a:gd name="T82" fmla="*/ 1 w 332"/>
                  <a:gd name="T83" fmla="*/ 66 h 287"/>
                  <a:gd name="T84" fmla="*/ 4 w 332"/>
                  <a:gd name="T85" fmla="*/ 64 h 287"/>
                  <a:gd name="T86" fmla="*/ 13 w 332"/>
                  <a:gd name="T87" fmla="*/ 58 h 287"/>
                  <a:gd name="T88" fmla="*/ 24 w 332"/>
                  <a:gd name="T89" fmla="*/ 52 h 287"/>
                  <a:gd name="T90" fmla="*/ 28 w 332"/>
                  <a:gd name="T91" fmla="*/ 49 h 287"/>
                  <a:gd name="T92" fmla="*/ 30 w 332"/>
                  <a:gd name="T93" fmla="*/ 47 h 287"/>
                  <a:gd name="T94" fmla="*/ 34 w 332"/>
                  <a:gd name="T95" fmla="*/ 42 h 287"/>
                  <a:gd name="T96" fmla="*/ 38 w 332"/>
                  <a:gd name="T97" fmla="*/ 37 h 287"/>
                  <a:gd name="T98" fmla="*/ 42 w 332"/>
                  <a:gd name="T99" fmla="*/ 26 h 287"/>
                  <a:gd name="T100" fmla="*/ 45 w 332"/>
                  <a:gd name="T101" fmla="*/ 21 h 287"/>
                  <a:gd name="T102" fmla="*/ 48 w 332"/>
                  <a:gd name="T103" fmla="*/ 17 h 287"/>
                  <a:gd name="T104" fmla="*/ 51 w 332"/>
                  <a:gd name="T105" fmla="*/ 14 h 287"/>
                  <a:gd name="T106" fmla="*/ 56 w 332"/>
                  <a:gd name="T107" fmla="*/ 13 h 28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83" name="Freeform 428">
                <a:extLst>
                  <a:ext uri="{FF2B5EF4-FFF2-40B4-BE49-F238E27FC236}">
                    <a16:creationId xmlns:a16="http://schemas.microsoft.com/office/drawing/2014/main" id="{BD9C3185-4F58-4C51-AFB5-37E019641A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34 w 345"/>
                  <a:gd name="T1" fmla="*/ 27 h 86"/>
                  <a:gd name="T2" fmla="*/ 38 w 345"/>
                  <a:gd name="T3" fmla="*/ 25 h 86"/>
                  <a:gd name="T4" fmla="*/ 43 w 345"/>
                  <a:gd name="T5" fmla="*/ 24 h 86"/>
                  <a:gd name="T6" fmla="*/ 48 w 345"/>
                  <a:gd name="T7" fmla="*/ 23 h 86"/>
                  <a:gd name="T8" fmla="*/ 53 w 345"/>
                  <a:gd name="T9" fmla="*/ 22 h 86"/>
                  <a:gd name="T10" fmla="*/ 63 w 345"/>
                  <a:gd name="T11" fmla="*/ 20 h 86"/>
                  <a:gd name="T12" fmla="*/ 74 w 345"/>
                  <a:gd name="T13" fmla="*/ 18 h 86"/>
                  <a:gd name="T14" fmla="*/ 79 w 345"/>
                  <a:gd name="T15" fmla="*/ 17 h 86"/>
                  <a:gd name="T16" fmla="*/ 85 w 345"/>
                  <a:gd name="T17" fmla="*/ 16 h 86"/>
                  <a:gd name="T18" fmla="*/ 90 w 345"/>
                  <a:gd name="T19" fmla="*/ 14 h 86"/>
                  <a:gd name="T20" fmla="*/ 95 w 345"/>
                  <a:gd name="T21" fmla="*/ 13 h 86"/>
                  <a:gd name="T22" fmla="*/ 99 w 345"/>
                  <a:gd name="T23" fmla="*/ 11 h 86"/>
                  <a:gd name="T24" fmla="*/ 104 w 345"/>
                  <a:gd name="T25" fmla="*/ 9 h 86"/>
                  <a:gd name="T26" fmla="*/ 107 w 345"/>
                  <a:gd name="T27" fmla="*/ 7 h 86"/>
                  <a:gd name="T28" fmla="*/ 111 w 345"/>
                  <a:gd name="T29" fmla="*/ 4 h 86"/>
                  <a:gd name="T30" fmla="*/ 108 w 345"/>
                  <a:gd name="T31" fmla="*/ 4 h 86"/>
                  <a:gd name="T32" fmla="*/ 105 w 345"/>
                  <a:gd name="T33" fmla="*/ 3 h 86"/>
                  <a:gd name="T34" fmla="*/ 102 w 345"/>
                  <a:gd name="T35" fmla="*/ 3 h 86"/>
                  <a:gd name="T36" fmla="*/ 99 w 345"/>
                  <a:gd name="T37" fmla="*/ 2 h 86"/>
                  <a:gd name="T38" fmla="*/ 97 w 345"/>
                  <a:gd name="T39" fmla="*/ 1 h 86"/>
                  <a:gd name="T40" fmla="*/ 94 w 345"/>
                  <a:gd name="T41" fmla="*/ 1 h 86"/>
                  <a:gd name="T42" fmla="*/ 90 w 345"/>
                  <a:gd name="T43" fmla="*/ 0 h 86"/>
                  <a:gd name="T44" fmla="*/ 88 w 345"/>
                  <a:gd name="T45" fmla="*/ 0 h 86"/>
                  <a:gd name="T46" fmla="*/ 83 w 345"/>
                  <a:gd name="T47" fmla="*/ 0 h 86"/>
                  <a:gd name="T48" fmla="*/ 79 w 345"/>
                  <a:gd name="T49" fmla="*/ 1 h 86"/>
                  <a:gd name="T50" fmla="*/ 73 w 345"/>
                  <a:gd name="T51" fmla="*/ 2 h 86"/>
                  <a:gd name="T52" fmla="*/ 67 w 345"/>
                  <a:gd name="T53" fmla="*/ 3 h 86"/>
                  <a:gd name="T54" fmla="*/ 54 w 345"/>
                  <a:gd name="T55" fmla="*/ 6 h 86"/>
                  <a:gd name="T56" fmla="*/ 41 w 345"/>
                  <a:gd name="T57" fmla="*/ 9 h 86"/>
                  <a:gd name="T58" fmla="*/ 33 w 345"/>
                  <a:gd name="T59" fmla="*/ 11 h 86"/>
                  <a:gd name="T60" fmla="*/ 27 w 345"/>
                  <a:gd name="T61" fmla="*/ 13 h 86"/>
                  <a:gd name="T62" fmla="*/ 21 w 345"/>
                  <a:gd name="T63" fmla="*/ 16 h 86"/>
                  <a:gd name="T64" fmla="*/ 15 w 345"/>
                  <a:gd name="T65" fmla="*/ 18 h 86"/>
                  <a:gd name="T66" fmla="*/ 10 w 345"/>
                  <a:gd name="T67" fmla="*/ 20 h 86"/>
                  <a:gd name="T68" fmla="*/ 6 w 345"/>
                  <a:gd name="T69" fmla="*/ 23 h 86"/>
                  <a:gd name="T70" fmla="*/ 3 w 345"/>
                  <a:gd name="T71" fmla="*/ 25 h 86"/>
                  <a:gd name="T72" fmla="*/ 0 w 345"/>
                  <a:gd name="T73" fmla="*/ 27 h 86"/>
                  <a:gd name="T74" fmla="*/ 34 w 345"/>
                  <a:gd name="T75" fmla="*/ 27 h 8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84" name="Freeform 429">
                <a:extLst>
                  <a:ext uri="{FF2B5EF4-FFF2-40B4-BE49-F238E27FC236}">
                    <a16:creationId xmlns:a16="http://schemas.microsoft.com/office/drawing/2014/main" id="{290C257F-C259-489E-A217-F930222CEB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6 w 464"/>
                  <a:gd name="T1" fmla="*/ 28 h 130"/>
                  <a:gd name="T2" fmla="*/ 25 w 464"/>
                  <a:gd name="T3" fmla="*/ 27 h 130"/>
                  <a:gd name="T4" fmla="*/ 33 w 464"/>
                  <a:gd name="T5" fmla="*/ 27 h 130"/>
                  <a:gd name="T6" fmla="*/ 30 w 464"/>
                  <a:gd name="T7" fmla="*/ 29 h 130"/>
                  <a:gd name="T8" fmla="*/ 26 w 464"/>
                  <a:gd name="T9" fmla="*/ 33 h 130"/>
                  <a:gd name="T10" fmla="*/ 23 w 464"/>
                  <a:gd name="T11" fmla="*/ 37 h 130"/>
                  <a:gd name="T12" fmla="*/ 23 w 464"/>
                  <a:gd name="T13" fmla="*/ 39 h 130"/>
                  <a:gd name="T14" fmla="*/ 25 w 464"/>
                  <a:gd name="T15" fmla="*/ 41 h 130"/>
                  <a:gd name="T16" fmla="*/ 30 w 464"/>
                  <a:gd name="T17" fmla="*/ 43 h 130"/>
                  <a:gd name="T18" fmla="*/ 35 w 464"/>
                  <a:gd name="T19" fmla="*/ 43 h 130"/>
                  <a:gd name="T20" fmla="*/ 41 w 464"/>
                  <a:gd name="T21" fmla="*/ 42 h 130"/>
                  <a:gd name="T22" fmla="*/ 50 w 464"/>
                  <a:gd name="T23" fmla="*/ 39 h 130"/>
                  <a:gd name="T24" fmla="*/ 63 w 464"/>
                  <a:gd name="T25" fmla="*/ 36 h 130"/>
                  <a:gd name="T26" fmla="*/ 73 w 464"/>
                  <a:gd name="T27" fmla="*/ 33 h 130"/>
                  <a:gd name="T28" fmla="*/ 80 w 464"/>
                  <a:gd name="T29" fmla="*/ 33 h 130"/>
                  <a:gd name="T30" fmla="*/ 85 w 464"/>
                  <a:gd name="T31" fmla="*/ 33 h 130"/>
                  <a:gd name="T32" fmla="*/ 98 w 464"/>
                  <a:gd name="T33" fmla="*/ 33 h 130"/>
                  <a:gd name="T34" fmla="*/ 107 w 464"/>
                  <a:gd name="T35" fmla="*/ 32 h 130"/>
                  <a:gd name="T36" fmla="*/ 121 w 464"/>
                  <a:gd name="T37" fmla="*/ 31 h 130"/>
                  <a:gd name="T38" fmla="*/ 133 w 464"/>
                  <a:gd name="T39" fmla="*/ 27 h 130"/>
                  <a:gd name="T40" fmla="*/ 144 w 464"/>
                  <a:gd name="T41" fmla="*/ 22 h 130"/>
                  <a:gd name="T42" fmla="*/ 146 w 464"/>
                  <a:gd name="T43" fmla="*/ 17 h 130"/>
                  <a:gd name="T44" fmla="*/ 141 w 464"/>
                  <a:gd name="T45" fmla="*/ 16 h 130"/>
                  <a:gd name="T46" fmla="*/ 133 w 464"/>
                  <a:gd name="T47" fmla="*/ 16 h 130"/>
                  <a:gd name="T48" fmla="*/ 127 w 464"/>
                  <a:gd name="T49" fmla="*/ 15 h 130"/>
                  <a:gd name="T50" fmla="*/ 130 w 464"/>
                  <a:gd name="T51" fmla="*/ 12 h 130"/>
                  <a:gd name="T52" fmla="*/ 133 w 464"/>
                  <a:gd name="T53" fmla="*/ 7 h 130"/>
                  <a:gd name="T54" fmla="*/ 134 w 464"/>
                  <a:gd name="T55" fmla="*/ 2 h 130"/>
                  <a:gd name="T56" fmla="*/ 121 w 464"/>
                  <a:gd name="T57" fmla="*/ 0 h 130"/>
                  <a:gd name="T58" fmla="*/ 116 w 464"/>
                  <a:gd name="T59" fmla="*/ 6 h 130"/>
                  <a:gd name="T60" fmla="*/ 110 w 464"/>
                  <a:gd name="T61" fmla="*/ 14 h 130"/>
                  <a:gd name="T62" fmla="*/ 104 w 464"/>
                  <a:gd name="T63" fmla="*/ 20 h 130"/>
                  <a:gd name="T64" fmla="*/ 100 w 464"/>
                  <a:gd name="T65" fmla="*/ 22 h 130"/>
                  <a:gd name="T66" fmla="*/ 96 w 464"/>
                  <a:gd name="T67" fmla="*/ 22 h 130"/>
                  <a:gd name="T68" fmla="*/ 89 w 464"/>
                  <a:gd name="T69" fmla="*/ 22 h 130"/>
                  <a:gd name="T70" fmla="*/ 84 w 464"/>
                  <a:gd name="T71" fmla="*/ 21 h 130"/>
                  <a:gd name="T72" fmla="*/ 77 w 464"/>
                  <a:gd name="T73" fmla="*/ 18 h 130"/>
                  <a:gd name="T74" fmla="*/ 66 w 464"/>
                  <a:gd name="T75" fmla="*/ 10 h 130"/>
                  <a:gd name="T76" fmla="*/ 58 w 464"/>
                  <a:gd name="T77" fmla="*/ 10 h 130"/>
                  <a:gd name="T78" fmla="*/ 48 w 464"/>
                  <a:gd name="T79" fmla="*/ 10 h 130"/>
                  <a:gd name="T80" fmla="*/ 38 w 464"/>
                  <a:gd name="T81" fmla="*/ 12 h 130"/>
                  <a:gd name="T82" fmla="*/ 27 w 464"/>
                  <a:gd name="T83" fmla="*/ 15 h 130"/>
                  <a:gd name="T84" fmla="*/ 17 w 464"/>
                  <a:gd name="T85" fmla="*/ 18 h 130"/>
                  <a:gd name="T86" fmla="*/ 9 w 464"/>
                  <a:gd name="T87" fmla="*/ 22 h 130"/>
                  <a:gd name="T88" fmla="*/ 3 w 464"/>
                  <a:gd name="T89" fmla="*/ 25 h 130"/>
                  <a:gd name="T90" fmla="*/ 0 w 464"/>
                  <a:gd name="T91" fmla="*/ 28 h 13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85" name="Freeform 430">
                <a:extLst>
                  <a:ext uri="{FF2B5EF4-FFF2-40B4-BE49-F238E27FC236}">
                    <a16:creationId xmlns:a16="http://schemas.microsoft.com/office/drawing/2014/main" id="{5C7F65BA-045B-49CC-8B64-C894F20981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20 w 472"/>
                  <a:gd name="T1" fmla="*/ 0 h 92"/>
                  <a:gd name="T2" fmla="*/ 14 w 472"/>
                  <a:gd name="T3" fmla="*/ 0 h 92"/>
                  <a:gd name="T4" fmla="*/ 8 w 472"/>
                  <a:gd name="T5" fmla="*/ 0 h 92"/>
                  <a:gd name="T6" fmla="*/ 4 w 472"/>
                  <a:gd name="T7" fmla="*/ 1 h 92"/>
                  <a:gd name="T8" fmla="*/ 2 w 472"/>
                  <a:gd name="T9" fmla="*/ 3 h 92"/>
                  <a:gd name="T10" fmla="*/ 2 w 472"/>
                  <a:gd name="T11" fmla="*/ 5 h 92"/>
                  <a:gd name="T12" fmla="*/ 3 w 472"/>
                  <a:gd name="T13" fmla="*/ 8 h 92"/>
                  <a:gd name="T14" fmla="*/ 5 w 472"/>
                  <a:gd name="T15" fmla="*/ 11 h 92"/>
                  <a:gd name="T16" fmla="*/ 5 w 472"/>
                  <a:gd name="T17" fmla="*/ 14 h 92"/>
                  <a:gd name="T18" fmla="*/ 1 w 472"/>
                  <a:gd name="T19" fmla="*/ 17 h 92"/>
                  <a:gd name="T20" fmla="*/ 0 w 472"/>
                  <a:gd name="T21" fmla="*/ 19 h 92"/>
                  <a:gd name="T22" fmla="*/ 1 w 472"/>
                  <a:gd name="T23" fmla="*/ 22 h 92"/>
                  <a:gd name="T24" fmla="*/ 5 w 472"/>
                  <a:gd name="T25" fmla="*/ 23 h 92"/>
                  <a:gd name="T26" fmla="*/ 16 w 472"/>
                  <a:gd name="T27" fmla="*/ 26 h 92"/>
                  <a:gd name="T28" fmla="*/ 35 w 472"/>
                  <a:gd name="T29" fmla="*/ 29 h 92"/>
                  <a:gd name="T30" fmla="*/ 54 w 472"/>
                  <a:gd name="T31" fmla="*/ 31 h 92"/>
                  <a:gd name="T32" fmla="*/ 118 w 472"/>
                  <a:gd name="T33" fmla="*/ 31 h 92"/>
                  <a:gd name="T34" fmla="*/ 121 w 472"/>
                  <a:gd name="T35" fmla="*/ 27 h 92"/>
                  <a:gd name="T36" fmla="*/ 125 w 472"/>
                  <a:gd name="T37" fmla="*/ 25 h 92"/>
                  <a:gd name="T38" fmla="*/ 129 w 472"/>
                  <a:gd name="T39" fmla="*/ 25 h 92"/>
                  <a:gd name="T40" fmla="*/ 133 w 472"/>
                  <a:gd name="T41" fmla="*/ 25 h 92"/>
                  <a:gd name="T42" fmla="*/ 143 w 472"/>
                  <a:gd name="T43" fmla="*/ 26 h 92"/>
                  <a:gd name="T44" fmla="*/ 148 w 472"/>
                  <a:gd name="T45" fmla="*/ 26 h 92"/>
                  <a:gd name="T46" fmla="*/ 153 w 472"/>
                  <a:gd name="T47" fmla="*/ 25 h 92"/>
                  <a:gd name="T48" fmla="*/ 151 w 472"/>
                  <a:gd name="T49" fmla="*/ 11 h 92"/>
                  <a:gd name="T50" fmla="*/ 147 w 472"/>
                  <a:gd name="T51" fmla="*/ 9 h 92"/>
                  <a:gd name="T52" fmla="*/ 144 w 472"/>
                  <a:gd name="T53" fmla="*/ 6 h 92"/>
                  <a:gd name="T54" fmla="*/ 140 w 472"/>
                  <a:gd name="T55" fmla="*/ 4 h 92"/>
                  <a:gd name="T56" fmla="*/ 135 w 472"/>
                  <a:gd name="T57" fmla="*/ 4 h 92"/>
                  <a:gd name="T58" fmla="*/ 128 w 472"/>
                  <a:gd name="T59" fmla="*/ 5 h 92"/>
                  <a:gd name="T60" fmla="*/ 119 w 472"/>
                  <a:gd name="T61" fmla="*/ 7 h 92"/>
                  <a:gd name="T62" fmla="*/ 106 w 472"/>
                  <a:gd name="T63" fmla="*/ 11 h 92"/>
                  <a:gd name="T64" fmla="*/ 97 w 472"/>
                  <a:gd name="T65" fmla="*/ 13 h 92"/>
                  <a:gd name="T66" fmla="*/ 89 w 472"/>
                  <a:gd name="T67" fmla="*/ 14 h 92"/>
                  <a:gd name="T68" fmla="*/ 77 w 472"/>
                  <a:gd name="T69" fmla="*/ 14 h 92"/>
                  <a:gd name="T70" fmla="*/ 62 w 472"/>
                  <a:gd name="T71" fmla="*/ 14 h 92"/>
                  <a:gd name="T72" fmla="*/ 51 w 472"/>
                  <a:gd name="T73" fmla="*/ 14 h 92"/>
                  <a:gd name="T74" fmla="*/ 39 w 472"/>
                  <a:gd name="T75" fmla="*/ 14 h 92"/>
                  <a:gd name="T76" fmla="*/ 29 w 472"/>
                  <a:gd name="T77" fmla="*/ 14 h 92"/>
                  <a:gd name="T78" fmla="*/ 25 w 472"/>
                  <a:gd name="T79" fmla="*/ 12 h 92"/>
                  <a:gd name="T80" fmla="*/ 23 w 472"/>
                  <a:gd name="T81" fmla="*/ 9 h 92"/>
                  <a:gd name="T82" fmla="*/ 22 w 472"/>
                  <a:gd name="T83" fmla="*/ 6 h 92"/>
                  <a:gd name="T84" fmla="*/ 22 w 472"/>
                  <a:gd name="T85" fmla="*/ 3 h 92"/>
                  <a:gd name="T86" fmla="*/ 24 w 472"/>
                  <a:gd name="T87" fmla="*/ 1 h 92"/>
                  <a:gd name="T88" fmla="*/ 24 w 472"/>
                  <a:gd name="T89" fmla="*/ 0 h 92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86" name="Freeform 431">
                <a:extLst>
                  <a:ext uri="{FF2B5EF4-FFF2-40B4-BE49-F238E27FC236}">
                    <a16:creationId xmlns:a16="http://schemas.microsoft.com/office/drawing/2014/main" id="{12DDB491-175E-41DD-84B5-42E79969B8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47 w 326"/>
                  <a:gd name="T1" fmla="*/ 36 h 135"/>
                  <a:gd name="T2" fmla="*/ 66 w 326"/>
                  <a:gd name="T3" fmla="*/ 32 h 135"/>
                  <a:gd name="T4" fmla="*/ 85 w 326"/>
                  <a:gd name="T5" fmla="*/ 28 h 135"/>
                  <a:gd name="T6" fmla="*/ 98 w 326"/>
                  <a:gd name="T7" fmla="*/ 25 h 135"/>
                  <a:gd name="T8" fmla="*/ 103 w 326"/>
                  <a:gd name="T9" fmla="*/ 22 h 135"/>
                  <a:gd name="T10" fmla="*/ 105 w 326"/>
                  <a:gd name="T11" fmla="*/ 19 h 135"/>
                  <a:gd name="T12" fmla="*/ 101 w 326"/>
                  <a:gd name="T13" fmla="*/ 16 h 135"/>
                  <a:gd name="T14" fmla="*/ 98 w 326"/>
                  <a:gd name="T15" fmla="*/ 14 h 135"/>
                  <a:gd name="T16" fmla="*/ 93 w 326"/>
                  <a:gd name="T17" fmla="*/ 12 h 135"/>
                  <a:gd name="T18" fmla="*/ 86 w 326"/>
                  <a:gd name="T19" fmla="*/ 11 h 135"/>
                  <a:gd name="T20" fmla="*/ 75 w 326"/>
                  <a:gd name="T21" fmla="*/ 10 h 135"/>
                  <a:gd name="T22" fmla="*/ 68 w 326"/>
                  <a:gd name="T23" fmla="*/ 10 h 135"/>
                  <a:gd name="T24" fmla="*/ 66 w 326"/>
                  <a:gd name="T25" fmla="*/ 8 h 135"/>
                  <a:gd name="T26" fmla="*/ 64 w 326"/>
                  <a:gd name="T27" fmla="*/ 6 h 135"/>
                  <a:gd name="T28" fmla="*/ 62 w 326"/>
                  <a:gd name="T29" fmla="*/ 3 h 135"/>
                  <a:gd name="T30" fmla="*/ 59 w 326"/>
                  <a:gd name="T31" fmla="*/ 2 h 135"/>
                  <a:gd name="T32" fmla="*/ 53 w 326"/>
                  <a:gd name="T33" fmla="*/ 0 h 135"/>
                  <a:gd name="T34" fmla="*/ 44 w 326"/>
                  <a:gd name="T35" fmla="*/ 0 h 135"/>
                  <a:gd name="T36" fmla="*/ 28 w 326"/>
                  <a:gd name="T37" fmla="*/ 3 h 135"/>
                  <a:gd name="T38" fmla="*/ 16 w 326"/>
                  <a:gd name="T39" fmla="*/ 6 h 135"/>
                  <a:gd name="T40" fmla="*/ 9 w 326"/>
                  <a:gd name="T41" fmla="*/ 9 h 135"/>
                  <a:gd name="T42" fmla="*/ 4 w 326"/>
                  <a:gd name="T43" fmla="*/ 12 h 135"/>
                  <a:gd name="T44" fmla="*/ 1 w 326"/>
                  <a:gd name="T45" fmla="*/ 15 h 135"/>
                  <a:gd name="T46" fmla="*/ 0 w 326"/>
                  <a:gd name="T47" fmla="*/ 17 h 135"/>
                  <a:gd name="T48" fmla="*/ 11 w 326"/>
                  <a:gd name="T49" fmla="*/ 25 h 135"/>
                  <a:gd name="T50" fmla="*/ 18 w 326"/>
                  <a:gd name="T51" fmla="*/ 27 h 135"/>
                  <a:gd name="T52" fmla="*/ 13 w 326"/>
                  <a:gd name="T53" fmla="*/ 30 h 135"/>
                  <a:gd name="T54" fmla="*/ 12 w 326"/>
                  <a:gd name="T55" fmla="*/ 33 h 135"/>
                  <a:gd name="T56" fmla="*/ 14 w 326"/>
                  <a:gd name="T57" fmla="*/ 38 h 135"/>
                  <a:gd name="T58" fmla="*/ 16 w 326"/>
                  <a:gd name="T59" fmla="*/ 43 h 135"/>
                  <a:gd name="T60" fmla="*/ 18 w 326"/>
                  <a:gd name="T61" fmla="*/ 45 h 135"/>
                  <a:gd name="T62" fmla="*/ 22 w 326"/>
                  <a:gd name="T63" fmla="*/ 45 h 135"/>
                  <a:gd name="T64" fmla="*/ 28 w 326"/>
                  <a:gd name="T65" fmla="*/ 44 h 135"/>
                  <a:gd name="T66" fmla="*/ 33 w 326"/>
                  <a:gd name="T67" fmla="*/ 42 h 135"/>
                  <a:gd name="T68" fmla="*/ 38 w 326"/>
                  <a:gd name="T69" fmla="*/ 41 h 135"/>
                  <a:gd name="T70" fmla="*/ 39 w 326"/>
                  <a:gd name="T71" fmla="*/ 37 h 135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87" name="Freeform 432">
                <a:extLst>
                  <a:ext uri="{FF2B5EF4-FFF2-40B4-BE49-F238E27FC236}">
                    <a16:creationId xmlns:a16="http://schemas.microsoft.com/office/drawing/2014/main" id="{A90B2C70-7F5B-41DA-9660-5C2A3E7C5A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15 w 159"/>
                  <a:gd name="T1" fmla="*/ 17 h 56"/>
                  <a:gd name="T2" fmla="*/ 13 w 159"/>
                  <a:gd name="T3" fmla="*/ 17 h 56"/>
                  <a:gd name="T4" fmla="*/ 11 w 159"/>
                  <a:gd name="T5" fmla="*/ 16 h 56"/>
                  <a:gd name="T6" fmla="*/ 8 w 159"/>
                  <a:gd name="T7" fmla="*/ 14 h 56"/>
                  <a:gd name="T8" fmla="*/ 6 w 159"/>
                  <a:gd name="T9" fmla="*/ 12 h 56"/>
                  <a:gd name="T10" fmla="*/ 3 w 159"/>
                  <a:gd name="T11" fmla="*/ 10 h 56"/>
                  <a:gd name="T12" fmla="*/ 2 w 159"/>
                  <a:gd name="T13" fmla="*/ 8 h 56"/>
                  <a:gd name="T14" fmla="*/ 1 w 159"/>
                  <a:gd name="T15" fmla="*/ 7 h 56"/>
                  <a:gd name="T16" fmla="*/ 0 w 159"/>
                  <a:gd name="T17" fmla="*/ 5 h 56"/>
                  <a:gd name="T18" fmla="*/ 0 w 159"/>
                  <a:gd name="T19" fmla="*/ 4 h 56"/>
                  <a:gd name="T20" fmla="*/ 0 w 159"/>
                  <a:gd name="T21" fmla="*/ 3 h 56"/>
                  <a:gd name="T22" fmla="*/ 7 w 159"/>
                  <a:gd name="T23" fmla="*/ 3 h 56"/>
                  <a:gd name="T24" fmla="*/ 13 w 159"/>
                  <a:gd name="T25" fmla="*/ 3 h 56"/>
                  <a:gd name="T26" fmla="*/ 17 w 159"/>
                  <a:gd name="T27" fmla="*/ 3 h 56"/>
                  <a:gd name="T28" fmla="*/ 19 w 159"/>
                  <a:gd name="T29" fmla="*/ 3 h 56"/>
                  <a:gd name="T30" fmla="*/ 27 w 159"/>
                  <a:gd name="T31" fmla="*/ 2 h 56"/>
                  <a:gd name="T32" fmla="*/ 38 w 159"/>
                  <a:gd name="T33" fmla="*/ 0 h 56"/>
                  <a:gd name="T34" fmla="*/ 40 w 159"/>
                  <a:gd name="T35" fmla="*/ 0 h 56"/>
                  <a:gd name="T36" fmla="*/ 42 w 159"/>
                  <a:gd name="T37" fmla="*/ 0 h 56"/>
                  <a:gd name="T38" fmla="*/ 45 w 159"/>
                  <a:gd name="T39" fmla="*/ 0 h 56"/>
                  <a:gd name="T40" fmla="*/ 47 w 159"/>
                  <a:gd name="T41" fmla="*/ 1 h 56"/>
                  <a:gd name="T42" fmla="*/ 48 w 159"/>
                  <a:gd name="T43" fmla="*/ 2 h 56"/>
                  <a:gd name="T44" fmla="*/ 50 w 159"/>
                  <a:gd name="T45" fmla="*/ 3 h 56"/>
                  <a:gd name="T46" fmla="*/ 51 w 159"/>
                  <a:gd name="T47" fmla="*/ 5 h 56"/>
                  <a:gd name="T48" fmla="*/ 51 w 159"/>
                  <a:gd name="T49" fmla="*/ 7 h 56"/>
                  <a:gd name="T50" fmla="*/ 51 w 159"/>
                  <a:gd name="T51" fmla="*/ 10 h 56"/>
                  <a:gd name="T52" fmla="*/ 50 w 159"/>
                  <a:gd name="T53" fmla="*/ 12 h 56"/>
                  <a:gd name="T54" fmla="*/ 48 w 159"/>
                  <a:gd name="T55" fmla="*/ 14 h 56"/>
                  <a:gd name="T56" fmla="*/ 47 w 159"/>
                  <a:gd name="T57" fmla="*/ 15 h 56"/>
                  <a:gd name="T58" fmla="*/ 45 w 159"/>
                  <a:gd name="T59" fmla="*/ 17 h 56"/>
                  <a:gd name="T60" fmla="*/ 42 w 159"/>
                  <a:gd name="T61" fmla="*/ 17 h 56"/>
                  <a:gd name="T62" fmla="*/ 40 w 159"/>
                  <a:gd name="T63" fmla="*/ 18 h 56"/>
                  <a:gd name="T64" fmla="*/ 37 w 159"/>
                  <a:gd name="T65" fmla="*/ 18 h 56"/>
                  <a:gd name="T66" fmla="*/ 25 w 159"/>
                  <a:gd name="T67" fmla="*/ 18 h 56"/>
                  <a:gd name="T68" fmla="*/ 15 w 159"/>
                  <a:gd name="T69" fmla="*/ 17 h 5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88" name="Freeform 433">
                <a:extLst>
                  <a:ext uri="{FF2B5EF4-FFF2-40B4-BE49-F238E27FC236}">
                    <a16:creationId xmlns:a16="http://schemas.microsoft.com/office/drawing/2014/main" id="{30D1C367-B51B-4624-9DA6-072B355B09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946 w 3734"/>
                  <a:gd name="T1" fmla="*/ 447 h 1644"/>
                  <a:gd name="T2" fmla="*/ 825 w 3734"/>
                  <a:gd name="T3" fmla="*/ 499 h 1644"/>
                  <a:gd name="T4" fmla="*/ 746 w 3734"/>
                  <a:gd name="T5" fmla="*/ 522 h 1644"/>
                  <a:gd name="T6" fmla="*/ 740 w 3734"/>
                  <a:gd name="T7" fmla="*/ 536 h 1644"/>
                  <a:gd name="T8" fmla="*/ 703 w 3734"/>
                  <a:gd name="T9" fmla="*/ 527 h 1644"/>
                  <a:gd name="T10" fmla="*/ 735 w 3734"/>
                  <a:gd name="T11" fmla="*/ 496 h 1644"/>
                  <a:gd name="T12" fmla="*/ 699 w 3734"/>
                  <a:gd name="T13" fmla="*/ 464 h 1644"/>
                  <a:gd name="T14" fmla="*/ 676 w 3734"/>
                  <a:gd name="T15" fmla="*/ 425 h 1644"/>
                  <a:gd name="T16" fmla="*/ 628 w 3734"/>
                  <a:gd name="T17" fmla="*/ 432 h 1644"/>
                  <a:gd name="T18" fmla="*/ 572 w 3734"/>
                  <a:gd name="T19" fmla="*/ 420 h 1644"/>
                  <a:gd name="T20" fmla="*/ 84 w 3734"/>
                  <a:gd name="T21" fmla="*/ 405 h 1644"/>
                  <a:gd name="T22" fmla="*/ 41 w 3734"/>
                  <a:gd name="T23" fmla="*/ 369 h 1644"/>
                  <a:gd name="T24" fmla="*/ 49 w 3734"/>
                  <a:gd name="T25" fmla="*/ 341 h 1644"/>
                  <a:gd name="T26" fmla="*/ 47 w 3734"/>
                  <a:gd name="T27" fmla="*/ 304 h 1644"/>
                  <a:gd name="T28" fmla="*/ 84 w 3734"/>
                  <a:gd name="T29" fmla="*/ 282 h 1644"/>
                  <a:gd name="T30" fmla="*/ 81 w 3734"/>
                  <a:gd name="T31" fmla="*/ 245 h 1644"/>
                  <a:gd name="T32" fmla="*/ 41 w 3734"/>
                  <a:gd name="T33" fmla="*/ 218 h 1644"/>
                  <a:gd name="T34" fmla="*/ 194 w 3734"/>
                  <a:gd name="T35" fmla="*/ 37 h 1644"/>
                  <a:gd name="T36" fmla="*/ 370 w 3734"/>
                  <a:gd name="T37" fmla="*/ 34 h 1644"/>
                  <a:gd name="T38" fmla="*/ 418 w 3734"/>
                  <a:gd name="T39" fmla="*/ 38 h 1644"/>
                  <a:gd name="T40" fmla="*/ 530 w 3734"/>
                  <a:gd name="T41" fmla="*/ 54 h 1644"/>
                  <a:gd name="T42" fmla="*/ 572 w 3734"/>
                  <a:gd name="T43" fmla="*/ 68 h 1644"/>
                  <a:gd name="T44" fmla="*/ 670 w 3734"/>
                  <a:gd name="T45" fmla="*/ 63 h 1644"/>
                  <a:gd name="T46" fmla="*/ 738 w 3734"/>
                  <a:gd name="T47" fmla="*/ 71 h 1644"/>
                  <a:gd name="T48" fmla="*/ 763 w 3734"/>
                  <a:gd name="T49" fmla="*/ 71 h 1644"/>
                  <a:gd name="T50" fmla="*/ 813 w 3734"/>
                  <a:gd name="T51" fmla="*/ 40 h 1644"/>
                  <a:gd name="T52" fmla="*/ 835 w 3734"/>
                  <a:gd name="T53" fmla="*/ 1 h 1644"/>
                  <a:gd name="T54" fmla="*/ 853 w 3734"/>
                  <a:gd name="T55" fmla="*/ 34 h 1644"/>
                  <a:gd name="T56" fmla="*/ 860 w 3734"/>
                  <a:gd name="T57" fmla="*/ 54 h 1644"/>
                  <a:gd name="T58" fmla="*/ 876 w 3734"/>
                  <a:gd name="T59" fmla="*/ 64 h 1644"/>
                  <a:gd name="T60" fmla="*/ 933 w 3734"/>
                  <a:gd name="T61" fmla="*/ 40 h 1644"/>
                  <a:gd name="T62" fmla="*/ 980 w 3734"/>
                  <a:gd name="T63" fmla="*/ 44 h 1644"/>
                  <a:gd name="T64" fmla="*/ 930 w 3734"/>
                  <a:gd name="T65" fmla="*/ 89 h 1644"/>
                  <a:gd name="T66" fmla="*/ 900 w 3734"/>
                  <a:gd name="T67" fmla="*/ 95 h 1644"/>
                  <a:gd name="T68" fmla="*/ 829 w 3734"/>
                  <a:gd name="T69" fmla="*/ 100 h 1644"/>
                  <a:gd name="T70" fmla="*/ 807 w 3734"/>
                  <a:gd name="T71" fmla="*/ 132 h 1644"/>
                  <a:gd name="T72" fmla="*/ 753 w 3734"/>
                  <a:gd name="T73" fmla="*/ 154 h 1644"/>
                  <a:gd name="T74" fmla="*/ 673 w 3734"/>
                  <a:gd name="T75" fmla="*/ 205 h 1644"/>
                  <a:gd name="T76" fmla="*/ 680 w 3734"/>
                  <a:gd name="T77" fmla="*/ 260 h 1644"/>
                  <a:gd name="T78" fmla="*/ 762 w 3734"/>
                  <a:gd name="T79" fmla="*/ 297 h 1644"/>
                  <a:gd name="T80" fmla="*/ 788 w 3734"/>
                  <a:gd name="T81" fmla="*/ 347 h 1644"/>
                  <a:gd name="T82" fmla="*/ 844 w 3734"/>
                  <a:gd name="T83" fmla="*/ 324 h 1644"/>
                  <a:gd name="T84" fmla="*/ 919 w 3734"/>
                  <a:gd name="T85" fmla="*/ 257 h 1644"/>
                  <a:gd name="T86" fmla="*/ 935 w 3734"/>
                  <a:gd name="T87" fmla="*/ 196 h 1644"/>
                  <a:gd name="T88" fmla="*/ 1018 w 3734"/>
                  <a:gd name="T89" fmla="*/ 164 h 1644"/>
                  <a:gd name="T90" fmla="*/ 1057 w 3734"/>
                  <a:gd name="T91" fmla="*/ 194 h 1644"/>
                  <a:gd name="T92" fmla="*/ 1041 w 3734"/>
                  <a:gd name="T93" fmla="*/ 241 h 1644"/>
                  <a:gd name="T94" fmla="*/ 1127 w 3734"/>
                  <a:gd name="T95" fmla="*/ 201 h 1644"/>
                  <a:gd name="T96" fmla="*/ 1144 w 3734"/>
                  <a:gd name="T97" fmla="*/ 254 h 1644"/>
                  <a:gd name="T98" fmla="*/ 1182 w 3734"/>
                  <a:gd name="T99" fmla="*/ 303 h 1644"/>
                  <a:gd name="T100" fmla="*/ 1167 w 3734"/>
                  <a:gd name="T101" fmla="*/ 315 h 1644"/>
                  <a:gd name="T102" fmla="*/ 1192 w 3734"/>
                  <a:gd name="T103" fmla="*/ 337 h 1644"/>
                  <a:gd name="T104" fmla="*/ 1148 w 3734"/>
                  <a:gd name="T105" fmla="*/ 363 h 1644"/>
                  <a:gd name="T106" fmla="*/ 1017 w 3734"/>
                  <a:gd name="T107" fmla="*/ 383 h 1644"/>
                  <a:gd name="T108" fmla="*/ 921 w 3734"/>
                  <a:gd name="T109" fmla="*/ 438 h 1644"/>
                  <a:gd name="T110" fmla="*/ 937 w 3734"/>
                  <a:gd name="T111" fmla="*/ 438 h 1644"/>
                  <a:gd name="T112" fmla="*/ 1038 w 3734"/>
                  <a:gd name="T113" fmla="*/ 412 h 1644"/>
                  <a:gd name="T114" fmla="*/ 989 w 3734"/>
                  <a:gd name="T115" fmla="*/ 426 h 1644"/>
                  <a:gd name="T116" fmla="*/ 1013 w 3734"/>
                  <a:gd name="T117" fmla="*/ 456 h 1644"/>
                  <a:gd name="T118" fmla="*/ 1048 w 3734"/>
                  <a:gd name="T119" fmla="*/ 483 h 1644"/>
                  <a:gd name="T120" fmla="*/ 974 w 3734"/>
                  <a:gd name="T121" fmla="*/ 513 h 1644"/>
                  <a:gd name="T122" fmla="*/ 1029 w 3734"/>
                  <a:gd name="T123" fmla="*/ 481 h 1644"/>
                  <a:gd name="T124" fmla="*/ 973 w 3734"/>
                  <a:gd name="T125" fmla="*/ 487 h 164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830" name="Freeform 434">
              <a:extLst>
                <a:ext uri="{FF2B5EF4-FFF2-40B4-BE49-F238E27FC236}">
                  <a16:creationId xmlns:a16="http://schemas.microsoft.com/office/drawing/2014/main" id="{AB05391D-F539-4535-B23D-6C5D289F52CE}"/>
                </a:ext>
              </a:extLst>
            </p:cNvPr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6281738" y="3541713"/>
              <a:ext cx="127000" cy="158750"/>
            </a:xfrm>
            <a:custGeom>
              <a:avLst/>
              <a:gdLst>
                <a:gd name="T0" fmla="*/ 115257 w 292"/>
                <a:gd name="T1" fmla="*/ 5154 h 308"/>
                <a:gd name="T2" fmla="*/ 120041 w 292"/>
                <a:gd name="T3" fmla="*/ 19071 h 308"/>
                <a:gd name="T4" fmla="*/ 124390 w 292"/>
                <a:gd name="T5" fmla="*/ 46903 h 308"/>
                <a:gd name="T6" fmla="*/ 127000 w 292"/>
                <a:gd name="T7" fmla="*/ 74221 h 308"/>
                <a:gd name="T8" fmla="*/ 126565 w 292"/>
                <a:gd name="T9" fmla="*/ 82983 h 308"/>
                <a:gd name="T10" fmla="*/ 124390 w 292"/>
                <a:gd name="T11" fmla="*/ 92261 h 308"/>
                <a:gd name="T12" fmla="*/ 116997 w 292"/>
                <a:gd name="T13" fmla="*/ 106177 h 308"/>
                <a:gd name="T14" fmla="*/ 100469 w 292"/>
                <a:gd name="T15" fmla="*/ 95353 h 308"/>
                <a:gd name="T16" fmla="*/ 71764 w 292"/>
                <a:gd name="T17" fmla="*/ 132979 h 308"/>
                <a:gd name="T18" fmla="*/ 57411 w 292"/>
                <a:gd name="T19" fmla="*/ 143287 h 308"/>
                <a:gd name="T20" fmla="*/ 25661 w 292"/>
                <a:gd name="T21" fmla="*/ 152565 h 308"/>
                <a:gd name="T22" fmla="*/ 13918 w 292"/>
                <a:gd name="T23" fmla="*/ 158750 h 308"/>
                <a:gd name="T24" fmla="*/ 2610 w 292"/>
                <a:gd name="T25" fmla="*/ 158750 h 308"/>
                <a:gd name="T26" fmla="*/ 3914 w 292"/>
                <a:gd name="T27" fmla="*/ 153080 h 308"/>
                <a:gd name="T28" fmla="*/ 4784 w 292"/>
                <a:gd name="T29" fmla="*/ 147411 h 308"/>
                <a:gd name="T30" fmla="*/ 3045 w 292"/>
                <a:gd name="T31" fmla="*/ 136587 h 308"/>
                <a:gd name="T32" fmla="*/ 870 w 292"/>
                <a:gd name="T33" fmla="*/ 126794 h 308"/>
                <a:gd name="T34" fmla="*/ 0 w 292"/>
                <a:gd name="T35" fmla="*/ 117516 h 308"/>
                <a:gd name="T36" fmla="*/ 1305 w 292"/>
                <a:gd name="T37" fmla="*/ 105662 h 308"/>
                <a:gd name="T38" fmla="*/ 5219 w 292"/>
                <a:gd name="T39" fmla="*/ 96899 h 308"/>
                <a:gd name="T40" fmla="*/ 11308 w 292"/>
                <a:gd name="T41" fmla="*/ 89683 h 308"/>
                <a:gd name="T42" fmla="*/ 18267 w 292"/>
                <a:gd name="T43" fmla="*/ 82983 h 308"/>
                <a:gd name="T44" fmla="*/ 33490 w 292"/>
                <a:gd name="T45" fmla="*/ 69582 h 308"/>
                <a:gd name="T46" fmla="*/ 40449 w 292"/>
                <a:gd name="T47" fmla="*/ 61335 h 308"/>
                <a:gd name="T48" fmla="*/ 45668 w 292"/>
                <a:gd name="T49" fmla="*/ 50511 h 308"/>
                <a:gd name="T50" fmla="*/ 42623 w 292"/>
                <a:gd name="T51" fmla="*/ 49481 h 308"/>
                <a:gd name="T52" fmla="*/ 40014 w 292"/>
                <a:gd name="T53" fmla="*/ 46903 h 308"/>
                <a:gd name="T54" fmla="*/ 35664 w 292"/>
                <a:gd name="T55" fmla="*/ 37626 h 308"/>
                <a:gd name="T56" fmla="*/ 32185 w 292"/>
                <a:gd name="T57" fmla="*/ 25771 h 308"/>
                <a:gd name="T58" fmla="*/ 31315 w 292"/>
                <a:gd name="T59" fmla="*/ 12370 h 308"/>
                <a:gd name="T60" fmla="*/ 39144 w 292"/>
                <a:gd name="T61" fmla="*/ 9793 h 308"/>
                <a:gd name="T62" fmla="*/ 45668 w 292"/>
                <a:gd name="T63" fmla="*/ 10308 h 308"/>
                <a:gd name="T64" fmla="*/ 57411 w 292"/>
                <a:gd name="T65" fmla="*/ 12370 h 308"/>
                <a:gd name="T66" fmla="*/ 73503 w 292"/>
                <a:gd name="T67" fmla="*/ 10824 h 308"/>
                <a:gd name="T68" fmla="*/ 91336 w 292"/>
                <a:gd name="T69" fmla="*/ 6185 h 308"/>
                <a:gd name="T70" fmla="*/ 112647 w 292"/>
                <a:gd name="T71" fmla="*/ 0 h 30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31" name="Freeform 435">
              <a:extLst>
                <a:ext uri="{FF2B5EF4-FFF2-40B4-BE49-F238E27FC236}">
                  <a16:creationId xmlns:a16="http://schemas.microsoft.com/office/drawing/2014/main" id="{ACAB0702-A1B1-4D6E-A0AA-A549707C4DF2}"/>
                </a:ext>
              </a:extLst>
            </p:cNvPr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6388100" y="3692525"/>
              <a:ext cx="6350" cy="57150"/>
            </a:xfrm>
            <a:custGeom>
              <a:avLst/>
              <a:gdLst>
                <a:gd name="T0" fmla="*/ 4989 w 14"/>
                <a:gd name="T1" fmla="*/ 0 h 7"/>
                <a:gd name="T2" fmla="*/ 5896 w 14"/>
                <a:gd name="T3" fmla="*/ 24493 h 7"/>
                <a:gd name="T4" fmla="*/ 6350 w 14"/>
                <a:gd name="T5" fmla="*/ 57150 h 7"/>
                <a:gd name="T6" fmla="*/ 0 w 14"/>
                <a:gd name="T7" fmla="*/ 57150 h 7"/>
                <a:gd name="T8" fmla="*/ 4989 w 1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32" name="Freeform 436">
              <a:extLst>
                <a:ext uri="{FF2B5EF4-FFF2-40B4-BE49-F238E27FC236}">
                  <a16:creationId xmlns:a16="http://schemas.microsoft.com/office/drawing/2014/main" id="{F5E33B72-4DC7-4523-B1C7-79ECAF40FDC5}"/>
                </a:ext>
              </a:extLst>
            </p:cNvPr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5878514" y="2928938"/>
              <a:ext cx="249237" cy="500062"/>
            </a:xfrm>
            <a:custGeom>
              <a:avLst/>
              <a:gdLst>
                <a:gd name="T0" fmla="*/ 34747 w 581"/>
                <a:gd name="T1" fmla="*/ 60217 h 955"/>
                <a:gd name="T2" fmla="*/ 44614 w 581"/>
                <a:gd name="T3" fmla="*/ 79591 h 955"/>
                <a:gd name="T4" fmla="*/ 47617 w 581"/>
                <a:gd name="T5" fmla="*/ 94253 h 955"/>
                <a:gd name="T6" fmla="*/ 40753 w 581"/>
                <a:gd name="T7" fmla="*/ 122528 h 955"/>
                <a:gd name="T8" fmla="*/ 41182 w 581"/>
                <a:gd name="T9" fmla="*/ 170178 h 955"/>
                <a:gd name="T10" fmla="*/ 39895 w 581"/>
                <a:gd name="T11" fmla="*/ 190076 h 955"/>
                <a:gd name="T12" fmla="*/ 35176 w 581"/>
                <a:gd name="T13" fmla="*/ 207356 h 955"/>
                <a:gd name="T14" fmla="*/ 25310 w 581"/>
                <a:gd name="T15" fmla="*/ 224635 h 955"/>
                <a:gd name="T16" fmla="*/ 13298 w 581"/>
                <a:gd name="T17" fmla="*/ 241391 h 955"/>
                <a:gd name="T18" fmla="*/ 7293 w 581"/>
                <a:gd name="T19" fmla="*/ 251864 h 955"/>
                <a:gd name="T20" fmla="*/ 858 w 581"/>
                <a:gd name="T21" fmla="*/ 283805 h 955"/>
                <a:gd name="T22" fmla="*/ 29600 w 581"/>
                <a:gd name="T23" fmla="*/ 322553 h 955"/>
                <a:gd name="T24" fmla="*/ 29600 w 581"/>
                <a:gd name="T25" fmla="*/ 331978 h 955"/>
                <a:gd name="T26" fmla="*/ 31744 w 581"/>
                <a:gd name="T27" fmla="*/ 348211 h 955"/>
                <a:gd name="T28" fmla="*/ 31744 w 581"/>
                <a:gd name="T29" fmla="*/ 364443 h 955"/>
                <a:gd name="T30" fmla="*/ 33460 w 581"/>
                <a:gd name="T31" fmla="*/ 383817 h 955"/>
                <a:gd name="T32" fmla="*/ 40324 w 581"/>
                <a:gd name="T33" fmla="*/ 407380 h 955"/>
                <a:gd name="T34" fmla="*/ 45043 w 581"/>
                <a:gd name="T35" fmla="*/ 414711 h 955"/>
                <a:gd name="T36" fmla="*/ 29171 w 581"/>
                <a:gd name="T37" fmla="*/ 415758 h 955"/>
                <a:gd name="T38" fmla="*/ 18017 w 581"/>
                <a:gd name="T39" fmla="*/ 419947 h 955"/>
                <a:gd name="T40" fmla="*/ 15443 w 581"/>
                <a:gd name="T41" fmla="*/ 425184 h 955"/>
                <a:gd name="T42" fmla="*/ 18017 w 581"/>
                <a:gd name="T43" fmla="*/ 440892 h 955"/>
                <a:gd name="T44" fmla="*/ 29600 w 581"/>
                <a:gd name="T45" fmla="*/ 458696 h 955"/>
                <a:gd name="T46" fmla="*/ 37321 w 581"/>
                <a:gd name="T47" fmla="*/ 470739 h 955"/>
                <a:gd name="T48" fmla="*/ 42898 w 581"/>
                <a:gd name="T49" fmla="*/ 485400 h 955"/>
                <a:gd name="T50" fmla="*/ 66921 w 581"/>
                <a:gd name="T51" fmla="*/ 500062 h 955"/>
                <a:gd name="T52" fmla="*/ 81077 w 581"/>
                <a:gd name="T53" fmla="*/ 493255 h 955"/>
                <a:gd name="T54" fmla="*/ 106387 w 581"/>
                <a:gd name="T55" fmla="*/ 486448 h 955"/>
                <a:gd name="T56" fmla="*/ 119685 w 581"/>
                <a:gd name="T57" fmla="*/ 482259 h 955"/>
                <a:gd name="T58" fmla="*/ 127407 w 581"/>
                <a:gd name="T59" fmla="*/ 473357 h 955"/>
                <a:gd name="T60" fmla="*/ 129552 w 581"/>
                <a:gd name="T61" fmla="*/ 467074 h 955"/>
                <a:gd name="T62" fmla="*/ 129552 w 581"/>
                <a:gd name="T63" fmla="*/ 454507 h 955"/>
                <a:gd name="T64" fmla="*/ 144995 w 581"/>
                <a:gd name="T65" fmla="*/ 456077 h 955"/>
                <a:gd name="T66" fmla="*/ 157435 w 581"/>
                <a:gd name="T67" fmla="*/ 453459 h 955"/>
                <a:gd name="T68" fmla="*/ 166873 w 581"/>
                <a:gd name="T69" fmla="*/ 448223 h 955"/>
                <a:gd name="T70" fmla="*/ 173737 w 581"/>
                <a:gd name="T71" fmla="*/ 440892 h 955"/>
                <a:gd name="T72" fmla="*/ 185319 w 581"/>
                <a:gd name="T73" fmla="*/ 422565 h 955"/>
                <a:gd name="T74" fmla="*/ 197330 w 581"/>
                <a:gd name="T75" fmla="*/ 404762 h 955"/>
                <a:gd name="T76" fmla="*/ 204623 w 581"/>
                <a:gd name="T77" fmla="*/ 397955 h 955"/>
                <a:gd name="T78" fmla="*/ 215348 w 581"/>
                <a:gd name="T79" fmla="*/ 393766 h 955"/>
                <a:gd name="T80" fmla="*/ 223498 w 581"/>
                <a:gd name="T81" fmla="*/ 390101 h 955"/>
                <a:gd name="T82" fmla="*/ 214061 w 581"/>
                <a:gd name="T83" fmla="*/ 364967 h 955"/>
                <a:gd name="T84" fmla="*/ 207626 w 581"/>
                <a:gd name="T85" fmla="*/ 341927 h 955"/>
                <a:gd name="T86" fmla="*/ 202478 w 581"/>
                <a:gd name="T87" fmla="*/ 326218 h 955"/>
                <a:gd name="T88" fmla="*/ 206339 w 581"/>
                <a:gd name="T89" fmla="*/ 319411 h 955"/>
                <a:gd name="T90" fmla="*/ 208913 w 581"/>
                <a:gd name="T91" fmla="*/ 303179 h 955"/>
                <a:gd name="T92" fmla="*/ 211916 w 581"/>
                <a:gd name="T93" fmla="*/ 283281 h 955"/>
                <a:gd name="T94" fmla="*/ 216635 w 581"/>
                <a:gd name="T95" fmla="*/ 271761 h 955"/>
                <a:gd name="T96" fmla="*/ 228217 w 581"/>
                <a:gd name="T97" fmla="*/ 254482 h 955"/>
                <a:gd name="T98" fmla="*/ 244518 w 581"/>
                <a:gd name="T99" fmla="*/ 241391 h 955"/>
                <a:gd name="T100" fmla="*/ 55338 w 581"/>
                <a:gd name="T101" fmla="*/ 0 h 955"/>
                <a:gd name="T102" fmla="*/ 42040 w 581"/>
                <a:gd name="T103" fmla="*/ 2618 h 955"/>
                <a:gd name="T104" fmla="*/ 29600 w 581"/>
                <a:gd name="T105" fmla="*/ 12567 h 95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33" name="Freeform 437">
              <a:extLst>
                <a:ext uri="{FF2B5EF4-FFF2-40B4-BE49-F238E27FC236}">
                  <a16:creationId xmlns:a16="http://schemas.microsoft.com/office/drawing/2014/main" id="{D99269B5-165F-4EC9-AB20-F04A24B52735}"/>
                </a:ext>
              </a:extLst>
            </p:cNvPr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5554664" y="2311400"/>
              <a:ext cx="15875" cy="57150"/>
            </a:xfrm>
            <a:custGeom>
              <a:avLst/>
              <a:gdLst>
                <a:gd name="T0" fmla="*/ 9172 w 45"/>
                <a:gd name="T1" fmla="*/ 0 h 36"/>
                <a:gd name="T2" fmla="*/ 0 w 45"/>
                <a:gd name="T3" fmla="*/ 28575 h 36"/>
                <a:gd name="T4" fmla="*/ 8114 w 45"/>
                <a:gd name="T5" fmla="*/ 57150 h 36"/>
                <a:gd name="T6" fmla="*/ 15875 w 45"/>
                <a:gd name="T7" fmla="*/ 23813 h 36"/>
                <a:gd name="T8" fmla="*/ 9172 w 45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834" name="Group 438">
              <a:extLst>
                <a:ext uri="{FF2B5EF4-FFF2-40B4-BE49-F238E27FC236}">
                  <a16:creationId xmlns:a16="http://schemas.microsoft.com/office/drawing/2014/main" id="{4B55319A-73DD-4F1C-97EC-4879430B6352}"/>
                </a:ext>
              </a:extLst>
            </p:cNvPr>
            <p:cNvGrpSpPr>
              <a:grpSpLocks/>
            </p:cNvGrpSpPr>
            <p:nvPr>
              <p:custDataLst>
                <p:tags r:id="rId279"/>
              </p:custDataLst>
            </p:nvPr>
          </p:nvGrpSpPr>
          <p:grpSpPr bwMode="auto">
            <a:xfrm>
              <a:off x="3854451" y="4371976"/>
              <a:ext cx="384175" cy="1031875"/>
              <a:chOff x="1589" y="3126"/>
              <a:chExt cx="290" cy="657"/>
            </a:xfrm>
          </p:grpSpPr>
          <p:sp>
            <p:nvSpPr>
              <p:cNvPr id="944" name="Freeform 439">
                <a:extLst>
                  <a:ext uri="{FF2B5EF4-FFF2-40B4-BE49-F238E27FC236}">
                    <a16:creationId xmlns:a16="http://schemas.microsoft.com/office/drawing/2014/main" id="{D7BF2801-0EE9-44D9-AE83-AAD097F6C5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15 w 46"/>
                  <a:gd name="T1" fmla="*/ 4 h 51"/>
                  <a:gd name="T2" fmla="*/ 6 w 46"/>
                  <a:gd name="T3" fmla="*/ 0 h 51"/>
                  <a:gd name="T4" fmla="*/ 4 w 46"/>
                  <a:gd name="T5" fmla="*/ 2 h 51"/>
                  <a:gd name="T6" fmla="*/ 2 w 46"/>
                  <a:gd name="T7" fmla="*/ 3 h 51"/>
                  <a:gd name="T8" fmla="*/ 1 w 46"/>
                  <a:gd name="T9" fmla="*/ 4 h 51"/>
                  <a:gd name="T10" fmla="*/ 1 w 46"/>
                  <a:gd name="T11" fmla="*/ 5 h 51"/>
                  <a:gd name="T12" fmla="*/ 0 w 46"/>
                  <a:gd name="T13" fmla="*/ 5 h 51"/>
                  <a:gd name="T14" fmla="*/ 0 w 46"/>
                  <a:gd name="T15" fmla="*/ 6 h 51"/>
                  <a:gd name="T16" fmla="*/ 0 w 46"/>
                  <a:gd name="T17" fmla="*/ 8 h 51"/>
                  <a:gd name="T18" fmla="*/ 1 w 46"/>
                  <a:gd name="T19" fmla="*/ 10 h 51"/>
                  <a:gd name="T20" fmla="*/ 1 w 46"/>
                  <a:gd name="T21" fmla="*/ 12 h 51"/>
                  <a:gd name="T22" fmla="*/ 2 w 46"/>
                  <a:gd name="T23" fmla="*/ 14 h 51"/>
                  <a:gd name="T24" fmla="*/ 3 w 46"/>
                  <a:gd name="T25" fmla="*/ 15 h 51"/>
                  <a:gd name="T26" fmla="*/ 4 w 46"/>
                  <a:gd name="T27" fmla="*/ 16 h 51"/>
                  <a:gd name="T28" fmla="*/ 5 w 46"/>
                  <a:gd name="T29" fmla="*/ 17 h 51"/>
                  <a:gd name="T30" fmla="*/ 5 w 46"/>
                  <a:gd name="T31" fmla="*/ 17 h 51"/>
                  <a:gd name="T32" fmla="*/ 6 w 46"/>
                  <a:gd name="T33" fmla="*/ 17 h 51"/>
                  <a:gd name="T34" fmla="*/ 6 w 46"/>
                  <a:gd name="T35" fmla="*/ 17 h 51"/>
                  <a:gd name="T36" fmla="*/ 11 w 46"/>
                  <a:gd name="T37" fmla="*/ 17 h 51"/>
                  <a:gd name="T38" fmla="*/ 15 w 46"/>
                  <a:gd name="T39" fmla="*/ 17 h 51"/>
                  <a:gd name="T40" fmla="*/ 15 w 46"/>
                  <a:gd name="T41" fmla="*/ 12 h 51"/>
                  <a:gd name="T42" fmla="*/ 15 w 46"/>
                  <a:gd name="T43" fmla="*/ 9 h 51"/>
                  <a:gd name="T44" fmla="*/ 15 w 46"/>
                  <a:gd name="T45" fmla="*/ 6 h 51"/>
                  <a:gd name="T46" fmla="*/ 15 w 46"/>
                  <a:gd name="T47" fmla="*/ 4 h 5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45" name="Freeform 440">
                <a:extLst>
                  <a:ext uri="{FF2B5EF4-FFF2-40B4-BE49-F238E27FC236}">
                    <a16:creationId xmlns:a16="http://schemas.microsoft.com/office/drawing/2014/main" id="{58431382-C522-472D-931C-D321A3B21F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5 h 158"/>
                  <a:gd name="T4" fmla="*/ 1 w 192"/>
                  <a:gd name="T5" fmla="*/ 9 h 158"/>
                  <a:gd name="T6" fmla="*/ 1 w 192"/>
                  <a:gd name="T7" fmla="*/ 13 h 158"/>
                  <a:gd name="T8" fmla="*/ 2 w 192"/>
                  <a:gd name="T9" fmla="*/ 17 h 158"/>
                  <a:gd name="T10" fmla="*/ 4 w 192"/>
                  <a:gd name="T11" fmla="*/ 20 h 158"/>
                  <a:gd name="T12" fmla="*/ 5 w 192"/>
                  <a:gd name="T13" fmla="*/ 24 h 158"/>
                  <a:gd name="T14" fmla="*/ 7 w 192"/>
                  <a:gd name="T15" fmla="*/ 27 h 158"/>
                  <a:gd name="T16" fmla="*/ 8 w 192"/>
                  <a:gd name="T17" fmla="*/ 30 h 158"/>
                  <a:gd name="T18" fmla="*/ 15 w 192"/>
                  <a:gd name="T19" fmla="*/ 41 h 158"/>
                  <a:gd name="T20" fmla="*/ 22 w 192"/>
                  <a:gd name="T21" fmla="*/ 50 h 158"/>
                  <a:gd name="T22" fmla="*/ 24 w 192"/>
                  <a:gd name="T23" fmla="*/ 51 h 158"/>
                  <a:gd name="T24" fmla="*/ 26 w 192"/>
                  <a:gd name="T25" fmla="*/ 51 h 158"/>
                  <a:gd name="T26" fmla="*/ 28 w 192"/>
                  <a:gd name="T27" fmla="*/ 52 h 158"/>
                  <a:gd name="T28" fmla="*/ 30 w 192"/>
                  <a:gd name="T29" fmla="*/ 52 h 158"/>
                  <a:gd name="T30" fmla="*/ 34 w 192"/>
                  <a:gd name="T31" fmla="*/ 53 h 158"/>
                  <a:gd name="T32" fmla="*/ 39 w 192"/>
                  <a:gd name="T33" fmla="*/ 53 h 158"/>
                  <a:gd name="T34" fmla="*/ 50 w 192"/>
                  <a:gd name="T35" fmla="*/ 52 h 158"/>
                  <a:gd name="T36" fmla="*/ 63 w 192"/>
                  <a:gd name="T37" fmla="*/ 52 h 158"/>
                  <a:gd name="T38" fmla="*/ 60 w 192"/>
                  <a:gd name="T39" fmla="*/ 51 h 158"/>
                  <a:gd name="T40" fmla="*/ 58 w 192"/>
                  <a:gd name="T41" fmla="*/ 51 h 158"/>
                  <a:gd name="T42" fmla="*/ 55 w 192"/>
                  <a:gd name="T43" fmla="*/ 51 h 158"/>
                  <a:gd name="T44" fmla="*/ 53 w 192"/>
                  <a:gd name="T45" fmla="*/ 50 h 158"/>
                  <a:gd name="T46" fmla="*/ 48 w 192"/>
                  <a:gd name="T47" fmla="*/ 48 h 158"/>
                  <a:gd name="T48" fmla="*/ 42 w 192"/>
                  <a:gd name="T49" fmla="*/ 46 h 158"/>
                  <a:gd name="T50" fmla="*/ 38 w 192"/>
                  <a:gd name="T51" fmla="*/ 44 h 158"/>
                  <a:gd name="T52" fmla="*/ 33 w 192"/>
                  <a:gd name="T53" fmla="*/ 40 h 158"/>
                  <a:gd name="T54" fmla="*/ 29 w 192"/>
                  <a:gd name="T55" fmla="*/ 37 h 158"/>
                  <a:gd name="T56" fmla="*/ 25 w 192"/>
                  <a:gd name="T57" fmla="*/ 33 h 158"/>
                  <a:gd name="T58" fmla="*/ 21 w 192"/>
                  <a:gd name="T59" fmla="*/ 29 h 158"/>
                  <a:gd name="T60" fmla="*/ 17 w 192"/>
                  <a:gd name="T61" fmla="*/ 25 h 158"/>
                  <a:gd name="T62" fmla="*/ 14 w 192"/>
                  <a:gd name="T63" fmla="*/ 21 h 158"/>
                  <a:gd name="T64" fmla="*/ 11 w 192"/>
                  <a:gd name="T65" fmla="*/ 17 h 158"/>
                  <a:gd name="T66" fmla="*/ 9 w 192"/>
                  <a:gd name="T67" fmla="*/ 13 h 158"/>
                  <a:gd name="T68" fmla="*/ 7 w 192"/>
                  <a:gd name="T69" fmla="*/ 9 h 158"/>
                  <a:gd name="T70" fmla="*/ 5 w 192"/>
                  <a:gd name="T71" fmla="*/ 5 h 158"/>
                  <a:gd name="T72" fmla="*/ 4 w 192"/>
                  <a:gd name="T73" fmla="*/ 2 h 158"/>
                  <a:gd name="T74" fmla="*/ 0 w 192"/>
                  <a:gd name="T75" fmla="*/ 0 h 15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46" name="Freeform 441">
                <a:extLst>
                  <a:ext uri="{FF2B5EF4-FFF2-40B4-BE49-F238E27FC236}">
                    <a16:creationId xmlns:a16="http://schemas.microsoft.com/office/drawing/2014/main" id="{7884A71B-1FE5-4C69-BBA0-B8E2D7F98F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253 w 884"/>
                  <a:gd name="T1" fmla="*/ 138 h 1818"/>
                  <a:gd name="T2" fmla="*/ 286 w 884"/>
                  <a:gd name="T3" fmla="*/ 114 h 1818"/>
                  <a:gd name="T4" fmla="*/ 290 w 884"/>
                  <a:gd name="T5" fmla="*/ 77 h 1818"/>
                  <a:gd name="T6" fmla="*/ 276 w 884"/>
                  <a:gd name="T7" fmla="*/ 64 h 1818"/>
                  <a:gd name="T8" fmla="*/ 276 w 884"/>
                  <a:gd name="T9" fmla="*/ 87 h 1818"/>
                  <a:gd name="T10" fmla="*/ 254 w 884"/>
                  <a:gd name="T11" fmla="*/ 109 h 1818"/>
                  <a:gd name="T12" fmla="*/ 219 w 884"/>
                  <a:gd name="T13" fmla="*/ 110 h 1818"/>
                  <a:gd name="T14" fmla="*/ 205 w 884"/>
                  <a:gd name="T15" fmla="*/ 97 h 1818"/>
                  <a:gd name="T16" fmla="*/ 216 w 884"/>
                  <a:gd name="T17" fmla="*/ 72 h 1818"/>
                  <a:gd name="T18" fmla="*/ 178 w 884"/>
                  <a:gd name="T19" fmla="*/ 49 h 1818"/>
                  <a:gd name="T20" fmla="*/ 139 w 884"/>
                  <a:gd name="T21" fmla="*/ 29 h 1818"/>
                  <a:gd name="T22" fmla="*/ 122 w 884"/>
                  <a:gd name="T23" fmla="*/ 3 h 1818"/>
                  <a:gd name="T24" fmla="*/ 94 w 884"/>
                  <a:gd name="T25" fmla="*/ 7 h 1818"/>
                  <a:gd name="T26" fmla="*/ 77 w 884"/>
                  <a:gd name="T27" fmla="*/ 8 h 1818"/>
                  <a:gd name="T28" fmla="*/ 56 w 884"/>
                  <a:gd name="T29" fmla="*/ 3 h 1818"/>
                  <a:gd name="T30" fmla="*/ 32 w 884"/>
                  <a:gd name="T31" fmla="*/ 18 h 1818"/>
                  <a:gd name="T32" fmla="*/ 22 w 884"/>
                  <a:gd name="T33" fmla="*/ 39 h 1818"/>
                  <a:gd name="T34" fmla="*/ 9 w 884"/>
                  <a:gd name="T35" fmla="*/ 60 h 1818"/>
                  <a:gd name="T36" fmla="*/ 18 w 884"/>
                  <a:gd name="T37" fmla="*/ 84 h 1818"/>
                  <a:gd name="T38" fmla="*/ 17 w 884"/>
                  <a:gd name="T39" fmla="*/ 106 h 1818"/>
                  <a:gd name="T40" fmla="*/ 0 w 884"/>
                  <a:gd name="T41" fmla="*/ 144 h 1818"/>
                  <a:gd name="T42" fmla="*/ 4 w 884"/>
                  <a:gd name="T43" fmla="*/ 203 h 1818"/>
                  <a:gd name="T44" fmla="*/ 25 w 884"/>
                  <a:gd name="T45" fmla="*/ 232 h 1818"/>
                  <a:gd name="T46" fmla="*/ 20 w 884"/>
                  <a:gd name="T47" fmla="*/ 251 h 1818"/>
                  <a:gd name="T48" fmla="*/ 20 w 884"/>
                  <a:gd name="T49" fmla="*/ 269 h 1818"/>
                  <a:gd name="T50" fmla="*/ 27 w 884"/>
                  <a:gd name="T51" fmla="*/ 283 h 1818"/>
                  <a:gd name="T52" fmla="*/ 17 w 884"/>
                  <a:gd name="T53" fmla="*/ 300 h 1818"/>
                  <a:gd name="T54" fmla="*/ 27 w 884"/>
                  <a:gd name="T55" fmla="*/ 328 h 1818"/>
                  <a:gd name="T56" fmla="*/ 27 w 884"/>
                  <a:gd name="T57" fmla="*/ 352 h 1818"/>
                  <a:gd name="T58" fmla="*/ 26 w 884"/>
                  <a:gd name="T59" fmla="*/ 384 h 1818"/>
                  <a:gd name="T60" fmla="*/ 45 w 884"/>
                  <a:gd name="T61" fmla="*/ 422 h 1818"/>
                  <a:gd name="T62" fmla="*/ 65 w 884"/>
                  <a:gd name="T63" fmla="*/ 465 h 1818"/>
                  <a:gd name="T64" fmla="*/ 71 w 884"/>
                  <a:gd name="T65" fmla="*/ 488 h 1818"/>
                  <a:gd name="T66" fmla="*/ 75 w 884"/>
                  <a:gd name="T67" fmla="*/ 509 h 1818"/>
                  <a:gd name="T68" fmla="*/ 70 w 884"/>
                  <a:gd name="T69" fmla="*/ 530 h 1818"/>
                  <a:gd name="T70" fmla="*/ 66 w 884"/>
                  <a:gd name="T71" fmla="*/ 548 h 1818"/>
                  <a:gd name="T72" fmla="*/ 75 w 884"/>
                  <a:gd name="T73" fmla="*/ 573 h 1818"/>
                  <a:gd name="T74" fmla="*/ 102 w 884"/>
                  <a:gd name="T75" fmla="*/ 591 h 1818"/>
                  <a:gd name="T76" fmla="*/ 129 w 884"/>
                  <a:gd name="T77" fmla="*/ 599 h 1818"/>
                  <a:gd name="T78" fmla="*/ 148 w 884"/>
                  <a:gd name="T79" fmla="*/ 595 h 1818"/>
                  <a:gd name="T80" fmla="*/ 149 w 884"/>
                  <a:gd name="T81" fmla="*/ 568 h 1818"/>
                  <a:gd name="T82" fmla="*/ 154 w 884"/>
                  <a:gd name="T83" fmla="*/ 537 h 1818"/>
                  <a:gd name="T84" fmla="*/ 162 w 884"/>
                  <a:gd name="T85" fmla="*/ 503 h 1818"/>
                  <a:gd name="T86" fmla="*/ 138 w 884"/>
                  <a:gd name="T87" fmla="*/ 495 h 1818"/>
                  <a:gd name="T88" fmla="*/ 132 w 884"/>
                  <a:gd name="T89" fmla="*/ 477 h 1818"/>
                  <a:gd name="T90" fmla="*/ 149 w 884"/>
                  <a:gd name="T91" fmla="*/ 465 h 1818"/>
                  <a:gd name="T92" fmla="*/ 159 w 884"/>
                  <a:gd name="T93" fmla="*/ 444 h 1818"/>
                  <a:gd name="T94" fmla="*/ 149 w 884"/>
                  <a:gd name="T95" fmla="*/ 408 h 1818"/>
                  <a:gd name="T96" fmla="*/ 139 w 884"/>
                  <a:gd name="T97" fmla="*/ 380 h 1818"/>
                  <a:gd name="T98" fmla="*/ 170 w 884"/>
                  <a:gd name="T99" fmla="*/ 389 h 1818"/>
                  <a:gd name="T100" fmla="*/ 186 w 884"/>
                  <a:gd name="T101" fmla="*/ 384 h 1818"/>
                  <a:gd name="T102" fmla="*/ 183 w 884"/>
                  <a:gd name="T103" fmla="*/ 359 h 1818"/>
                  <a:gd name="T104" fmla="*/ 185 w 884"/>
                  <a:gd name="T105" fmla="*/ 343 h 1818"/>
                  <a:gd name="T106" fmla="*/ 222 w 884"/>
                  <a:gd name="T107" fmla="*/ 341 h 1818"/>
                  <a:gd name="T108" fmla="*/ 261 w 884"/>
                  <a:gd name="T109" fmla="*/ 324 h 1818"/>
                  <a:gd name="T110" fmla="*/ 268 w 884"/>
                  <a:gd name="T111" fmla="*/ 294 h 1818"/>
                  <a:gd name="T112" fmla="*/ 256 w 884"/>
                  <a:gd name="T113" fmla="*/ 284 h 1818"/>
                  <a:gd name="T114" fmla="*/ 249 w 884"/>
                  <a:gd name="T115" fmla="*/ 270 h 1818"/>
                  <a:gd name="T116" fmla="*/ 227 w 884"/>
                  <a:gd name="T117" fmla="*/ 251 h 1818"/>
                  <a:gd name="T118" fmla="*/ 230 w 884"/>
                  <a:gd name="T119" fmla="*/ 177 h 181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835" name="Freeform 442">
              <a:extLst>
                <a:ext uri="{FF2B5EF4-FFF2-40B4-BE49-F238E27FC236}">
                  <a16:creationId xmlns:a16="http://schemas.microsoft.com/office/drawing/2014/main" id="{41143EC3-1A71-4175-96AF-0762FA4A36BA}"/>
                </a:ext>
              </a:extLst>
            </p:cNvPr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6564314" y="2324100"/>
              <a:ext cx="123825" cy="109538"/>
            </a:xfrm>
            <a:custGeom>
              <a:avLst/>
              <a:gdLst>
                <a:gd name="T0" fmla="*/ 14646 w 279"/>
                <a:gd name="T1" fmla="*/ 46715 h 204"/>
                <a:gd name="T2" fmla="*/ 26185 w 279"/>
                <a:gd name="T3" fmla="*/ 76247 h 204"/>
                <a:gd name="T4" fmla="*/ 26185 w 279"/>
                <a:gd name="T5" fmla="*/ 96114 h 204"/>
                <a:gd name="T6" fmla="*/ 45269 w 279"/>
                <a:gd name="T7" fmla="*/ 105242 h 204"/>
                <a:gd name="T8" fmla="*/ 54146 w 279"/>
                <a:gd name="T9" fmla="*/ 108464 h 204"/>
                <a:gd name="T10" fmla="*/ 61691 w 279"/>
                <a:gd name="T11" fmla="*/ 109538 h 204"/>
                <a:gd name="T12" fmla="*/ 64797 w 279"/>
                <a:gd name="T13" fmla="*/ 107927 h 204"/>
                <a:gd name="T14" fmla="*/ 67016 w 279"/>
                <a:gd name="T15" fmla="*/ 104168 h 204"/>
                <a:gd name="T16" fmla="*/ 71011 w 279"/>
                <a:gd name="T17" fmla="*/ 92356 h 204"/>
                <a:gd name="T18" fmla="*/ 76337 w 279"/>
                <a:gd name="T19" fmla="*/ 80006 h 204"/>
                <a:gd name="T20" fmla="*/ 80331 w 279"/>
                <a:gd name="T21" fmla="*/ 75710 h 204"/>
                <a:gd name="T22" fmla="*/ 85213 w 279"/>
                <a:gd name="T23" fmla="*/ 73025 h 204"/>
                <a:gd name="T24" fmla="*/ 92758 w 279"/>
                <a:gd name="T25" fmla="*/ 74099 h 204"/>
                <a:gd name="T26" fmla="*/ 97640 w 279"/>
                <a:gd name="T27" fmla="*/ 76247 h 204"/>
                <a:gd name="T28" fmla="*/ 101190 w 279"/>
                <a:gd name="T29" fmla="*/ 79469 h 204"/>
                <a:gd name="T30" fmla="*/ 102522 w 279"/>
                <a:gd name="T31" fmla="*/ 82690 h 204"/>
                <a:gd name="T32" fmla="*/ 103853 w 279"/>
                <a:gd name="T33" fmla="*/ 88060 h 204"/>
                <a:gd name="T34" fmla="*/ 102522 w 279"/>
                <a:gd name="T35" fmla="*/ 89671 h 204"/>
                <a:gd name="T36" fmla="*/ 103853 w 279"/>
                <a:gd name="T37" fmla="*/ 82154 h 204"/>
                <a:gd name="T38" fmla="*/ 105628 w 279"/>
                <a:gd name="T39" fmla="*/ 75173 h 204"/>
                <a:gd name="T40" fmla="*/ 108735 w 279"/>
                <a:gd name="T41" fmla="*/ 62823 h 204"/>
                <a:gd name="T42" fmla="*/ 112730 w 279"/>
                <a:gd name="T43" fmla="*/ 61749 h 204"/>
                <a:gd name="T44" fmla="*/ 117168 w 279"/>
                <a:gd name="T45" fmla="*/ 59065 h 204"/>
                <a:gd name="T46" fmla="*/ 123825 w 279"/>
                <a:gd name="T47" fmla="*/ 53158 h 204"/>
                <a:gd name="T48" fmla="*/ 111842 w 279"/>
                <a:gd name="T49" fmla="*/ 40271 h 204"/>
                <a:gd name="T50" fmla="*/ 100747 w 279"/>
                <a:gd name="T51" fmla="*/ 31143 h 204"/>
                <a:gd name="T52" fmla="*/ 90539 w 279"/>
                <a:gd name="T53" fmla="*/ 23626 h 204"/>
                <a:gd name="T54" fmla="*/ 82106 w 279"/>
                <a:gd name="T55" fmla="*/ 16645 h 204"/>
                <a:gd name="T56" fmla="*/ 64797 w 279"/>
                <a:gd name="T57" fmla="*/ 36513 h 204"/>
                <a:gd name="T58" fmla="*/ 35062 w 279"/>
                <a:gd name="T59" fmla="*/ 13424 h 204"/>
                <a:gd name="T60" fmla="*/ 23078 w 279"/>
                <a:gd name="T61" fmla="*/ 6443 h 204"/>
                <a:gd name="T62" fmla="*/ 20416 w 279"/>
                <a:gd name="T63" fmla="*/ 33291 h 204"/>
                <a:gd name="T64" fmla="*/ 0 w 279"/>
                <a:gd name="T65" fmla="*/ 30069 h 2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36" name="Freeform 443">
              <a:extLst>
                <a:ext uri="{FF2B5EF4-FFF2-40B4-BE49-F238E27FC236}">
                  <a16:creationId xmlns:a16="http://schemas.microsoft.com/office/drawing/2014/main" id="{65EBDC63-CC22-47BE-B785-DB12F2D247B5}"/>
                </a:ext>
              </a:extLst>
            </p:cNvPr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6030913" y="1897063"/>
              <a:ext cx="209550" cy="150812"/>
            </a:xfrm>
            <a:custGeom>
              <a:avLst/>
              <a:gdLst>
                <a:gd name="T0" fmla="*/ 108880 w 485"/>
                <a:gd name="T1" fmla="*/ 10365 h 291"/>
                <a:gd name="T2" fmla="*/ 129619 w 485"/>
                <a:gd name="T3" fmla="*/ 22803 h 291"/>
                <a:gd name="T4" fmla="*/ 160727 w 485"/>
                <a:gd name="T5" fmla="*/ 22803 h 291"/>
                <a:gd name="T6" fmla="*/ 183626 w 485"/>
                <a:gd name="T7" fmla="*/ 67891 h 291"/>
                <a:gd name="T8" fmla="*/ 209550 w 485"/>
                <a:gd name="T9" fmla="*/ 86548 h 291"/>
                <a:gd name="T10" fmla="*/ 178009 w 485"/>
                <a:gd name="T11" fmla="*/ 89658 h 291"/>
                <a:gd name="T12" fmla="*/ 187083 w 485"/>
                <a:gd name="T13" fmla="*/ 108833 h 291"/>
                <a:gd name="T14" fmla="*/ 169368 w 485"/>
                <a:gd name="T15" fmla="*/ 124899 h 291"/>
                <a:gd name="T16" fmla="*/ 166344 w 485"/>
                <a:gd name="T17" fmla="*/ 150812 h 291"/>
                <a:gd name="T18" fmla="*/ 123138 w 485"/>
                <a:gd name="T19" fmla="*/ 137856 h 291"/>
                <a:gd name="T20" fmla="*/ 74747 w 485"/>
                <a:gd name="T21" fmla="*/ 131637 h 291"/>
                <a:gd name="T22" fmla="*/ 25924 w 485"/>
                <a:gd name="T23" fmla="*/ 137856 h 291"/>
                <a:gd name="T24" fmla="*/ 6481 w 485"/>
                <a:gd name="T25" fmla="*/ 140447 h 291"/>
                <a:gd name="T26" fmla="*/ 3456 w 485"/>
                <a:gd name="T27" fmla="*/ 133191 h 291"/>
                <a:gd name="T28" fmla="*/ 1296 w 485"/>
                <a:gd name="T29" fmla="*/ 126454 h 291"/>
                <a:gd name="T30" fmla="*/ 0 w 485"/>
                <a:gd name="T31" fmla="*/ 118680 h 291"/>
                <a:gd name="T32" fmla="*/ 2160 w 485"/>
                <a:gd name="T33" fmla="*/ 113498 h 291"/>
                <a:gd name="T34" fmla="*/ 6049 w 485"/>
                <a:gd name="T35" fmla="*/ 107279 h 291"/>
                <a:gd name="T36" fmla="*/ 9937 w 485"/>
                <a:gd name="T37" fmla="*/ 97950 h 291"/>
                <a:gd name="T38" fmla="*/ 13394 w 485"/>
                <a:gd name="T39" fmla="*/ 86030 h 291"/>
                <a:gd name="T40" fmla="*/ 17715 w 485"/>
                <a:gd name="T41" fmla="*/ 71001 h 291"/>
                <a:gd name="T42" fmla="*/ 20739 w 485"/>
                <a:gd name="T43" fmla="*/ 65300 h 291"/>
                <a:gd name="T44" fmla="*/ 25924 w 485"/>
                <a:gd name="T45" fmla="*/ 61672 h 291"/>
                <a:gd name="T46" fmla="*/ 37589 w 485"/>
                <a:gd name="T47" fmla="*/ 57526 h 291"/>
                <a:gd name="T48" fmla="*/ 38454 w 485"/>
                <a:gd name="T49" fmla="*/ 54935 h 291"/>
                <a:gd name="T50" fmla="*/ 40614 w 485"/>
                <a:gd name="T51" fmla="*/ 51825 h 291"/>
                <a:gd name="T52" fmla="*/ 43638 w 485"/>
                <a:gd name="T53" fmla="*/ 49234 h 291"/>
                <a:gd name="T54" fmla="*/ 45799 w 485"/>
                <a:gd name="T55" fmla="*/ 48198 h 291"/>
                <a:gd name="T56" fmla="*/ 45799 w 485"/>
                <a:gd name="T57" fmla="*/ 39387 h 291"/>
                <a:gd name="T58" fmla="*/ 47095 w 485"/>
                <a:gd name="T59" fmla="*/ 36278 h 291"/>
                <a:gd name="T60" fmla="*/ 48823 w 485"/>
                <a:gd name="T61" fmla="*/ 34723 h 291"/>
                <a:gd name="T62" fmla="*/ 52712 w 485"/>
                <a:gd name="T63" fmla="*/ 35760 h 291"/>
                <a:gd name="T64" fmla="*/ 55304 w 485"/>
                <a:gd name="T65" fmla="*/ 35760 h 291"/>
                <a:gd name="T66" fmla="*/ 57032 w 485"/>
                <a:gd name="T67" fmla="*/ 34205 h 291"/>
                <a:gd name="T68" fmla="*/ 57896 w 485"/>
                <a:gd name="T69" fmla="*/ 29022 h 291"/>
                <a:gd name="T70" fmla="*/ 60057 w 485"/>
                <a:gd name="T71" fmla="*/ 22803 h 291"/>
                <a:gd name="T72" fmla="*/ 62217 w 485"/>
                <a:gd name="T73" fmla="*/ 20212 h 291"/>
                <a:gd name="T74" fmla="*/ 92029 w 485"/>
                <a:gd name="T75" fmla="*/ 0 h 29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37" name="Freeform 444">
              <a:extLst>
                <a:ext uri="{FF2B5EF4-FFF2-40B4-BE49-F238E27FC236}">
                  <a16:creationId xmlns:a16="http://schemas.microsoft.com/office/drawing/2014/main" id="{2BAD4E97-0D95-48FD-92F7-5667D06CCD29}"/>
                </a:ext>
              </a:extLst>
            </p:cNvPr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5888038" y="2228851"/>
              <a:ext cx="82550" cy="87313"/>
            </a:xfrm>
            <a:custGeom>
              <a:avLst/>
              <a:gdLst>
                <a:gd name="T0" fmla="*/ 38168 w 186"/>
                <a:gd name="T1" fmla="*/ 77319 h 166"/>
                <a:gd name="T2" fmla="*/ 36837 w 186"/>
                <a:gd name="T3" fmla="*/ 71534 h 166"/>
                <a:gd name="T4" fmla="*/ 34618 w 186"/>
                <a:gd name="T5" fmla="*/ 66800 h 166"/>
                <a:gd name="T6" fmla="*/ 32842 w 186"/>
                <a:gd name="T7" fmla="*/ 62066 h 166"/>
                <a:gd name="T8" fmla="*/ 31067 w 186"/>
                <a:gd name="T9" fmla="*/ 57858 h 166"/>
                <a:gd name="T10" fmla="*/ 26629 w 186"/>
                <a:gd name="T11" fmla="*/ 49968 h 166"/>
                <a:gd name="T12" fmla="*/ 21747 w 186"/>
                <a:gd name="T13" fmla="*/ 43131 h 166"/>
                <a:gd name="T14" fmla="*/ 16421 w 186"/>
                <a:gd name="T15" fmla="*/ 36819 h 166"/>
                <a:gd name="T16" fmla="*/ 11095 w 186"/>
                <a:gd name="T17" fmla="*/ 29455 h 166"/>
                <a:gd name="T18" fmla="*/ 5770 w 186"/>
                <a:gd name="T19" fmla="*/ 19987 h 166"/>
                <a:gd name="T20" fmla="*/ 0 w 186"/>
                <a:gd name="T21" fmla="*/ 9468 h 166"/>
                <a:gd name="T22" fmla="*/ 0 w 186"/>
                <a:gd name="T23" fmla="*/ 0 h 166"/>
                <a:gd name="T24" fmla="*/ 3107 w 186"/>
                <a:gd name="T25" fmla="*/ 1052 h 166"/>
                <a:gd name="T26" fmla="*/ 6213 w 186"/>
                <a:gd name="T27" fmla="*/ 1578 h 166"/>
                <a:gd name="T28" fmla="*/ 8876 w 186"/>
                <a:gd name="T29" fmla="*/ 2104 h 166"/>
                <a:gd name="T30" fmla="*/ 11983 w 186"/>
                <a:gd name="T31" fmla="*/ 2104 h 166"/>
                <a:gd name="T32" fmla="*/ 14646 w 186"/>
                <a:gd name="T33" fmla="*/ 2104 h 166"/>
                <a:gd name="T34" fmla="*/ 17753 w 186"/>
                <a:gd name="T35" fmla="*/ 1578 h 166"/>
                <a:gd name="T36" fmla="*/ 20859 w 186"/>
                <a:gd name="T37" fmla="*/ 1052 h 166"/>
                <a:gd name="T38" fmla="*/ 23522 w 186"/>
                <a:gd name="T39" fmla="*/ 0 h 166"/>
                <a:gd name="T40" fmla="*/ 62134 w 186"/>
                <a:gd name="T41" fmla="*/ 6312 h 166"/>
                <a:gd name="T42" fmla="*/ 82550 w 186"/>
                <a:gd name="T43" fmla="*/ 47864 h 166"/>
                <a:gd name="T44" fmla="*/ 75893 w 186"/>
                <a:gd name="T45" fmla="*/ 58910 h 166"/>
                <a:gd name="T46" fmla="*/ 68792 w 186"/>
                <a:gd name="T47" fmla="*/ 67852 h 166"/>
                <a:gd name="T48" fmla="*/ 66129 w 186"/>
                <a:gd name="T49" fmla="*/ 72060 h 166"/>
                <a:gd name="T50" fmla="*/ 63910 w 186"/>
                <a:gd name="T51" fmla="*/ 76267 h 166"/>
                <a:gd name="T52" fmla="*/ 63022 w 186"/>
                <a:gd name="T53" fmla="*/ 78897 h 166"/>
                <a:gd name="T54" fmla="*/ 62578 w 186"/>
                <a:gd name="T55" fmla="*/ 82053 h 166"/>
                <a:gd name="T56" fmla="*/ 62134 w 186"/>
                <a:gd name="T57" fmla="*/ 84683 h 166"/>
                <a:gd name="T58" fmla="*/ 62134 w 186"/>
                <a:gd name="T59" fmla="*/ 87313 h 166"/>
                <a:gd name="T60" fmla="*/ 38168 w 186"/>
                <a:gd name="T61" fmla="*/ 77319 h 16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38" name="Freeform 445">
              <a:extLst>
                <a:ext uri="{FF2B5EF4-FFF2-40B4-BE49-F238E27FC236}">
                  <a16:creationId xmlns:a16="http://schemas.microsoft.com/office/drawing/2014/main" id="{F451D93A-E3FD-412D-AA30-FEEB4DDD6D2F}"/>
                </a:ext>
              </a:extLst>
            </p:cNvPr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4252913" y="3665538"/>
              <a:ext cx="82550" cy="57150"/>
            </a:xfrm>
            <a:custGeom>
              <a:avLst/>
              <a:gdLst>
                <a:gd name="T0" fmla="*/ 67904 w 186"/>
                <a:gd name="T1" fmla="*/ 11540 h 104"/>
                <a:gd name="T2" fmla="*/ 64797 w 186"/>
                <a:gd name="T3" fmla="*/ 11540 h 104"/>
                <a:gd name="T4" fmla="*/ 62578 w 186"/>
                <a:gd name="T5" fmla="*/ 10990 h 104"/>
                <a:gd name="T6" fmla="*/ 60359 w 186"/>
                <a:gd name="T7" fmla="*/ 9891 h 104"/>
                <a:gd name="T8" fmla="*/ 59028 w 186"/>
                <a:gd name="T9" fmla="*/ 8243 h 104"/>
                <a:gd name="T10" fmla="*/ 57696 w 186"/>
                <a:gd name="T11" fmla="*/ 7144 h 104"/>
                <a:gd name="T12" fmla="*/ 55477 w 186"/>
                <a:gd name="T13" fmla="*/ 6045 h 104"/>
                <a:gd name="T14" fmla="*/ 53258 w 186"/>
                <a:gd name="T15" fmla="*/ 5495 h 104"/>
                <a:gd name="T16" fmla="*/ 50151 w 186"/>
                <a:gd name="T17" fmla="*/ 4946 h 104"/>
                <a:gd name="T18" fmla="*/ 44382 w 186"/>
                <a:gd name="T19" fmla="*/ 4396 h 104"/>
                <a:gd name="T20" fmla="*/ 39056 w 186"/>
                <a:gd name="T21" fmla="*/ 3297 h 104"/>
                <a:gd name="T22" fmla="*/ 33286 w 186"/>
                <a:gd name="T23" fmla="*/ 1649 h 104"/>
                <a:gd name="T24" fmla="*/ 28404 w 186"/>
                <a:gd name="T25" fmla="*/ 550 h 104"/>
                <a:gd name="T26" fmla="*/ 26629 w 186"/>
                <a:gd name="T27" fmla="*/ 0 h 104"/>
                <a:gd name="T28" fmla="*/ 23966 w 186"/>
                <a:gd name="T29" fmla="*/ 0 h 104"/>
                <a:gd name="T30" fmla="*/ 22635 w 186"/>
                <a:gd name="T31" fmla="*/ 550 h 104"/>
                <a:gd name="T32" fmla="*/ 20416 w 186"/>
                <a:gd name="T33" fmla="*/ 1099 h 104"/>
                <a:gd name="T34" fmla="*/ 19528 w 186"/>
                <a:gd name="T35" fmla="*/ 2198 h 104"/>
                <a:gd name="T36" fmla="*/ 18640 w 186"/>
                <a:gd name="T37" fmla="*/ 3297 h 104"/>
                <a:gd name="T38" fmla="*/ 18197 w 186"/>
                <a:gd name="T39" fmla="*/ 5495 h 104"/>
                <a:gd name="T40" fmla="*/ 17753 w 186"/>
                <a:gd name="T41" fmla="*/ 8243 h 104"/>
                <a:gd name="T42" fmla="*/ 15090 w 186"/>
                <a:gd name="T43" fmla="*/ 14837 h 104"/>
                <a:gd name="T44" fmla="*/ 8876 w 186"/>
                <a:gd name="T45" fmla="*/ 25827 h 104"/>
                <a:gd name="T46" fmla="*/ 3107 w 186"/>
                <a:gd name="T47" fmla="*/ 36268 h 104"/>
                <a:gd name="T48" fmla="*/ 0 w 186"/>
                <a:gd name="T49" fmla="*/ 42313 h 104"/>
                <a:gd name="T50" fmla="*/ 3551 w 186"/>
                <a:gd name="T51" fmla="*/ 42313 h 104"/>
                <a:gd name="T52" fmla="*/ 7101 w 186"/>
                <a:gd name="T53" fmla="*/ 42862 h 104"/>
                <a:gd name="T54" fmla="*/ 9320 w 186"/>
                <a:gd name="T55" fmla="*/ 43412 h 104"/>
                <a:gd name="T56" fmla="*/ 11095 w 186"/>
                <a:gd name="T57" fmla="*/ 44511 h 104"/>
                <a:gd name="T58" fmla="*/ 14646 w 186"/>
                <a:gd name="T59" fmla="*/ 46709 h 104"/>
                <a:gd name="T60" fmla="*/ 17753 w 186"/>
                <a:gd name="T61" fmla="*/ 48907 h 104"/>
                <a:gd name="T62" fmla="*/ 19972 w 186"/>
                <a:gd name="T63" fmla="*/ 51655 h 104"/>
                <a:gd name="T64" fmla="*/ 23078 w 186"/>
                <a:gd name="T65" fmla="*/ 53853 h 104"/>
                <a:gd name="T66" fmla="*/ 24854 w 186"/>
                <a:gd name="T67" fmla="*/ 54952 h 104"/>
                <a:gd name="T68" fmla="*/ 27073 w 186"/>
                <a:gd name="T69" fmla="*/ 55501 h 104"/>
                <a:gd name="T70" fmla="*/ 29292 w 186"/>
                <a:gd name="T71" fmla="*/ 56051 h 104"/>
                <a:gd name="T72" fmla="*/ 32842 w 186"/>
                <a:gd name="T73" fmla="*/ 56051 h 104"/>
                <a:gd name="T74" fmla="*/ 47488 w 186"/>
                <a:gd name="T75" fmla="*/ 56600 h 104"/>
                <a:gd name="T76" fmla="*/ 58140 w 186"/>
                <a:gd name="T77" fmla="*/ 57150 h 104"/>
                <a:gd name="T78" fmla="*/ 59915 w 186"/>
                <a:gd name="T79" fmla="*/ 56600 h 104"/>
                <a:gd name="T80" fmla="*/ 61691 w 186"/>
                <a:gd name="T81" fmla="*/ 56051 h 104"/>
                <a:gd name="T82" fmla="*/ 63022 w 186"/>
                <a:gd name="T83" fmla="*/ 54952 h 104"/>
                <a:gd name="T84" fmla="*/ 64353 w 186"/>
                <a:gd name="T85" fmla="*/ 53303 h 104"/>
                <a:gd name="T86" fmla="*/ 65241 w 186"/>
                <a:gd name="T87" fmla="*/ 51655 h 104"/>
                <a:gd name="T88" fmla="*/ 66573 w 186"/>
                <a:gd name="T89" fmla="*/ 48358 h 104"/>
                <a:gd name="T90" fmla="*/ 67460 w 186"/>
                <a:gd name="T91" fmla="*/ 45610 h 104"/>
                <a:gd name="T92" fmla="*/ 67904 w 186"/>
                <a:gd name="T93" fmla="*/ 42313 h 104"/>
                <a:gd name="T94" fmla="*/ 82550 w 186"/>
                <a:gd name="T95" fmla="*/ 14837 h 104"/>
                <a:gd name="T96" fmla="*/ 67904 w 186"/>
                <a:gd name="T97" fmla="*/ 11540 h 1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39" name="Freeform 446">
              <a:extLst>
                <a:ext uri="{FF2B5EF4-FFF2-40B4-BE49-F238E27FC236}">
                  <a16:creationId xmlns:a16="http://schemas.microsoft.com/office/drawing/2014/main" id="{FEB876C0-8235-464C-B21C-8C938144B3AE}"/>
                </a:ext>
              </a:extLst>
            </p:cNvPr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6046788" y="2263775"/>
              <a:ext cx="133350" cy="96838"/>
            </a:xfrm>
            <a:custGeom>
              <a:avLst/>
              <a:gdLst>
                <a:gd name="T0" fmla="*/ 33873 w 311"/>
                <a:gd name="T1" fmla="*/ 20558 h 179"/>
                <a:gd name="T2" fmla="*/ 49309 w 311"/>
                <a:gd name="T3" fmla="*/ 14066 h 179"/>
                <a:gd name="T4" fmla="*/ 63459 w 311"/>
                <a:gd name="T5" fmla="*/ 7574 h 179"/>
                <a:gd name="T6" fmla="*/ 76323 w 311"/>
                <a:gd name="T7" fmla="*/ 2164 h 179"/>
                <a:gd name="T8" fmla="*/ 90472 w 311"/>
                <a:gd name="T9" fmla="*/ 0 h 179"/>
                <a:gd name="T10" fmla="*/ 101192 w 311"/>
                <a:gd name="T11" fmla="*/ 1082 h 179"/>
                <a:gd name="T12" fmla="*/ 109767 w 311"/>
                <a:gd name="T13" fmla="*/ 3246 h 179"/>
                <a:gd name="T14" fmla="*/ 125203 w 311"/>
                <a:gd name="T15" fmla="*/ 6492 h 179"/>
                <a:gd name="T16" fmla="*/ 123059 w 311"/>
                <a:gd name="T17" fmla="*/ 15148 h 179"/>
                <a:gd name="T18" fmla="*/ 119200 w 311"/>
                <a:gd name="T19" fmla="*/ 22722 h 179"/>
                <a:gd name="T20" fmla="*/ 115341 w 311"/>
                <a:gd name="T21" fmla="*/ 28673 h 179"/>
                <a:gd name="T22" fmla="*/ 113626 w 311"/>
                <a:gd name="T23" fmla="*/ 33542 h 179"/>
                <a:gd name="T24" fmla="*/ 114055 w 311"/>
                <a:gd name="T25" fmla="*/ 35706 h 179"/>
                <a:gd name="T26" fmla="*/ 116199 w 311"/>
                <a:gd name="T27" fmla="*/ 38411 h 179"/>
                <a:gd name="T28" fmla="*/ 122202 w 311"/>
                <a:gd name="T29" fmla="*/ 42739 h 179"/>
                <a:gd name="T30" fmla="*/ 133350 w 311"/>
                <a:gd name="T31" fmla="*/ 50312 h 179"/>
                <a:gd name="T32" fmla="*/ 123059 w 311"/>
                <a:gd name="T33" fmla="*/ 57886 h 179"/>
                <a:gd name="T34" fmla="*/ 120487 w 311"/>
                <a:gd name="T35" fmla="*/ 62214 h 179"/>
                <a:gd name="T36" fmla="*/ 119200 w 311"/>
                <a:gd name="T37" fmla="*/ 69788 h 179"/>
                <a:gd name="T38" fmla="*/ 108052 w 311"/>
                <a:gd name="T39" fmla="*/ 73575 h 179"/>
                <a:gd name="T40" fmla="*/ 90472 w 311"/>
                <a:gd name="T41" fmla="*/ 80067 h 179"/>
                <a:gd name="T42" fmla="*/ 81897 w 311"/>
                <a:gd name="T43" fmla="*/ 90887 h 179"/>
                <a:gd name="T44" fmla="*/ 76323 w 311"/>
                <a:gd name="T45" fmla="*/ 95215 h 179"/>
                <a:gd name="T46" fmla="*/ 70748 w 311"/>
                <a:gd name="T47" fmla="*/ 96838 h 179"/>
                <a:gd name="T48" fmla="*/ 64745 w 311"/>
                <a:gd name="T49" fmla="*/ 94674 h 179"/>
                <a:gd name="T50" fmla="*/ 58743 w 311"/>
                <a:gd name="T51" fmla="*/ 90346 h 179"/>
                <a:gd name="T52" fmla="*/ 51453 w 311"/>
                <a:gd name="T53" fmla="*/ 85477 h 179"/>
                <a:gd name="T54" fmla="*/ 42020 w 311"/>
                <a:gd name="T55" fmla="*/ 83854 h 179"/>
                <a:gd name="T56" fmla="*/ 28299 w 311"/>
                <a:gd name="T57" fmla="*/ 83854 h 179"/>
                <a:gd name="T58" fmla="*/ 21868 w 311"/>
                <a:gd name="T59" fmla="*/ 84936 h 179"/>
                <a:gd name="T60" fmla="*/ 16722 w 311"/>
                <a:gd name="T61" fmla="*/ 87100 h 179"/>
                <a:gd name="T62" fmla="*/ 15436 w 311"/>
                <a:gd name="T63" fmla="*/ 76821 h 179"/>
                <a:gd name="T64" fmla="*/ 13721 w 311"/>
                <a:gd name="T65" fmla="*/ 66542 h 179"/>
                <a:gd name="T66" fmla="*/ 9004 w 311"/>
                <a:gd name="T67" fmla="*/ 69247 h 179"/>
                <a:gd name="T68" fmla="*/ 5574 w 311"/>
                <a:gd name="T69" fmla="*/ 69788 h 179"/>
                <a:gd name="T70" fmla="*/ 3001 w 311"/>
                <a:gd name="T71" fmla="*/ 68165 h 179"/>
                <a:gd name="T72" fmla="*/ 1286 w 311"/>
                <a:gd name="T73" fmla="*/ 65460 h 179"/>
                <a:gd name="T74" fmla="*/ 0 w 311"/>
                <a:gd name="T75" fmla="*/ 56804 h 179"/>
                <a:gd name="T76" fmla="*/ 0 w 311"/>
                <a:gd name="T77" fmla="*/ 47067 h 179"/>
                <a:gd name="T78" fmla="*/ 1286 w 311"/>
                <a:gd name="T79" fmla="*/ 44362 h 179"/>
                <a:gd name="T80" fmla="*/ 5574 w 311"/>
                <a:gd name="T81" fmla="*/ 42198 h 179"/>
                <a:gd name="T82" fmla="*/ 9004 w 311"/>
                <a:gd name="T83" fmla="*/ 38952 h 179"/>
                <a:gd name="T84" fmla="*/ 10719 w 311"/>
                <a:gd name="T85" fmla="*/ 36788 h 179"/>
                <a:gd name="T86" fmla="*/ 11148 w 311"/>
                <a:gd name="T87" fmla="*/ 33542 h 179"/>
                <a:gd name="T88" fmla="*/ 10291 w 311"/>
                <a:gd name="T89" fmla="*/ 27591 h 179"/>
                <a:gd name="T90" fmla="*/ 8147 w 311"/>
                <a:gd name="T91" fmla="*/ 23263 h 179"/>
                <a:gd name="T92" fmla="*/ 3430 w 311"/>
                <a:gd name="T93" fmla="*/ 15689 h 179"/>
                <a:gd name="T94" fmla="*/ 429 w 311"/>
                <a:gd name="T95" fmla="*/ 9738 h 179"/>
                <a:gd name="T96" fmla="*/ 429 w 311"/>
                <a:gd name="T97" fmla="*/ 7033 h 179"/>
                <a:gd name="T98" fmla="*/ 2573 w 311"/>
                <a:gd name="T99" fmla="*/ 3246 h 179"/>
                <a:gd name="T100" fmla="*/ 0 w 311"/>
                <a:gd name="T101" fmla="*/ 3246 h 17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40" name="Freeform 447">
              <a:extLst>
                <a:ext uri="{FF2B5EF4-FFF2-40B4-BE49-F238E27FC236}">
                  <a16:creationId xmlns:a16="http://schemas.microsoft.com/office/drawing/2014/main" id="{C9C9D09C-8DC7-4CF2-9D5F-15CE633CFA64}"/>
                </a:ext>
              </a:extLst>
            </p:cNvPr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5402263" y="3190875"/>
              <a:ext cx="177800" cy="165100"/>
            </a:xfrm>
            <a:custGeom>
              <a:avLst/>
              <a:gdLst>
                <a:gd name="T0" fmla="*/ 2634 w 405"/>
                <a:gd name="T1" fmla="*/ 136707 h 314"/>
                <a:gd name="T2" fmla="*/ 5707 w 405"/>
                <a:gd name="T3" fmla="*/ 124614 h 314"/>
                <a:gd name="T4" fmla="*/ 7463 w 405"/>
                <a:gd name="T5" fmla="*/ 106211 h 314"/>
                <a:gd name="T6" fmla="*/ 10097 w 405"/>
                <a:gd name="T7" fmla="*/ 90963 h 314"/>
                <a:gd name="T8" fmla="*/ 14048 w 405"/>
                <a:gd name="T9" fmla="*/ 85179 h 314"/>
                <a:gd name="T10" fmla="*/ 21073 w 405"/>
                <a:gd name="T11" fmla="*/ 78869 h 314"/>
                <a:gd name="T12" fmla="*/ 31609 w 405"/>
                <a:gd name="T13" fmla="*/ 74137 h 314"/>
                <a:gd name="T14" fmla="*/ 40828 w 405"/>
                <a:gd name="T15" fmla="*/ 70457 h 314"/>
                <a:gd name="T16" fmla="*/ 45657 w 405"/>
                <a:gd name="T17" fmla="*/ 65725 h 314"/>
                <a:gd name="T18" fmla="*/ 49608 w 405"/>
                <a:gd name="T19" fmla="*/ 59941 h 314"/>
                <a:gd name="T20" fmla="*/ 53999 w 405"/>
                <a:gd name="T21" fmla="*/ 48899 h 314"/>
                <a:gd name="T22" fmla="*/ 59706 w 405"/>
                <a:gd name="T23" fmla="*/ 36280 h 314"/>
                <a:gd name="T24" fmla="*/ 64535 w 405"/>
                <a:gd name="T25" fmla="*/ 28919 h 314"/>
                <a:gd name="T26" fmla="*/ 68047 w 405"/>
                <a:gd name="T27" fmla="*/ 26816 h 314"/>
                <a:gd name="T28" fmla="*/ 74632 w 405"/>
                <a:gd name="T29" fmla="*/ 26816 h 314"/>
                <a:gd name="T30" fmla="*/ 82973 w 405"/>
                <a:gd name="T31" fmla="*/ 25238 h 314"/>
                <a:gd name="T32" fmla="*/ 93510 w 405"/>
                <a:gd name="T33" fmla="*/ 18403 h 314"/>
                <a:gd name="T34" fmla="*/ 104046 w 405"/>
                <a:gd name="T35" fmla="*/ 10516 h 314"/>
                <a:gd name="T36" fmla="*/ 112826 w 405"/>
                <a:gd name="T37" fmla="*/ 5784 h 314"/>
                <a:gd name="T38" fmla="*/ 123801 w 405"/>
                <a:gd name="T39" fmla="*/ 2103 h 314"/>
                <a:gd name="T40" fmla="*/ 137850 w 405"/>
                <a:gd name="T41" fmla="*/ 0 h 314"/>
                <a:gd name="T42" fmla="*/ 145752 w 405"/>
                <a:gd name="T43" fmla="*/ 7361 h 314"/>
                <a:gd name="T44" fmla="*/ 147947 w 405"/>
                <a:gd name="T45" fmla="*/ 17877 h 314"/>
                <a:gd name="T46" fmla="*/ 150581 w 405"/>
                <a:gd name="T47" fmla="*/ 26290 h 314"/>
                <a:gd name="T48" fmla="*/ 154532 w 405"/>
                <a:gd name="T49" fmla="*/ 32599 h 314"/>
                <a:gd name="T50" fmla="*/ 161557 w 405"/>
                <a:gd name="T51" fmla="*/ 38909 h 314"/>
                <a:gd name="T52" fmla="*/ 167703 w 405"/>
                <a:gd name="T53" fmla="*/ 44693 h 314"/>
                <a:gd name="T54" fmla="*/ 171215 w 405"/>
                <a:gd name="T55" fmla="*/ 48899 h 314"/>
                <a:gd name="T56" fmla="*/ 173849 w 405"/>
                <a:gd name="T57" fmla="*/ 60467 h 314"/>
                <a:gd name="T58" fmla="*/ 174727 w 405"/>
                <a:gd name="T59" fmla="*/ 75189 h 314"/>
                <a:gd name="T60" fmla="*/ 174727 w 405"/>
                <a:gd name="T61" fmla="*/ 89385 h 314"/>
                <a:gd name="T62" fmla="*/ 176483 w 405"/>
                <a:gd name="T63" fmla="*/ 103056 h 314"/>
                <a:gd name="T64" fmla="*/ 174727 w 405"/>
                <a:gd name="T65" fmla="*/ 114098 h 314"/>
                <a:gd name="T66" fmla="*/ 167703 w 405"/>
                <a:gd name="T67" fmla="*/ 118830 h 314"/>
                <a:gd name="T68" fmla="*/ 160240 w 405"/>
                <a:gd name="T69" fmla="*/ 126717 h 314"/>
                <a:gd name="T70" fmla="*/ 159361 w 405"/>
                <a:gd name="T71" fmla="*/ 124614 h 314"/>
                <a:gd name="T72" fmla="*/ 157166 w 405"/>
                <a:gd name="T73" fmla="*/ 122511 h 314"/>
                <a:gd name="T74" fmla="*/ 150142 w 405"/>
                <a:gd name="T75" fmla="*/ 119356 h 314"/>
                <a:gd name="T76" fmla="*/ 140045 w 405"/>
                <a:gd name="T77" fmla="*/ 117253 h 314"/>
                <a:gd name="T78" fmla="*/ 66730 w 405"/>
                <a:gd name="T79" fmla="*/ 126717 h 314"/>
                <a:gd name="T80" fmla="*/ 65852 w 405"/>
                <a:gd name="T81" fmla="*/ 135130 h 314"/>
                <a:gd name="T82" fmla="*/ 65852 w 405"/>
                <a:gd name="T83" fmla="*/ 144068 h 314"/>
                <a:gd name="T84" fmla="*/ 66730 w 405"/>
                <a:gd name="T85" fmla="*/ 165100 h 314"/>
                <a:gd name="T86" fmla="*/ 61023 w 405"/>
                <a:gd name="T87" fmla="*/ 164048 h 314"/>
                <a:gd name="T88" fmla="*/ 55316 w 405"/>
                <a:gd name="T89" fmla="*/ 160368 h 314"/>
                <a:gd name="T90" fmla="*/ 43901 w 405"/>
                <a:gd name="T91" fmla="*/ 152481 h 314"/>
                <a:gd name="T92" fmla="*/ 39072 w 405"/>
                <a:gd name="T93" fmla="*/ 161419 h 314"/>
                <a:gd name="T94" fmla="*/ 35999 w 405"/>
                <a:gd name="T95" fmla="*/ 164048 h 314"/>
                <a:gd name="T96" fmla="*/ 32048 w 405"/>
                <a:gd name="T97" fmla="*/ 165100 h 314"/>
                <a:gd name="T98" fmla="*/ 26341 w 405"/>
                <a:gd name="T99" fmla="*/ 163523 h 314"/>
                <a:gd name="T100" fmla="*/ 20634 w 405"/>
                <a:gd name="T101" fmla="*/ 158790 h 314"/>
                <a:gd name="T102" fmla="*/ 12292 w 405"/>
                <a:gd name="T103" fmla="*/ 153007 h 314"/>
                <a:gd name="T104" fmla="*/ 0 w 405"/>
                <a:gd name="T105" fmla="*/ 149326 h 31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41" name="Freeform 448">
              <a:extLst>
                <a:ext uri="{FF2B5EF4-FFF2-40B4-BE49-F238E27FC236}">
                  <a16:creationId xmlns:a16="http://schemas.microsoft.com/office/drawing/2014/main" id="{A167EC84-1B4A-465C-BBFC-6E112ABEDAEA}"/>
                </a:ext>
              </a:extLst>
            </p:cNvPr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5749926" y="3259138"/>
              <a:ext cx="193675" cy="349250"/>
            </a:xfrm>
            <a:custGeom>
              <a:avLst/>
              <a:gdLst>
                <a:gd name="T0" fmla="*/ 143225 w 453"/>
                <a:gd name="T1" fmla="*/ 19021 h 661"/>
                <a:gd name="T2" fmla="*/ 137240 w 453"/>
                <a:gd name="T3" fmla="*/ 51780 h 661"/>
                <a:gd name="T4" fmla="*/ 118428 w 453"/>
                <a:gd name="T5" fmla="*/ 85595 h 661"/>
                <a:gd name="T6" fmla="*/ 108167 w 453"/>
                <a:gd name="T7" fmla="*/ 115712 h 661"/>
                <a:gd name="T8" fmla="*/ 99189 w 453"/>
                <a:gd name="T9" fmla="*/ 143716 h 661"/>
                <a:gd name="T10" fmla="*/ 89356 w 453"/>
                <a:gd name="T11" fmla="*/ 173832 h 661"/>
                <a:gd name="T12" fmla="*/ 83798 w 453"/>
                <a:gd name="T13" fmla="*/ 191269 h 661"/>
                <a:gd name="T14" fmla="*/ 76957 w 453"/>
                <a:gd name="T15" fmla="*/ 200779 h 661"/>
                <a:gd name="T16" fmla="*/ 71399 w 453"/>
                <a:gd name="T17" fmla="*/ 206063 h 661"/>
                <a:gd name="T18" fmla="*/ 60283 w 453"/>
                <a:gd name="T19" fmla="*/ 201836 h 661"/>
                <a:gd name="T20" fmla="*/ 51732 w 453"/>
                <a:gd name="T21" fmla="*/ 195495 h 661"/>
                <a:gd name="T22" fmla="*/ 40189 w 453"/>
                <a:gd name="T23" fmla="*/ 193910 h 661"/>
                <a:gd name="T24" fmla="*/ 27362 w 453"/>
                <a:gd name="T25" fmla="*/ 200779 h 661"/>
                <a:gd name="T26" fmla="*/ 18812 w 453"/>
                <a:gd name="T27" fmla="*/ 212932 h 661"/>
                <a:gd name="T28" fmla="*/ 8978 w 453"/>
                <a:gd name="T29" fmla="*/ 239878 h 661"/>
                <a:gd name="T30" fmla="*/ 2993 w 453"/>
                <a:gd name="T31" fmla="*/ 254672 h 661"/>
                <a:gd name="T32" fmla="*/ 428 w 453"/>
                <a:gd name="T33" fmla="*/ 264183 h 661"/>
                <a:gd name="T34" fmla="*/ 3420 w 453"/>
                <a:gd name="T35" fmla="*/ 273165 h 661"/>
                <a:gd name="T36" fmla="*/ 8551 w 453"/>
                <a:gd name="T37" fmla="*/ 277921 h 661"/>
                <a:gd name="T38" fmla="*/ 23515 w 453"/>
                <a:gd name="T39" fmla="*/ 277921 h 661"/>
                <a:gd name="T40" fmla="*/ 30355 w 453"/>
                <a:gd name="T41" fmla="*/ 289545 h 661"/>
                <a:gd name="T42" fmla="*/ 31210 w 453"/>
                <a:gd name="T43" fmla="*/ 311736 h 661"/>
                <a:gd name="T44" fmla="*/ 28645 w 453"/>
                <a:gd name="T45" fmla="*/ 332871 h 661"/>
                <a:gd name="T46" fmla="*/ 185124 w 453"/>
                <a:gd name="T47" fmla="*/ 349250 h 661"/>
                <a:gd name="T48" fmla="*/ 188972 w 453"/>
                <a:gd name="T49" fmla="*/ 307509 h 661"/>
                <a:gd name="T50" fmla="*/ 177429 w 453"/>
                <a:gd name="T51" fmla="*/ 300112 h 661"/>
                <a:gd name="T52" fmla="*/ 159472 w 453"/>
                <a:gd name="T53" fmla="*/ 294300 h 661"/>
                <a:gd name="T54" fmla="*/ 150921 w 453"/>
                <a:gd name="T55" fmla="*/ 290073 h 661"/>
                <a:gd name="T56" fmla="*/ 145363 w 453"/>
                <a:gd name="T57" fmla="*/ 283733 h 661"/>
                <a:gd name="T58" fmla="*/ 142370 w 453"/>
                <a:gd name="T59" fmla="*/ 272109 h 661"/>
                <a:gd name="T60" fmla="*/ 142370 w 453"/>
                <a:gd name="T61" fmla="*/ 245162 h 661"/>
                <a:gd name="T62" fmla="*/ 144081 w 453"/>
                <a:gd name="T63" fmla="*/ 226141 h 661"/>
                <a:gd name="T64" fmla="*/ 150066 w 453"/>
                <a:gd name="T65" fmla="*/ 209761 h 661"/>
                <a:gd name="T66" fmla="*/ 159472 w 453"/>
                <a:gd name="T67" fmla="*/ 192325 h 661"/>
                <a:gd name="T68" fmla="*/ 167595 w 453"/>
                <a:gd name="T69" fmla="*/ 174361 h 661"/>
                <a:gd name="T70" fmla="*/ 170588 w 453"/>
                <a:gd name="T71" fmla="*/ 156925 h 661"/>
                <a:gd name="T72" fmla="*/ 166313 w 453"/>
                <a:gd name="T73" fmla="*/ 141074 h 661"/>
                <a:gd name="T74" fmla="*/ 159472 w 453"/>
                <a:gd name="T75" fmla="*/ 129978 h 661"/>
                <a:gd name="T76" fmla="*/ 146646 w 453"/>
                <a:gd name="T77" fmla="*/ 114655 h 661"/>
                <a:gd name="T78" fmla="*/ 142370 w 453"/>
                <a:gd name="T79" fmla="*/ 101446 h 661"/>
                <a:gd name="T80" fmla="*/ 143225 w 453"/>
                <a:gd name="T81" fmla="*/ 91407 h 661"/>
                <a:gd name="T82" fmla="*/ 150921 w 453"/>
                <a:gd name="T83" fmla="*/ 86652 h 661"/>
                <a:gd name="T84" fmla="*/ 173581 w 453"/>
                <a:gd name="T85" fmla="*/ 85595 h 661"/>
                <a:gd name="T86" fmla="*/ 168878 w 453"/>
                <a:gd name="T87" fmla="*/ 79783 h 661"/>
                <a:gd name="T88" fmla="*/ 162037 w 453"/>
                <a:gd name="T89" fmla="*/ 61819 h 661"/>
                <a:gd name="T90" fmla="*/ 158617 w 453"/>
                <a:gd name="T91" fmla="*/ 38571 h 661"/>
                <a:gd name="T92" fmla="*/ 159472 w 453"/>
                <a:gd name="T93" fmla="*/ 23776 h 661"/>
                <a:gd name="T94" fmla="*/ 156907 w 453"/>
                <a:gd name="T95" fmla="*/ 5812 h 661"/>
                <a:gd name="T96" fmla="*/ 148356 w 453"/>
                <a:gd name="T97" fmla="*/ 0 h 66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42" name="Freeform 449">
              <a:extLst>
                <a:ext uri="{FF2B5EF4-FFF2-40B4-BE49-F238E27FC236}">
                  <a16:creationId xmlns:a16="http://schemas.microsoft.com/office/drawing/2014/main" id="{B67D5A23-4EAF-4E50-872D-63F288D03474}"/>
                </a:ext>
              </a:extLst>
            </p:cNvPr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8201026" y="3017838"/>
              <a:ext cx="55563" cy="57150"/>
            </a:xfrm>
            <a:custGeom>
              <a:avLst/>
              <a:gdLst>
                <a:gd name="T0" fmla="*/ 0 w 126"/>
                <a:gd name="T1" fmla="*/ 30480 h 105"/>
                <a:gd name="T2" fmla="*/ 1764 w 126"/>
                <a:gd name="T3" fmla="*/ 26670 h 105"/>
                <a:gd name="T4" fmla="*/ 4410 w 126"/>
                <a:gd name="T5" fmla="*/ 22316 h 105"/>
                <a:gd name="T6" fmla="*/ 7056 w 126"/>
                <a:gd name="T7" fmla="*/ 17961 h 105"/>
                <a:gd name="T8" fmla="*/ 10583 w 126"/>
                <a:gd name="T9" fmla="*/ 13607 h 105"/>
                <a:gd name="T10" fmla="*/ 16316 w 126"/>
                <a:gd name="T11" fmla="*/ 5987 h 105"/>
                <a:gd name="T12" fmla="*/ 20726 w 126"/>
                <a:gd name="T13" fmla="*/ 0 h 105"/>
                <a:gd name="T14" fmla="*/ 49830 w 126"/>
                <a:gd name="T15" fmla="*/ 0 h 105"/>
                <a:gd name="T16" fmla="*/ 50271 w 126"/>
                <a:gd name="T17" fmla="*/ 2177 h 105"/>
                <a:gd name="T18" fmla="*/ 50712 w 126"/>
                <a:gd name="T19" fmla="*/ 4354 h 105"/>
                <a:gd name="T20" fmla="*/ 51594 w 126"/>
                <a:gd name="T21" fmla="*/ 6531 h 105"/>
                <a:gd name="T22" fmla="*/ 52476 w 126"/>
                <a:gd name="T23" fmla="*/ 7620 h 105"/>
                <a:gd name="T24" fmla="*/ 54681 w 126"/>
                <a:gd name="T25" fmla="*/ 10886 h 105"/>
                <a:gd name="T26" fmla="*/ 55563 w 126"/>
                <a:gd name="T27" fmla="*/ 13063 h 105"/>
                <a:gd name="T28" fmla="*/ 55563 w 126"/>
                <a:gd name="T29" fmla="*/ 17417 h 105"/>
                <a:gd name="T30" fmla="*/ 55122 w 126"/>
                <a:gd name="T31" fmla="*/ 22316 h 105"/>
                <a:gd name="T32" fmla="*/ 54681 w 126"/>
                <a:gd name="T33" fmla="*/ 26126 h 105"/>
                <a:gd name="T34" fmla="*/ 53799 w 126"/>
                <a:gd name="T35" fmla="*/ 29936 h 105"/>
                <a:gd name="T36" fmla="*/ 52476 w 126"/>
                <a:gd name="T37" fmla="*/ 33746 h 105"/>
                <a:gd name="T38" fmla="*/ 51153 w 126"/>
                <a:gd name="T39" fmla="*/ 37556 h 105"/>
                <a:gd name="T40" fmla="*/ 49389 w 126"/>
                <a:gd name="T41" fmla="*/ 40821 h 105"/>
                <a:gd name="T42" fmla="*/ 47625 w 126"/>
                <a:gd name="T43" fmla="*/ 44087 h 105"/>
                <a:gd name="T44" fmla="*/ 45862 w 126"/>
                <a:gd name="T45" fmla="*/ 46809 h 105"/>
                <a:gd name="T46" fmla="*/ 43657 w 126"/>
                <a:gd name="T47" fmla="*/ 48986 h 105"/>
                <a:gd name="T48" fmla="*/ 41011 w 126"/>
                <a:gd name="T49" fmla="*/ 51163 h 105"/>
                <a:gd name="T50" fmla="*/ 38806 w 126"/>
                <a:gd name="T51" fmla="*/ 53884 h 105"/>
                <a:gd name="T52" fmla="*/ 35719 w 126"/>
                <a:gd name="T53" fmla="*/ 54973 h 105"/>
                <a:gd name="T54" fmla="*/ 32632 w 126"/>
                <a:gd name="T55" fmla="*/ 56061 h 105"/>
                <a:gd name="T56" fmla="*/ 29545 w 126"/>
                <a:gd name="T57" fmla="*/ 57150 h 105"/>
                <a:gd name="T58" fmla="*/ 26459 w 126"/>
                <a:gd name="T59" fmla="*/ 57150 h 105"/>
                <a:gd name="T60" fmla="*/ 21167 w 126"/>
                <a:gd name="T61" fmla="*/ 56606 h 105"/>
                <a:gd name="T62" fmla="*/ 16757 w 126"/>
                <a:gd name="T63" fmla="*/ 55517 h 105"/>
                <a:gd name="T64" fmla="*/ 13670 w 126"/>
                <a:gd name="T65" fmla="*/ 53340 h 105"/>
                <a:gd name="T66" fmla="*/ 10583 w 126"/>
                <a:gd name="T67" fmla="*/ 50074 h 105"/>
                <a:gd name="T68" fmla="*/ 8820 w 126"/>
                <a:gd name="T69" fmla="*/ 46809 h 105"/>
                <a:gd name="T70" fmla="*/ 7056 w 126"/>
                <a:gd name="T71" fmla="*/ 42454 h 105"/>
                <a:gd name="T72" fmla="*/ 6174 w 126"/>
                <a:gd name="T73" fmla="*/ 38100 h 105"/>
                <a:gd name="T74" fmla="*/ 5733 w 126"/>
                <a:gd name="T75" fmla="*/ 33746 h 105"/>
                <a:gd name="T76" fmla="*/ 0 w 126"/>
                <a:gd name="T77" fmla="*/ 30480 h 10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43" name="Freeform 450">
              <a:extLst>
                <a:ext uri="{FF2B5EF4-FFF2-40B4-BE49-F238E27FC236}">
                  <a16:creationId xmlns:a16="http://schemas.microsoft.com/office/drawing/2014/main" id="{30F1A3F6-72C8-427B-B712-FB541DC4B6ED}"/>
                </a:ext>
              </a:extLst>
            </p:cNvPr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3556000" y="3281364"/>
              <a:ext cx="298450" cy="523875"/>
            </a:xfrm>
            <a:custGeom>
              <a:avLst/>
              <a:gdLst>
                <a:gd name="T0" fmla="*/ 292778 w 684"/>
                <a:gd name="T1" fmla="*/ 300782 h 998"/>
                <a:gd name="T2" fmla="*/ 296705 w 684"/>
                <a:gd name="T3" fmla="*/ 288709 h 998"/>
                <a:gd name="T4" fmla="*/ 292778 w 684"/>
                <a:gd name="T5" fmla="*/ 257738 h 998"/>
                <a:gd name="T6" fmla="*/ 287542 w 684"/>
                <a:gd name="T7" fmla="*/ 222043 h 998"/>
                <a:gd name="T8" fmla="*/ 295832 w 684"/>
                <a:gd name="T9" fmla="*/ 204196 h 998"/>
                <a:gd name="T10" fmla="*/ 243036 w 684"/>
                <a:gd name="T11" fmla="*/ 189498 h 998"/>
                <a:gd name="T12" fmla="*/ 232564 w 684"/>
                <a:gd name="T13" fmla="*/ 171126 h 998"/>
                <a:gd name="T14" fmla="*/ 201585 w 684"/>
                <a:gd name="T15" fmla="*/ 162727 h 998"/>
                <a:gd name="T16" fmla="*/ 175405 w 684"/>
                <a:gd name="T17" fmla="*/ 141730 h 998"/>
                <a:gd name="T18" fmla="*/ 163624 w 684"/>
                <a:gd name="T19" fmla="*/ 105510 h 998"/>
                <a:gd name="T20" fmla="*/ 163624 w 684"/>
                <a:gd name="T21" fmla="*/ 69815 h 998"/>
                <a:gd name="T22" fmla="*/ 172351 w 684"/>
                <a:gd name="T23" fmla="*/ 44094 h 998"/>
                <a:gd name="T24" fmla="*/ 189804 w 684"/>
                <a:gd name="T25" fmla="*/ 25196 h 998"/>
                <a:gd name="T26" fmla="*/ 202021 w 684"/>
                <a:gd name="T27" fmla="*/ 5774 h 998"/>
                <a:gd name="T28" fmla="*/ 169733 w 684"/>
                <a:gd name="T29" fmla="*/ 20472 h 998"/>
                <a:gd name="T30" fmla="*/ 146171 w 684"/>
                <a:gd name="T31" fmla="*/ 35695 h 998"/>
                <a:gd name="T32" fmla="*/ 132644 w 684"/>
                <a:gd name="T33" fmla="*/ 40944 h 998"/>
                <a:gd name="T34" fmla="*/ 121300 w 684"/>
                <a:gd name="T35" fmla="*/ 44094 h 998"/>
                <a:gd name="T36" fmla="*/ 105156 w 684"/>
                <a:gd name="T37" fmla="*/ 42519 h 998"/>
                <a:gd name="T38" fmla="*/ 94684 w 684"/>
                <a:gd name="T39" fmla="*/ 56692 h 998"/>
                <a:gd name="T40" fmla="*/ 85521 w 684"/>
                <a:gd name="T41" fmla="*/ 91862 h 998"/>
                <a:gd name="T42" fmla="*/ 68504 w 684"/>
                <a:gd name="T43" fmla="*/ 119158 h 998"/>
                <a:gd name="T44" fmla="*/ 46687 w 684"/>
                <a:gd name="T45" fmla="*/ 149079 h 998"/>
                <a:gd name="T46" fmla="*/ 39270 w 684"/>
                <a:gd name="T47" fmla="*/ 166401 h 998"/>
                <a:gd name="T48" fmla="*/ 37524 w 684"/>
                <a:gd name="T49" fmla="*/ 186873 h 998"/>
                <a:gd name="T50" fmla="*/ 42324 w 684"/>
                <a:gd name="T51" fmla="*/ 200521 h 998"/>
                <a:gd name="T52" fmla="*/ 42324 w 684"/>
                <a:gd name="T53" fmla="*/ 236741 h 998"/>
                <a:gd name="T54" fmla="*/ 41451 w 684"/>
                <a:gd name="T55" fmla="*/ 275586 h 998"/>
                <a:gd name="T56" fmla="*/ 31416 w 684"/>
                <a:gd name="T57" fmla="*/ 295533 h 998"/>
                <a:gd name="T58" fmla="*/ 16144 w 684"/>
                <a:gd name="T59" fmla="*/ 310756 h 998"/>
                <a:gd name="T60" fmla="*/ 4800 w 684"/>
                <a:gd name="T61" fmla="*/ 321254 h 998"/>
                <a:gd name="T62" fmla="*/ 13090 w 684"/>
                <a:gd name="T63" fmla="*/ 350650 h 998"/>
                <a:gd name="T64" fmla="*/ 53669 w 684"/>
                <a:gd name="T65" fmla="*/ 380571 h 998"/>
                <a:gd name="T66" fmla="*/ 76358 w 684"/>
                <a:gd name="T67" fmla="*/ 382145 h 998"/>
                <a:gd name="T68" fmla="*/ 102101 w 684"/>
                <a:gd name="T69" fmla="*/ 391594 h 998"/>
                <a:gd name="T70" fmla="*/ 130463 w 684"/>
                <a:gd name="T71" fmla="*/ 417315 h 998"/>
                <a:gd name="T72" fmla="*/ 147043 w 684"/>
                <a:gd name="T73" fmla="*/ 446186 h 998"/>
                <a:gd name="T74" fmla="*/ 160133 w 684"/>
                <a:gd name="T75" fmla="*/ 462459 h 998"/>
                <a:gd name="T76" fmla="*/ 179768 w 684"/>
                <a:gd name="T77" fmla="*/ 465083 h 998"/>
                <a:gd name="T78" fmla="*/ 201585 w 684"/>
                <a:gd name="T79" fmla="*/ 459834 h 998"/>
                <a:gd name="T80" fmla="*/ 214675 w 684"/>
                <a:gd name="T81" fmla="*/ 460884 h 998"/>
                <a:gd name="T82" fmla="*/ 224710 w 684"/>
                <a:gd name="T83" fmla="*/ 474532 h 998"/>
                <a:gd name="T84" fmla="*/ 223838 w 684"/>
                <a:gd name="T85" fmla="*/ 483981 h 998"/>
                <a:gd name="T86" fmla="*/ 212929 w 684"/>
                <a:gd name="T87" fmla="*/ 491855 h 998"/>
                <a:gd name="T88" fmla="*/ 212929 w 684"/>
                <a:gd name="T89" fmla="*/ 505503 h 998"/>
                <a:gd name="T90" fmla="*/ 222965 w 684"/>
                <a:gd name="T91" fmla="*/ 521775 h 998"/>
                <a:gd name="T92" fmla="*/ 236491 w 684"/>
                <a:gd name="T93" fmla="*/ 504978 h 998"/>
                <a:gd name="T94" fmla="*/ 246963 w 684"/>
                <a:gd name="T95" fmla="*/ 451960 h 998"/>
                <a:gd name="T96" fmla="*/ 249145 w 684"/>
                <a:gd name="T97" fmla="*/ 421515 h 998"/>
                <a:gd name="T98" fmla="*/ 242163 w 684"/>
                <a:gd name="T99" fmla="*/ 404717 h 998"/>
                <a:gd name="T100" fmla="*/ 228201 w 684"/>
                <a:gd name="T101" fmla="*/ 393169 h 998"/>
                <a:gd name="T102" fmla="*/ 227328 w 684"/>
                <a:gd name="T103" fmla="*/ 379521 h 998"/>
                <a:gd name="T104" fmla="*/ 246963 w 684"/>
                <a:gd name="T105" fmla="*/ 367447 h 998"/>
                <a:gd name="T106" fmla="*/ 242600 w 684"/>
                <a:gd name="T107" fmla="*/ 349075 h 998"/>
                <a:gd name="T108" fmla="*/ 242600 w 684"/>
                <a:gd name="T109" fmla="*/ 340676 h 998"/>
                <a:gd name="T110" fmla="*/ 285796 w 684"/>
                <a:gd name="T111" fmla="*/ 329653 h 99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44" name="Freeform 451">
              <a:extLst>
                <a:ext uri="{FF2B5EF4-FFF2-40B4-BE49-F238E27FC236}">
                  <a16:creationId xmlns:a16="http://schemas.microsoft.com/office/drawing/2014/main" id="{A1BF435D-072B-42E8-80F5-07DF3CFA52DF}"/>
                </a:ext>
              </a:extLst>
            </p:cNvPr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5808664" y="3549650"/>
              <a:ext cx="187325" cy="274638"/>
            </a:xfrm>
            <a:custGeom>
              <a:avLst/>
              <a:gdLst>
                <a:gd name="T0" fmla="*/ 187325 w 429"/>
                <a:gd name="T1" fmla="*/ 11531 h 524"/>
                <a:gd name="T2" fmla="*/ 186888 w 429"/>
                <a:gd name="T3" fmla="*/ 22537 h 524"/>
                <a:gd name="T4" fmla="*/ 185142 w 429"/>
                <a:gd name="T5" fmla="*/ 28302 h 524"/>
                <a:gd name="T6" fmla="*/ 181212 w 429"/>
                <a:gd name="T7" fmla="*/ 35116 h 524"/>
                <a:gd name="T8" fmla="*/ 180339 w 429"/>
                <a:gd name="T9" fmla="*/ 42454 h 524"/>
                <a:gd name="T10" fmla="*/ 180775 w 429"/>
                <a:gd name="T11" fmla="*/ 83859 h 524"/>
                <a:gd name="T12" fmla="*/ 178155 w 429"/>
                <a:gd name="T13" fmla="*/ 108492 h 524"/>
                <a:gd name="T14" fmla="*/ 172915 w 429"/>
                <a:gd name="T15" fmla="*/ 126313 h 524"/>
                <a:gd name="T16" fmla="*/ 162436 w 429"/>
                <a:gd name="T17" fmla="*/ 145705 h 524"/>
                <a:gd name="T18" fmla="*/ 147589 w 429"/>
                <a:gd name="T19" fmla="*/ 161953 h 524"/>
                <a:gd name="T20" fmla="*/ 139293 w 429"/>
                <a:gd name="T21" fmla="*/ 174531 h 524"/>
                <a:gd name="T22" fmla="*/ 136236 w 429"/>
                <a:gd name="T23" fmla="*/ 215937 h 524"/>
                <a:gd name="T24" fmla="*/ 132743 w 429"/>
                <a:gd name="T25" fmla="*/ 230088 h 524"/>
                <a:gd name="T26" fmla="*/ 126630 w 429"/>
                <a:gd name="T27" fmla="*/ 234805 h 524"/>
                <a:gd name="T28" fmla="*/ 117460 w 429"/>
                <a:gd name="T29" fmla="*/ 238474 h 524"/>
                <a:gd name="T30" fmla="*/ 110474 w 429"/>
                <a:gd name="T31" fmla="*/ 247384 h 524"/>
                <a:gd name="T32" fmla="*/ 102177 w 429"/>
                <a:gd name="T33" fmla="*/ 262059 h 524"/>
                <a:gd name="T34" fmla="*/ 97374 w 429"/>
                <a:gd name="T35" fmla="*/ 264680 h 524"/>
                <a:gd name="T36" fmla="*/ 87768 w 429"/>
                <a:gd name="T37" fmla="*/ 264156 h 524"/>
                <a:gd name="T38" fmla="*/ 82528 w 429"/>
                <a:gd name="T39" fmla="*/ 261011 h 524"/>
                <a:gd name="T40" fmla="*/ 63315 w 429"/>
                <a:gd name="T41" fmla="*/ 262059 h 524"/>
                <a:gd name="T42" fmla="*/ 53709 w 429"/>
                <a:gd name="T43" fmla="*/ 262059 h 524"/>
                <a:gd name="T44" fmla="*/ 49342 w 429"/>
                <a:gd name="T45" fmla="*/ 258914 h 524"/>
                <a:gd name="T46" fmla="*/ 41482 w 429"/>
                <a:gd name="T47" fmla="*/ 258390 h 524"/>
                <a:gd name="T48" fmla="*/ 34059 w 429"/>
                <a:gd name="T49" fmla="*/ 263107 h 524"/>
                <a:gd name="T50" fmla="*/ 27073 w 429"/>
                <a:gd name="T51" fmla="*/ 272017 h 524"/>
                <a:gd name="T52" fmla="*/ 11790 w 429"/>
                <a:gd name="T53" fmla="*/ 257342 h 524"/>
                <a:gd name="T54" fmla="*/ 2620 w 429"/>
                <a:gd name="T55" fmla="*/ 234281 h 524"/>
                <a:gd name="T56" fmla="*/ 10916 w 429"/>
                <a:gd name="T57" fmla="*/ 225371 h 524"/>
                <a:gd name="T58" fmla="*/ 18340 w 429"/>
                <a:gd name="T59" fmla="*/ 222226 h 524"/>
                <a:gd name="T60" fmla="*/ 26636 w 429"/>
                <a:gd name="T61" fmla="*/ 224323 h 524"/>
                <a:gd name="T62" fmla="*/ 25326 w 429"/>
                <a:gd name="T63" fmla="*/ 219081 h 524"/>
                <a:gd name="T64" fmla="*/ 19649 w 429"/>
                <a:gd name="T65" fmla="*/ 202310 h 524"/>
                <a:gd name="T66" fmla="*/ 20523 w 429"/>
                <a:gd name="T67" fmla="*/ 191827 h 524"/>
                <a:gd name="T68" fmla="*/ 24889 w 429"/>
                <a:gd name="T69" fmla="*/ 186586 h 524"/>
                <a:gd name="T70" fmla="*/ 31003 w 429"/>
                <a:gd name="T71" fmla="*/ 184490 h 524"/>
                <a:gd name="T72" fmla="*/ 38862 w 429"/>
                <a:gd name="T73" fmla="*/ 176628 h 524"/>
                <a:gd name="T74" fmla="*/ 45412 w 429"/>
                <a:gd name="T75" fmla="*/ 174531 h 524"/>
                <a:gd name="T76" fmla="*/ 50215 w 429"/>
                <a:gd name="T77" fmla="*/ 179248 h 524"/>
                <a:gd name="T78" fmla="*/ 58948 w 429"/>
                <a:gd name="T79" fmla="*/ 188158 h 524"/>
                <a:gd name="T80" fmla="*/ 67245 w 429"/>
                <a:gd name="T81" fmla="*/ 183966 h 524"/>
                <a:gd name="T82" fmla="*/ 79035 w 429"/>
                <a:gd name="T83" fmla="*/ 185014 h 524"/>
                <a:gd name="T84" fmla="*/ 86894 w 429"/>
                <a:gd name="T85" fmla="*/ 178200 h 524"/>
                <a:gd name="T86" fmla="*/ 91698 w 429"/>
                <a:gd name="T87" fmla="*/ 165097 h 524"/>
                <a:gd name="T88" fmla="*/ 93008 w 429"/>
                <a:gd name="T89" fmla="*/ 151994 h 524"/>
                <a:gd name="T90" fmla="*/ 93881 w 429"/>
                <a:gd name="T91" fmla="*/ 140988 h 524"/>
                <a:gd name="T92" fmla="*/ 87768 w 429"/>
                <a:gd name="T93" fmla="*/ 123692 h 524"/>
                <a:gd name="T94" fmla="*/ 82091 w 429"/>
                <a:gd name="T95" fmla="*/ 106396 h 524"/>
                <a:gd name="T96" fmla="*/ 90388 w 429"/>
                <a:gd name="T97" fmla="*/ 92769 h 524"/>
                <a:gd name="T98" fmla="*/ 91698 w 429"/>
                <a:gd name="T99" fmla="*/ 85955 h 524"/>
                <a:gd name="T100" fmla="*/ 87331 w 429"/>
                <a:gd name="T101" fmla="*/ 81238 h 524"/>
                <a:gd name="T102" fmla="*/ 86021 w 429"/>
                <a:gd name="T103" fmla="*/ 71804 h 524"/>
                <a:gd name="T104" fmla="*/ 82091 w 429"/>
                <a:gd name="T105" fmla="*/ 67611 h 524"/>
                <a:gd name="T106" fmla="*/ 70301 w 429"/>
                <a:gd name="T107" fmla="*/ 69184 h 524"/>
                <a:gd name="T108" fmla="*/ 59822 w 429"/>
                <a:gd name="T109" fmla="*/ 68660 h 524"/>
                <a:gd name="T110" fmla="*/ 54582 w 429"/>
                <a:gd name="T111" fmla="*/ 62370 h 524"/>
                <a:gd name="T112" fmla="*/ 53709 w 429"/>
                <a:gd name="T113" fmla="*/ 53984 h 524"/>
                <a:gd name="T114" fmla="*/ 57638 w 429"/>
                <a:gd name="T115" fmla="*/ 39833 h 524"/>
                <a:gd name="T116" fmla="*/ 133616 w 429"/>
                <a:gd name="T117" fmla="*/ 19916 h 524"/>
                <a:gd name="T118" fmla="*/ 141040 w 429"/>
                <a:gd name="T119" fmla="*/ 8910 h 524"/>
                <a:gd name="T120" fmla="*/ 149773 w 429"/>
                <a:gd name="T121" fmla="*/ 3669 h 524"/>
                <a:gd name="T122" fmla="*/ 163309 w 429"/>
                <a:gd name="T123" fmla="*/ 2621 h 524"/>
                <a:gd name="T124" fmla="*/ 178155 w 429"/>
                <a:gd name="T125" fmla="*/ 2096 h 52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45" name="Freeform 452">
              <a:extLst>
                <a:ext uri="{FF2B5EF4-FFF2-40B4-BE49-F238E27FC236}">
                  <a16:creationId xmlns:a16="http://schemas.microsoft.com/office/drawing/2014/main" id="{010324B8-727D-47C0-948A-7538CCF6EE34}"/>
                </a:ext>
              </a:extLst>
            </p:cNvPr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5840413" y="2192338"/>
              <a:ext cx="127000" cy="114300"/>
            </a:xfrm>
            <a:custGeom>
              <a:avLst/>
              <a:gdLst>
                <a:gd name="T0" fmla="*/ 112647 w 292"/>
                <a:gd name="T1" fmla="*/ 47668 h 223"/>
                <a:gd name="T2" fmla="*/ 72199 w 292"/>
                <a:gd name="T3" fmla="*/ 39467 h 223"/>
                <a:gd name="T4" fmla="*/ 66110 w 292"/>
                <a:gd name="T5" fmla="*/ 40492 h 223"/>
                <a:gd name="T6" fmla="*/ 60455 w 292"/>
                <a:gd name="T7" fmla="*/ 40492 h 223"/>
                <a:gd name="T8" fmla="*/ 54801 w 292"/>
                <a:gd name="T9" fmla="*/ 39467 h 223"/>
                <a:gd name="T10" fmla="*/ 51757 w 292"/>
                <a:gd name="T11" fmla="*/ 47668 h 223"/>
                <a:gd name="T12" fmla="*/ 62630 w 292"/>
                <a:gd name="T13" fmla="*/ 67145 h 223"/>
                <a:gd name="T14" fmla="*/ 73068 w 292"/>
                <a:gd name="T15" fmla="*/ 80471 h 223"/>
                <a:gd name="T16" fmla="*/ 82202 w 292"/>
                <a:gd name="T17" fmla="*/ 94823 h 223"/>
                <a:gd name="T18" fmla="*/ 85682 w 292"/>
                <a:gd name="T19" fmla="*/ 103536 h 223"/>
                <a:gd name="T20" fmla="*/ 89161 w 292"/>
                <a:gd name="T21" fmla="*/ 113787 h 223"/>
                <a:gd name="T22" fmla="*/ 76113 w 292"/>
                <a:gd name="T23" fmla="*/ 114300 h 223"/>
                <a:gd name="T24" fmla="*/ 70024 w 292"/>
                <a:gd name="T25" fmla="*/ 113787 h 223"/>
                <a:gd name="T26" fmla="*/ 63500 w 292"/>
                <a:gd name="T27" fmla="*/ 110712 h 223"/>
                <a:gd name="T28" fmla="*/ 58281 w 292"/>
                <a:gd name="T29" fmla="*/ 107124 h 223"/>
                <a:gd name="T30" fmla="*/ 55236 w 292"/>
                <a:gd name="T31" fmla="*/ 101486 h 223"/>
                <a:gd name="T32" fmla="*/ 52627 w 292"/>
                <a:gd name="T33" fmla="*/ 95848 h 223"/>
                <a:gd name="T34" fmla="*/ 49147 w 292"/>
                <a:gd name="T35" fmla="*/ 92260 h 223"/>
                <a:gd name="T36" fmla="*/ 39579 w 292"/>
                <a:gd name="T37" fmla="*/ 74321 h 223"/>
                <a:gd name="T38" fmla="*/ 29575 w 292"/>
                <a:gd name="T39" fmla="*/ 57919 h 223"/>
                <a:gd name="T40" fmla="*/ 23921 w 292"/>
                <a:gd name="T41" fmla="*/ 50743 h 223"/>
                <a:gd name="T42" fmla="*/ 18267 w 292"/>
                <a:gd name="T43" fmla="*/ 44592 h 223"/>
                <a:gd name="T44" fmla="*/ 11743 w 292"/>
                <a:gd name="T45" fmla="*/ 40492 h 223"/>
                <a:gd name="T46" fmla="*/ 5654 w 292"/>
                <a:gd name="T47" fmla="*/ 38442 h 223"/>
                <a:gd name="T48" fmla="*/ 1740 w 292"/>
                <a:gd name="T49" fmla="*/ 33316 h 223"/>
                <a:gd name="T50" fmla="*/ 435 w 292"/>
                <a:gd name="T51" fmla="*/ 29728 h 223"/>
                <a:gd name="T52" fmla="*/ 0 w 292"/>
                <a:gd name="T53" fmla="*/ 25115 h 223"/>
                <a:gd name="T54" fmla="*/ 17397 w 292"/>
                <a:gd name="T55" fmla="*/ 28191 h 223"/>
                <a:gd name="T56" fmla="*/ 30445 w 292"/>
                <a:gd name="T57" fmla="*/ 28191 h 223"/>
                <a:gd name="T58" fmla="*/ 39579 w 292"/>
                <a:gd name="T59" fmla="*/ 25628 h 223"/>
                <a:gd name="T60" fmla="*/ 46103 w 292"/>
                <a:gd name="T61" fmla="*/ 21015 h 223"/>
                <a:gd name="T62" fmla="*/ 55236 w 292"/>
                <a:gd name="T63" fmla="*/ 10251 h 223"/>
                <a:gd name="T64" fmla="*/ 60021 w 292"/>
                <a:gd name="T65" fmla="*/ 4613 h 223"/>
                <a:gd name="T66" fmla="*/ 66110 w 292"/>
                <a:gd name="T67" fmla="*/ 0 h 223"/>
                <a:gd name="T68" fmla="*/ 74808 w 292"/>
                <a:gd name="T69" fmla="*/ 7176 h 223"/>
                <a:gd name="T70" fmla="*/ 84377 w 292"/>
                <a:gd name="T71" fmla="*/ 13326 h 223"/>
                <a:gd name="T72" fmla="*/ 94815 w 292"/>
                <a:gd name="T73" fmla="*/ 17427 h 223"/>
                <a:gd name="T74" fmla="*/ 106993 w 292"/>
                <a:gd name="T75" fmla="*/ 18965 h 223"/>
                <a:gd name="T76" fmla="*/ 113952 w 292"/>
                <a:gd name="T77" fmla="*/ 17427 h 223"/>
                <a:gd name="T78" fmla="*/ 121346 w 292"/>
                <a:gd name="T79" fmla="*/ 15889 h 223"/>
                <a:gd name="T80" fmla="*/ 123955 w 292"/>
                <a:gd name="T81" fmla="*/ 24090 h 223"/>
                <a:gd name="T82" fmla="*/ 124825 w 292"/>
                <a:gd name="T83" fmla="*/ 25115 h 223"/>
                <a:gd name="T84" fmla="*/ 127000 w 292"/>
                <a:gd name="T85" fmla="*/ 35366 h 22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46" name="Freeform 453">
              <a:extLst>
                <a:ext uri="{FF2B5EF4-FFF2-40B4-BE49-F238E27FC236}">
                  <a16:creationId xmlns:a16="http://schemas.microsoft.com/office/drawing/2014/main" id="{F752E635-216F-448C-9714-D0E4F2D8FE53}"/>
                </a:ext>
              </a:extLst>
            </p:cNvPr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5791201" y="2051050"/>
              <a:ext cx="168275" cy="77788"/>
            </a:xfrm>
            <a:custGeom>
              <a:avLst/>
              <a:gdLst>
                <a:gd name="T0" fmla="*/ 166499 w 379"/>
                <a:gd name="T1" fmla="*/ 49742 h 147"/>
                <a:gd name="T2" fmla="*/ 159839 w 379"/>
                <a:gd name="T3" fmla="*/ 53446 h 147"/>
                <a:gd name="T4" fmla="*/ 157175 w 379"/>
                <a:gd name="T5" fmla="*/ 57150 h 147"/>
                <a:gd name="T6" fmla="*/ 154067 w 379"/>
                <a:gd name="T7" fmla="*/ 61913 h 147"/>
                <a:gd name="T8" fmla="*/ 147851 w 379"/>
                <a:gd name="T9" fmla="*/ 67205 h 147"/>
                <a:gd name="T10" fmla="*/ 142079 w 379"/>
                <a:gd name="T11" fmla="*/ 69321 h 147"/>
                <a:gd name="T12" fmla="*/ 138083 w 379"/>
                <a:gd name="T13" fmla="*/ 69850 h 147"/>
                <a:gd name="T14" fmla="*/ 133643 w 379"/>
                <a:gd name="T15" fmla="*/ 68792 h 147"/>
                <a:gd name="T16" fmla="*/ 129203 w 379"/>
                <a:gd name="T17" fmla="*/ 66675 h 147"/>
                <a:gd name="T18" fmla="*/ 124763 w 379"/>
                <a:gd name="T19" fmla="*/ 62971 h 147"/>
                <a:gd name="T20" fmla="*/ 122099 w 379"/>
                <a:gd name="T21" fmla="*/ 61384 h 147"/>
                <a:gd name="T22" fmla="*/ 119435 w 379"/>
                <a:gd name="T23" fmla="*/ 62442 h 147"/>
                <a:gd name="T24" fmla="*/ 118547 w 379"/>
                <a:gd name="T25" fmla="*/ 65088 h 147"/>
                <a:gd name="T26" fmla="*/ 118103 w 379"/>
                <a:gd name="T27" fmla="*/ 74084 h 147"/>
                <a:gd name="T28" fmla="*/ 114107 w 379"/>
                <a:gd name="T29" fmla="*/ 76730 h 147"/>
                <a:gd name="T30" fmla="*/ 108335 w 379"/>
                <a:gd name="T31" fmla="*/ 74084 h 147"/>
                <a:gd name="T32" fmla="*/ 101675 w 379"/>
                <a:gd name="T33" fmla="*/ 69321 h 147"/>
                <a:gd name="T34" fmla="*/ 50172 w 379"/>
                <a:gd name="T35" fmla="*/ 74613 h 147"/>
                <a:gd name="T36" fmla="*/ 35520 w 379"/>
                <a:gd name="T37" fmla="*/ 65617 h 147"/>
                <a:gd name="T38" fmla="*/ 25752 w 379"/>
                <a:gd name="T39" fmla="*/ 57680 h 147"/>
                <a:gd name="T40" fmla="*/ 19980 w 379"/>
                <a:gd name="T41" fmla="*/ 49742 h 147"/>
                <a:gd name="T42" fmla="*/ 16428 w 379"/>
                <a:gd name="T43" fmla="*/ 43392 h 147"/>
                <a:gd name="T44" fmla="*/ 11544 w 379"/>
                <a:gd name="T45" fmla="*/ 31221 h 147"/>
                <a:gd name="T46" fmla="*/ 7104 w 379"/>
                <a:gd name="T47" fmla="*/ 25400 h 147"/>
                <a:gd name="T48" fmla="*/ 0 w 379"/>
                <a:gd name="T49" fmla="*/ 19050 h 147"/>
                <a:gd name="T50" fmla="*/ 12876 w 379"/>
                <a:gd name="T51" fmla="*/ 21167 h 147"/>
                <a:gd name="T52" fmla="*/ 23088 w 379"/>
                <a:gd name="T53" fmla="*/ 20108 h 147"/>
                <a:gd name="T54" fmla="*/ 31968 w 379"/>
                <a:gd name="T55" fmla="*/ 17463 h 147"/>
                <a:gd name="T56" fmla="*/ 38628 w 379"/>
                <a:gd name="T57" fmla="*/ 13229 h 147"/>
                <a:gd name="T58" fmla="*/ 52836 w 379"/>
                <a:gd name="T59" fmla="*/ 4233 h 147"/>
                <a:gd name="T60" fmla="*/ 61272 w 379"/>
                <a:gd name="T61" fmla="*/ 1058 h 147"/>
                <a:gd name="T62" fmla="*/ 70596 w 379"/>
                <a:gd name="T63" fmla="*/ 0 h 147"/>
                <a:gd name="T64" fmla="*/ 88799 w 379"/>
                <a:gd name="T65" fmla="*/ 12171 h 147"/>
                <a:gd name="T66" fmla="*/ 108335 w 379"/>
                <a:gd name="T67" fmla="*/ 23813 h 147"/>
                <a:gd name="T68" fmla="*/ 129647 w 379"/>
                <a:gd name="T69" fmla="*/ 35454 h 147"/>
                <a:gd name="T70" fmla="*/ 147851 w 379"/>
                <a:gd name="T71" fmla="*/ 42334 h 147"/>
                <a:gd name="T72" fmla="*/ 157175 w 379"/>
                <a:gd name="T73" fmla="*/ 45509 h 147"/>
                <a:gd name="T74" fmla="*/ 168275 w 379"/>
                <a:gd name="T75" fmla="*/ 48684 h 14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47" name="Freeform 454">
              <a:extLst>
                <a:ext uri="{FF2B5EF4-FFF2-40B4-BE49-F238E27FC236}">
                  <a16:creationId xmlns:a16="http://schemas.microsoft.com/office/drawing/2014/main" id="{A6551796-6CE4-4A6A-BE4F-55D5CB810E89}"/>
                </a:ext>
              </a:extLst>
            </p:cNvPr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5754688" y="1906589"/>
              <a:ext cx="30162" cy="60325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8103 h 67"/>
                <a:gd name="T4" fmla="*/ 0 w 61"/>
                <a:gd name="T5" fmla="*/ 16207 h 67"/>
                <a:gd name="T6" fmla="*/ 494 w 61"/>
                <a:gd name="T7" fmla="*/ 21609 h 67"/>
                <a:gd name="T8" fmla="*/ 989 w 61"/>
                <a:gd name="T9" fmla="*/ 27011 h 67"/>
                <a:gd name="T10" fmla="*/ 1483 w 61"/>
                <a:gd name="T11" fmla="*/ 32413 h 67"/>
                <a:gd name="T12" fmla="*/ 2967 w 61"/>
                <a:gd name="T13" fmla="*/ 37816 h 67"/>
                <a:gd name="T14" fmla="*/ 5934 w 61"/>
                <a:gd name="T15" fmla="*/ 49521 h 67"/>
                <a:gd name="T16" fmla="*/ 10384 w 61"/>
                <a:gd name="T17" fmla="*/ 60325 h 67"/>
                <a:gd name="T18" fmla="*/ 13845 w 61"/>
                <a:gd name="T19" fmla="*/ 58524 h 67"/>
                <a:gd name="T20" fmla="*/ 17306 w 61"/>
                <a:gd name="T21" fmla="*/ 54923 h 67"/>
                <a:gd name="T22" fmla="*/ 20767 w 61"/>
                <a:gd name="T23" fmla="*/ 52222 h 67"/>
                <a:gd name="T24" fmla="*/ 23734 w 61"/>
                <a:gd name="T25" fmla="*/ 47720 h 67"/>
                <a:gd name="T26" fmla="*/ 26206 w 61"/>
                <a:gd name="T27" fmla="*/ 42318 h 67"/>
                <a:gd name="T28" fmla="*/ 28184 w 61"/>
                <a:gd name="T29" fmla="*/ 36015 h 67"/>
                <a:gd name="T30" fmla="*/ 29173 w 61"/>
                <a:gd name="T31" fmla="*/ 28812 h 67"/>
                <a:gd name="T32" fmla="*/ 30162 w 61"/>
                <a:gd name="T33" fmla="*/ 21609 h 67"/>
                <a:gd name="T34" fmla="*/ 26206 w 61"/>
                <a:gd name="T35" fmla="*/ 12605 h 67"/>
                <a:gd name="T36" fmla="*/ 20273 w 61"/>
                <a:gd name="T37" fmla="*/ 0 h 67"/>
                <a:gd name="T38" fmla="*/ 13845 w 61"/>
                <a:gd name="T39" fmla="*/ 2701 h 67"/>
                <a:gd name="T40" fmla="*/ 8900 w 61"/>
                <a:gd name="T41" fmla="*/ 3601 h 67"/>
                <a:gd name="T42" fmla="*/ 6428 w 61"/>
                <a:gd name="T43" fmla="*/ 3601 h 67"/>
                <a:gd name="T44" fmla="*/ 4945 w 61"/>
                <a:gd name="T45" fmla="*/ 2701 h 67"/>
                <a:gd name="T46" fmla="*/ 2967 w 61"/>
                <a:gd name="T47" fmla="*/ 1801 h 67"/>
                <a:gd name="T48" fmla="*/ 0 w 61"/>
                <a:gd name="T49" fmla="*/ 0 h 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48" name="Freeform 455">
              <a:extLst>
                <a:ext uri="{FF2B5EF4-FFF2-40B4-BE49-F238E27FC236}">
                  <a16:creationId xmlns:a16="http://schemas.microsoft.com/office/drawing/2014/main" id="{C04B3243-DC62-4798-ACE7-76E246796622}"/>
                </a:ext>
              </a:extLst>
            </p:cNvPr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5726113" y="1911350"/>
              <a:ext cx="25400" cy="58738"/>
            </a:xfrm>
            <a:custGeom>
              <a:avLst/>
              <a:gdLst>
                <a:gd name="T0" fmla="*/ 0 w 60"/>
                <a:gd name="T1" fmla="*/ 6408 h 55"/>
                <a:gd name="T2" fmla="*/ 0 w 60"/>
                <a:gd name="T3" fmla="*/ 25631 h 55"/>
                <a:gd name="T4" fmla="*/ 2117 w 60"/>
                <a:gd name="T5" fmla="*/ 34175 h 55"/>
                <a:gd name="T6" fmla="*/ 4233 w 60"/>
                <a:gd name="T7" fmla="*/ 42719 h 55"/>
                <a:gd name="T8" fmla="*/ 6773 w 60"/>
                <a:gd name="T9" fmla="*/ 48058 h 55"/>
                <a:gd name="T10" fmla="*/ 8890 w 60"/>
                <a:gd name="T11" fmla="*/ 52330 h 55"/>
                <a:gd name="T12" fmla="*/ 11430 w 60"/>
                <a:gd name="T13" fmla="*/ 55534 h 55"/>
                <a:gd name="T14" fmla="*/ 13970 w 60"/>
                <a:gd name="T15" fmla="*/ 57670 h 55"/>
                <a:gd name="T16" fmla="*/ 16933 w 60"/>
                <a:gd name="T17" fmla="*/ 58738 h 55"/>
                <a:gd name="T18" fmla="*/ 19473 w 60"/>
                <a:gd name="T19" fmla="*/ 58738 h 55"/>
                <a:gd name="T20" fmla="*/ 22437 w 60"/>
                <a:gd name="T21" fmla="*/ 55534 h 55"/>
                <a:gd name="T22" fmla="*/ 25400 w 60"/>
                <a:gd name="T23" fmla="*/ 52330 h 55"/>
                <a:gd name="T24" fmla="*/ 21167 w 60"/>
                <a:gd name="T25" fmla="*/ 36311 h 55"/>
                <a:gd name="T26" fmla="*/ 17780 w 60"/>
                <a:gd name="T27" fmla="*/ 23495 h 55"/>
                <a:gd name="T28" fmla="*/ 16510 w 60"/>
                <a:gd name="T29" fmla="*/ 18155 h 55"/>
                <a:gd name="T30" fmla="*/ 14817 w 60"/>
                <a:gd name="T31" fmla="*/ 12816 h 55"/>
                <a:gd name="T32" fmla="*/ 14393 w 60"/>
                <a:gd name="T33" fmla="*/ 6408 h 55"/>
                <a:gd name="T34" fmla="*/ 13970 w 60"/>
                <a:gd name="T35" fmla="*/ 0 h 55"/>
                <a:gd name="T36" fmla="*/ 9737 w 60"/>
                <a:gd name="T37" fmla="*/ 1068 h 55"/>
                <a:gd name="T38" fmla="*/ 6350 w 60"/>
                <a:gd name="T39" fmla="*/ 3204 h 55"/>
                <a:gd name="T40" fmla="*/ 2963 w 60"/>
                <a:gd name="T41" fmla="*/ 5340 h 55"/>
                <a:gd name="T42" fmla="*/ 0 w 60"/>
                <a:gd name="T43" fmla="*/ 6408 h 5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49" name="Freeform 456">
              <a:extLst>
                <a:ext uri="{FF2B5EF4-FFF2-40B4-BE49-F238E27FC236}">
                  <a16:creationId xmlns:a16="http://schemas.microsoft.com/office/drawing/2014/main" id="{54624D85-7A50-4B0A-8CA4-EF2D3B7384EC}"/>
                </a:ext>
              </a:extLst>
            </p:cNvPr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5695950" y="1857375"/>
              <a:ext cx="52388" cy="77788"/>
            </a:xfrm>
            <a:custGeom>
              <a:avLst/>
              <a:gdLst>
                <a:gd name="T0" fmla="*/ 32306 w 120"/>
                <a:gd name="T1" fmla="*/ 67802 h 148"/>
                <a:gd name="T2" fmla="*/ 30560 w 120"/>
                <a:gd name="T3" fmla="*/ 68853 h 148"/>
                <a:gd name="T4" fmla="*/ 29250 w 120"/>
                <a:gd name="T5" fmla="*/ 69378 h 148"/>
                <a:gd name="T6" fmla="*/ 27940 w 120"/>
                <a:gd name="T7" fmla="*/ 69904 h 148"/>
                <a:gd name="T8" fmla="*/ 26194 w 120"/>
                <a:gd name="T9" fmla="*/ 69904 h 148"/>
                <a:gd name="T10" fmla="*/ 24448 w 120"/>
                <a:gd name="T11" fmla="*/ 69904 h 148"/>
                <a:gd name="T12" fmla="*/ 23138 w 120"/>
                <a:gd name="T13" fmla="*/ 69378 h 148"/>
                <a:gd name="T14" fmla="*/ 21828 w 120"/>
                <a:gd name="T15" fmla="*/ 68853 h 148"/>
                <a:gd name="T16" fmla="*/ 20519 w 120"/>
                <a:gd name="T17" fmla="*/ 67802 h 148"/>
                <a:gd name="T18" fmla="*/ 17899 w 120"/>
                <a:gd name="T19" fmla="*/ 67276 h 148"/>
                <a:gd name="T20" fmla="*/ 14843 w 120"/>
                <a:gd name="T21" fmla="*/ 65699 h 148"/>
                <a:gd name="T22" fmla="*/ 11351 w 120"/>
                <a:gd name="T23" fmla="*/ 63071 h 148"/>
                <a:gd name="T24" fmla="*/ 8295 w 120"/>
                <a:gd name="T25" fmla="*/ 60443 h 148"/>
                <a:gd name="T26" fmla="*/ 4802 w 120"/>
                <a:gd name="T27" fmla="*/ 56764 h 148"/>
                <a:gd name="T28" fmla="*/ 2619 w 120"/>
                <a:gd name="T29" fmla="*/ 53085 h 148"/>
                <a:gd name="T30" fmla="*/ 1310 w 120"/>
                <a:gd name="T31" fmla="*/ 50983 h 148"/>
                <a:gd name="T32" fmla="*/ 873 w 120"/>
                <a:gd name="T33" fmla="*/ 49406 h 148"/>
                <a:gd name="T34" fmla="*/ 437 w 120"/>
                <a:gd name="T35" fmla="*/ 47304 h 148"/>
                <a:gd name="T36" fmla="*/ 0 w 120"/>
                <a:gd name="T37" fmla="*/ 45727 h 148"/>
                <a:gd name="T38" fmla="*/ 873 w 120"/>
                <a:gd name="T39" fmla="*/ 38368 h 148"/>
                <a:gd name="T40" fmla="*/ 3493 w 120"/>
                <a:gd name="T41" fmla="*/ 28908 h 148"/>
                <a:gd name="T42" fmla="*/ 6112 w 120"/>
                <a:gd name="T43" fmla="*/ 18396 h 148"/>
                <a:gd name="T44" fmla="*/ 8731 w 120"/>
                <a:gd name="T45" fmla="*/ 9461 h 148"/>
                <a:gd name="T46" fmla="*/ 13970 w 120"/>
                <a:gd name="T47" fmla="*/ 8935 h 148"/>
                <a:gd name="T48" fmla="*/ 18336 w 120"/>
                <a:gd name="T49" fmla="*/ 8410 h 148"/>
                <a:gd name="T50" fmla="*/ 22265 w 120"/>
                <a:gd name="T51" fmla="*/ 7358 h 148"/>
                <a:gd name="T52" fmla="*/ 25321 w 120"/>
                <a:gd name="T53" fmla="*/ 5782 h 148"/>
                <a:gd name="T54" fmla="*/ 30560 w 120"/>
                <a:gd name="T55" fmla="*/ 2628 h 148"/>
                <a:gd name="T56" fmla="*/ 34925 w 120"/>
                <a:gd name="T57" fmla="*/ 0 h 148"/>
                <a:gd name="T58" fmla="*/ 37108 w 120"/>
                <a:gd name="T59" fmla="*/ 1051 h 148"/>
                <a:gd name="T60" fmla="*/ 40601 w 120"/>
                <a:gd name="T61" fmla="*/ 3679 h 148"/>
                <a:gd name="T62" fmla="*/ 42784 w 120"/>
                <a:gd name="T63" fmla="*/ 5256 h 148"/>
                <a:gd name="T64" fmla="*/ 44530 w 120"/>
                <a:gd name="T65" fmla="*/ 6833 h 148"/>
                <a:gd name="T66" fmla="*/ 46276 w 120"/>
                <a:gd name="T67" fmla="*/ 8410 h 148"/>
                <a:gd name="T68" fmla="*/ 46713 w 120"/>
                <a:gd name="T69" fmla="*/ 9461 h 148"/>
                <a:gd name="T70" fmla="*/ 43657 w 120"/>
                <a:gd name="T71" fmla="*/ 14717 h 148"/>
                <a:gd name="T72" fmla="*/ 40601 w 120"/>
                <a:gd name="T73" fmla="*/ 19447 h 148"/>
                <a:gd name="T74" fmla="*/ 41474 w 120"/>
                <a:gd name="T75" fmla="*/ 22075 h 148"/>
                <a:gd name="T76" fmla="*/ 42784 w 120"/>
                <a:gd name="T77" fmla="*/ 25754 h 148"/>
                <a:gd name="T78" fmla="*/ 44530 w 120"/>
                <a:gd name="T79" fmla="*/ 29433 h 148"/>
                <a:gd name="T80" fmla="*/ 46713 w 120"/>
                <a:gd name="T81" fmla="*/ 33112 h 148"/>
                <a:gd name="T82" fmla="*/ 50205 w 120"/>
                <a:gd name="T83" fmla="*/ 39420 h 148"/>
                <a:gd name="T84" fmla="*/ 52388 w 120"/>
                <a:gd name="T85" fmla="*/ 41522 h 148"/>
                <a:gd name="T86" fmla="*/ 49332 w 120"/>
                <a:gd name="T87" fmla="*/ 42573 h 148"/>
                <a:gd name="T88" fmla="*/ 46713 w 120"/>
                <a:gd name="T89" fmla="*/ 44150 h 148"/>
                <a:gd name="T90" fmla="*/ 43657 w 120"/>
                <a:gd name="T91" fmla="*/ 45727 h 148"/>
                <a:gd name="T92" fmla="*/ 41910 w 120"/>
                <a:gd name="T93" fmla="*/ 47829 h 148"/>
                <a:gd name="T94" fmla="*/ 39291 w 120"/>
                <a:gd name="T95" fmla="*/ 49931 h 148"/>
                <a:gd name="T96" fmla="*/ 37981 w 120"/>
                <a:gd name="T97" fmla="*/ 52034 h 148"/>
                <a:gd name="T98" fmla="*/ 35798 w 120"/>
                <a:gd name="T99" fmla="*/ 54662 h 148"/>
                <a:gd name="T100" fmla="*/ 34925 w 120"/>
                <a:gd name="T101" fmla="*/ 57290 h 148"/>
                <a:gd name="T102" fmla="*/ 34052 w 120"/>
                <a:gd name="T103" fmla="*/ 59918 h 148"/>
                <a:gd name="T104" fmla="*/ 33616 w 120"/>
                <a:gd name="T105" fmla="*/ 63071 h 148"/>
                <a:gd name="T106" fmla="*/ 33179 w 120"/>
                <a:gd name="T107" fmla="*/ 65699 h 148"/>
                <a:gd name="T108" fmla="*/ 32743 w 120"/>
                <a:gd name="T109" fmla="*/ 68327 h 148"/>
                <a:gd name="T110" fmla="*/ 33179 w 120"/>
                <a:gd name="T111" fmla="*/ 70955 h 148"/>
                <a:gd name="T112" fmla="*/ 33616 w 120"/>
                <a:gd name="T113" fmla="*/ 73583 h 148"/>
                <a:gd name="T114" fmla="*/ 34052 w 120"/>
                <a:gd name="T115" fmla="*/ 75686 h 148"/>
                <a:gd name="T116" fmla="*/ 34925 w 120"/>
                <a:gd name="T117" fmla="*/ 77788 h 148"/>
                <a:gd name="T118" fmla="*/ 32306 w 120"/>
                <a:gd name="T119" fmla="*/ 67802 h 14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50" name="Freeform 457">
              <a:extLst>
                <a:ext uri="{FF2B5EF4-FFF2-40B4-BE49-F238E27FC236}">
                  <a16:creationId xmlns:a16="http://schemas.microsoft.com/office/drawing/2014/main" id="{F417D81A-9DCC-43C3-B3A9-50E368EA32E9}"/>
                </a:ext>
              </a:extLst>
            </p:cNvPr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6127750" y="2662239"/>
              <a:ext cx="273050" cy="307975"/>
            </a:xfrm>
            <a:custGeom>
              <a:avLst/>
              <a:gdLst>
                <a:gd name="T0" fmla="*/ 9087 w 631"/>
                <a:gd name="T1" fmla="*/ 1040 h 592"/>
                <a:gd name="T2" fmla="*/ 13847 w 631"/>
                <a:gd name="T3" fmla="*/ 2081 h 592"/>
                <a:gd name="T4" fmla="*/ 23367 w 631"/>
                <a:gd name="T5" fmla="*/ 4162 h 592"/>
                <a:gd name="T6" fmla="*/ 33753 w 631"/>
                <a:gd name="T7" fmla="*/ 5723 h 592"/>
                <a:gd name="T8" fmla="*/ 45003 w 631"/>
                <a:gd name="T9" fmla="*/ 9884 h 592"/>
                <a:gd name="T10" fmla="*/ 56254 w 631"/>
                <a:gd name="T11" fmla="*/ 16647 h 592"/>
                <a:gd name="T12" fmla="*/ 63178 w 631"/>
                <a:gd name="T13" fmla="*/ 20809 h 592"/>
                <a:gd name="T14" fmla="*/ 68803 w 631"/>
                <a:gd name="T15" fmla="*/ 22370 h 592"/>
                <a:gd name="T16" fmla="*/ 81785 w 631"/>
                <a:gd name="T17" fmla="*/ 22370 h 592"/>
                <a:gd name="T18" fmla="*/ 98229 w 631"/>
                <a:gd name="T19" fmla="*/ 19248 h 592"/>
                <a:gd name="T20" fmla="*/ 119865 w 631"/>
                <a:gd name="T21" fmla="*/ 11965 h 592"/>
                <a:gd name="T22" fmla="*/ 172658 w 631"/>
                <a:gd name="T23" fmla="*/ 19769 h 592"/>
                <a:gd name="T24" fmla="*/ 174389 w 631"/>
                <a:gd name="T25" fmla="*/ 35896 h 592"/>
                <a:gd name="T26" fmla="*/ 177418 w 631"/>
                <a:gd name="T27" fmla="*/ 49422 h 592"/>
                <a:gd name="T28" fmla="*/ 180447 w 631"/>
                <a:gd name="T29" fmla="*/ 61907 h 592"/>
                <a:gd name="T30" fmla="*/ 184774 w 631"/>
                <a:gd name="T31" fmla="*/ 72832 h 592"/>
                <a:gd name="T32" fmla="*/ 194727 w 631"/>
                <a:gd name="T33" fmla="*/ 91040 h 592"/>
                <a:gd name="T34" fmla="*/ 204247 w 631"/>
                <a:gd name="T35" fmla="*/ 106127 h 592"/>
                <a:gd name="T36" fmla="*/ 208574 w 631"/>
                <a:gd name="T37" fmla="*/ 115491 h 592"/>
                <a:gd name="T38" fmla="*/ 209872 w 631"/>
                <a:gd name="T39" fmla="*/ 124855 h 592"/>
                <a:gd name="T40" fmla="*/ 212468 w 631"/>
                <a:gd name="T41" fmla="*/ 132658 h 592"/>
                <a:gd name="T42" fmla="*/ 214632 w 631"/>
                <a:gd name="T43" fmla="*/ 135780 h 592"/>
                <a:gd name="T44" fmla="*/ 218527 w 631"/>
                <a:gd name="T45" fmla="*/ 138381 h 592"/>
                <a:gd name="T46" fmla="*/ 221988 w 631"/>
                <a:gd name="T47" fmla="*/ 140462 h 592"/>
                <a:gd name="T48" fmla="*/ 224585 w 631"/>
                <a:gd name="T49" fmla="*/ 144623 h 592"/>
                <a:gd name="T50" fmla="*/ 230643 w 631"/>
                <a:gd name="T51" fmla="*/ 157629 h 592"/>
                <a:gd name="T52" fmla="*/ 234105 w 631"/>
                <a:gd name="T53" fmla="*/ 172195 h 592"/>
                <a:gd name="T54" fmla="*/ 235836 w 631"/>
                <a:gd name="T55" fmla="*/ 186242 h 592"/>
                <a:gd name="T56" fmla="*/ 237134 w 631"/>
                <a:gd name="T57" fmla="*/ 191444 h 592"/>
                <a:gd name="T58" fmla="*/ 241028 w 631"/>
                <a:gd name="T59" fmla="*/ 198207 h 592"/>
                <a:gd name="T60" fmla="*/ 252279 w 631"/>
                <a:gd name="T61" fmla="*/ 215895 h 592"/>
                <a:gd name="T62" fmla="*/ 264828 w 631"/>
                <a:gd name="T63" fmla="*/ 232542 h 592"/>
                <a:gd name="T64" fmla="*/ 273050 w 631"/>
                <a:gd name="T65" fmla="*/ 240866 h 592"/>
                <a:gd name="T66" fmla="*/ 264828 w 631"/>
                <a:gd name="T67" fmla="*/ 250230 h 592"/>
                <a:gd name="T68" fmla="*/ 270021 w 631"/>
                <a:gd name="T69" fmla="*/ 258033 h 592"/>
                <a:gd name="T70" fmla="*/ 270886 w 631"/>
                <a:gd name="T71" fmla="*/ 263756 h 592"/>
                <a:gd name="T72" fmla="*/ 270886 w 631"/>
                <a:gd name="T73" fmla="*/ 268438 h 592"/>
                <a:gd name="T74" fmla="*/ 273050 w 631"/>
                <a:gd name="T75" fmla="*/ 276241 h 592"/>
                <a:gd name="T76" fmla="*/ 270886 w 631"/>
                <a:gd name="T77" fmla="*/ 280403 h 592"/>
                <a:gd name="T78" fmla="*/ 266992 w 631"/>
                <a:gd name="T79" fmla="*/ 285085 h 592"/>
                <a:gd name="T80" fmla="*/ 256174 w 631"/>
                <a:gd name="T81" fmla="*/ 296010 h 592"/>
                <a:gd name="T82" fmla="*/ 241461 w 631"/>
                <a:gd name="T83" fmla="*/ 307975 h 592"/>
                <a:gd name="T84" fmla="*/ 19905 w 631"/>
                <a:gd name="T85" fmla="*/ 90520 h 592"/>
                <a:gd name="T86" fmla="*/ 10818 w 631"/>
                <a:gd name="T87" fmla="*/ 81676 h 592"/>
                <a:gd name="T88" fmla="*/ 4760 w 631"/>
                <a:gd name="T89" fmla="*/ 71791 h 592"/>
                <a:gd name="T90" fmla="*/ 865 w 631"/>
                <a:gd name="T91" fmla="*/ 60867 h 592"/>
                <a:gd name="T92" fmla="*/ 0 w 631"/>
                <a:gd name="T93" fmla="*/ 48381 h 592"/>
                <a:gd name="T94" fmla="*/ 1298 w 631"/>
                <a:gd name="T95" fmla="*/ 46300 h 592"/>
                <a:gd name="T96" fmla="*/ 4327 w 631"/>
                <a:gd name="T97" fmla="*/ 43179 h 592"/>
                <a:gd name="T98" fmla="*/ 7356 w 631"/>
                <a:gd name="T99" fmla="*/ 40058 h 592"/>
                <a:gd name="T100" fmla="*/ 8655 w 631"/>
                <a:gd name="T101" fmla="*/ 35896 h 592"/>
                <a:gd name="T102" fmla="*/ 7789 w 631"/>
                <a:gd name="T103" fmla="*/ 27572 h 592"/>
                <a:gd name="T104" fmla="*/ 5625 w 631"/>
                <a:gd name="T105" fmla="*/ 21850 h 592"/>
                <a:gd name="T106" fmla="*/ 3895 w 631"/>
                <a:gd name="T107" fmla="*/ 17688 h 592"/>
                <a:gd name="T108" fmla="*/ 3029 w 631"/>
                <a:gd name="T109" fmla="*/ 13526 h 592"/>
                <a:gd name="T110" fmla="*/ 5625 w 631"/>
                <a:gd name="T111" fmla="*/ 0 h 59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51" name="Freeform 458">
              <a:extLst>
                <a:ext uri="{FF2B5EF4-FFF2-40B4-BE49-F238E27FC236}">
                  <a16:creationId xmlns:a16="http://schemas.microsoft.com/office/drawing/2014/main" id="{1109AE34-E5BD-4CB9-8002-89BBC603F50C}"/>
                </a:ext>
              </a:extLst>
            </p:cNvPr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5722938" y="2297113"/>
              <a:ext cx="17462" cy="57150"/>
            </a:xfrm>
            <a:custGeom>
              <a:avLst/>
              <a:gdLst>
                <a:gd name="T0" fmla="*/ 3056 w 40"/>
                <a:gd name="T1" fmla="*/ 19050 h 93"/>
                <a:gd name="T2" fmla="*/ 4366 w 40"/>
                <a:gd name="T3" fmla="*/ 18435 h 93"/>
                <a:gd name="T4" fmla="*/ 6112 w 40"/>
                <a:gd name="T5" fmla="*/ 15977 h 93"/>
                <a:gd name="T6" fmla="*/ 8731 w 40"/>
                <a:gd name="T7" fmla="*/ 12290 h 93"/>
                <a:gd name="T8" fmla="*/ 10914 w 40"/>
                <a:gd name="T9" fmla="*/ 9218 h 93"/>
                <a:gd name="T10" fmla="*/ 15279 w 40"/>
                <a:gd name="T11" fmla="*/ 2458 h 93"/>
                <a:gd name="T12" fmla="*/ 17462 w 40"/>
                <a:gd name="T13" fmla="*/ 0 h 93"/>
                <a:gd name="T14" fmla="*/ 16152 w 40"/>
                <a:gd name="T15" fmla="*/ 15977 h 93"/>
                <a:gd name="T16" fmla="*/ 15279 w 40"/>
                <a:gd name="T17" fmla="*/ 32569 h 93"/>
                <a:gd name="T18" fmla="*/ 14843 w 40"/>
                <a:gd name="T19" fmla="*/ 39944 h 93"/>
                <a:gd name="T20" fmla="*/ 14843 w 40"/>
                <a:gd name="T21" fmla="*/ 47318 h 93"/>
                <a:gd name="T22" fmla="*/ 15279 w 40"/>
                <a:gd name="T23" fmla="*/ 50390 h 93"/>
                <a:gd name="T24" fmla="*/ 15716 w 40"/>
                <a:gd name="T25" fmla="*/ 52848 h 93"/>
                <a:gd name="T26" fmla="*/ 16152 w 40"/>
                <a:gd name="T27" fmla="*/ 55306 h 93"/>
                <a:gd name="T28" fmla="*/ 17462 w 40"/>
                <a:gd name="T29" fmla="*/ 57150 h 93"/>
                <a:gd name="T30" fmla="*/ 11350 w 40"/>
                <a:gd name="T31" fmla="*/ 57150 h 93"/>
                <a:gd name="T32" fmla="*/ 5675 w 40"/>
                <a:gd name="T33" fmla="*/ 57150 h 93"/>
                <a:gd name="T34" fmla="*/ 4802 w 40"/>
                <a:gd name="T35" fmla="*/ 56535 h 93"/>
                <a:gd name="T36" fmla="*/ 3492 w 40"/>
                <a:gd name="T37" fmla="*/ 55921 h 93"/>
                <a:gd name="T38" fmla="*/ 2619 w 40"/>
                <a:gd name="T39" fmla="*/ 54077 h 93"/>
                <a:gd name="T40" fmla="*/ 1746 w 40"/>
                <a:gd name="T41" fmla="*/ 52848 h 93"/>
                <a:gd name="T42" fmla="*/ 437 w 40"/>
                <a:gd name="T43" fmla="*/ 49161 h 93"/>
                <a:gd name="T44" fmla="*/ 0 w 40"/>
                <a:gd name="T45" fmla="*/ 44860 h 93"/>
                <a:gd name="T46" fmla="*/ 437 w 40"/>
                <a:gd name="T47" fmla="*/ 39329 h 93"/>
                <a:gd name="T48" fmla="*/ 1310 w 40"/>
                <a:gd name="T49" fmla="*/ 30726 h 93"/>
                <a:gd name="T50" fmla="*/ 2619 w 40"/>
                <a:gd name="T51" fmla="*/ 22737 h 93"/>
                <a:gd name="T52" fmla="*/ 3056 w 40"/>
                <a:gd name="T53" fmla="*/ 19050 h 9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52" name="Freeform 459">
              <a:extLst>
                <a:ext uri="{FF2B5EF4-FFF2-40B4-BE49-F238E27FC236}">
                  <a16:creationId xmlns:a16="http://schemas.microsoft.com/office/drawing/2014/main" id="{EE9BAB44-7C49-4654-B157-CAC20EC226F3}"/>
                </a:ext>
              </a:extLst>
            </p:cNvPr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5362576" y="2047875"/>
              <a:ext cx="295275" cy="273050"/>
            </a:xfrm>
            <a:custGeom>
              <a:avLst/>
              <a:gdLst>
                <a:gd name="T0" fmla="*/ 66259 w 664"/>
                <a:gd name="T1" fmla="*/ 234570 h 518"/>
                <a:gd name="T2" fmla="*/ 67148 w 664"/>
                <a:gd name="T3" fmla="*/ 227190 h 518"/>
                <a:gd name="T4" fmla="*/ 64925 w 664"/>
                <a:gd name="T5" fmla="*/ 210849 h 518"/>
                <a:gd name="T6" fmla="*/ 67148 w 664"/>
                <a:gd name="T7" fmla="*/ 186075 h 518"/>
                <a:gd name="T8" fmla="*/ 64925 w 664"/>
                <a:gd name="T9" fmla="*/ 157083 h 518"/>
                <a:gd name="T10" fmla="*/ 59589 w 664"/>
                <a:gd name="T11" fmla="*/ 132308 h 518"/>
                <a:gd name="T12" fmla="*/ 48471 w 664"/>
                <a:gd name="T13" fmla="*/ 127037 h 518"/>
                <a:gd name="T14" fmla="*/ 8894 w 664"/>
                <a:gd name="T15" fmla="*/ 101208 h 518"/>
                <a:gd name="T16" fmla="*/ 10673 w 664"/>
                <a:gd name="T17" fmla="*/ 90138 h 518"/>
                <a:gd name="T18" fmla="*/ 16009 w 664"/>
                <a:gd name="T19" fmla="*/ 83813 h 518"/>
                <a:gd name="T20" fmla="*/ 21345 w 664"/>
                <a:gd name="T21" fmla="*/ 78014 h 518"/>
                <a:gd name="T22" fmla="*/ 44469 w 664"/>
                <a:gd name="T23" fmla="*/ 81704 h 518"/>
                <a:gd name="T24" fmla="*/ 55586 w 664"/>
                <a:gd name="T25" fmla="*/ 80123 h 518"/>
                <a:gd name="T26" fmla="*/ 65370 w 664"/>
                <a:gd name="T27" fmla="*/ 82758 h 518"/>
                <a:gd name="T28" fmla="*/ 73374 w 664"/>
                <a:gd name="T29" fmla="*/ 49550 h 518"/>
                <a:gd name="T30" fmla="*/ 82268 w 664"/>
                <a:gd name="T31" fmla="*/ 57456 h 518"/>
                <a:gd name="T32" fmla="*/ 92051 w 664"/>
                <a:gd name="T33" fmla="*/ 57984 h 518"/>
                <a:gd name="T34" fmla="*/ 104947 w 664"/>
                <a:gd name="T35" fmla="*/ 52185 h 518"/>
                <a:gd name="T36" fmla="*/ 117398 w 664"/>
                <a:gd name="T37" fmla="*/ 42170 h 518"/>
                <a:gd name="T38" fmla="*/ 128516 w 664"/>
                <a:gd name="T39" fmla="*/ 30046 h 518"/>
                <a:gd name="T40" fmla="*/ 136965 w 664"/>
                <a:gd name="T41" fmla="*/ 16868 h 518"/>
                <a:gd name="T42" fmla="*/ 141412 w 664"/>
                <a:gd name="T43" fmla="*/ 6325 h 518"/>
                <a:gd name="T44" fmla="*/ 164536 w 664"/>
                <a:gd name="T45" fmla="*/ 2108 h 518"/>
                <a:gd name="T46" fmla="*/ 179655 w 664"/>
                <a:gd name="T47" fmla="*/ 16868 h 518"/>
                <a:gd name="T48" fmla="*/ 203224 w 664"/>
                <a:gd name="T49" fmla="*/ 32155 h 518"/>
                <a:gd name="T50" fmla="*/ 227237 w 664"/>
                <a:gd name="T51" fmla="*/ 47441 h 518"/>
                <a:gd name="T52" fmla="*/ 245470 w 664"/>
                <a:gd name="T53" fmla="*/ 56402 h 518"/>
                <a:gd name="T54" fmla="*/ 257032 w 664"/>
                <a:gd name="T55" fmla="*/ 61146 h 518"/>
                <a:gd name="T56" fmla="*/ 277043 w 664"/>
                <a:gd name="T57" fmla="*/ 63782 h 518"/>
                <a:gd name="T58" fmla="*/ 292607 w 664"/>
                <a:gd name="T59" fmla="*/ 71689 h 518"/>
                <a:gd name="T60" fmla="*/ 286826 w 664"/>
                <a:gd name="T61" fmla="*/ 87503 h 518"/>
                <a:gd name="T62" fmla="*/ 275709 w 664"/>
                <a:gd name="T63" fmla="*/ 124401 h 518"/>
                <a:gd name="T64" fmla="*/ 265925 w 664"/>
                <a:gd name="T65" fmla="*/ 143378 h 518"/>
                <a:gd name="T66" fmla="*/ 260144 w 664"/>
                <a:gd name="T67" fmla="*/ 150757 h 518"/>
                <a:gd name="T68" fmla="*/ 266370 w 664"/>
                <a:gd name="T69" fmla="*/ 157083 h 518"/>
                <a:gd name="T70" fmla="*/ 274819 w 664"/>
                <a:gd name="T71" fmla="*/ 161827 h 518"/>
                <a:gd name="T72" fmla="*/ 277043 w 664"/>
                <a:gd name="T73" fmla="*/ 176059 h 518"/>
                <a:gd name="T74" fmla="*/ 275709 w 664"/>
                <a:gd name="T75" fmla="*/ 182912 h 518"/>
                <a:gd name="T76" fmla="*/ 274819 w 664"/>
                <a:gd name="T77" fmla="*/ 196090 h 518"/>
                <a:gd name="T78" fmla="*/ 276598 w 664"/>
                <a:gd name="T79" fmla="*/ 210322 h 518"/>
                <a:gd name="T80" fmla="*/ 281045 w 664"/>
                <a:gd name="T81" fmla="*/ 222973 h 518"/>
                <a:gd name="T82" fmla="*/ 270372 w 664"/>
                <a:gd name="T83" fmla="*/ 240895 h 518"/>
                <a:gd name="T84" fmla="*/ 253029 w 664"/>
                <a:gd name="T85" fmla="*/ 255128 h 518"/>
                <a:gd name="T86" fmla="*/ 241023 w 664"/>
                <a:gd name="T87" fmla="*/ 257763 h 518"/>
                <a:gd name="T88" fmla="*/ 226348 w 664"/>
                <a:gd name="T89" fmla="*/ 253546 h 518"/>
                <a:gd name="T90" fmla="*/ 212118 w 664"/>
                <a:gd name="T91" fmla="*/ 242477 h 518"/>
                <a:gd name="T92" fmla="*/ 205892 w 664"/>
                <a:gd name="T93" fmla="*/ 240368 h 518"/>
                <a:gd name="T94" fmla="*/ 196998 w 664"/>
                <a:gd name="T95" fmla="*/ 240895 h 518"/>
                <a:gd name="T96" fmla="*/ 188104 w 664"/>
                <a:gd name="T97" fmla="*/ 245112 h 518"/>
                <a:gd name="T98" fmla="*/ 180545 w 664"/>
                <a:gd name="T99" fmla="*/ 251438 h 518"/>
                <a:gd name="T100" fmla="*/ 172540 w 664"/>
                <a:gd name="T101" fmla="*/ 265143 h 518"/>
                <a:gd name="T102" fmla="*/ 171206 w 664"/>
                <a:gd name="T103" fmla="*/ 272523 h 518"/>
                <a:gd name="T104" fmla="*/ 148082 w 664"/>
                <a:gd name="T105" fmla="*/ 271469 h 518"/>
                <a:gd name="T106" fmla="*/ 140967 w 664"/>
                <a:gd name="T107" fmla="*/ 267252 h 518"/>
                <a:gd name="T108" fmla="*/ 136520 w 664"/>
                <a:gd name="T109" fmla="*/ 263562 h 518"/>
                <a:gd name="T110" fmla="*/ 131629 w 664"/>
                <a:gd name="T111" fmla="*/ 267779 h 518"/>
                <a:gd name="T112" fmla="*/ 127626 w 664"/>
                <a:gd name="T113" fmla="*/ 271996 h 518"/>
                <a:gd name="T114" fmla="*/ 119177 w 664"/>
                <a:gd name="T115" fmla="*/ 271996 h 518"/>
                <a:gd name="T116" fmla="*/ 100945 w 664"/>
                <a:gd name="T117" fmla="*/ 266725 h 518"/>
                <a:gd name="T118" fmla="*/ 82268 w 664"/>
                <a:gd name="T119" fmla="*/ 256709 h 518"/>
                <a:gd name="T120" fmla="*/ 71151 w 664"/>
                <a:gd name="T121" fmla="*/ 247221 h 518"/>
                <a:gd name="T122" fmla="*/ 64925 w 664"/>
                <a:gd name="T123" fmla="*/ 237206 h 51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53" name="Freeform 460">
              <a:extLst>
                <a:ext uri="{FF2B5EF4-FFF2-40B4-BE49-F238E27FC236}">
                  <a16:creationId xmlns:a16="http://schemas.microsoft.com/office/drawing/2014/main" id="{4DD22DE5-7657-41A3-872A-194180439CC0}"/>
                </a:ext>
              </a:extLst>
            </p:cNvPr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6443663" y="2282825"/>
              <a:ext cx="150812" cy="82550"/>
            </a:xfrm>
            <a:custGeom>
              <a:avLst/>
              <a:gdLst>
                <a:gd name="T0" fmla="*/ 142243 w 352"/>
                <a:gd name="T1" fmla="*/ 49098 h 153"/>
                <a:gd name="T2" fmla="*/ 150812 w 352"/>
                <a:gd name="T3" fmla="*/ 82550 h 153"/>
                <a:gd name="T4" fmla="*/ 139672 w 352"/>
                <a:gd name="T5" fmla="*/ 76075 h 153"/>
                <a:gd name="T6" fmla="*/ 128105 w 352"/>
                <a:gd name="T7" fmla="*/ 69601 h 153"/>
                <a:gd name="T8" fmla="*/ 113966 w 352"/>
                <a:gd name="T9" fmla="*/ 76075 h 153"/>
                <a:gd name="T10" fmla="*/ 99399 w 352"/>
                <a:gd name="T11" fmla="*/ 76075 h 153"/>
                <a:gd name="T12" fmla="*/ 97257 w 352"/>
                <a:gd name="T13" fmla="*/ 72838 h 153"/>
                <a:gd name="T14" fmla="*/ 96828 w 352"/>
                <a:gd name="T15" fmla="*/ 72838 h 153"/>
                <a:gd name="T16" fmla="*/ 93829 w 352"/>
                <a:gd name="T17" fmla="*/ 69601 h 153"/>
                <a:gd name="T18" fmla="*/ 91258 w 352"/>
                <a:gd name="T19" fmla="*/ 67443 h 153"/>
                <a:gd name="T20" fmla="*/ 87831 w 352"/>
                <a:gd name="T21" fmla="*/ 65285 h 153"/>
                <a:gd name="T22" fmla="*/ 84403 w 352"/>
                <a:gd name="T23" fmla="*/ 63666 h 153"/>
                <a:gd name="T24" fmla="*/ 77548 w 352"/>
                <a:gd name="T25" fmla="*/ 60968 h 153"/>
                <a:gd name="T26" fmla="*/ 69836 w 352"/>
                <a:gd name="T27" fmla="*/ 59350 h 153"/>
                <a:gd name="T28" fmla="*/ 53984 w 352"/>
                <a:gd name="T29" fmla="*/ 57731 h 153"/>
                <a:gd name="T30" fmla="*/ 36846 w 352"/>
                <a:gd name="T31" fmla="*/ 56112 h 153"/>
                <a:gd name="T32" fmla="*/ 36418 w 352"/>
                <a:gd name="T33" fmla="*/ 50717 h 153"/>
                <a:gd name="T34" fmla="*/ 35132 w 352"/>
                <a:gd name="T35" fmla="*/ 45322 h 153"/>
                <a:gd name="T36" fmla="*/ 34275 w 352"/>
                <a:gd name="T37" fmla="*/ 40466 h 153"/>
                <a:gd name="T38" fmla="*/ 32133 w 352"/>
                <a:gd name="T39" fmla="*/ 36149 h 153"/>
                <a:gd name="T40" fmla="*/ 30419 w 352"/>
                <a:gd name="T41" fmla="*/ 31833 h 153"/>
                <a:gd name="T42" fmla="*/ 28706 w 352"/>
                <a:gd name="T43" fmla="*/ 28056 h 153"/>
                <a:gd name="T44" fmla="*/ 26135 w 352"/>
                <a:gd name="T45" fmla="*/ 23740 h 153"/>
                <a:gd name="T46" fmla="*/ 23993 w 352"/>
                <a:gd name="T47" fmla="*/ 19963 h 153"/>
                <a:gd name="T48" fmla="*/ 18852 w 352"/>
                <a:gd name="T49" fmla="*/ 14028 h 153"/>
                <a:gd name="T50" fmla="*/ 12425 w 352"/>
                <a:gd name="T51" fmla="*/ 8633 h 153"/>
                <a:gd name="T52" fmla="*/ 6427 w 352"/>
                <a:gd name="T53" fmla="*/ 3777 h 153"/>
                <a:gd name="T54" fmla="*/ 0 w 352"/>
                <a:gd name="T55" fmla="*/ 0 h 153"/>
                <a:gd name="T56" fmla="*/ 2999 w 352"/>
                <a:gd name="T57" fmla="*/ 0 h 153"/>
                <a:gd name="T58" fmla="*/ 25707 w 352"/>
                <a:gd name="T59" fmla="*/ 9712 h 153"/>
                <a:gd name="T60" fmla="*/ 45415 w 352"/>
                <a:gd name="T61" fmla="*/ 16186 h 153"/>
                <a:gd name="T62" fmla="*/ 57411 w 352"/>
                <a:gd name="T63" fmla="*/ 9712 h 153"/>
                <a:gd name="T64" fmla="*/ 77120 w 352"/>
                <a:gd name="T65" fmla="*/ 19424 h 153"/>
                <a:gd name="T66" fmla="*/ 88259 w 352"/>
                <a:gd name="T67" fmla="*/ 29675 h 153"/>
                <a:gd name="T68" fmla="*/ 105397 w 352"/>
                <a:gd name="T69" fmla="*/ 26438 h 153"/>
                <a:gd name="T70" fmla="*/ 122535 w 352"/>
                <a:gd name="T71" fmla="*/ 32912 h 153"/>
                <a:gd name="T72" fmla="*/ 134103 w 352"/>
                <a:gd name="T73" fmla="*/ 42624 h 153"/>
                <a:gd name="T74" fmla="*/ 142243 w 352"/>
                <a:gd name="T75" fmla="*/ 49098 h 15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54" name="Freeform 461">
              <a:extLst>
                <a:ext uri="{FF2B5EF4-FFF2-40B4-BE49-F238E27FC236}">
                  <a16:creationId xmlns:a16="http://schemas.microsoft.com/office/drawing/2014/main" id="{7BAC39A4-F588-4A4E-A850-C2E080693A23}"/>
                </a:ext>
              </a:extLst>
            </p:cNvPr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5992814" y="2343150"/>
              <a:ext cx="147637" cy="173038"/>
            </a:xfrm>
            <a:custGeom>
              <a:avLst/>
              <a:gdLst>
                <a:gd name="T0" fmla="*/ 102588 w 331"/>
                <a:gd name="T1" fmla="*/ 21167 h 327"/>
                <a:gd name="T2" fmla="*/ 86084 w 331"/>
                <a:gd name="T3" fmla="*/ 29633 h 327"/>
                <a:gd name="T4" fmla="*/ 81178 w 331"/>
                <a:gd name="T5" fmla="*/ 35454 h 327"/>
                <a:gd name="T6" fmla="*/ 80732 w 331"/>
                <a:gd name="T7" fmla="*/ 42863 h 327"/>
                <a:gd name="T8" fmla="*/ 82070 w 331"/>
                <a:gd name="T9" fmla="*/ 49742 h 327"/>
                <a:gd name="T10" fmla="*/ 78948 w 331"/>
                <a:gd name="T11" fmla="*/ 53975 h 327"/>
                <a:gd name="T12" fmla="*/ 74934 w 331"/>
                <a:gd name="T13" fmla="*/ 55563 h 327"/>
                <a:gd name="T14" fmla="*/ 71365 w 331"/>
                <a:gd name="T15" fmla="*/ 51858 h 327"/>
                <a:gd name="T16" fmla="*/ 66459 w 331"/>
                <a:gd name="T17" fmla="*/ 44979 h 327"/>
                <a:gd name="T18" fmla="*/ 56200 w 331"/>
                <a:gd name="T19" fmla="*/ 39158 h 327"/>
                <a:gd name="T20" fmla="*/ 56646 w 331"/>
                <a:gd name="T21" fmla="*/ 50800 h 327"/>
                <a:gd name="T22" fmla="*/ 61999 w 331"/>
                <a:gd name="T23" fmla="*/ 61384 h 327"/>
                <a:gd name="T24" fmla="*/ 68689 w 331"/>
                <a:gd name="T25" fmla="*/ 68263 h 327"/>
                <a:gd name="T26" fmla="*/ 70919 w 331"/>
                <a:gd name="T27" fmla="*/ 68792 h 327"/>
                <a:gd name="T28" fmla="*/ 70919 w 331"/>
                <a:gd name="T29" fmla="*/ 93663 h 327"/>
                <a:gd name="T30" fmla="*/ 70919 w 331"/>
                <a:gd name="T31" fmla="*/ 125413 h 327"/>
                <a:gd name="T32" fmla="*/ 69581 w 331"/>
                <a:gd name="T33" fmla="*/ 132821 h 327"/>
                <a:gd name="T34" fmla="*/ 65567 w 331"/>
                <a:gd name="T35" fmla="*/ 137055 h 327"/>
                <a:gd name="T36" fmla="*/ 64675 w 331"/>
                <a:gd name="T37" fmla="*/ 139700 h 327"/>
                <a:gd name="T38" fmla="*/ 72257 w 331"/>
                <a:gd name="T39" fmla="*/ 146050 h 327"/>
                <a:gd name="T40" fmla="*/ 74488 w 331"/>
                <a:gd name="T41" fmla="*/ 151342 h 327"/>
                <a:gd name="T42" fmla="*/ 69135 w 331"/>
                <a:gd name="T43" fmla="*/ 156105 h 327"/>
                <a:gd name="T44" fmla="*/ 62445 w 331"/>
                <a:gd name="T45" fmla="*/ 157163 h 327"/>
                <a:gd name="T46" fmla="*/ 57984 w 331"/>
                <a:gd name="T47" fmla="*/ 162455 h 327"/>
                <a:gd name="T48" fmla="*/ 56200 w 331"/>
                <a:gd name="T49" fmla="*/ 169863 h 327"/>
                <a:gd name="T50" fmla="*/ 53970 w 331"/>
                <a:gd name="T51" fmla="*/ 158750 h 327"/>
                <a:gd name="T52" fmla="*/ 55308 w 331"/>
                <a:gd name="T53" fmla="*/ 152400 h 327"/>
                <a:gd name="T54" fmla="*/ 48618 w 331"/>
                <a:gd name="T55" fmla="*/ 151342 h 327"/>
                <a:gd name="T56" fmla="*/ 41481 w 331"/>
                <a:gd name="T57" fmla="*/ 154517 h 327"/>
                <a:gd name="T58" fmla="*/ 35237 w 331"/>
                <a:gd name="T59" fmla="*/ 156634 h 327"/>
                <a:gd name="T60" fmla="*/ 32560 w 331"/>
                <a:gd name="T61" fmla="*/ 128059 h 327"/>
                <a:gd name="T62" fmla="*/ 35237 w 331"/>
                <a:gd name="T63" fmla="*/ 114300 h 327"/>
                <a:gd name="T64" fmla="*/ 21410 w 331"/>
                <a:gd name="T65" fmla="*/ 111654 h 327"/>
                <a:gd name="T66" fmla="*/ 12489 w 331"/>
                <a:gd name="T67" fmla="*/ 104775 h 327"/>
                <a:gd name="T68" fmla="*/ 5798 w 331"/>
                <a:gd name="T69" fmla="*/ 91546 h 327"/>
                <a:gd name="T70" fmla="*/ 0 w 331"/>
                <a:gd name="T71" fmla="*/ 68792 h 327"/>
                <a:gd name="T72" fmla="*/ 12489 w 331"/>
                <a:gd name="T73" fmla="*/ 58738 h 327"/>
                <a:gd name="T74" fmla="*/ 22302 w 331"/>
                <a:gd name="T75" fmla="*/ 42863 h 327"/>
                <a:gd name="T76" fmla="*/ 32560 w 331"/>
                <a:gd name="T77" fmla="*/ 29104 h 327"/>
                <a:gd name="T78" fmla="*/ 51294 w 331"/>
                <a:gd name="T79" fmla="*/ 21696 h 327"/>
                <a:gd name="T80" fmla="*/ 80286 w 331"/>
                <a:gd name="T81" fmla="*/ 7408 h 327"/>
                <a:gd name="T82" fmla="*/ 97235 w 331"/>
                <a:gd name="T83" fmla="*/ 3704 h 327"/>
                <a:gd name="T84" fmla="*/ 111062 w 331"/>
                <a:gd name="T85" fmla="*/ 7408 h 327"/>
                <a:gd name="T86" fmla="*/ 120875 w 331"/>
                <a:gd name="T87" fmla="*/ 14288 h 327"/>
                <a:gd name="T88" fmla="*/ 130242 w 331"/>
                <a:gd name="T89" fmla="*/ 15875 h 327"/>
                <a:gd name="T90" fmla="*/ 136932 w 331"/>
                <a:gd name="T91" fmla="*/ 10583 h 327"/>
                <a:gd name="T92" fmla="*/ 145853 w 331"/>
                <a:gd name="T93" fmla="*/ 3175 h 327"/>
                <a:gd name="T94" fmla="*/ 147191 w 331"/>
                <a:gd name="T95" fmla="*/ 16933 h 3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55" name="Freeform 462">
              <a:extLst>
                <a:ext uri="{FF2B5EF4-FFF2-40B4-BE49-F238E27FC236}">
                  <a16:creationId xmlns:a16="http://schemas.microsoft.com/office/drawing/2014/main" id="{738F3612-843D-496F-B15A-DDEB59BF5668}"/>
                </a:ext>
              </a:extLst>
            </p:cNvPr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6076950" y="2535238"/>
              <a:ext cx="69850" cy="57150"/>
            </a:xfrm>
            <a:custGeom>
              <a:avLst/>
              <a:gdLst>
                <a:gd name="T0" fmla="*/ 0 w 153"/>
                <a:gd name="T1" fmla="*/ 0 h 49"/>
                <a:gd name="T2" fmla="*/ 20088 w 153"/>
                <a:gd name="T3" fmla="*/ 2333 h 49"/>
                <a:gd name="T4" fmla="*/ 37892 w 153"/>
                <a:gd name="T5" fmla="*/ 6998 h 49"/>
                <a:gd name="T6" fmla="*/ 47023 w 153"/>
                <a:gd name="T7" fmla="*/ 9331 h 49"/>
                <a:gd name="T8" fmla="*/ 55241 w 153"/>
                <a:gd name="T9" fmla="*/ 8164 h 49"/>
                <a:gd name="T10" fmla="*/ 59350 w 153"/>
                <a:gd name="T11" fmla="*/ 6998 h 49"/>
                <a:gd name="T12" fmla="*/ 62545 w 153"/>
                <a:gd name="T13" fmla="*/ 5832 h 49"/>
                <a:gd name="T14" fmla="*/ 66198 w 153"/>
                <a:gd name="T15" fmla="*/ 3499 h 49"/>
                <a:gd name="T16" fmla="*/ 69850 w 153"/>
                <a:gd name="T17" fmla="*/ 0 h 49"/>
                <a:gd name="T18" fmla="*/ 69850 w 153"/>
                <a:gd name="T19" fmla="*/ 10497 h 49"/>
                <a:gd name="T20" fmla="*/ 69850 w 153"/>
                <a:gd name="T21" fmla="*/ 29158 h 49"/>
                <a:gd name="T22" fmla="*/ 65285 w 153"/>
                <a:gd name="T23" fmla="*/ 36156 h 49"/>
                <a:gd name="T24" fmla="*/ 60719 w 153"/>
                <a:gd name="T25" fmla="*/ 41988 h 49"/>
                <a:gd name="T26" fmla="*/ 56610 w 153"/>
                <a:gd name="T27" fmla="*/ 46653 h 49"/>
                <a:gd name="T28" fmla="*/ 52045 w 153"/>
                <a:gd name="T29" fmla="*/ 51318 h 49"/>
                <a:gd name="T30" fmla="*/ 48393 w 153"/>
                <a:gd name="T31" fmla="*/ 53651 h 49"/>
                <a:gd name="T32" fmla="*/ 45197 w 153"/>
                <a:gd name="T33" fmla="*/ 55984 h 49"/>
                <a:gd name="T34" fmla="*/ 42001 w 153"/>
                <a:gd name="T35" fmla="*/ 57150 h 49"/>
                <a:gd name="T36" fmla="*/ 39719 w 153"/>
                <a:gd name="T37" fmla="*/ 57150 h 49"/>
                <a:gd name="T38" fmla="*/ 32871 w 153"/>
                <a:gd name="T39" fmla="*/ 55984 h 49"/>
                <a:gd name="T40" fmla="*/ 27392 w 153"/>
                <a:gd name="T41" fmla="*/ 53651 h 49"/>
                <a:gd name="T42" fmla="*/ 22827 w 153"/>
                <a:gd name="T43" fmla="*/ 50152 h 49"/>
                <a:gd name="T44" fmla="*/ 18718 w 153"/>
                <a:gd name="T45" fmla="*/ 44320 h 49"/>
                <a:gd name="T46" fmla="*/ 10044 w 153"/>
                <a:gd name="T47" fmla="*/ 33823 h 49"/>
                <a:gd name="T48" fmla="*/ 0 w 153"/>
                <a:gd name="T49" fmla="*/ 22160 h 49"/>
                <a:gd name="T50" fmla="*/ 0 w 153"/>
                <a:gd name="T51" fmla="*/ 0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56" name="Freeform 463">
              <a:extLst>
                <a:ext uri="{FF2B5EF4-FFF2-40B4-BE49-F238E27FC236}">
                  <a16:creationId xmlns:a16="http://schemas.microsoft.com/office/drawing/2014/main" id="{4657F12A-E98B-46EE-A6DE-9009D28854AA}"/>
                </a:ext>
              </a:extLst>
            </p:cNvPr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5156201" y="3267075"/>
              <a:ext cx="187325" cy="158750"/>
            </a:xfrm>
            <a:custGeom>
              <a:avLst/>
              <a:gdLst>
                <a:gd name="T0" fmla="*/ 85308 w 426"/>
                <a:gd name="T1" fmla="*/ 8495 h 299"/>
                <a:gd name="T2" fmla="*/ 94982 w 426"/>
                <a:gd name="T3" fmla="*/ 11681 h 299"/>
                <a:gd name="T4" fmla="*/ 101138 w 426"/>
                <a:gd name="T5" fmla="*/ 15397 h 299"/>
                <a:gd name="T6" fmla="*/ 111252 w 426"/>
                <a:gd name="T7" fmla="*/ 18583 h 299"/>
                <a:gd name="T8" fmla="*/ 122685 w 426"/>
                <a:gd name="T9" fmla="*/ 19645 h 299"/>
                <a:gd name="T10" fmla="*/ 131919 w 426"/>
                <a:gd name="T11" fmla="*/ 19645 h 299"/>
                <a:gd name="T12" fmla="*/ 140274 w 426"/>
                <a:gd name="T13" fmla="*/ 18052 h 299"/>
                <a:gd name="T14" fmla="*/ 144671 w 426"/>
                <a:gd name="T15" fmla="*/ 15397 h 299"/>
                <a:gd name="T16" fmla="*/ 160501 w 426"/>
                <a:gd name="T17" fmla="*/ 13273 h 299"/>
                <a:gd name="T18" fmla="*/ 163580 w 426"/>
                <a:gd name="T19" fmla="*/ 26016 h 299"/>
                <a:gd name="T20" fmla="*/ 168417 w 426"/>
                <a:gd name="T21" fmla="*/ 39289 h 299"/>
                <a:gd name="T22" fmla="*/ 171934 w 426"/>
                <a:gd name="T23" fmla="*/ 44599 h 299"/>
                <a:gd name="T24" fmla="*/ 175892 w 426"/>
                <a:gd name="T25" fmla="*/ 48846 h 299"/>
                <a:gd name="T26" fmla="*/ 181169 w 426"/>
                <a:gd name="T27" fmla="*/ 51501 h 299"/>
                <a:gd name="T28" fmla="*/ 186885 w 426"/>
                <a:gd name="T29" fmla="*/ 52563 h 299"/>
                <a:gd name="T30" fmla="*/ 186885 w 426"/>
                <a:gd name="T31" fmla="*/ 63712 h 299"/>
                <a:gd name="T32" fmla="*/ 186885 w 426"/>
                <a:gd name="T33" fmla="*/ 75393 h 299"/>
                <a:gd name="T34" fmla="*/ 182928 w 426"/>
                <a:gd name="T35" fmla="*/ 83888 h 299"/>
                <a:gd name="T36" fmla="*/ 181169 w 426"/>
                <a:gd name="T37" fmla="*/ 90259 h 299"/>
                <a:gd name="T38" fmla="*/ 181169 w 426"/>
                <a:gd name="T39" fmla="*/ 96099 h 299"/>
                <a:gd name="T40" fmla="*/ 182488 w 426"/>
                <a:gd name="T41" fmla="*/ 100878 h 299"/>
                <a:gd name="T42" fmla="*/ 186006 w 426"/>
                <a:gd name="T43" fmla="*/ 112028 h 299"/>
                <a:gd name="T44" fmla="*/ 187325 w 426"/>
                <a:gd name="T45" fmla="*/ 119992 h 299"/>
                <a:gd name="T46" fmla="*/ 186885 w 426"/>
                <a:gd name="T47" fmla="*/ 131141 h 299"/>
                <a:gd name="T48" fmla="*/ 187325 w 426"/>
                <a:gd name="T49" fmla="*/ 145477 h 299"/>
                <a:gd name="T50" fmla="*/ 186006 w 426"/>
                <a:gd name="T51" fmla="*/ 151317 h 299"/>
                <a:gd name="T52" fmla="*/ 181169 w 426"/>
                <a:gd name="T53" fmla="*/ 157157 h 299"/>
                <a:gd name="T54" fmla="*/ 167097 w 426"/>
                <a:gd name="T55" fmla="*/ 158219 h 299"/>
                <a:gd name="T56" fmla="*/ 162700 w 426"/>
                <a:gd name="T57" fmla="*/ 158750 h 299"/>
                <a:gd name="T58" fmla="*/ 158303 w 426"/>
                <a:gd name="T59" fmla="*/ 157157 h 299"/>
                <a:gd name="T60" fmla="*/ 154345 w 426"/>
                <a:gd name="T61" fmla="*/ 153972 h 299"/>
                <a:gd name="T62" fmla="*/ 148629 w 426"/>
                <a:gd name="T63" fmla="*/ 147600 h 299"/>
                <a:gd name="T64" fmla="*/ 142473 w 426"/>
                <a:gd name="T65" fmla="*/ 138574 h 299"/>
                <a:gd name="T66" fmla="*/ 136756 w 426"/>
                <a:gd name="T67" fmla="*/ 134327 h 299"/>
                <a:gd name="T68" fmla="*/ 129281 w 426"/>
                <a:gd name="T69" fmla="*/ 133265 h 299"/>
                <a:gd name="T70" fmla="*/ 122245 w 426"/>
                <a:gd name="T71" fmla="*/ 123177 h 299"/>
                <a:gd name="T72" fmla="*/ 120486 w 426"/>
                <a:gd name="T73" fmla="*/ 111497 h 299"/>
                <a:gd name="T74" fmla="*/ 118287 w 426"/>
                <a:gd name="T75" fmla="*/ 104594 h 299"/>
                <a:gd name="T76" fmla="*/ 114770 w 426"/>
                <a:gd name="T77" fmla="*/ 97692 h 299"/>
                <a:gd name="T78" fmla="*/ 110372 w 426"/>
                <a:gd name="T79" fmla="*/ 91852 h 299"/>
                <a:gd name="T80" fmla="*/ 104656 w 426"/>
                <a:gd name="T81" fmla="*/ 87605 h 299"/>
                <a:gd name="T82" fmla="*/ 97620 w 426"/>
                <a:gd name="T83" fmla="*/ 85481 h 299"/>
                <a:gd name="T84" fmla="*/ 89705 w 426"/>
                <a:gd name="T85" fmla="*/ 85481 h 299"/>
                <a:gd name="T86" fmla="*/ 82669 w 426"/>
                <a:gd name="T87" fmla="*/ 86543 h 299"/>
                <a:gd name="T88" fmla="*/ 76073 w 426"/>
                <a:gd name="T89" fmla="*/ 89197 h 299"/>
                <a:gd name="T90" fmla="*/ 70357 w 426"/>
                <a:gd name="T91" fmla="*/ 93445 h 299"/>
                <a:gd name="T92" fmla="*/ 62002 w 426"/>
                <a:gd name="T93" fmla="*/ 101409 h 299"/>
                <a:gd name="T94" fmla="*/ 51888 w 426"/>
                <a:gd name="T95" fmla="*/ 114151 h 299"/>
                <a:gd name="T96" fmla="*/ 46172 w 426"/>
                <a:gd name="T97" fmla="*/ 115744 h 299"/>
                <a:gd name="T98" fmla="*/ 43973 w 426"/>
                <a:gd name="T99" fmla="*/ 106718 h 299"/>
                <a:gd name="T100" fmla="*/ 39576 w 426"/>
                <a:gd name="T101" fmla="*/ 98754 h 299"/>
                <a:gd name="T102" fmla="*/ 33419 w 426"/>
                <a:gd name="T103" fmla="*/ 90790 h 299"/>
                <a:gd name="T104" fmla="*/ 21987 w 426"/>
                <a:gd name="T105" fmla="*/ 81233 h 299"/>
                <a:gd name="T106" fmla="*/ 10554 w 426"/>
                <a:gd name="T107" fmla="*/ 71145 h 299"/>
                <a:gd name="T108" fmla="*/ 3518 w 426"/>
                <a:gd name="T109" fmla="*/ 63181 h 299"/>
                <a:gd name="T110" fmla="*/ 6596 w 426"/>
                <a:gd name="T111" fmla="*/ 53625 h 299"/>
                <a:gd name="T112" fmla="*/ 20228 w 426"/>
                <a:gd name="T113" fmla="*/ 40882 h 299"/>
                <a:gd name="T114" fmla="*/ 32980 w 426"/>
                <a:gd name="T115" fmla="*/ 25485 h 299"/>
                <a:gd name="T116" fmla="*/ 43094 w 426"/>
                <a:gd name="T117" fmla="*/ 9026 h 299"/>
                <a:gd name="T118" fmla="*/ 78712 w 426"/>
                <a:gd name="T119" fmla="*/ 6902 h 29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57" name="Freeform 464">
              <a:extLst>
                <a:ext uri="{FF2B5EF4-FFF2-40B4-BE49-F238E27FC236}">
                  <a16:creationId xmlns:a16="http://schemas.microsoft.com/office/drawing/2014/main" id="{E21D031C-E93F-475F-9DE2-3315AF823FD1}"/>
                </a:ext>
              </a:extLst>
            </p:cNvPr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7200900" y="2530476"/>
              <a:ext cx="692150" cy="874713"/>
            </a:xfrm>
            <a:custGeom>
              <a:avLst/>
              <a:gdLst>
                <a:gd name="T0" fmla="*/ 207124 w 1594"/>
                <a:gd name="T1" fmla="*/ 56044 h 1670"/>
                <a:gd name="T2" fmla="*/ 210598 w 1594"/>
                <a:gd name="T3" fmla="*/ 96899 h 1670"/>
                <a:gd name="T4" fmla="*/ 250980 w 1594"/>
                <a:gd name="T5" fmla="*/ 150325 h 1670"/>
                <a:gd name="T6" fmla="*/ 304390 w 1594"/>
                <a:gd name="T7" fmla="*/ 240415 h 1670"/>
                <a:gd name="T8" fmla="*/ 345207 w 1594"/>
                <a:gd name="T9" fmla="*/ 261366 h 1670"/>
                <a:gd name="T10" fmla="*/ 380813 w 1594"/>
                <a:gd name="T11" fmla="*/ 258224 h 1670"/>
                <a:gd name="T12" fmla="*/ 403827 w 1594"/>
                <a:gd name="T13" fmla="*/ 281270 h 1670"/>
                <a:gd name="T14" fmla="*/ 478513 w 1594"/>
                <a:gd name="T15" fmla="*/ 296983 h 1670"/>
                <a:gd name="T16" fmla="*/ 486763 w 1594"/>
                <a:gd name="T17" fmla="*/ 241463 h 1670"/>
                <a:gd name="T18" fmla="*/ 511948 w 1594"/>
                <a:gd name="T19" fmla="*/ 282318 h 1670"/>
                <a:gd name="T20" fmla="*/ 539738 w 1594"/>
                <a:gd name="T21" fmla="*/ 293841 h 1670"/>
                <a:gd name="T22" fmla="*/ 564054 w 1594"/>
                <a:gd name="T23" fmla="*/ 260843 h 1670"/>
                <a:gd name="T24" fmla="*/ 609648 w 1594"/>
                <a:gd name="T25" fmla="*/ 214226 h 1670"/>
                <a:gd name="T26" fmla="*/ 672610 w 1594"/>
                <a:gd name="T27" fmla="*/ 224178 h 1670"/>
                <a:gd name="T28" fmla="*/ 685637 w 1594"/>
                <a:gd name="T29" fmla="*/ 260843 h 1670"/>
                <a:gd name="T30" fmla="*/ 653070 w 1594"/>
                <a:gd name="T31" fmla="*/ 283889 h 1670"/>
                <a:gd name="T32" fmla="*/ 644820 w 1594"/>
                <a:gd name="T33" fmla="*/ 355647 h 1670"/>
                <a:gd name="T34" fmla="*/ 620503 w 1594"/>
                <a:gd name="T35" fmla="*/ 368741 h 1670"/>
                <a:gd name="T36" fmla="*/ 611385 w 1594"/>
                <a:gd name="T37" fmla="*/ 426357 h 1670"/>
                <a:gd name="T38" fmla="*/ 573607 w 1594"/>
                <a:gd name="T39" fmla="*/ 394930 h 1670"/>
                <a:gd name="T40" fmla="*/ 574476 w 1594"/>
                <a:gd name="T41" fmla="*/ 365599 h 1670"/>
                <a:gd name="T42" fmla="*/ 531922 w 1594"/>
                <a:gd name="T43" fmla="*/ 334172 h 1670"/>
                <a:gd name="T44" fmla="*/ 515422 w 1594"/>
                <a:gd name="T45" fmla="*/ 307983 h 1670"/>
                <a:gd name="T46" fmla="*/ 491105 w 1594"/>
                <a:gd name="T47" fmla="*/ 301174 h 1670"/>
                <a:gd name="T48" fmla="*/ 489368 w 1594"/>
                <a:gd name="T49" fmla="*/ 327363 h 1670"/>
                <a:gd name="T50" fmla="*/ 485026 w 1594"/>
                <a:gd name="T51" fmla="*/ 357742 h 1670"/>
                <a:gd name="T52" fmla="*/ 503698 w 1594"/>
                <a:gd name="T53" fmla="*/ 384978 h 1670"/>
                <a:gd name="T54" fmla="*/ 498921 w 1594"/>
                <a:gd name="T55" fmla="*/ 441547 h 1670"/>
                <a:gd name="T56" fmla="*/ 466789 w 1594"/>
                <a:gd name="T57" fmla="*/ 452546 h 1670"/>
                <a:gd name="T58" fmla="*/ 455499 w 1594"/>
                <a:gd name="T59" fmla="*/ 490782 h 1670"/>
                <a:gd name="T60" fmla="*/ 414248 w 1594"/>
                <a:gd name="T61" fmla="*/ 524304 h 1670"/>
                <a:gd name="T62" fmla="*/ 396011 w 1594"/>
                <a:gd name="T63" fmla="*/ 549969 h 1670"/>
                <a:gd name="T64" fmla="*/ 338693 w 1594"/>
                <a:gd name="T65" fmla="*/ 622251 h 1670"/>
                <a:gd name="T66" fmla="*/ 313943 w 1594"/>
                <a:gd name="T67" fmla="*/ 645821 h 1670"/>
                <a:gd name="T68" fmla="*/ 323061 w 1594"/>
                <a:gd name="T69" fmla="*/ 703961 h 1670"/>
                <a:gd name="T70" fmla="*/ 309166 w 1594"/>
                <a:gd name="T71" fmla="*/ 756862 h 1670"/>
                <a:gd name="T72" fmla="*/ 313508 w 1594"/>
                <a:gd name="T73" fmla="*/ 798241 h 1670"/>
                <a:gd name="T74" fmla="*/ 300916 w 1594"/>
                <a:gd name="T75" fmla="*/ 825478 h 1670"/>
                <a:gd name="T76" fmla="*/ 258362 w 1594"/>
                <a:gd name="T77" fmla="*/ 871047 h 1670"/>
                <a:gd name="T78" fmla="*/ 224059 w 1594"/>
                <a:gd name="T79" fmla="*/ 800860 h 1670"/>
                <a:gd name="T80" fmla="*/ 181939 w 1594"/>
                <a:gd name="T81" fmla="*/ 698723 h 1670"/>
                <a:gd name="T82" fmla="*/ 130701 w 1594"/>
                <a:gd name="T83" fmla="*/ 583491 h 1670"/>
                <a:gd name="T84" fmla="*/ 112464 w 1594"/>
                <a:gd name="T85" fmla="*/ 450975 h 1670"/>
                <a:gd name="T86" fmla="*/ 99871 w 1594"/>
                <a:gd name="T87" fmla="*/ 426357 h 1670"/>
                <a:gd name="T88" fmla="*/ 71212 w 1594"/>
                <a:gd name="T89" fmla="*/ 471402 h 1670"/>
                <a:gd name="T90" fmla="*/ 39080 w 1594"/>
                <a:gd name="T91" fmla="*/ 458831 h 1670"/>
                <a:gd name="T92" fmla="*/ 22145 w 1594"/>
                <a:gd name="T93" fmla="*/ 417977 h 1670"/>
                <a:gd name="T94" fmla="*/ 13027 w 1594"/>
                <a:gd name="T95" fmla="*/ 403835 h 1670"/>
                <a:gd name="T96" fmla="*/ 13895 w 1594"/>
                <a:gd name="T97" fmla="*/ 370836 h 1670"/>
                <a:gd name="T98" fmla="*/ 69041 w 1594"/>
                <a:gd name="T99" fmla="*/ 345171 h 1670"/>
                <a:gd name="T100" fmla="*/ 39948 w 1594"/>
                <a:gd name="T101" fmla="*/ 298031 h 1670"/>
                <a:gd name="T102" fmla="*/ 25619 w 1594"/>
                <a:gd name="T103" fmla="*/ 261890 h 1670"/>
                <a:gd name="T104" fmla="*/ 70344 w 1594"/>
                <a:gd name="T105" fmla="*/ 240415 h 1670"/>
                <a:gd name="T106" fmla="*/ 117240 w 1594"/>
                <a:gd name="T107" fmla="*/ 153991 h 1670"/>
                <a:gd name="T108" fmla="*/ 118977 w 1594"/>
                <a:gd name="T109" fmla="*/ 120469 h 1670"/>
                <a:gd name="T110" fmla="*/ 98568 w 1594"/>
                <a:gd name="T111" fmla="*/ 74377 h 1670"/>
                <a:gd name="T112" fmla="*/ 139820 w 1594"/>
                <a:gd name="T113" fmla="*/ 28284 h 16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858" name="Freeform 465">
              <a:extLst>
                <a:ext uri="{FF2B5EF4-FFF2-40B4-BE49-F238E27FC236}">
                  <a16:creationId xmlns:a16="http://schemas.microsoft.com/office/drawing/2014/main" id="{D152179C-FB47-4590-AD07-3EF4E075B37B}"/>
                </a:ext>
              </a:extLst>
            </p:cNvPr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5322888" y="3325814"/>
              <a:ext cx="158750" cy="206375"/>
            </a:xfrm>
            <a:custGeom>
              <a:avLst/>
              <a:gdLst>
                <a:gd name="T0" fmla="*/ 23437 w 359"/>
                <a:gd name="T1" fmla="*/ 200089 h 394"/>
                <a:gd name="T2" fmla="*/ 23437 w 359"/>
                <a:gd name="T3" fmla="*/ 187518 h 394"/>
                <a:gd name="T4" fmla="*/ 23437 w 359"/>
                <a:gd name="T5" fmla="*/ 174424 h 394"/>
                <a:gd name="T6" fmla="*/ 22110 w 359"/>
                <a:gd name="T7" fmla="*/ 163424 h 394"/>
                <a:gd name="T8" fmla="*/ 19015 w 359"/>
                <a:gd name="T9" fmla="*/ 153472 h 394"/>
                <a:gd name="T10" fmla="*/ 15477 w 359"/>
                <a:gd name="T11" fmla="*/ 145091 h 394"/>
                <a:gd name="T12" fmla="*/ 5749 w 359"/>
                <a:gd name="T13" fmla="*/ 128330 h 394"/>
                <a:gd name="T14" fmla="*/ 0 w 359"/>
                <a:gd name="T15" fmla="*/ 96902 h 394"/>
                <a:gd name="T16" fmla="*/ 14593 w 359"/>
                <a:gd name="T17" fmla="*/ 94807 h 394"/>
                <a:gd name="T18" fmla="*/ 17688 w 359"/>
                <a:gd name="T19" fmla="*/ 88521 h 394"/>
                <a:gd name="T20" fmla="*/ 18130 w 359"/>
                <a:gd name="T21" fmla="*/ 78569 h 394"/>
                <a:gd name="T22" fmla="*/ 16804 w 359"/>
                <a:gd name="T23" fmla="*/ 56046 h 394"/>
                <a:gd name="T24" fmla="*/ 13708 w 359"/>
                <a:gd name="T25" fmla="*/ 34047 h 394"/>
                <a:gd name="T26" fmla="*/ 14150 w 359"/>
                <a:gd name="T27" fmla="*/ 24618 h 394"/>
                <a:gd name="T28" fmla="*/ 15919 w 359"/>
                <a:gd name="T29" fmla="*/ 18857 h 394"/>
                <a:gd name="T30" fmla="*/ 53064 w 359"/>
                <a:gd name="T31" fmla="*/ 16238 h 394"/>
                <a:gd name="T32" fmla="*/ 53948 w 359"/>
                <a:gd name="T33" fmla="*/ 11523 h 394"/>
                <a:gd name="T34" fmla="*/ 56602 w 359"/>
                <a:gd name="T35" fmla="*/ 7333 h 394"/>
                <a:gd name="T36" fmla="*/ 61908 w 359"/>
                <a:gd name="T37" fmla="*/ 0 h 394"/>
                <a:gd name="T38" fmla="*/ 62792 w 359"/>
                <a:gd name="T39" fmla="*/ 9428 h 394"/>
                <a:gd name="T40" fmla="*/ 62792 w 359"/>
                <a:gd name="T41" fmla="*/ 13619 h 394"/>
                <a:gd name="T42" fmla="*/ 61908 w 359"/>
                <a:gd name="T43" fmla="*/ 16238 h 394"/>
                <a:gd name="T44" fmla="*/ 74290 w 359"/>
                <a:gd name="T45" fmla="*/ 16238 h 394"/>
                <a:gd name="T46" fmla="*/ 82249 w 359"/>
                <a:gd name="T47" fmla="*/ 16238 h 394"/>
                <a:gd name="T48" fmla="*/ 94631 w 359"/>
                <a:gd name="T49" fmla="*/ 19904 h 394"/>
                <a:gd name="T50" fmla="*/ 103033 w 359"/>
                <a:gd name="T51" fmla="*/ 25666 h 394"/>
                <a:gd name="T52" fmla="*/ 108781 w 359"/>
                <a:gd name="T53" fmla="*/ 30380 h 394"/>
                <a:gd name="T54" fmla="*/ 114530 w 359"/>
                <a:gd name="T55" fmla="*/ 31951 h 394"/>
                <a:gd name="T56" fmla="*/ 118510 w 359"/>
                <a:gd name="T57" fmla="*/ 30904 h 394"/>
                <a:gd name="T58" fmla="*/ 121605 w 359"/>
                <a:gd name="T59" fmla="*/ 28285 h 394"/>
                <a:gd name="T60" fmla="*/ 126469 w 359"/>
                <a:gd name="T61" fmla="*/ 19380 h 394"/>
                <a:gd name="T62" fmla="*/ 137967 w 359"/>
                <a:gd name="T63" fmla="*/ 27237 h 394"/>
                <a:gd name="T64" fmla="*/ 143715 w 359"/>
                <a:gd name="T65" fmla="*/ 30904 h 394"/>
                <a:gd name="T66" fmla="*/ 149464 w 359"/>
                <a:gd name="T67" fmla="*/ 31951 h 394"/>
                <a:gd name="T68" fmla="*/ 156097 w 359"/>
                <a:gd name="T69" fmla="*/ 84331 h 394"/>
                <a:gd name="T70" fmla="*/ 149464 w 359"/>
                <a:gd name="T71" fmla="*/ 96902 h 394"/>
                <a:gd name="T72" fmla="*/ 142831 w 359"/>
                <a:gd name="T73" fmla="*/ 107902 h 394"/>
                <a:gd name="T74" fmla="*/ 139293 w 359"/>
                <a:gd name="T75" fmla="*/ 117330 h 394"/>
                <a:gd name="T76" fmla="*/ 138409 w 359"/>
                <a:gd name="T77" fmla="*/ 125187 h 394"/>
                <a:gd name="T78" fmla="*/ 138409 w 359"/>
                <a:gd name="T79" fmla="*/ 133568 h 394"/>
                <a:gd name="T80" fmla="*/ 141946 w 359"/>
                <a:gd name="T81" fmla="*/ 142996 h 394"/>
                <a:gd name="T82" fmla="*/ 146368 w 359"/>
                <a:gd name="T83" fmla="*/ 153472 h 394"/>
                <a:gd name="T84" fmla="*/ 149022 w 359"/>
                <a:gd name="T85" fmla="*/ 161852 h 394"/>
                <a:gd name="T86" fmla="*/ 149022 w 359"/>
                <a:gd name="T87" fmla="*/ 168138 h 394"/>
                <a:gd name="T88" fmla="*/ 145926 w 359"/>
                <a:gd name="T89" fmla="*/ 176519 h 394"/>
                <a:gd name="T90" fmla="*/ 144157 w 359"/>
                <a:gd name="T91" fmla="*/ 183852 h 394"/>
                <a:gd name="T92" fmla="*/ 141062 w 359"/>
                <a:gd name="T93" fmla="*/ 187518 h 394"/>
                <a:gd name="T94" fmla="*/ 136198 w 359"/>
                <a:gd name="T95" fmla="*/ 186471 h 394"/>
                <a:gd name="T96" fmla="*/ 131776 w 359"/>
                <a:gd name="T97" fmla="*/ 183328 h 394"/>
                <a:gd name="T98" fmla="*/ 126912 w 359"/>
                <a:gd name="T99" fmla="*/ 178090 h 394"/>
                <a:gd name="T100" fmla="*/ 122490 w 359"/>
                <a:gd name="T101" fmla="*/ 175471 h 394"/>
                <a:gd name="T102" fmla="*/ 117625 w 359"/>
                <a:gd name="T103" fmla="*/ 174424 h 394"/>
                <a:gd name="T104" fmla="*/ 108781 w 359"/>
                <a:gd name="T105" fmla="*/ 174424 h 394"/>
                <a:gd name="T106" fmla="*/ 97726 w 359"/>
                <a:gd name="T107" fmla="*/ 175995 h 394"/>
                <a:gd name="T108" fmla="*/ 80038 w 359"/>
                <a:gd name="T109" fmla="*/ 179661 h 394"/>
                <a:gd name="T110" fmla="*/ 57928 w 359"/>
                <a:gd name="T111" fmla="*/ 188042 h 394"/>
                <a:gd name="T112" fmla="*/ 38029 w 359"/>
                <a:gd name="T113" fmla="*/ 196423 h 394"/>
                <a:gd name="T114" fmla="*/ 23437 w 359"/>
                <a:gd name="T115" fmla="*/ 206375 h 39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59" name="Freeform 466">
              <a:extLst>
                <a:ext uri="{FF2B5EF4-FFF2-40B4-BE49-F238E27FC236}">
                  <a16:creationId xmlns:a16="http://schemas.microsoft.com/office/drawing/2014/main" id="{8B11B7DA-41F6-433A-BBA0-F698EF9D9D12}"/>
                </a:ext>
              </a:extLst>
            </p:cNvPr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6391275" y="3521076"/>
              <a:ext cx="192088" cy="271463"/>
            </a:xfrm>
            <a:custGeom>
              <a:avLst/>
              <a:gdLst>
                <a:gd name="T0" fmla="*/ 175403 w 449"/>
                <a:gd name="T1" fmla="*/ 54500 h 523"/>
                <a:gd name="T2" fmla="*/ 173264 w 449"/>
                <a:gd name="T3" fmla="*/ 50867 h 523"/>
                <a:gd name="T4" fmla="*/ 174548 w 449"/>
                <a:gd name="T5" fmla="*/ 47753 h 523"/>
                <a:gd name="T6" fmla="*/ 180537 w 449"/>
                <a:gd name="T7" fmla="*/ 39967 h 523"/>
                <a:gd name="T8" fmla="*/ 188665 w 449"/>
                <a:gd name="T9" fmla="*/ 31143 h 523"/>
                <a:gd name="T10" fmla="*/ 191232 w 449"/>
                <a:gd name="T11" fmla="*/ 25952 h 523"/>
                <a:gd name="T12" fmla="*/ 192088 w 449"/>
                <a:gd name="T13" fmla="*/ 19205 h 523"/>
                <a:gd name="T14" fmla="*/ 184815 w 449"/>
                <a:gd name="T15" fmla="*/ 17648 h 523"/>
                <a:gd name="T16" fmla="*/ 180537 w 449"/>
                <a:gd name="T17" fmla="*/ 14014 h 523"/>
                <a:gd name="T18" fmla="*/ 175831 w 449"/>
                <a:gd name="T19" fmla="*/ 10900 h 523"/>
                <a:gd name="T20" fmla="*/ 166847 w 449"/>
                <a:gd name="T21" fmla="*/ 9343 h 523"/>
                <a:gd name="T22" fmla="*/ 161285 w 449"/>
                <a:gd name="T23" fmla="*/ 10381 h 523"/>
                <a:gd name="T24" fmla="*/ 157435 w 449"/>
                <a:gd name="T25" fmla="*/ 12457 h 523"/>
                <a:gd name="T26" fmla="*/ 151874 w 449"/>
                <a:gd name="T27" fmla="*/ 19205 h 523"/>
                <a:gd name="T28" fmla="*/ 145456 w 449"/>
                <a:gd name="T29" fmla="*/ 25952 h 523"/>
                <a:gd name="T30" fmla="*/ 139467 w 449"/>
                <a:gd name="T31" fmla="*/ 28029 h 523"/>
                <a:gd name="T32" fmla="*/ 132622 w 449"/>
                <a:gd name="T33" fmla="*/ 28548 h 523"/>
                <a:gd name="T34" fmla="*/ 122782 w 449"/>
                <a:gd name="T35" fmla="*/ 28029 h 523"/>
                <a:gd name="T36" fmla="*/ 114226 w 449"/>
                <a:gd name="T37" fmla="*/ 25952 h 523"/>
                <a:gd name="T38" fmla="*/ 100536 w 449"/>
                <a:gd name="T39" fmla="*/ 18686 h 523"/>
                <a:gd name="T40" fmla="*/ 88129 w 449"/>
                <a:gd name="T41" fmla="*/ 9862 h 523"/>
                <a:gd name="T42" fmla="*/ 80857 w 449"/>
                <a:gd name="T43" fmla="*/ 6229 h 523"/>
                <a:gd name="T44" fmla="*/ 72728 w 449"/>
                <a:gd name="T45" fmla="*/ 3114 h 523"/>
                <a:gd name="T46" fmla="*/ 57327 w 449"/>
                <a:gd name="T47" fmla="*/ 4152 h 523"/>
                <a:gd name="T48" fmla="*/ 50910 w 449"/>
                <a:gd name="T49" fmla="*/ 3114 h 523"/>
                <a:gd name="T50" fmla="*/ 44065 w 449"/>
                <a:gd name="T51" fmla="*/ 0 h 523"/>
                <a:gd name="T52" fmla="*/ 22246 w 449"/>
                <a:gd name="T53" fmla="*/ 0 h 523"/>
                <a:gd name="T54" fmla="*/ 2139 w 449"/>
                <a:gd name="T55" fmla="*/ 0 h 523"/>
                <a:gd name="T56" fmla="*/ 2139 w 449"/>
                <a:gd name="T57" fmla="*/ 9343 h 523"/>
                <a:gd name="T58" fmla="*/ 2139 w 449"/>
                <a:gd name="T59" fmla="*/ 19205 h 523"/>
                <a:gd name="T60" fmla="*/ 6417 w 449"/>
                <a:gd name="T61" fmla="*/ 31143 h 523"/>
                <a:gd name="T62" fmla="*/ 9840 w 449"/>
                <a:gd name="T63" fmla="*/ 47234 h 523"/>
                <a:gd name="T64" fmla="*/ 13262 w 449"/>
                <a:gd name="T65" fmla="*/ 66438 h 523"/>
                <a:gd name="T66" fmla="*/ 16257 w 449"/>
                <a:gd name="T67" fmla="*/ 89277 h 523"/>
                <a:gd name="T68" fmla="*/ 15829 w 449"/>
                <a:gd name="T69" fmla="*/ 106924 h 523"/>
                <a:gd name="T70" fmla="*/ 12407 w 449"/>
                <a:gd name="T71" fmla="*/ 119381 h 523"/>
                <a:gd name="T72" fmla="*/ 2995 w 449"/>
                <a:gd name="T73" fmla="*/ 139624 h 523"/>
                <a:gd name="T74" fmla="*/ 4278 w 449"/>
                <a:gd name="T75" fmla="*/ 166615 h 523"/>
                <a:gd name="T76" fmla="*/ 11979 w 449"/>
                <a:gd name="T77" fmla="*/ 175958 h 523"/>
                <a:gd name="T78" fmla="*/ 35936 w 449"/>
                <a:gd name="T79" fmla="*/ 190491 h 523"/>
                <a:gd name="T80" fmla="*/ 58183 w 449"/>
                <a:gd name="T81" fmla="*/ 205544 h 523"/>
                <a:gd name="T82" fmla="*/ 72728 w 449"/>
                <a:gd name="T83" fmla="*/ 218001 h 523"/>
                <a:gd name="T84" fmla="*/ 80857 w 449"/>
                <a:gd name="T85" fmla="*/ 226306 h 523"/>
                <a:gd name="T86" fmla="*/ 84707 w 449"/>
                <a:gd name="T87" fmla="*/ 234091 h 523"/>
                <a:gd name="T88" fmla="*/ 85990 w 449"/>
                <a:gd name="T89" fmla="*/ 240839 h 523"/>
                <a:gd name="T90" fmla="*/ 89413 w 449"/>
                <a:gd name="T91" fmla="*/ 248625 h 523"/>
                <a:gd name="T92" fmla="*/ 94119 w 449"/>
                <a:gd name="T93" fmla="*/ 255372 h 523"/>
                <a:gd name="T94" fmla="*/ 99680 w 449"/>
                <a:gd name="T95" fmla="*/ 261082 h 523"/>
                <a:gd name="T96" fmla="*/ 105670 w 449"/>
                <a:gd name="T97" fmla="*/ 265753 h 523"/>
                <a:gd name="T98" fmla="*/ 112943 w 449"/>
                <a:gd name="T99" fmla="*/ 269387 h 523"/>
                <a:gd name="T100" fmla="*/ 120215 w 449"/>
                <a:gd name="T101" fmla="*/ 271463 h 523"/>
                <a:gd name="T102" fmla="*/ 130055 w 449"/>
                <a:gd name="T103" fmla="*/ 260563 h 523"/>
                <a:gd name="T104" fmla="*/ 143317 w 449"/>
                <a:gd name="T105" fmla="*/ 239801 h 523"/>
                <a:gd name="T106" fmla="*/ 156152 w 449"/>
                <a:gd name="T107" fmla="*/ 221634 h 523"/>
                <a:gd name="T108" fmla="*/ 168558 w 449"/>
                <a:gd name="T109" fmla="*/ 202429 h 52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60" name="Freeform 467">
              <a:extLst>
                <a:ext uri="{FF2B5EF4-FFF2-40B4-BE49-F238E27FC236}">
                  <a16:creationId xmlns:a16="http://schemas.microsoft.com/office/drawing/2014/main" id="{53FFE183-E103-432E-90C3-11F0800AEFFD}"/>
                </a:ext>
              </a:extLst>
            </p:cNvPr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6373813" y="2606676"/>
              <a:ext cx="101600" cy="130175"/>
            </a:xfrm>
            <a:custGeom>
              <a:avLst/>
              <a:gdLst>
                <a:gd name="T0" fmla="*/ 5395 w 226"/>
                <a:gd name="T1" fmla="*/ 120650 h 246"/>
                <a:gd name="T2" fmla="*/ 16184 w 226"/>
                <a:gd name="T3" fmla="*/ 127000 h 246"/>
                <a:gd name="T4" fmla="*/ 23827 w 226"/>
                <a:gd name="T5" fmla="*/ 129646 h 246"/>
                <a:gd name="T6" fmla="*/ 30570 w 226"/>
                <a:gd name="T7" fmla="*/ 129646 h 246"/>
                <a:gd name="T8" fmla="*/ 38212 w 226"/>
                <a:gd name="T9" fmla="*/ 127529 h 246"/>
                <a:gd name="T10" fmla="*/ 49451 w 226"/>
                <a:gd name="T11" fmla="*/ 120650 h 246"/>
                <a:gd name="T12" fmla="*/ 63388 w 226"/>
                <a:gd name="T13" fmla="*/ 108479 h 246"/>
                <a:gd name="T14" fmla="*/ 72379 w 226"/>
                <a:gd name="T15" fmla="*/ 97367 h 246"/>
                <a:gd name="T16" fmla="*/ 71480 w 226"/>
                <a:gd name="T17" fmla="*/ 91546 h 246"/>
                <a:gd name="T18" fmla="*/ 66984 w 226"/>
                <a:gd name="T19" fmla="*/ 84667 h 246"/>
                <a:gd name="T20" fmla="*/ 64287 w 226"/>
                <a:gd name="T21" fmla="*/ 76729 h 246"/>
                <a:gd name="T22" fmla="*/ 63388 w 226"/>
                <a:gd name="T23" fmla="*/ 68792 h 246"/>
                <a:gd name="T24" fmla="*/ 63388 w 226"/>
                <a:gd name="T25" fmla="*/ 61383 h 246"/>
                <a:gd name="T26" fmla="*/ 65635 w 226"/>
                <a:gd name="T27" fmla="*/ 55562 h 246"/>
                <a:gd name="T28" fmla="*/ 70131 w 226"/>
                <a:gd name="T29" fmla="*/ 49742 h 246"/>
                <a:gd name="T30" fmla="*/ 75526 w 226"/>
                <a:gd name="T31" fmla="*/ 45508 h 246"/>
                <a:gd name="T32" fmla="*/ 91710 w 226"/>
                <a:gd name="T33" fmla="*/ 37571 h 246"/>
                <a:gd name="T34" fmla="*/ 101150 w 226"/>
                <a:gd name="T35" fmla="*/ 25929 h 246"/>
                <a:gd name="T36" fmla="*/ 99352 w 226"/>
                <a:gd name="T37" fmla="*/ 15875 h 246"/>
                <a:gd name="T38" fmla="*/ 96205 w 226"/>
                <a:gd name="T39" fmla="*/ 8996 h 246"/>
                <a:gd name="T40" fmla="*/ 95306 w 226"/>
                <a:gd name="T41" fmla="*/ 3175 h 246"/>
                <a:gd name="T42" fmla="*/ 90811 w 226"/>
                <a:gd name="T43" fmla="*/ 529 h 246"/>
                <a:gd name="T44" fmla="*/ 81370 w 226"/>
                <a:gd name="T45" fmla="*/ 3704 h 246"/>
                <a:gd name="T46" fmla="*/ 69232 w 226"/>
                <a:gd name="T47" fmla="*/ 10583 h 246"/>
                <a:gd name="T48" fmla="*/ 54396 w 226"/>
                <a:gd name="T49" fmla="*/ 20108 h 246"/>
                <a:gd name="T50" fmla="*/ 44956 w 226"/>
                <a:gd name="T51" fmla="*/ 26987 h 246"/>
                <a:gd name="T52" fmla="*/ 39112 w 226"/>
                <a:gd name="T53" fmla="*/ 29104 h 246"/>
                <a:gd name="T54" fmla="*/ 33717 w 226"/>
                <a:gd name="T55" fmla="*/ 28575 h 246"/>
                <a:gd name="T56" fmla="*/ 26524 w 226"/>
                <a:gd name="T57" fmla="*/ 24871 h 246"/>
                <a:gd name="T58" fmla="*/ 16184 w 226"/>
                <a:gd name="T59" fmla="*/ 16404 h 246"/>
                <a:gd name="T60" fmla="*/ 10789 w 226"/>
                <a:gd name="T61" fmla="*/ 20638 h 246"/>
                <a:gd name="T62" fmla="*/ 8092 w 226"/>
                <a:gd name="T63" fmla="*/ 50271 h 246"/>
                <a:gd name="T64" fmla="*/ 4496 w 226"/>
                <a:gd name="T65" fmla="*/ 86254 h 246"/>
                <a:gd name="T66" fmla="*/ 1349 w 226"/>
                <a:gd name="T67" fmla="*/ 112183 h 24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61" name="Freeform 468">
              <a:extLst>
                <a:ext uri="{FF2B5EF4-FFF2-40B4-BE49-F238E27FC236}">
                  <a16:creationId xmlns:a16="http://schemas.microsoft.com/office/drawing/2014/main" id="{F5019ADC-3473-48F5-9B79-7FD6C2606FBF}"/>
                </a:ext>
              </a:extLst>
            </p:cNvPr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6672264" y="2709863"/>
              <a:ext cx="22225" cy="55562"/>
            </a:xfrm>
            <a:custGeom>
              <a:avLst/>
              <a:gdLst>
                <a:gd name="T0" fmla="*/ 10001 w 60"/>
                <a:gd name="T1" fmla="*/ 0 h 81"/>
                <a:gd name="T2" fmla="*/ 10742 w 60"/>
                <a:gd name="T3" fmla="*/ 1372 h 81"/>
                <a:gd name="T4" fmla="*/ 11853 w 60"/>
                <a:gd name="T5" fmla="*/ 2058 h 81"/>
                <a:gd name="T6" fmla="*/ 13335 w 60"/>
                <a:gd name="T7" fmla="*/ 2058 h 81"/>
                <a:gd name="T8" fmla="*/ 14817 w 60"/>
                <a:gd name="T9" fmla="*/ 1372 h 81"/>
                <a:gd name="T10" fmla="*/ 17410 w 60"/>
                <a:gd name="T11" fmla="*/ 686 h 81"/>
                <a:gd name="T12" fmla="*/ 19632 w 60"/>
                <a:gd name="T13" fmla="*/ 0 h 81"/>
                <a:gd name="T14" fmla="*/ 19632 w 60"/>
                <a:gd name="T15" fmla="*/ 17835 h 81"/>
                <a:gd name="T16" fmla="*/ 20003 w 60"/>
                <a:gd name="T17" fmla="*/ 32240 h 81"/>
                <a:gd name="T18" fmla="*/ 20003 w 60"/>
                <a:gd name="T19" fmla="*/ 39099 h 81"/>
                <a:gd name="T20" fmla="*/ 20743 w 60"/>
                <a:gd name="T21" fmla="*/ 44587 h 81"/>
                <a:gd name="T22" fmla="*/ 21484 w 60"/>
                <a:gd name="T23" fmla="*/ 50074 h 81"/>
                <a:gd name="T24" fmla="*/ 22225 w 60"/>
                <a:gd name="T25" fmla="*/ 55562 h 81"/>
                <a:gd name="T26" fmla="*/ 7408 w 60"/>
                <a:gd name="T27" fmla="*/ 55562 h 81"/>
                <a:gd name="T28" fmla="*/ 5186 w 60"/>
                <a:gd name="T29" fmla="*/ 54876 h 81"/>
                <a:gd name="T30" fmla="*/ 2593 w 60"/>
                <a:gd name="T31" fmla="*/ 52818 h 81"/>
                <a:gd name="T32" fmla="*/ 1852 w 60"/>
                <a:gd name="T33" fmla="*/ 50760 h 81"/>
                <a:gd name="T34" fmla="*/ 741 w 60"/>
                <a:gd name="T35" fmla="*/ 49388 h 81"/>
                <a:gd name="T36" fmla="*/ 370 w 60"/>
                <a:gd name="T37" fmla="*/ 48017 h 81"/>
                <a:gd name="T38" fmla="*/ 0 w 60"/>
                <a:gd name="T39" fmla="*/ 46645 h 81"/>
                <a:gd name="T40" fmla="*/ 2593 w 60"/>
                <a:gd name="T41" fmla="*/ 8231 h 81"/>
                <a:gd name="T42" fmla="*/ 7408 w 60"/>
                <a:gd name="T43" fmla="*/ 4116 h 81"/>
                <a:gd name="T44" fmla="*/ 12594 w 60"/>
                <a:gd name="T45" fmla="*/ 0 h 81"/>
                <a:gd name="T46" fmla="*/ 10001 w 60"/>
                <a:gd name="T47" fmla="*/ 0 h 8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62" name="Freeform 469">
              <a:extLst>
                <a:ext uri="{FF2B5EF4-FFF2-40B4-BE49-F238E27FC236}">
                  <a16:creationId xmlns:a16="http://schemas.microsoft.com/office/drawing/2014/main" id="{CF271528-6FAF-4D9B-BFCB-9F2976B618E3}"/>
                </a:ext>
              </a:extLst>
            </p:cNvPr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5959476" y="1844676"/>
              <a:ext cx="161925" cy="66675"/>
            </a:xfrm>
            <a:custGeom>
              <a:avLst/>
              <a:gdLst>
                <a:gd name="T0" fmla="*/ 109409 w 370"/>
                <a:gd name="T1" fmla="*/ 60473 h 129"/>
                <a:gd name="T2" fmla="*/ 112910 w 370"/>
                <a:gd name="T3" fmla="*/ 61506 h 129"/>
                <a:gd name="T4" fmla="*/ 121225 w 370"/>
                <a:gd name="T5" fmla="*/ 63574 h 129"/>
                <a:gd name="T6" fmla="*/ 129102 w 370"/>
                <a:gd name="T7" fmla="*/ 65641 h 129"/>
                <a:gd name="T8" fmla="*/ 132603 w 370"/>
                <a:gd name="T9" fmla="*/ 66675 h 129"/>
                <a:gd name="T10" fmla="*/ 161925 w 370"/>
                <a:gd name="T11" fmla="*/ 50135 h 129"/>
                <a:gd name="T12" fmla="*/ 156673 w 370"/>
                <a:gd name="T13" fmla="*/ 38765 h 129"/>
                <a:gd name="T14" fmla="*/ 150984 w 370"/>
                <a:gd name="T15" fmla="*/ 24809 h 129"/>
                <a:gd name="T16" fmla="*/ 146608 w 370"/>
                <a:gd name="T17" fmla="*/ 13955 h 129"/>
                <a:gd name="T18" fmla="*/ 144420 w 370"/>
                <a:gd name="T19" fmla="*/ 9303 h 129"/>
                <a:gd name="T20" fmla="*/ 131291 w 370"/>
                <a:gd name="T21" fmla="*/ 7753 h 129"/>
                <a:gd name="T22" fmla="*/ 112472 w 370"/>
                <a:gd name="T23" fmla="*/ 4652 h 129"/>
                <a:gd name="T24" fmla="*/ 93654 w 370"/>
                <a:gd name="T25" fmla="*/ 1034 h 129"/>
                <a:gd name="T26" fmla="*/ 80087 w 370"/>
                <a:gd name="T27" fmla="*/ 0 h 129"/>
                <a:gd name="T28" fmla="*/ 78337 w 370"/>
                <a:gd name="T29" fmla="*/ 0 h 129"/>
                <a:gd name="T30" fmla="*/ 77024 w 370"/>
                <a:gd name="T31" fmla="*/ 517 h 129"/>
                <a:gd name="T32" fmla="*/ 75273 w 370"/>
                <a:gd name="T33" fmla="*/ 1034 h 129"/>
                <a:gd name="T34" fmla="*/ 74398 w 370"/>
                <a:gd name="T35" fmla="*/ 1551 h 129"/>
                <a:gd name="T36" fmla="*/ 70897 w 370"/>
                <a:gd name="T37" fmla="*/ 3618 h 129"/>
                <a:gd name="T38" fmla="*/ 65645 w 370"/>
                <a:gd name="T39" fmla="*/ 6202 h 129"/>
                <a:gd name="T40" fmla="*/ 64332 w 370"/>
                <a:gd name="T41" fmla="*/ 10854 h 129"/>
                <a:gd name="T42" fmla="*/ 61269 w 370"/>
                <a:gd name="T43" fmla="*/ 18090 h 129"/>
                <a:gd name="T44" fmla="*/ 58643 w 370"/>
                <a:gd name="T45" fmla="*/ 24809 h 129"/>
                <a:gd name="T46" fmla="*/ 57330 w 370"/>
                <a:gd name="T47" fmla="*/ 28427 h 129"/>
                <a:gd name="T48" fmla="*/ 53391 w 370"/>
                <a:gd name="T49" fmla="*/ 27910 h 129"/>
                <a:gd name="T50" fmla="*/ 48578 w 370"/>
                <a:gd name="T51" fmla="*/ 25326 h 129"/>
                <a:gd name="T52" fmla="*/ 42888 w 370"/>
                <a:gd name="T53" fmla="*/ 22742 h 129"/>
                <a:gd name="T54" fmla="*/ 36761 w 370"/>
                <a:gd name="T55" fmla="*/ 19641 h 129"/>
                <a:gd name="T56" fmla="*/ 26258 w 370"/>
                <a:gd name="T57" fmla="*/ 13438 h 129"/>
                <a:gd name="T58" fmla="*/ 19256 w 370"/>
                <a:gd name="T59" fmla="*/ 9303 h 129"/>
                <a:gd name="T60" fmla="*/ 14004 w 370"/>
                <a:gd name="T61" fmla="*/ 12922 h 129"/>
                <a:gd name="T62" fmla="*/ 9190 w 370"/>
                <a:gd name="T63" fmla="*/ 17056 h 129"/>
                <a:gd name="T64" fmla="*/ 7002 w 370"/>
                <a:gd name="T65" fmla="*/ 19124 h 129"/>
                <a:gd name="T66" fmla="*/ 5252 w 370"/>
                <a:gd name="T67" fmla="*/ 21191 h 129"/>
                <a:gd name="T68" fmla="*/ 3939 w 370"/>
                <a:gd name="T69" fmla="*/ 23776 h 129"/>
                <a:gd name="T70" fmla="*/ 2188 w 370"/>
                <a:gd name="T71" fmla="*/ 26877 h 129"/>
                <a:gd name="T72" fmla="*/ 1313 w 370"/>
                <a:gd name="T73" fmla="*/ 29461 h 129"/>
                <a:gd name="T74" fmla="*/ 438 w 370"/>
                <a:gd name="T75" fmla="*/ 32562 h 129"/>
                <a:gd name="T76" fmla="*/ 0 w 370"/>
                <a:gd name="T77" fmla="*/ 35663 h 129"/>
                <a:gd name="T78" fmla="*/ 0 w 370"/>
                <a:gd name="T79" fmla="*/ 38765 h 129"/>
                <a:gd name="T80" fmla="*/ 438 w 370"/>
                <a:gd name="T81" fmla="*/ 42383 h 129"/>
                <a:gd name="T82" fmla="*/ 1313 w 370"/>
                <a:gd name="T83" fmla="*/ 45484 h 129"/>
                <a:gd name="T84" fmla="*/ 2626 w 370"/>
                <a:gd name="T85" fmla="*/ 49619 h 129"/>
                <a:gd name="T86" fmla="*/ 4814 w 370"/>
                <a:gd name="T87" fmla="*/ 53237 h 129"/>
                <a:gd name="T88" fmla="*/ 8753 w 370"/>
                <a:gd name="T89" fmla="*/ 52203 h 129"/>
                <a:gd name="T90" fmla="*/ 14442 w 370"/>
                <a:gd name="T91" fmla="*/ 51169 h 129"/>
                <a:gd name="T92" fmla="*/ 21882 w 370"/>
                <a:gd name="T93" fmla="*/ 50135 h 129"/>
                <a:gd name="T94" fmla="*/ 30197 w 370"/>
                <a:gd name="T95" fmla="*/ 49102 h 129"/>
                <a:gd name="T96" fmla="*/ 44639 w 370"/>
                <a:gd name="T97" fmla="*/ 47551 h 129"/>
                <a:gd name="T98" fmla="*/ 51203 w 370"/>
                <a:gd name="T99" fmla="*/ 47034 h 129"/>
                <a:gd name="T100" fmla="*/ 59956 w 370"/>
                <a:gd name="T101" fmla="*/ 47551 h 129"/>
                <a:gd name="T102" fmla="*/ 66521 w 370"/>
                <a:gd name="T103" fmla="*/ 48585 h 129"/>
                <a:gd name="T104" fmla="*/ 72647 w 370"/>
                <a:gd name="T105" fmla="*/ 50135 h 129"/>
                <a:gd name="T106" fmla="*/ 77461 w 370"/>
                <a:gd name="T107" fmla="*/ 51686 h 129"/>
                <a:gd name="T108" fmla="*/ 82713 w 370"/>
                <a:gd name="T109" fmla="*/ 53753 h 129"/>
                <a:gd name="T110" fmla="*/ 87965 w 370"/>
                <a:gd name="T111" fmla="*/ 55821 h 129"/>
                <a:gd name="T112" fmla="*/ 94967 w 370"/>
                <a:gd name="T113" fmla="*/ 56855 h 129"/>
                <a:gd name="T114" fmla="*/ 103720 w 370"/>
                <a:gd name="T115" fmla="*/ 57372 h 129"/>
                <a:gd name="T116" fmla="*/ 103720 w 370"/>
                <a:gd name="T117" fmla="*/ 60473 h 129"/>
                <a:gd name="T118" fmla="*/ 109409 w 370"/>
                <a:gd name="T119" fmla="*/ 60473 h 12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63" name="Freeform 470">
              <a:extLst>
                <a:ext uri="{FF2B5EF4-FFF2-40B4-BE49-F238E27FC236}">
                  <a16:creationId xmlns:a16="http://schemas.microsoft.com/office/drawing/2014/main" id="{D527BA11-5D3B-4945-B028-07D2B37CF614}"/>
                </a:ext>
              </a:extLst>
            </p:cNvPr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6370638" y="2565400"/>
              <a:ext cx="30162" cy="57150"/>
            </a:xfrm>
            <a:custGeom>
              <a:avLst/>
              <a:gdLst>
                <a:gd name="T0" fmla="*/ 10180 w 80"/>
                <a:gd name="T1" fmla="*/ 608 h 94"/>
                <a:gd name="T2" fmla="*/ 12819 w 80"/>
                <a:gd name="T3" fmla="*/ 0 h 94"/>
                <a:gd name="T4" fmla="*/ 15458 w 80"/>
                <a:gd name="T5" fmla="*/ 0 h 94"/>
                <a:gd name="T6" fmla="*/ 17720 w 80"/>
                <a:gd name="T7" fmla="*/ 1216 h 94"/>
                <a:gd name="T8" fmla="*/ 20359 w 80"/>
                <a:gd name="T9" fmla="*/ 2432 h 94"/>
                <a:gd name="T10" fmla="*/ 22622 w 80"/>
                <a:gd name="T11" fmla="*/ 3648 h 94"/>
                <a:gd name="T12" fmla="*/ 24884 w 80"/>
                <a:gd name="T13" fmla="*/ 4864 h 94"/>
                <a:gd name="T14" fmla="*/ 27523 w 80"/>
                <a:gd name="T15" fmla="*/ 4864 h 94"/>
                <a:gd name="T16" fmla="*/ 30162 w 80"/>
                <a:gd name="T17" fmla="*/ 4256 h 94"/>
                <a:gd name="T18" fmla="*/ 30162 w 80"/>
                <a:gd name="T19" fmla="*/ 23103 h 94"/>
                <a:gd name="T20" fmla="*/ 28277 w 80"/>
                <a:gd name="T21" fmla="*/ 26751 h 94"/>
                <a:gd name="T22" fmla="*/ 26015 w 80"/>
                <a:gd name="T23" fmla="*/ 31007 h 94"/>
                <a:gd name="T24" fmla="*/ 24130 w 80"/>
                <a:gd name="T25" fmla="*/ 35871 h 94"/>
                <a:gd name="T26" fmla="*/ 21867 w 80"/>
                <a:gd name="T27" fmla="*/ 41343 h 94"/>
                <a:gd name="T28" fmla="*/ 19228 w 80"/>
                <a:gd name="T29" fmla="*/ 51070 h 94"/>
                <a:gd name="T30" fmla="*/ 17720 w 80"/>
                <a:gd name="T31" fmla="*/ 57150 h 94"/>
                <a:gd name="T32" fmla="*/ 16212 w 80"/>
                <a:gd name="T33" fmla="*/ 56542 h 94"/>
                <a:gd name="T34" fmla="*/ 15081 w 80"/>
                <a:gd name="T35" fmla="*/ 55934 h 94"/>
                <a:gd name="T36" fmla="*/ 13950 w 80"/>
                <a:gd name="T37" fmla="*/ 55326 h 94"/>
                <a:gd name="T38" fmla="*/ 12819 w 80"/>
                <a:gd name="T39" fmla="*/ 54110 h 94"/>
                <a:gd name="T40" fmla="*/ 10934 w 80"/>
                <a:gd name="T41" fmla="*/ 51070 h 94"/>
                <a:gd name="T42" fmla="*/ 8672 w 80"/>
                <a:gd name="T43" fmla="*/ 47422 h 94"/>
                <a:gd name="T44" fmla="*/ 7163 w 80"/>
                <a:gd name="T45" fmla="*/ 43774 h 94"/>
                <a:gd name="T46" fmla="*/ 4901 w 80"/>
                <a:gd name="T47" fmla="*/ 39519 h 94"/>
                <a:gd name="T48" fmla="*/ 2639 w 80"/>
                <a:gd name="T49" fmla="*/ 36479 h 94"/>
                <a:gd name="T50" fmla="*/ 0 w 80"/>
                <a:gd name="T51" fmla="*/ 34047 h 94"/>
                <a:gd name="T52" fmla="*/ 3016 w 80"/>
                <a:gd name="T53" fmla="*/ 24927 h 94"/>
                <a:gd name="T54" fmla="*/ 4901 w 80"/>
                <a:gd name="T55" fmla="*/ 17631 h 94"/>
                <a:gd name="T56" fmla="*/ 7163 w 80"/>
                <a:gd name="T57" fmla="*/ 10336 h 94"/>
                <a:gd name="T58" fmla="*/ 10180 w 80"/>
                <a:gd name="T59" fmla="*/ 608 h 9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64" name="Freeform 471">
              <a:extLst>
                <a:ext uri="{FF2B5EF4-FFF2-40B4-BE49-F238E27FC236}">
                  <a16:creationId xmlns:a16="http://schemas.microsoft.com/office/drawing/2014/main" id="{08F0C0A4-F392-4163-848B-2678DFA52985}"/>
                </a:ext>
              </a:extLst>
            </p:cNvPr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6186488" y="4576763"/>
              <a:ext cx="61912" cy="57150"/>
            </a:xfrm>
            <a:custGeom>
              <a:avLst/>
              <a:gdLst>
                <a:gd name="T0" fmla="*/ 1376 w 135"/>
                <a:gd name="T1" fmla="*/ 32074 h 98"/>
                <a:gd name="T2" fmla="*/ 5045 w 135"/>
                <a:gd name="T3" fmla="*/ 31491 h 98"/>
                <a:gd name="T4" fmla="*/ 8255 w 135"/>
                <a:gd name="T5" fmla="*/ 30908 h 98"/>
                <a:gd name="T6" fmla="*/ 11007 w 135"/>
                <a:gd name="T7" fmla="*/ 29158 h 98"/>
                <a:gd name="T8" fmla="*/ 14217 w 135"/>
                <a:gd name="T9" fmla="*/ 27409 h 98"/>
                <a:gd name="T10" fmla="*/ 19262 w 135"/>
                <a:gd name="T11" fmla="*/ 22160 h 98"/>
                <a:gd name="T12" fmla="*/ 23848 w 135"/>
                <a:gd name="T13" fmla="*/ 16329 h 98"/>
                <a:gd name="T14" fmla="*/ 27975 w 135"/>
                <a:gd name="T15" fmla="*/ 10497 h 98"/>
                <a:gd name="T16" fmla="*/ 32561 w 135"/>
                <a:gd name="T17" fmla="*/ 4665 h 98"/>
                <a:gd name="T18" fmla="*/ 34854 w 135"/>
                <a:gd name="T19" fmla="*/ 2916 h 98"/>
                <a:gd name="T20" fmla="*/ 37606 w 135"/>
                <a:gd name="T21" fmla="*/ 1166 h 98"/>
                <a:gd name="T22" fmla="*/ 40357 w 135"/>
                <a:gd name="T23" fmla="*/ 0 h 98"/>
                <a:gd name="T24" fmla="*/ 44026 w 135"/>
                <a:gd name="T25" fmla="*/ 0 h 98"/>
                <a:gd name="T26" fmla="*/ 46778 w 135"/>
                <a:gd name="T27" fmla="*/ 0 h 98"/>
                <a:gd name="T28" fmla="*/ 50447 w 135"/>
                <a:gd name="T29" fmla="*/ 1749 h 98"/>
                <a:gd name="T30" fmla="*/ 53657 w 135"/>
                <a:gd name="T31" fmla="*/ 3499 h 98"/>
                <a:gd name="T32" fmla="*/ 56409 w 135"/>
                <a:gd name="T33" fmla="*/ 6415 h 98"/>
                <a:gd name="T34" fmla="*/ 58702 w 135"/>
                <a:gd name="T35" fmla="*/ 9331 h 98"/>
                <a:gd name="T36" fmla="*/ 60536 w 135"/>
                <a:gd name="T37" fmla="*/ 13996 h 98"/>
                <a:gd name="T38" fmla="*/ 61453 w 135"/>
                <a:gd name="T39" fmla="*/ 17495 h 98"/>
                <a:gd name="T40" fmla="*/ 61912 w 135"/>
                <a:gd name="T41" fmla="*/ 21577 h 98"/>
                <a:gd name="T42" fmla="*/ 61453 w 135"/>
                <a:gd name="T43" fmla="*/ 23327 h 98"/>
                <a:gd name="T44" fmla="*/ 60536 w 135"/>
                <a:gd name="T45" fmla="*/ 25076 h 98"/>
                <a:gd name="T46" fmla="*/ 59160 w 135"/>
                <a:gd name="T47" fmla="*/ 27409 h 98"/>
                <a:gd name="T48" fmla="*/ 56867 w 135"/>
                <a:gd name="T49" fmla="*/ 29741 h 98"/>
                <a:gd name="T50" fmla="*/ 51823 w 135"/>
                <a:gd name="T51" fmla="*/ 35573 h 98"/>
                <a:gd name="T52" fmla="*/ 45861 w 135"/>
                <a:gd name="T53" fmla="*/ 41988 h 98"/>
                <a:gd name="T54" fmla="*/ 39899 w 135"/>
                <a:gd name="T55" fmla="*/ 47819 h 98"/>
                <a:gd name="T56" fmla="*/ 33937 w 135"/>
                <a:gd name="T57" fmla="*/ 53068 h 98"/>
                <a:gd name="T58" fmla="*/ 28892 w 135"/>
                <a:gd name="T59" fmla="*/ 55984 h 98"/>
                <a:gd name="T60" fmla="*/ 25223 w 135"/>
                <a:gd name="T61" fmla="*/ 57150 h 98"/>
                <a:gd name="T62" fmla="*/ 23389 w 135"/>
                <a:gd name="T63" fmla="*/ 56567 h 98"/>
                <a:gd name="T64" fmla="*/ 19720 w 135"/>
                <a:gd name="T65" fmla="*/ 53651 h 98"/>
                <a:gd name="T66" fmla="*/ 14675 w 135"/>
                <a:gd name="T67" fmla="*/ 49569 h 98"/>
                <a:gd name="T68" fmla="*/ 9631 w 135"/>
                <a:gd name="T69" fmla="*/ 44904 h 98"/>
                <a:gd name="T70" fmla="*/ 5045 w 135"/>
                <a:gd name="T71" fmla="*/ 39655 h 98"/>
                <a:gd name="T72" fmla="*/ 2293 w 135"/>
                <a:gd name="T73" fmla="*/ 36156 h 98"/>
                <a:gd name="T74" fmla="*/ 459 w 135"/>
                <a:gd name="T75" fmla="*/ 34407 h 98"/>
                <a:gd name="T76" fmla="*/ 0 w 135"/>
                <a:gd name="T77" fmla="*/ 33240 h 98"/>
                <a:gd name="T78" fmla="*/ 0 w 135"/>
                <a:gd name="T79" fmla="*/ 32657 h 98"/>
                <a:gd name="T80" fmla="*/ 1376 w 135"/>
                <a:gd name="T81" fmla="*/ 32074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65" name="Freeform 472">
              <a:extLst>
                <a:ext uri="{FF2B5EF4-FFF2-40B4-BE49-F238E27FC236}">
                  <a16:creationId xmlns:a16="http://schemas.microsoft.com/office/drawing/2014/main" id="{207B5FB2-5B04-4E4C-9349-0A252B351BB7}"/>
                </a:ext>
              </a:extLst>
            </p:cNvPr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5957888" y="1892300"/>
              <a:ext cx="131762" cy="84138"/>
            </a:xfrm>
            <a:custGeom>
              <a:avLst/>
              <a:gdLst>
                <a:gd name="T0" fmla="*/ 81084 w 312"/>
                <a:gd name="T1" fmla="*/ 84138 h 155"/>
                <a:gd name="T2" fmla="*/ 81929 w 312"/>
                <a:gd name="T3" fmla="*/ 81967 h 155"/>
                <a:gd name="T4" fmla="*/ 83196 w 312"/>
                <a:gd name="T5" fmla="*/ 80338 h 155"/>
                <a:gd name="T6" fmla="*/ 84463 w 312"/>
                <a:gd name="T7" fmla="*/ 78710 h 155"/>
                <a:gd name="T8" fmla="*/ 85730 w 312"/>
                <a:gd name="T9" fmla="*/ 77081 h 155"/>
                <a:gd name="T10" fmla="*/ 89108 w 312"/>
                <a:gd name="T11" fmla="*/ 74367 h 155"/>
                <a:gd name="T12" fmla="*/ 92909 w 312"/>
                <a:gd name="T13" fmla="*/ 71653 h 155"/>
                <a:gd name="T14" fmla="*/ 100511 w 312"/>
                <a:gd name="T15" fmla="*/ 66768 h 155"/>
                <a:gd name="T16" fmla="*/ 106845 w 312"/>
                <a:gd name="T17" fmla="*/ 63511 h 155"/>
                <a:gd name="T18" fmla="*/ 107690 w 312"/>
                <a:gd name="T19" fmla="*/ 59168 h 155"/>
                <a:gd name="T20" fmla="*/ 109802 w 312"/>
                <a:gd name="T21" fmla="*/ 52654 h 155"/>
                <a:gd name="T22" fmla="*/ 111491 w 312"/>
                <a:gd name="T23" fmla="*/ 49397 h 155"/>
                <a:gd name="T24" fmla="*/ 112758 w 312"/>
                <a:gd name="T25" fmla="*/ 46683 h 155"/>
                <a:gd name="T26" fmla="*/ 113602 w 312"/>
                <a:gd name="T27" fmla="*/ 44512 h 155"/>
                <a:gd name="T28" fmla="*/ 114869 w 312"/>
                <a:gd name="T29" fmla="*/ 43969 h 155"/>
                <a:gd name="T30" fmla="*/ 131762 w 312"/>
                <a:gd name="T31" fmla="*/ 23884 h 155"/>
                <a:gd name="T32" fmla="*/ 131762 w 312"/>
                <a:gd name="T33" fmla="*/ 21170 h 155"/>
                <a:gd name="T34" fmla="*/ 130917 w 312"/>
                <a:gd name="T35" fmla="*/ 18999 h 155"/>
                <a:gd name="T36" fmla="*/ 129228 w 312"/>
                <a:gd name="T37" fmla="*/ 17370 h 155"/>
                <a:gd name="T38" fmla="*/ 127539 w 312"/>
                <a:gd name="T39" fmla="*/ 16285 h 155"/>
                <a:gd name="T40" fmla="*/ 122893 w 312"/>
                <a:gd name="T41" fmla="*/ 15199 h 155"/>
                <a:gd name="T42" fmla="*/ 118248 w 312"/>
                <a:gd name="T43" fmla="*/ 14656 h 155"/>
                <a:gd name="T44" fmla="*/ 113180 w 312"/>
                <a:gd name="T45" fmla="*/ 14656 h 155"/>
                <a:gd name="T46" fmla="*/ 109379 w 312"/>
                <a:gd name="T47" fmla="*/ 14656 h 155"/>
                <a:gd name="T48" fmla="*/ 108112 w 312"/>
                <a:gd name="T49" fmla="*/ 14113 h 155"/>
                <a:gd name="T50" fmla="*/ 106845 w 312"/>
                <a:gd name="T51" fmla="*/ 13571 h 155"/>
                <a:gd name="T52" fmla="*/ 106423 w 312"/>
                <a:gd name="T53" fmla="*/ 12485 h 155"/>
                <a:gd name="T54" fmla="*/ 106845 w 312"/>
                <a:gd name="T55" fmla="*/ 10857 h 155"/>
                <a:gd name="T56" fmla="*/ 97977 w 312"/>
                <a:gd name="T57" fmla="*/ 10314 h 155"/>
                <a:gd name="T58" fmla="*/ 91220 w 312"/>
                <a:gd name="T59" fmla="*/ 9228 h 155"/>
                <a:gd name="T60" fmla="*/ 85307 w 312"/>
                <a:gd name="T61" fmla="*/ 7057 h 155"/>
                <a:gd name="T62" fmla="*/ 79817 w 312"/>
                <a:gd name="T63" fmla="*/ 4885 h 155"/>
                <a:gd name="T64" fmla="*/ 74750 w 312"/>
                <a:gd name="T65" fmla="*/ 3257 h 155"/>
                <a:gd name="T66" fmla="*/ 68837 w 312"/>
                <a:gd name="T67" fmla="*/ 1628 h 155"/>
                <a:gd name="T68" fmla="*/ 61658 w 312"/>
                <a:gd name="T69" fmla="*/ 543 h 155"/>
                <a:gd name="T70" fmla="*/ 53212 w 312"/>
                <a:gd name="T71" fmla="*/ 0 h 155"/>
                <a:gd name="T72" fmla="*/ 46455 w 312"/>
                <a:gd name="T73" fmla="*/ 543 h 155"/>
                <a:gd name="T74" fmla="*/ 31251 w 312"/>
                <a:gd name="T75" fmla="*/ 2171 h 155"/>
                <a:gd name="T76" fmla="*/ 22383 w 312"/>
                <a:gd name="T77" fmla="*/ 3257 h 155"/>
                <a:gd name="T78" fmla="*/ 14359 w 312"/>
                <a:gd name="T79" fmla="*/ 4343 h 155"/>
                <a:gd name="T80" fmla="*/ 7602 w 312"/>
                <a:gd name="T81" fmla="*/ 5428 h 155"/>
                <a:gd name="T82" fmla="*/ 2956 w 312"/>
                <a:gd name="T83" fmla="*/ 6514 h 155"/>
                <a:gd name="T84" fmla="*/ 3801 w 312"/>
                <a:gd name="T85" fmla="*/ 9228 h 155"/>
                <a:gd name="T86" fmla="*/ 4645 w 312"/>
                <a:gd name="T87" fmla="*/ 10314 h 155"/>
                <a:gd name="T88" fmla="*/ 5490 w 312"/>
                <a:gd name="T89" fmla="*/ 10314 h 155"/>
                <a:gd name="T90" fmla="*/ 6335 w 312"/>
                <a:gd name="T91" fmla="*/ 10857 h 155"/>
                <a:gd name="T92" fmla="*/ 7602 w 312"/>
                <a:gd name="T93" fmla="*/ 10857 h 155"/>
                <a:gd name="T94" fmla="*/ 8024 w 312"/>
                <a:gd name="T95" fmla="*/ 10857 h 155"/>
                <a:gd name="T96" fmla="*/ 8446 w 312"/>
                <a:gd name="T97" fmla="*/ 11942 h 155"/>
                <a:gd name="T98" fmla="*/ 8446 w 312"/>
                <a:gd name="T99" fmla="*/ 14113 h 155"/>
                <a:gd name="T100" fmla="*/ 8446 w 312"/>
                <a:gd name="T101" fmla="*/ 16285 h 155"/>
                <a:gd name="T102" fmla="*/ 8024 w 312"/>
                <a:gd name="T103" fmla="*/ 18999 h 155"/>
                <a:gd name="T104" fmla="*/ 7602 w 312"/>
                <a:gd name="T105" fmla="*/ 21170 h 155"/>
                <a:gd name="T106" fmla="*/ 6335 w 312"/>
                <a:gd name="T107" fmla="*/ 22799 h 155"/>
                <a:gd name="T108" fmla="*/ 5068 w 312"/>
                <a:gd name="T109" fmla="*/ 24427 h 155"/>
                <a:gd name="T110" fmla="*/ 3801 w 312"/>
                <a:gd name="T111" fmla="*/ 26056 h 155"/>
                <a:gd name="T112" fmla="*/ 1689 w 312"/>
                <a:gd name="T113" fmla="*/ 26598 h 155"/>
                <a:gd name="T114" fmla="*/ 0 w 312"/>
                <a:gd name="T115" fmla="*/ 27141 h 155"/>
                <a:gd name="T116" fmla="*/ 31251 w 312"/>
                <a:gd name="T117" fmla="*/ 36912 h 155"/>
                <a:gd name="T118" fmla="*/ 36741 w 312"/>
                <a:gd name="T119" fmla="*/ 60254 h 155"/>
                <a:gd name="T120" fmla="*/ 70104 w 312"/>
                <a:gd name="T121" fmla="*/ 66768 h 155"/>
                <a:gd name="T122" fmla="*/ 81084 w 312"/>
                <a:gd name="T123" fmla="*/ 84138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66" name="Freeform 473">
              <a:extLst>
                <a:ext uri="{FF2B5EF4-FFF2-40B4-BE49-F238E27FC236}">
                  <a16:creationId xmlns:a16="http://schemas.microsoft.com/office/drawing/2014/main" id="{AAD95620-A9FB-4860-AF9F-6F5F3C664719}"/>
                </a:ext>
              </a:extLst>
            </p:cNvPr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5664200" y="2078039"/>
              <a:ext cx="19050" cy="60325"/>
            </a:xfrm>
            <a:custGeom>
              <a:avLst/>
              <a:gdLst>
                <a:gd name="T0" fmla="*/ 0 w 46"/>
                <a:gd name="T1" fmla="*/ 30163 h 50"/>
                <a:gd name="T2" fmla="*/ 828 w 46"/>
                <a:gd name="T3" fmla="*/ 21717 h 50"/>
                <a:gd name="T4" fmla="*/ 414 w 46"/>
                <a:gd name="T5" fmla="*/ 16891 h 50"/>
                <a:gd name="T6" fmla="*/ 828 w 46"/>
                <a:gd name="T7" fmla="*/ 15685 h 50"/>
                <a:gd name="T8" fmla="*/ 1242 w 46"/>
                <a:gd name="T9" fmla="*/ 15685 h 50"/>
                <a:gd name="T10" fmla="*/ 2485 w 46"/>
                <a:gd name="T11" fmla="*/ 14478 h 50"/>
                <a:gd name="T12" fmla="*/ 5384 w 46"/>
                <a:gd name="T13" fmla="*/ 14478 h 50"/>
                <a:gd name="T14" fmla="*/ 19050 w 46"/>
                <a:gd name="T15" fmla="*/ 0 h 50"/>
                <a:gd name="T16" fmla="*/ 19050 w 46"/>
                <a:gd name="T17" fmla="*/ 60325 h 50"/>
                <a:gd name="T18" fmla="*/ 16565 w 46"/>
                <a:gd name="T19" fmla="*/ 59119 h 50"/>
                <a:gd name="T20" fmla="*/ 13666 w 46"/>
                <a:gd name="T21" fmla="*/ 54293 h 50"/>
                <a:gd name="T22" fmla="*/ 10353 w 46"/>
                <a:gd name="T23" fmla="*/ 49467 h 50"/>
                <a:gd name="T24" fmla="*/ 7040 w 46"/>
                <a:gd name="T25" fmla="*/ 44641 h 50"/>
                <a:gd name="T26" fmla="*/ 2071 w 46"/>
                <a:gd name="T27" fmla="*/ 33782 h 50"/>
                <a:gd name="T28" fmla="*/ 0 w 46"/>
                <a:gd name="T29" fmla="*/ 30163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67" name="Freeform 474">
              <a:extLst>
                <a:ext uri="{FF2B5EF4-FFF2-40B4-BE49-F238E27FC236}">
                  <a16:creationId xmlns:a16="http://schemas.microsoft.com/office/drawing/2014/main" id="{729D900F-B848-401F-8CB3-5FC548A82FCF}"/>
                </a:ext>
              </a:extLst>
            </p:cNvPr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6361113" y="3962400"/>
              <a:ext cx="69850" cy="241300"/>
            </a:xfrm>
            <a:custGeom>
              <a:avLst/>
              <a:gdLst>
                <a:gd name="T0" fmla="*/ 4208 w 166"/>
                <a:gd name="T1" fmla="*/ 149225 h 456"/>
                <a:gd name="T2" fmla="*/ 7995 w 166"/>
                <a:gd name="T3" fmla="*/ 153458 h 456"/>
                <a:gd name="T4" fmla="*/ 15569 w 166"/>
                <a:gd name="T5" fmla="*/ 158750 h 456"/>
                <a:gd name="T6" fmla="*/ 24405 w 166"/>
                <a:gd name="T7" fmla="*/ 161925 h 456"/>
                <a:gd name="T8" fmla="*/ 29455 w 166"/>
                <a:gd name="T9" fmla="*/ 165100 h 456"/>
                <a:gd name="T10" fmla="*/ 33663 w 166"/>
                <a:gd name="T11" fmla="*/ 169333 h 456"/>
                <a:gd name="T12" fmla="*/ 36187 w 166"/>
                <a:gd name="T13" fmla="*/ 175154 h 456"/>
                <a:gd name="T14" fmla="*/ 36187 w 166"/>
                <a:gd name="T15" fmla="*/ 183621 h 456"/>
                <a:gd name="T16" fmla="*/ 32821 w 166"/>
                <a:gd name="T17" fmla="*/ 192088 h 456"/>
                <a:gd name="T18" fmla="*/ 28613 w 166"/>
                <a:gd name="T19" fmla="*/ 198438 h 456"/>
                <a:gd name="T20" fmla="*/ 26089 w 166"/>
                <a:gd name="T21" fmla="*/ 205317 h 456"/>
                <a:gd name="T22" fmla="*/ 25247 w 166"/>
                <a:gd name="T23" fmla="*/ 211667 h 456"/>
                <a:gd name="T24" fmla="*/ 26930 w 166"/>
                <a:gd name="T25" fmla="*/ 217487 h 456"/>
                <a:gd name="T26" fmla="*/ 31980 w 166"/>
                <a:gd name="T27" fmla="*/ 224367 h 456"/>
                <a:gd name="T28" fmla="*/ 43761 w 166"/>
                <a:gd name="T29" fmla="*/ 235479 h 456"/>
                <a:gd name="T30" fmla="*/ 50494 w 166"/>
                <a:gd name="T31" fmla="*/ 234421 h 456"/>
                <a:gd name="T32" fmla="*/ 50494 w 166"/>
                <a:gd name="T33" fmla="*/ 223837 h 456"/>
                <a:gd name="T34" fmla="*/ 55123 w 166"/>
                <a:gd name="T35" fmla="*/ 218546 h 456"/>
                <a:gd name="T36" fmla="*/ 61014 w 166"/>
                <a:gd name="T37" fmla="*/ 215371 h 456"/>
                <a:gd name="T38" fmla="*/ 64380 w 166"/>
                <a:gd name="T39" fmla="*/ 212725 h 456"/>
                <a:gd name="T40" fmla="*/ 67325 w 166"/>
                <a:gd name="T41" fmla="*/ 207962 h 456"/>
                <a:gd name="T42" fmla="*/ 69850 w 166"/>
                <a:gd name="T43" fmla="*/ 198438 h 456"/>
                <a:gd name="T44" fmla="*/ 69429 w 166"/>
                <a:gd name="T45" fmla="*/ 185208 h 456"/>
                <a:gd name="T46" fmla="*/ 66484 w 166"/>
                <a:gd name="T47" fmla="*/ 173567 h 456"/>
                <a:gd name="T48" fmla="*/ 62276 w 166"/>
                <a:gd name="T49" fmla="*/ 162454 h 456"/>
                <a:gd name="T50" fmla="*/ 59330 w 166"/>
                <a:gd name="T51" fmla="*/ 150283 h 456"/>
                <a:gd name="T52" fmla="*/ 56806 w 166"/>
                <a:gd name="T53" fmla="*/ 142346 h 456"/>
                <a:gd name="T54" fmla="*/ 49652 w 166"/>
                <a:gd name="T55" fmla="*/ 132821 h 456"/>
                <a:gd name="T56" fmla="*/ 40816 w 166"/>
                <a:gd name="T57" fmla="*/ 118533 h 456"/>
                <a:gd name="T58" fmla="*/ 35767 w 166"/>
                <a:gd name="T59" fmla="*/ 109008 h 456"/>
                <a:gd name="T60" fmla="*/ 33663 w 166"/>
                <a:gd name="T61" fmla="*/ 103187 h 456"/>
                <a:gd name="T62" fmla="*/ 34083 w 166"/>
                <a:gd name="T63" fmla="*/ 93663 h 456"/>
                <a:gd name="T64" fmla="*/ 37029 w 166"/>
                <a:gd name="T65" fmla="*/ 77788 h 456"/>
                <a:gd name="T66" fmla="*/ 40395 w 166"/>
                <a:gd name="T67" fmla="*/ 68263 h 456"/>
                <a:gd name="T68" fmla="*/ 41237 w 166"/>
                <a:gd name="T69" fmla="*/ 59796 h 456"/>
                <a:gd name="T70" fmla="*/ 39974 w 166"/>
                <a:gd name="T71" fmla="*/ 43392 h 456"/>
                <a:gd name="T72" fmla="*/ 38712 w 166"/>
                <a:gd name="T73" fmla="*/ 23813 h 456"/>
                <a:gd name="T74" fmla="*/ 37450 w 166"/>
                <a:gd name="T75" fmla="*/ 9525 h 456"/>
                <a:gd name="T76" fmla="*/ 29876 w 166"/>
                <a:gd name="T77" fmla="*/ 4233 h 456"/>
                <a:gd name="T78" fmla="*/ 13886 w 166"/>
                <a:gd name="T79" fmla="*/ 2117 h 456"/>
                <a:gd name="T80" fmla="*/ 5049 w 166"/>
                <a:gd name="T81" fmla="*/ 5292 h 456"/>
                <a:gd name="T82" fmla="*/ 9257 w 166"/>
                <a:gd name="T83" fmla="*/ 13229 h 456"/>
                <a:gd name="T84" fmla="*/ 13886 w 166"/>
                <a:gd name="T85" fmla="*/ 15875 h 456"/>
                <a:gd name="T86" fmla="*/ 16831 w 166"/>
                <a:gd name="T87" fmla="*/ 23283 h 456"/>
                <a:gd name="T88" fmla="*/ 16831 w 166"/>
                <a:gd name="T89" fmla="*/ 33867 h 456"/>
                <a:gd name="T90" fmla="*/ 16831 w 166"/>
                <a:gd name="T91" fmla="*/ 41275 h 456"/>
                <a:gd name="T92" fmla="*/ 15148 w 166"/>
                <a:gd name="T93" fmla="*/ 44979 h 456"/>
                <a:gd name="T94" fmla="*/ 12203 w 166"/>
                <a:gd name="T95" fmla="*/ 50271 h 456"/>
                <a:gd name="T96" fmla="*/ 6312 w 166"/>
                <a:gd name="T97" fmla="*/ 57679 h 456"/>
                <a:gd name="T98" fmla="*/ 1262 w 166"/>
                <a:gd name="T99" fmla="*/ 64558 h 456"/>
                <a:gd name="T100" fmla="*/ 2945 w 166"/>
                <a:gd name="T101" fmla="*/ 146579 h 4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68" name="Freeform 475">
              <a:extLst>
                <a:ext uri="{FF2B5EF4-FFF2-40B4-BE49-F238E27FC236}">
                  <a16:creationId xmlns:a16="http://schemas.microsoft.com/office/drawing/2014/main" id="{79286BF7-2DE6-433F-B8FE-135E6FC5F739}"/>
                </a:ext>
              </a:extLst>
            </p:cNvPr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5853114" y="2533650"/>
              <a:ext cx="14287" cy="57150"/>
            </a:xfrm>
            <a:custGeom>
              <a:avLst/>
              <a:gdLst>
                <a:gd name="T0" fmla="*/ 14287 w 27"/>
                <a:gd name="T1" fmla="*/ 0 h 19"/>
                <a:gd name="T2" fmla="*/ 14287 w 27"/>
                <a:gd name="T3" fmla="*/ 36095 h 19"/>
                <a:gd name="T4" fmla="*/ 14287 w 27"/>
                <a:gd name="T5" fmla="*/ 57150 h 19"/>
                <a:gd name="T6" fmla="*/ 4762 w 27"/>
                <a:gd name="T7" fmla="*/ 57150 h 19"/>
                <a:gd name="T8" fmla="*/ 0 w 27"/>
                <a:gd name="T9" fmla="*/ 57150 h 19"/>
                <a:gd name="T10" fmla="*/ 4762 w 27"/>
                <a:gd name="T11" fmla="*/ 36095 h 19"/>
                <a:gd name="T12" fmla="*/ 1428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69" name="Freeform 476">
              <a:extLst>
                <a:ext uri="{FF2B5EF4-FFF2-40B4-BE49-F238E27FC236}">
                  <a16:creationId xmlns:a16="http://schemas.microsoft.com/office/drawing/2014/main" id="{4CE25CC3-CBA2-4744-996B-A446A5424473}"/>
                </a:ext>
              </a:extLst>
            </p:cNvPr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6172201" y="4154489"/>
              <a:ext cx="188913" cy="217487"/>
            </a:xfrm>
            <a:custGeom>
              <a:avLst/>
              <a:gdLst>
                <a:gd name="T0" fmla="*/ 122492 w 438"/>
                <a:gd name="T1" fmla="*/ 4285 h 406"/>
                <a:gd name="T2" fmla="*/ 138019 w 438"/>
                <a:gd name="T3" fmla="*/ 14463 h 406"/>
                <a:gd name="T4" fmla="*/ 156565 w 438"/>
                <a:gd name="T5" fmla="*/ 25177 h 406"/>
                <a:gd name="T6" fmla="*/ 170367 w 438"/>
                <a:gd name="T7" fmla="*/ 31070 h 406"/>
                <a:gd name="T8" fmla="*/ 179424 w 438"/>
                <a:gd name="T9" fmla="*/ 32677 h 406"/>
                <a:gd name="T10" fmla="*/ 183306 w 438"/>
                <a:gd name="T11" fmla="*/ 43390 h 406"/>
                <a:gd name="T12" fmla="*/ 185031 w 438"/>
                <a:gd name="T13" fmla="*/ 64282 h 406"/>
                <a:gd name="T14" fmla="*/ 187188 w 438"/>
                <a:gd name="T15" fmla="*/ 84102 h 406"/>
                <a:gd name="T16" fmla="*/ 188913 w 438"/>
                <a:gd name="T17" fmla="*/ 104458 h 406"/>
                <a:gd name="T18" fmla="*/ 188913 w 438"/>
                <a:gd name="T19" fmla="*/ 119457 h 406"/>
                <a:gd name="T20" fmla="*/ 187619 w 438"/>
                <a:gd name="T21" fmla="*/ 126957 h 406"/>
                <a:gd name="T22" fmla="*/ 183306 w 438"/>
                <a:gd name="T23" fmla="*/ 138742 h 406"/>
                <a:gd name="T24" fmla="*/ 175542 w 438"/>
                <a:gd name="T25" fmla="*/ 153741 h 406"/>
                <a:gd name="T26" fmla="*/ 168642 w 438"/>
                <a:gd name="T27" fmla="*/ 164454 h 406"/>
                <a:gd name="T28" fmla="*/ 164328 w 438"/>
                <a:gd name="T29" fmla="*/ 171418 h 406"/>
                <a:gd name="T30" fmla="*/ 161309 w 438"/>
                <a:gd name="T31" fmla="*/ 177847 h 406"/>
                <a:gd name="T32" fmla="*/ 160447 w 438"/>
                <a:gd name="T33" fmla="*/ 188560 h 406"/>
                <a:gd name="T34" fmla="*/ 154840 w 438"/>
                <a:gd name="T35" fmla="*/ 199274 h 406"/>
                <a:gd name="T36" fmla="*/ 138450 w 438"/>
                <a:gd name="T37" fmla="*/ 214809 h 406"/>
                <a:gd name="T38" fmla="*/ 88418 w 438"/>
                <a:gd name="T39" fmla="*/ 207845 h 406"/>
                <a:gd name="T40" fmla="*/ 78498 w 438"/>
                <a:gd name="T41" fmla="*/ 203024 h 406"/>
                <a:gd name="T42" fmla="*/ 71166 w 438"/>
                <a:gd name="T43" fmla="*/ 198202 h 406"/>
                <a:gd name="T44" fmla="*/ 64696 w 438"/>
                <a:gd name="T45" fmla="*/ 192310 h 406"/>
                <a:gd name="T46" fmla="*/ 59952 w 438"/>
                <a:gd name="T47" fmla="*/ 185346 h 406"/>
                <a:gd name="T48" fmla="*/ 53482 w 438"/>
                <a:gd name="T49" fmla="*/ 172490 h 406"/>
                <a:gd name="T50" fmla="*/ 46581 w 438"/>
                <a:gd name="T51" fmla="*/ 158562 h 406"/>
                <a:gd name="T52" fmla="*/ 40543 w 438"/>
                <a:gd name="T53" fmla="*/ 149455 h 406"/>
                <a:gd name="T54" fmla="*/ 31054 w 438"/>
                <a:gd name="T55" fmla="*/ 138742 h 406"/>
                <a:gd name="T56" fmla="*/ 18978 w 438"/>
                <a:gd name="T57" fmla="*/ 125350 h 406"/>
                <a:gd name="T58" fmla="*/ 10351 w 438"/>
                <a:gd name="T59" fmla="*/ 114100 h 406"/>
                <a:gd name="T60" fmla="*/ 5607 w 438"/>
                <a:gd name="T61" fmla="*/ 104458 h 406"/>
                <a:gd name="T62" fmla="*/ 1725 w 438"/>
                <a:gd name="T63" fmla="*/ 94280 h 406"/>
                <a:gd name="T64" fmla="*/ 0 w 438"/>
                <a:gd name="T65" fmla="*/ 82495 h 406"/>
                <a:gd name="T66" fmla="*/ 7764 w 438"/>
                <a:gd name="T67" fmla="*/ 75531 h 406"/>
                <a:gd name="T68" fmla="*/ 17252 w 438"/>
                <a:gd name="T69" fmla="*/ 75531 h 406"/>
                <a:gd name="T70" fmla="*/ 22859 w 438"/>
                <a:gd name="T71" fmla="*/ 75531 h 406"/>
                <a:gd name="T72" fmla="*/ 27172 w 438"/>
                <a:gd name="T73" fmla="*/ 73924 h 406"/>
                <a:gd name="T74" fmla="*/ 33211 w 438"/>
                <a:gd name="T75" fmla="*/ 70174 h 406"/>
                <a:gd name="T76" fmla="*/ 42700 w 438"/>
                <a:gd name="T77" fmla="*/ 57854 h 406"/>
                <a:gd name="T78" fmla="*/ 50463 w 438"/>
                <a:gd name="T79" fmla="*/ 46604 h 406"/>
                <a:gd name="T80" fmla="*/ 56070 w 438"/>
                <a:gd name="T81" fmla="*/ 42855 h 406"/>
                <a:gd name="T82" fmla="*/ 64696 w 438"/>
                <a:gd name="T83" fmla="*/ 38033 h 406"/>
                <a:gd name="T84" fmla="*/ 77204 w 438"/>
                <a:gd name="T85" fmla="*/ 32141 h 406"/>
                <a:gd name="T86" fmla="*/ 87556 w 438"/>
                <a:gd name="T87" fmla="*/ 26784 h 406"/>
                <a:gd name="T88" fmla="*/ 91006 w 438"/>
                <a:gd name="T89" fmla="*/ 23034 h 406"/>
                <a:gd name="T90" fmla="*/ 90575 w 438"/>
                <a:gd name="T91" fmla="*/ 20356 h 406"/>
                <a:gd name="T92" fmla="*/ 91006 w 438"/>
                <a:gd name="T93" fmla="*/ 16070 h 406"/>
                <a:gd name="T94" fmla="*/ 91869 w 438"/>
                <a:gd name="T95" fmla="*/ 9107 h 406"/>
                <a:gd name="T96" fmla="*/ 93594 w 438"/>
                <a:gd name="T97" fmla="*/ 6428 h 406"/>
                <a:gd name="T98" fmla="*/ 97044 w 438"/>
                <a:gd name="T99" fmla="*/ 6428 h 406"/>
                <a:gd name="T100" fmla="*/ 100064 w 438"/>
                <a:gd name="T101" fmla="*/ 4821 h 406"/>
                <a:gd name="T102" fmla="*/ 101789 w 438"/>
                <a:gd name="T103" fmla="*/ 2143 h 406"/>
                <a:gd name="T104" fmla="*/ 105239 w 438"/>
                <a:gd name="T105" fmla="*/ 1071 h 406"/>
                <a:gd name="T106" fmla="*/ 108258 w 438"/>
                <a:gd name="T107" fmla="*/ 1607 h 406"/>
                <a:gd name="T108" fmla="*/ 113865 w 438"/>
                <a:gd name="T109" fmla="*/ 536 h 4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0" name="Freeform 477">
              <a:extLst>
                <a:ext uri="{FF2B5EF4-FFF2-40B4-BE49-F238E27FC236}">
                  <a16:creationId xmlns:a16="http://schemas.microsoft.com/office/drawing/2014/main" id="{2E992D54-5FE8-4F1E-A024-A344D37DD431}"/>
                </a:ext>
              </a:extLst>
            </p:cNvPr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6084889" y="3930650"/>
              <a:ext cx="293687" cy="300038"/>
            </a:xfrm>
            <a:custGeom>
              <a:avLst/>
              <a:gdLst>
                <a:gd name="T0" fmla="*/ 222215 w 678"/>
                <a:gd name="T1" fmla="*/ 4182 h 574"/>
                <a:gd name="T2" fmla="*/ 239108 w 678"/>
                <a:gd name="T3" fmla="*/ 13591 h 574"/>
                <a:gd name="T4" fmla="*/ 279393 w 678"/>
                <a:gd name="T5" fmla="*/ 32931 h 574"/>
                <a:gd name="T6" fmla="*/ 285890 w 678"/>
                <a:gd name="T7" fmla="*/ 45999 h 574"/>
                <a:gd name="T8" fmla="*/ 293687 w 678"/>
                <a:gd name="T9" fmla="*/ 49135 h 574"/>
                <a:gd name="T10" fmla="*/ 293687 w 678"/>
                <a:gd name="T11" fmla="*/ 66385 h 574"/>
                <a:gd name="T12" fmla="*/ 293254 w 678"/>
                <a:gd name="T13" fmla="*/ 75271 h 574"/>
                <a:gd name="T14" fmla="*/ 288922 w 678"/>
                <a:gd name="T15" fmla="*/ 82589 h 574"/>
                <a:gd name="T16" fmla="*/ 280259 w 678"/>
                <a:gd name="T17" fmla="*/ 93043 h 574"/>
                <a:gd name="T18" fmla="*/ 276360 w 678"/>
                <a:gd name="T19" fmla="*/ 180859 h 574"/>
                <a:gd name="T20" fmla="*/ 199690 w 678"/>
                <a:gd name="T21" fmla="*/ 202813 h 574"/>
                <a:gd name="T22" fmla="*/ 199690 w 678"/>
                <a:gd name="T23" fmla="*/ 216926 h 574"/>
                <a:gd name="T24" fmla="*/ 197091 w 678"/>
                <a:gd name="T25" fmla="*/ 227381 h 574"/>
                <a:gd name="T26" fmla="*/ 192326 w 678"/>
                <a:gd name="T27" fmla="*/ 227381 h 574"/>
                <a:gd name="T28" fmla="*/ 187994 w 678"/>
                <a:gd name="T29" fmla="*/ 229994 h 574"/>
                <a:gd name="T30" fmla="*/ 184096 w 678"/>
                <a:gd name="T31" fmla="*/ 232608 h 574"/>
                <a:gd name="T32" fmla="*/ 179331 w 678"/>
                <a:gd name="T33" fmla="*/ 233653 h 574"/>
                <a:gd name="T34" fmla="*/ 178032 w 678"/>
                <a:gd name="T35" fmla="*/ 242017 h 574"/>
                <a:gd name="T36" fmla="*/ 177598 w 678"/>
                <a:gd name="T37" fmla="*/ 247767 h 574"/>
                <a:gd name="T38" fmla="*/ 174566 w 678"/>
                <a:gd name="T39" fmla="*/ 252471 h 574"/>
                <a:gd name="T40" fmla="*/ 158106 w 678"/>
                <a:gd name="T41" fmla="*/ 260312 h 574"/>
                <a:gd name="T42" fmla="*/ 142945 w 678"/>
                <a:gd name="T43" fmla="*/ 268152 h 574"/>
                <a:gd name="T44" fmla="*/ 135581 w 678"/>
                <a:gd name="T45" fmla="*/ 274425 h 574"/>
                <a:gd name="T46" fmla="*/ 119987 w 678"/>
                <a:gd name="T47" fmla="*/ 294811 h 574"/>
                <a:gd name="T48" fmla="*/ 111757 w 678"/>
                <a:gd name="T49" fmla="*/ 299515 h 574"/>
                <a:gd name="T50" fmla="*/ 103094 w 678"/>
                <a:gd name="T51" fmla="*/ 300038 h 574"/>
                <a:gd name="T52" fmla="*/ 83601 w 678"/>
                <a:gd name="T53" fmla="*/ 300038 h 574"/>
                <a:gd name="T54" fmla="*/ 80569 w 678"/>
                <a:gd name="T55" fmla="*/ 292197 h 574"/>
                <a:gd name="T56" fmla="*/ 71473 w 678"/>
                <a:gd name="T57" fmla="*/ 285925 h 574"/>
                <a:gd name="T58" fmla="*/ 57611 w 678"/>
                <a:gd name="T59" fmla="*/ 284879 h 574"/>
                <a:gd name="T60" fmla="*/ 40285 w 678"/>
                <a:gd name="T61" fmla="*/ 290629 h 574"/>
                <a:gd name="T62" fmla="*/ 14295 w 678"/>
                <a:gd name="T63" fmla="*/ 275470 h 574"/>
                <a:gd name="T64" fmla="*/ 0 w 678"/>
                <a:gd name="T65" fmla="*/ 148974 h 574"/>
                <a:gd name="T66" fmla="*/ 31621 w 678"/>
                <a:gd name="T67" fmla="*/ 149496 h 574"/>
                <a:gd name="T68" fmla="*/ 44616 w 678"/>
                <a:gd name="T69" fmla="*/ 147405 h 574"/>
                <a:gd name="T70" fmla="*/ 51547 w 678"/>
                <a:gd name="T71" fmla="*/ 143746 h 574"/>
                <a:gd name="T72" fmla="*/ 55879 w 678"/>
                <a:gd name="T73" fmla="*/ 133815 h 574"/>
                <a:gd name="T74" fmla="*/ 56745 w 678"/>
                <a:gd name="T75" fmla="*/ 119702 h 574"/>
                <a:gd name="T76" fmla="*/ 54579 w 678"/>
                <a:gd name="T77" fmla="*/ 96702 h 574"/>
                <a:gd name="T78" fmla="*/ 56312 w 678"/>
                <a:gd name="T79" fmla="*/ 86248 h 574"/>
                <a:gd name="T80" fmla="*/ 60643 w 678"/>
                <a:gd name="T81" fmla="*/ 89384 h 574"/>
                <a:gd name="T82" fmla="*/ 75371 w 678"/>
                <a:gd name="T83" fmla="*/ 91475 h 574"/>
                <a:gd name="T84" fmla="*/ 81435 w 678"/>
                <a:gd name="T85" fmla="*/ 97225 h 574"/>
                <a:gd name="T86" fmla="*/ 84468 w 678"/>
                <a:gd name="T87" fmla="*/ 105066 h 574"/>
                <a:gd name="T88" fmla="*/ 90099 w 678"/>
                <a:gd name="T89" fmla="*/ 109770 h 574"/>
                <a:gd name="T90" fmla="*/ 104393 w 678"/>
                <a:gd name="T91" fmla="*/ 113429 h 574"/>
                <a:gd name="T92" fmla="*/ 116522 w 678"/>
                <a:gd name="T93" fmla="*/ 111861 h 574"/>
                <a:gd name="T94" fmla="*/ 130383 w 678"/>
                <a:gd name="T95" fmla="*/ 104020 h 574"/>
                <a:gd name="T96" fmla="*/ 138180 w 678"/>
                <a:gd name="T97" fmla="*/ 102452 h 574"/>
                <a:gd name="T98" fmla="*/ 143378 w 678"/>
                <a:gd name="T99" fmla="*/ 100884 h 574"/>
                <a:gd name="T100" fmla="*/ 148576 w 678"/>
                <a:gd name="T101" fmla="*/ 99316 h 574"/>
                <a:gd name="T102" fmla="*/ 154641 w 678"/>
                <a:gd name="T103" fmla="*/ 95134 h 574"/>
                <a:gd name="T104" fmla="*/ 159405 w 678"/>
                <a:gd name="T105" fmla="*/ 87816 h 574"/>
                <a:gd name="T106" fmla="*/ 165903 w 678"/>
                <a:gd name="T107" fmla="*/ 65862 h 574"/>
                <a:gd name="T108" fmla="*/ 174566 w 678"/>
                <a:gd name="T109" fmla="*/ 24568 h 574"/>
                <a:gd name="T110" fmla="*/ 179331 w 678"/>
                <a:gd name="T111" fmla="*/ 5227 h 574"/>
                <a:gd name="T112" fmla="*/ 186695 w 678"/>
                <a:gd name="T113" fmla="*/ 3136 h 574"/>
                <a:gd name="T114" fmla="*/ 196225 w 678"/>
                <a:gd name="T115" fmla="*/ 4182 h 574"/>
                <a:gd name="T116" fmla="*/ 208786 w 678"/>
                <a:gd name="T117" fmla="*/ 523 h 57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1" name="Freeform 478">
              <a:extLst>
                <a:ext uri="{FF2B5EF4-FFF2-40B4-BE49-F238E27FC236}">
                  <a16:creationId xmlns:a16="http://schemas.microsoft.com/office/drawing/2014/main" id="{8D869059-4E70-4E16-BDD1-24BA1DF01D64}"/>
                </a:ext>
              </a:extLst>
            </p:cNvPr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5821364" y="4203700"/>
              <a:ext cx="350837" cy="381000"/>
            </a:xfrm>
            <a:custGeom>
              <a:avLst/>
              <a:gdLst>
                <a:gd name="T0" fmla="*/ 345206 w 810"/>
                <a:gd name="T1" fmla="*/ 22011 h 727"/>
                <a:gd name="T2" fmla="*/ 331779 w 810"/>
                <a:gd name="T3" fmla="*/ 13626 h 727"/>
                <a:gd name="T4" fmla="*/ 310989 w 810"/>
                <a:gd name="T5" fmla="*/ 17294 h 727"/>
                <a:gd name="T6" fmla="*/ 274606 w 810"/>
                <a:gd name="T7" fmla="*/ 23059 h 727"/>
                <a:gd name="T8" fmla="*/ 261612 w 810"/>
                <a:gd name="T9" fmla="*/ 28824 h 727"/>
                <a:gd name="T10" fmla="*/ 121277 w 810"/>
                <a:gd name="T11" fmla="*/ 20963 h 727"/>
                <a:gd name="T12" fmla="*/ 100487 w 810"/>
                <a:gd name="T13" fmla="*/ 19391 h 727"/>
                <a:gd name="T14" fmla="*/ 74499 w 810"/>
                <a:gd name="T15" fmla="*/ 8909 h 727"/>
                <a:gd name="T16" fmla="*/ 50243 w 810"/>
                <a:gd name="T17" fmla="*/ 0 h 727"/>
                <a:gd name="T18" fmla="*/ 35950 w 810"/>
                <a:gd name="T19" fmla="*/ 2620 h 727"/>
                <a:gd name="T20" fmla="*/ 22956 w 810"/>
                <a:gd name="T21" fmla="*/ 12578 h 727"/>
                <a:gd name="T22" fmla="*/ 0 w 810"/>
                <a:gd name="T23" fmla="*/ 28824 h 727"/>
                <a:gd name="T24" fmla="*/ 3032 w 810"/>
                <a:gd name="T25" fmla="*/ 35637 h 727"/>
                <a:gd name="T26" fmla="*/ 11261 w 810"/>
                <a:gd name="T27" fmla="*/ 38781 h 727"/>
                <a:gd name="T28" fmla="*/ 15593 w 810"/>
                <a:gd name="T29" fmla="*/ 67605 h 727"/>
                <a:gd name="T30" fmla="*/ 25988 w 810"/>
                <a:gd name="T31" fmla="*/ 100622 h 727"/>
                <a:gd name="T32" fmla="*/ 47211 w 810"/>
                <a:gd name="T33" fmla="*/ 144644 h 727"/>
                <a:gd name="T34" fmla="*/ 57607 w 810"/>
                <a:gd name="T35" fmla="*/ 157221 h 727"/>
                <a:gd name="T36" fmla="*/ 68868 w 810"/>
                <a:gd name="T37" fmla="*/ 158270 h 727"/>
                <a:gd name="T38" fmla="*/ 68868 w 810"/>
                <a:gd name="T39" fmla="*/ 173992 h 727"/>
                <a:gd name="T40" fmla="*/ 65836 w 810"/>
                <a:gd name="T41" fmla="*/ 188142 h 727"/>
                <a:gd name="T42" fmla="*/ 63237 w 810"/>
                <a:gd name="T43" fmla="*/ 206484 h 727"/>
                <a:gd name="T44" fmla="*/ 64970 w 810"/>
                <a:gd name="T45" fmla="*/ 222730 h 727"/>
                <a:gd name="T46" fmla="*/ 74932 w 810"/>
                <a:gd name="T47" fmla="*/ 253651 h 727"/>
                <a:gd name="T48" fmla="*/ 77531 w 810"/>
                <a:gd name="T49" fmla="*/ 271469 h 727"/>
                <a:gd name="T50" fmla="*/ 80996 w 810"/>
                <a:gd name="T51" fmla="*/ 317587 h 727"/>
                <a:gd name="T52" fmla="*/ 88359 w 810"/>
                <a:gd name="T53" fmla="*/ 339074 h 727"/>
                <a:gd name="T54" fmla="*/ 100054 w 810"/>
                <a:gd name="T55" fmla="*/ 361609 h 727"/>
                <a:gd name="T56" fmla="*/ 106117 w 810"/>
                <a:gd name="T57" fmla="*/ 366850 h 727"/>
                <a:gd name="T58" fmla="*/ 112181 w 810"/>
                <a:gd name="T59" fmla="*/ 374711 h 727"/>
                <a:gd name="T60" fmla="*/ 114780 w 810"/>
                <a:gd name="T61" fmla="*/ 355320 h 727"/>
                <a:gd name="T62" fmla="*/ 133405 w 810"/>
                <a:gd name="T63" fmla="*/ 364754 h 727"/>
                <a:gd name="T64" fmla="*/ 142067 w 810"/>
                <a:gd name="T65" fmla="*/ 373663 h 727"/>
                <a:gd name="T66" fmla="*/ 161125 w 810"/>
                <a:gd name="T67" fmla="*/ 380476 h 727"/>
                <a:gd name="T68" fmla="*/ 176285 w 810"/>
                <a:gd name="T69" fmla="*/ 378904 h 727"/>
                <a:gd name="T70" fmla="*/ 185814 w 810"/>
                <a:gd name="T71" fmla="*/ 372091 h 727"/>
                <a:gd name="T72" fmla="*/ 195776 w 810"/>
                <a:gd name="T73" fmla="*/ 353748 h 727"/>
                <a:gd name="T74" fmla="*/ 200540 w 810"/>
                <a:gd name="T75" fmla="*/ 277234 h 727"/>
                <a:gd name="T76" fmla="*/ 201406 w 810"/>
                <a:gd name="T77" fmla="*/ 251554 h 727"/>
                <a:gd name="T78" fmla="*/ 204005 w 810"/>
                <a:gd name="T79" fmla="*/ 245790 h 727"/>
                <a:gd name="T80" fmla="*/ 200540 w 810"/>
                <a:gd name="T81" fmla="*/ 223254 h 727"/>
                <a:gd name="T82" fmla="*/ 203139 w 810"/>
                <a:gd name="T83" fmla="*/ 192858 h 727"/>
                <a:gd name="T84" fmla="*/ 216566 w 810"/>
                <a:gd name="T85" fmla="*/ 172944 h 727"/>
                <a:gd name="T86" fmla="*/ 227394 w 810"/>
                <a:gd name="T87" fmla="*/ 167703 h 727"/>
                <a:gd name="T88" fmla="*/ 233025 w 810"/>
                <a:gd name="T89" fmla="*/ 121585 h 727"/>
                <a:gd name="T90" fmla="*/ 238656 w 810"/>
                <a:gd name="T91" fmla="*/ 77563 h 727"/>
                <a:gd name="T92" fmla="*/ 234324 w 810"/>
                <a:gd name="T93" fmla="*/ 64985 h 727"/>
                <a:gd name="T94" fmla="*/ 229993 w 810"/>
                <a:gd name="T95" fmla="*/ 51883 h 727"/>
                <a:gd name="T96" fmla="*/ 233458 w 810"/>
                <a:gd name="T97" fmla="*/ 45070 h 727"/>
                <a:gd name="T98" fmla="*/ 267243 w 810"/>
                <a:gd name="T99" fmla="*/ 41926 h 727"/>
                <a:gd name="T100" fmla="*/ 306658 w 810"/>
                <a:gd name="T101" fmla="*/ 33017 h 727"/>
                <a:gd name="T102" fmla="*/ 347805 w 810"/>
                <a:gd name="T103" fmla="*/ 31968 h 72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" name="Freeform 479">
              <a:extLst>
                <a:ext uri="{FF2B5EF4-FFF2-40B4-BE49-F238E27FC236}">
                  <a16:creationId xmlns:a16="http://schemas.microsoft.com/office/drawing/2014/main" id="{F37807E7-6BC7-4B19-827F-C6168869B971}"/>
                </a:ext>
              </a:extLst>
            </p:cNvPr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5100639" y="3133725"/>
              <a:ext cx="161925" cy="141288"/>
            </a:xfrm>
            <a:custGeom>
              <a:avLst/>
              <a:gdLst>
                <a:gd name="T0" fmla="*/ 90057 w 365"/>
                <a:gd name="T1" fmla="*/ 130339 h 271"/>
                <a:gd name="T2" fmla="*/ 72312 w 365"/>
                <a:gd name="T3" fmla="*/ 128254 h 271"/>
                <a:gd name="T4" fmla="*/ 53679 w 365"/>
                <a:gd name="T5" fmla="*/ 128775 h 271"/>
                <a:gd name="T6" fmla="*/ 40814 w 365"/>
                <a:gd name="T7" fmla="*/ 130339 h 271"/>
                <a:gd name="T8" fmla="*/ 32829 w 365"/>
                <a:gd name="T9" fmla="*/ 132946 h 271"/>
                <a:gd name="T10" fmla="*/ 11534 w 365"/>
                <a:gd name="T11" fmla="*/ 141288 h 271"/>
                <a:gd name="T12" fmla="*/ 8873 w 365"/>
                <a:gd name="T13" fmla="*/ 140767 h 271"/>
                <a:gd name="T14" fmla="*/ 7542 w 365"/>
                <a:gd name="T15" fmla="*/ 138681 h 271"/>
                <a:gd name="T16" fmla="*/ 7985 w 365"/>
                <a:gd name="T17" fmla="*/ 132425 h 271"/>
                <a:gd name="T18" fmla="*/ 11534 w 365"/>
                <a:gd name="T19" fmla="*/ 118870 h 271"/>
                <a:gd name="T20" fmla="*/ 27061 w 365"/>
                <a:gd name="T21" fmla="*/ 117827 h 271"/>
                <a:gd name="T22" fmla="*/ 39483 w 365"/>
                <a:gd name="T23" fmla="*/ 115741 h 271"/>
                <a:gd name="T24" fmla="*/ 51017 w 365"/>
                <a:gd name="T25" fmla="*/ 113656 h 271"/>
                <a:gd name="T26" fmla="*/ 64770 w 365"/>
                <a:gd name="T27" fmla="*/ 112613 h 271"/>
                <a:gd name="T28" fmla="*/ 80741 w 365"/>
                <a:gd name="T29" fmla="*/ 113656 h 271"/>
                <a:gd name="T30" fmla="*/ 88282 w 365"/>
                <a:gd name="T31" fmla="*/ 113656 h 271"/>
                <a:gd name="T32" fmla="*/ 97155 w 365"/>
                <a:gd name="T33" fmla="*/ 112613 h 271"/>
                <a:gd name="T34" fmla="*/ 95380 w 365"/>
                <a:gd name="T35" fmla="*/ 108442 h 271"/>
                <a:gd name="T36" fmla="*/ 93162 w 365"/>
                <a:gd name="T37" fmla="*/ 104793 h 271"/>
                <a:gd name="T38" fmla="*/ 86508 w 365"/>
                <a:gd name="T39" fmla="*/ 101143 h 271"/>
                <a:gd name="T40" fmla="*/ 77635 w 365"/>
                <a:gd name="T41" fmla="*/ 99579 h 271"/>
                <a:gd name="T42" fmla="*/ 67432 w 365"/>
                <a:gd name="T43" fmla="*/ 99058 h 271"/>
                <a:gd name="T44" fmla="*/ 41258 w 365"/>
                <a:gd name="T45" fmla="*/ 100101 h 271"/>
                <a:gd name="T46" fmla="*/ 28392 w 365"/>
                <a:gd name="T47" fmla="*/ 102186 h 271"/>
                <a:gd name="T48" fmla="*/ 14640 w 365"/>
                <a:gd name="T49" fmla="*/ 105836 h 271"/>
                <a:gd name="T50" fmla="*/ 16858 w 365"/>
                <a:gd name="T51" fmla="*/ 95409 h 271"/>
                <a:gd name="T52" fmla="*/ 17302 w 365"/>
                <a:gd name="T53" fmla="*/ 89674 h 271"/>
                <a:gd name="T54" fmla="*/ 11534 w 365"/>
                <a:gd name="T55" fmla="*/ 85503 h 271"/>
                <a:gd name="T56" fmla="*/ 5767 w 365"/>
                <a:gd name="T57" fmla="*/ 83417 h 271"/>
                <a:gd name="T58" fmla="*/ 4880 w 365"/>
                <a:gd name="T59" fmla="*/ 76640 h 271"/>
                <a:gd name="T60" fmla="*/ 2662 w 365"/>
                <a:gd name="T61" fmla="*/ 74554 h 271"/>
                <a:gd name="T62" fmla="*/ 887 w 365"/>
                <a:gd name="T63" fmla="*/ 73511 h 271"/>
                <a:gd name="T64" fmla="*/ 0 w 365"/>
                <a:gd name="T65" fmla="*/ 70383 h 271"/>
                <a:gd name="T66" fmla="*/ 2218 w 365"/>
                <a:gd name="T67" fmla="*/ 59956 h 271"/>
                <a:gd name="T68" fmla="*/ 7542 w 365"/>
                <a:gd name="T69" fmla="*/ 47965 h 271"/>
                <a:gd name="T70" fmla="*/ 13309 w 365"/>
                <a:gd name="T71" fmla="*/ 35974 h 271"/>
                <a:gd name="T72" fmla="*/ 17302 w 365"/>
                <a:gd name="T73" fmla="*/ 25547 h 271"/>
                <a:gd name="T74" fmla="*/ 21294 w 365"/>
                <a:gd name="T75" fmla="*/ 21897 h 271"/>
                <a:gd name="T76" fmla="*/ 21738 w 365"/>
                <a:gd name="T77" fmla="*/ 25025 h 271"/>
                <a:gd name="T78" fmla="*/ 23069 w 365"/>
                <a:gd name="T79" fmla="*/ 18769 h 271"/>
                <a:gd name="T80" fmla="*/ 33272 w 365"/>
                <a:gd name="T81" fmla="*/ 16162 h 271"/>
                <a:gd name="T82" fmla="*/ 50574 w 365"/>
                <a:gd name="T83" fmla="*/ 9384 h 271"/>
                <a:gd name="T84" fmla="*/ 73199 w 365"/>
                <a:gd name="T85" fmla="*/ 0 h 271"/>
                <a:gd name="T86" fmla="*/ 81628 w 365"/>
                <a:gd name="T87" fmla="*/ 7820 h 271"/>
                <a:gd name="T88" fmla="*/ 89613 w 365"/>
                <a:gd name="T89" fmla="*/ 12513 h 271"/>
                <a:gd name="T90" fmla="*/ 97599 w 365"/>
                <a:gd name="T91" fmla="*/ 15119 h 271"/>
                <a:gd name="T92" fmla="*/ 106028 w 365"/>
                <a:gd name="T93" fmla="*/ 15641 h 271"/>
                <a:gd name="T94" fmla="*/ 106915 w 365"/>
                <a:gd name="T95" fmla="*/ 27111 h 271"/>
                <a:gd name="T96" fmla="*/ 109577 w 365"/>
                <a:gd name="T97" fmla="*/ 35974 h 271"/>
                <a:gd name="T98" fmla="*/ 112682 w 365"/>
                <a:gd name="T99" fmla="*/ 43794 h 271"/>
                <a:gd name="T100" fmla="*/ 117118 w 365"/>
                <a:gd name="T101" fmla="*/ 49529 h 271"/>
                <a:gd name="T102" fmla="*/ 135307 w 365"/>
                <a:gd name="T103" fmla="*/ 67255 h 271"/>
                <a:gd name="T104" fmla="*/ 156158 w 365"/>
                <a:gd name="T105" fmla="*/ 121998 h 271"/>
                <a:gd name="T106" fmla="*/ 159263 w 365"/>
                <a:gd name="T107" fmla="*/ 133989 h 271"/>
                <a:gd name="T108" fmla="*/ 161925 w 365"/>
                <a:gd name="T109" fmla="*/ 141288 h 271"/>
                <a:gd name="T110" fmla="*/ 142405 w 365"/>
                <a:gd name="T111" fmla="*/ 135032 h 271"/>
                <a:gd name="T112" fmla="*/ 121998 w 365"/>
                <a:gd name="T113" fmla="*/ 131382 h 271"/>
                <a:gd name="T114" fmla="*/ 110020 w 365"/>
                <a:gd name="T115" fmla="*/ 130861 h 271"/>
                <a:gd name="T116" fmla="*/ 97155 w 365"/>
                <a:gd name="T117" fmla="*/ 131382 h 27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3" name="Freeform 480">
              <a:extLst>
                <a:ext uri="{FF2B5EF4-FFF2-40B4-BE49-F238E27FC236}">
                  <a16:creationId xmlns:a16="http://schemas.microsoft.com/office/drawing/2014/main" id="{2D8ABDC8-E6BC-4CD5-817F-475072C3941E}"/>
                </a:ext>
              </a:extLst>
            </p:cNvPr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6273801" y="3695701"/>
              <a:ext cx="269875" cy="334963"/>
            </a:xfrm>
            <a:custGeom>
              <a:avLst/>
              <a:gdLst>
                <a:gd name="T0" fmla="*/ 63144 w 624"/>
                <a:gd name="T1" fmla="*/ 6281 h 640"/>
                <a:gd name="T2" fmla="*/ 103366 w 624"/>
                <a:gd name="T3" fmla="*/ 6281 h 640"/>
                <a:gd name="T4" fmla="*/ 124125 w 624"/>
                <a:gd name="T5" fmla="*/ 2617 h 640"/>
                <a:gd name="T6" fmla="*/ 140992 w 624"/>
                <a:gd name="T7" fmla="*/ 11514 h 640"/>
                <a:gd name="T8" fmla="*/ 171267 w 624"/>
                <a:gd name="T9" fmla="*/ 34543 h 640"/>
                <a:gd name="T10" fmla="*/ 201109 w 624"/>
                <a:gd name="T11" fmla="*/ 58095 h 640"/>
                <a:gd name="T12" fmla="*/ 202839 w 624"/>
                <a:gd name="T13" fmla="*/ 68563 h 640"/>
                <a:gd name="T14" fmla="*/ 207596 w 624"/>
                <a:gd name="T15" fmla="*/ 80077 h 640"/>
                <a:gd name="T16" fmla="*/ 214949 w 624"/>
                <a:gd name="T17" fmla="*/ 88975 h 640"/>
                <a:gd name="T18" fmla="*/ 224463 w 624"/>
                <a:gd name="T19" fmla="*/ 95778 h 640"/>
                <a:gd name="T20" fmla="*/ 234843 w 624"/>
                <a:gd name="T21" fmla="*/ 99442 h 640"/>
                <a:gd name="T22" fmla="*/ 239601 w 624"/>
                <a:gd name="T23" fmla="*/ 102059 h 640"/>
                <a:gd name="T24" fmla="*/ 244358 w 624"/>
                <a:gd name="T25" fmla="*/ 107293 h 640"/>
                <a:gd name="T26" fmla="*/ 242628 w 624"/>
                <a:gd name="T27" fmla="*/ 118807 h 640"/>
                <a:gd name="T28" fmla="*/ 232248 w 624"/>
                <a:gd name="T29" fmla="*/ 131892 h 640"/>
                <a:gd name="T30" fmla="*/ 227058 w 624"/>
                <a:gd name="T31" fmla="*/ 141836 h 640"/>
                <a:gd name="T32" fmla="*/ 230518 w 624"/>
                <a:gd name="T33" fmla="*/ 150210 h 640"/>
                <a:gd name="T34" fmla="*/ 236573 w 624"/>
                <a:gd name="T35" fmla="*/ 156491 h 640"/>
                <a:gd name="T36" fmla="*/ 238736 w 624"/>
                <a:gd name="T37" fmla="*/ 222436 h 640"/>
                <a:gd name="T38" fmla="*/ 237871 w 624"/>
                <a:gd name="T39" fmla="*/ 229764 h 640"/>
                <a:gd name="T40" fmla="*/ 241331 w 624"/>
                <a:gd name="T41" fmla="*/ 241801 h 640"/>
                <a:gd name="T42" fmla="*/ 241331 w 624"/>
                <a:gd name="T43" fmla="*/ 255933 h 640"/>
                <a:gd name="T44" fmla="*/ 242628 w 624"/>
                <a:gd name="T45" fmla="*/ 269541 h 640"/>
                <a:gd name="T46" fmla="*/ 256900 w 624"/>
                <a:gd name="T47" fmla="*/ 287335 h 640"/>
                <a:gd name="T48" fmla="*/ 266415 w 624"/>
                <a:gd name="T49" fmla="*/ 303037 h 640"/>
                <a:gd name="T50" fmla="*/ 248683 w 624"/>
                <a:gd name="T51" fmla="*/ 314028 h 640"/>
                <a:gd name="T52" fmla="*/ 212354 w 624"/>
                <a:gd name="T53" fmla="*/ 330253 h 640"/>
                <a:gd name="T54" fmla="*/ 191594 w 624"/>
                <a:gd name="T55" fmla="*/ 333916 h 640"/>
                <a:gd name="T56" fmla="*/ 169537 w 624"/>
                <a:gd name="T57" fmla="*/ 328682 h 640"/>
                <a:gd name="T58" fmla="*/ 146615 w 624"/>
                <a:gd name="T59" fmla="*/ 331299 h 640"/>
                <a:gd name="T60" fmla="*/ 132343 w 624"/>
                <a:gd name="T61" fmla="*/ 328682 h 640"/>
                <a:gd name="T62" fmla="*/ 129315 w 624"/>
                <a:gd name="T63" fmla="*/ 321355 h 640"/>
                <a:gd name="T64" fmla="*/ 127153 w 624"/>
                <a:gd name="T65" fmla="*/ 299897 h 640"/>
                <a:gd name="T66" fmla="*/ 124558 w 624"/>
                <a:gd name="T67" fmla="*/ 276868 h 640"/>
                <a:gd name="T68" fmla="*/ 109420 w 624"/>
                <a:gd name="T69" fmla="*/ 270587 h 640"/>
                <a:gd name="T70" fmla="*/ 80011 w 624"/>
                <a:gd name="T71" fmla="*/ 262737 h 640"/>
                <a:gd name="T72" fmla="*/ 38924 w 624"/>
                <a:gd name="T73" fmla="*/ 240231 h 640"/>
                <a:gd name="T74" fmla="*/ 29409 w 624"/>
                <a:gd name="T75" fmla="*/ 233427 h 640"/>
                <a:gd name="T76" fmla="*/ 28544 w 624"/>
                <a:gd name="T77" fmla="*/ 224007 h 640"/>
                <a:gd name="T78" fmla="*/ 28112 w 624"/>
                <a:gd name="T79" fmla="*/ 210399 h 640"/>
                <a:gd name="T80" fmla="*/ 22922 w 624"/>
                <a:gd name="T81" fmla="*/ 197314 h 640"/>
                <a:gd name="T82" fmla="*/ 17732 w 624"/>
                <a:gd name="T83" fmla="*/ 186847 h 640"/>
                <a:gd name="T84" fmla="*/ 11677 w 624"/>
                <a:gd name="T85" fmla="*/ 181613 h 640"/>
                <a:gd name="T86" fmla="*/ 5190 w 624"/>
                <a:gd name="T87" fmla="*/ 173762 h 640"/>
                <a:gd name="T88" fmla="*/ 2162 w 624"/>
                <a:gd name="T89" fmla="*/ 161201 h 640"/>
                <a:gd name="T90" fmla="*/ 0 w 624"/>
                <a:gd name="T91" fmla="*/ 137125 h 640"/>
                <a:gd name="T92" fmla="*/ 0 w 624"/>
                <a:gd name="T93" fmla="*/ 122471 h 640"/>
                <a:gd name="T94" fmla="*/ 4325 w 624"/>
                <a:gd name="T95" fmla="*/ 110956 h 640"/>
                <a:gd name="T96" fmla="*/ 16435 w 624"/>
                <a:gd name="T97" fmla="*/ 102059 h 640"/>
                <a:gd name="T98" fmla="*/ 26382 w 624"/>
                <a:gd name="T99" fmla="*/ 90545 h 640"/>
                <a:gd name="T100" fmla="*/ 33302 w 624"/>
                <a:gd name="T101" fmla="*/ 40300 h 640"/>
                <a:gd name="T102" fmla="*/ 36329 w 624"/>
                <a:gd name="T103" fmla="*/ 22505 h 640"/>
                <a:gd name="T104" fmla="*/ 35464 w 624"/>
                <a:gd name="T105" fmla="*/ 4187 h 6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4" name="Freeform 481">
              <a:extLst>
                <a:ext uri="{FF2B5EF4-FFF2-40B4-BE49-F238E27FC236}">
                  <a16:creationId xmlns:a16="http://schemas.microsoft.com/office/drawing/2014/main" id="{C690ED96-45BF-46CE-A975-25794E0DC237}"/>
                </a:ext>
              </a:extLst>
            </p:cNvPr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8837613" y="2209800"/>
              <a:ext cx="19050" cy="57150"/>
            </a:xfrm>
            <a:custGeom>
              <a:avLst/>
              <a:gdLst>
                <a:gd name="T0" fmla="*/ 4763 w 52"/>
                <a:gd name="T1" fmla="*/ 57150 h 50"/>
                <a:gd name="T2" fmla="*/ 0 w 52"/>
                <a:gd name="T3" fmla="*/ 36576 h 50"/>
                <a:gd name="T4" fmla="*/ 733 w 52"/>
                <a:gd name="T5" fmla="*/ 28575 h 50"/>
                <a:gd name="T6" fmla="*/ 2198 w 52"/>
                <a:gd name="T7" fmla="*/ 20574 h 50"/>
                <a:gd name="T8" fmla="*/ 4396 w 52"/>
                <a:gd name="T9" fmla="*/ 14859 h 50"/>
                <a:gd name="T10" fmla="*/ 6594 w 52"/>
                <a:gd name="T11" fmla="*/ 10287 h 50"/>
                <a:gd name="T12" fmla="*/ 9525 w 52"/>
                <a:gd name="T13" fmla="*/ 5715 h 50"/>
                <a:gd name="T14" fmla="*/ 12456 w 52"/>
                <a:gd name="T15" fmla="*/ 3429 h 50"/>
                <a:gd name="T16" fmla="*/ 15753 w 52"/>
                <a:gd name="T17" fmla="*/ 1143 h 50"/>
                <a:gd name="T18" fmla="*/ 19050 w 52"/>
                <a:gd name="T19" fmla="*/ 0 h 50"/>
                <a:gd name="T20" fmla="*/ 14654 w 52"/>
                <a:gd name="T21" fmla="*/ 12573 h 50"/>
                <a:gd name="T22" fmla="*/ 9891 w 52"/>
                <a:gd name="T23" fmla="*/ 25146 h 50"/>
                <a:gd name="T24" fmla="*/ 8060 w 52"/>
                <a:gd name="T25" fmla="*/ 34290 h 50"/>
                <a:gd name="T26" fmla="*/ 6228 w 52"/>
                <a:gd name="T27" fmla="*/ 41148 h 50"/>
                <a:gd name="T28" fmla="*/ 5129 w 52"/>
                <a:gd name="T29" fmla="*/ 49149 h 50"/>
                <a:gd name="T30" fmla="*/ 4763 w 52"/>
                <a:gd name="T31" fmla="*/ 57150 h 5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75" name="Freeform 482">
              <a:extLst>
                <a:ext uri="{FF2B5EF4-FFF2-40B4-BE49-F238E27FC236}">
                  <a16:creationId xmlns:a16="http://schemas.microsoft.com/office/drawing/2014/main" id="{D60FA17F-5DA5-4E2C-ABA0-AF799077C71F}"/>
                </a:ext>
              </a:extLst>
            </p:cNvPr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8696325" y="2211388"/>
              <a:ext cx="141288" cy="125412"/>
            </a:xfrm>
            <a:custGeom>
              <a:avLst/>
              <a:gdLst>
                <a:gd name="T0" fmla="*/ 33556 w 320"/>
                <a:gd name="T1" fmla="*/ 123804 h 234"/>
                <a:gd name="T2" fmla="*/ 26933 w 320"/>
                <a:gd name="T3" fmla="*/ 121124 h 234"/>
                <a:gd name="T4" fmla="*/ 29141 w 320"/>
                <a:gd name="T5" fmla="*/ 118981 h 234"/>
                <a:gd name="T6" fmla="*/ 33997 w 320"/>
                <a:gd name="T7" fmla="*/ 116301 h 234"/>
                <a:gd name="T8" fmla="*/ 28258 w 320"/>
                <a:gd name="T9" fmla="*/ 109334 h 234"/>
                <a:gd name="T10" fmla="*/ 18986 w 320"/>
                <a:gd name="T11" fmla="*/ 101294 h 234"/>
                <a:gd name="T12" fmla="*/ 15895 w 320"/>
                <a:gd name="T13" fmla="*/ 95935 h 234"/>
                <a:gd name="T14" fmla="*/ 15012 w 320"/>
                <a:gd name="T15" fmla="*/ 91647 h 234"/>
                <a:gd name="T16" fmla="*/ 15012 w 320"/>
                <a:gd name="T17" fmla="*/ 87896 h 234"/>
                <a:gd name="T18" fmla="*/ 15895 w 320"/>
                <a:gd name="T19" fmla="*/ 84144 h 234"/>
                <a:gd name="T20" fmla="*/ 18986 w 320"/>
                <a:gd name="T21" fmla="*/ 79856 h 234"/>
                <a:gd name="T22" fmla="*/ 24725 w 320"/>
                <a:gd name="T23" fmla="*/ 75569 h 234"/>
                <a:gd name="T24" fmla="*/ 32231 w 320"/>
                <a:gd name="T25" fmla="*/ 73425 h 234"/>
                <a:gd name="T26" fmla="*/ 35322 w 320"/>
                <a:gd name="T27" fmla="*/ 67530 h 234"/>
                <a:gd name="T28" fmla="*/ 29582 w 320"/>
                <a:gd name="T29" fmla="*/ 59490 h 234"/>
                <a:gd name="T30" fmla="*/ 26933 w 320"/>
                <a:gd name="T31" fmla="*/ 54667 h 234"/>
                <a:gd name="T32" fmla="*/ 26492 w 320"/>
                <a:gd name="T33" fmla="*/ 46092 h 234"/>
                <a:gd name="T34" fmla="*/ 24284 w 320"/>
                <a:gd name="T35" fmla="*/ 37516 h 234"/>
                <a:gd name="T36" fmla="*/ 20310 w 320"/>
                <a:gd name="T37" fmla="*/ 24654 h 234"/>
                <a:gd name="T38" fmla="*/ 14570 w 320"/>
                <a:gd name="T39" fmla="*/ 16614 h 234"/>
                <a:gd name="T40" fmla="*/ 8831 w 320"/>
                <a:gd name="T41" fmla="*/ 13399 h 234"/>
                <a:gd name="T42" fmla="*/ 3091 w 320"/>
                <a:gd name="T43" fmla="*/ 5359 h 234"/>
                <a:gd name="T44" fmla="*/ 3974 w 320"/>
                <a:gd name="T45" fmla="*/ 0 h 234"/>
                <a:gd name="T46" fmla="*/ 10597 w 320"/>
                <a:gd name="T47" fmla="*/ 0 h 234"/>
                <a:gd name="T48" fmla="*/ 16778 w 320"/>
                <a:gd name="T49" fmla="*/ 1608 h 234"/>
                <a:gd name="T50" fmla="*/ 24725 w 320"/>
                <a:gd name="T51" fmla="*/ 8575 h 234"/>
                <a:gd name="T52" fmla="*/ 34439 w 320"/>
                <a:gd name="T53" fmla="*/ 18758 h 234"/>
                <a:gd name="T54" fmla="*/ 42386 w 320"/>
                <a:gd name="T55" fmla="*/ 25726 h 234"/>
                <a:gd name="T56" fmla="*/ 52541 w 320"/>
                <a:gd name="T57" fmla="*/ 31085 h 234"/>
                <a:gd name="T58" fmla="*/ 67112 w 320"/>
                <a:gd name="T59" fmla="*/ 37516 h 234"/>
                <a:gd name="T60" fmla="*/ 79916 w 320"/>
                <a:gd name="T61" fmla="*/ 42340 h 234"/>
                <a:gd name="T62" fmla="*/ 94486 w 320"/>
                <a:gd name="T63" fmla="*/ 45556 h 234"/>
                <a:gd name="T64" fmla="*/ 104200 w 320"/>
                <a:gd name="T65" fmla="*/ 41268 h 234"/>
                <a:gd name="T66" fmla="*/ 113472 w 320"/>
                <a:gd name="T67" fmla="*/ 44484 h 234"/>
                <a:gd name="T68" fmla="*/ 125393 w 320"/>
                <a:gd name="T69" fmla="*/ 57347 h 234"/>
                <a:gd name="T70" fmla="*/ 134665 w 320"/>
                <a:gd name="T71" fmla="*/ 63778 h 234"/>
                <a:gd name="T72" fmla="*/ 131133 w 320"/>
                <a:gd name="T73" fmla="*/ 71281 h 234"/>
                <a:gd name="T74" fmla="*/ 118329 w 320"/>
                <a:gd name="T75" fmla="*/ 77177 h 234"/>
                <a:gd name="T76" fmla="*/ 109940 w 320"/>
                <a:gd name="T77" fmla="*/ 79320 h 234"/>
                <a:gd name="T78" fmla="*/ 104641 w 320"/>
                <a:gd name="T79" fmla="*/ 85216 h 234"/>
                <a:gd name="T80" fmla="*/ 102434 w 320"/>
                <a:gd name="T81" fmla="*/ 94327 h 234"/>
                <a:gd name="T82" fmla="*/ 101992 w 320"/>
                <a:gd name="T83" fmla="*/ 100222 h 234"/>
                <a:gd name="T84" fmla="*/ 98019 w 320"/>
                <a:gd name="T85" fmla="*/ 102902 h 234"/>
                <a:gd name="T86" fmla="*/ 90071 w 320"/>
                <a:gd name="T87" fmla="*/ 101294 h 234"/>
                <a:gd name="T88" fmla="*/ 82124 w 320"/>
                <a:gd name="T89" fmla="*/ 97007 h 234"/>
                <a:gd name="T90" fmla="*/ 74176 w 320"/>
                <a:gd name="T91" fmla="*/ 91111 h 234"/>
                <a:gd name="T92" fmla="*/ 68436 w 320"/>
                <a:gd name="T93" fmla="*/ 87896 h 234"/>
                <a:gd name="T94" fmla="*/ 64021 w 320"/>
                <a:gd name="T95" fmla="*/ 86288 h 234"/>
                <a:gd name="T96" fmla="*/ 57840 w 320"/>
                <a:gd name="T97" fmla="*/ 86824 h 234"/>
                <a:gd name="T98" fmla="*/ 50334 w 320"/>
                <a:gd name="T99" fmla="*/ 89503 h 234"/>
                <a:gd name="T100" fmla="*/ 44153 w 320"/>
                <a:gd name="T101" fmla="*/ 92719 h 234"/>
                <a:gd name="T102" fmla="*/ 38413 w 320"/>
                <a:gd name="T103" fmla="*/ 95399 h 234"/>
                <a:gd name="T104" fmla="*/ 37530 w 320"/>
                <a:gd name="T105" fmla="*/ 98079 h 234"/>
                <a:gd name="T106" fmla="*/ 42386 w 320"/>
                <a:gd name="T107" fmla="*/ 102366 h 234"/>
                <a:gd name="T108" fmla="*/ 51217 w 320"/>
                <a:gd name="T109" fmla="*/ 107190 h 234"/>
                <a:gd name="T110" fmla="*/ 55632 w 320"/>
                <a:gd name="T111" fmla="*/ 113621 h 234"/>
                <a:gd name="T112" fmla="*/ 49892 w 320"/>
                <a:gd name="T113" fmla="*/ 120053 h 234"/>
                <a:gd name="T114" fmla="*/ 45036 w 320"/>
                <a:gd name="T115" fmla="*/ 123804 h 234"/>
                <a:gd name="T116" fmla="*/ 40179 w 320"/>
                <a:gd name="T117" fmla="*/ 125412 h 23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76" name="Freeform 483">
              <a:extLst>
                <a:ext uri="{FF2B5EF4-FFF2-40B4-BE49-F238E27FC236}">
                  <a16:creationId xmlns:a16="http://schemas.microsoft.com/office/drawing/2014/main" id="{DAA46493-11FD-4303-B156-5E9F205A3742}"/>
                </a:ext>
              </a:extLst>
            </p:cNvPr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8666164" y="2565400"/>
              <a:ext cx="52387" cy="57150"/>
            </a:xfrm>
            <a:custGeom>
              <a:avLst/>
              <a:gdLst>
                <a:gd name="T0" fmla="*/ 13830 w 125"/>
                <a:gd name="T1" fmla="*/ 11676 h 93"/>
                <a:gd name="T2" fmla="*/ 18021 w 125"/>
                <a:gd name="T3" fmla="*/ 11676 h 93"/>
                <a:gd name="T4" fmla="*/ 21793 w 125"/>
                <a:gd name="T5" fmla="*/ 11676 h 93"/>
                <a:gd name="T6" fmla="*/ 23050 w 125"/>
                <a:gd name="T7" fmla="*/ 11676 h 93"/>
                <a:gd name="T8" fmla="*/ 24308 w 125"/>
                <a:gd name="T9" fmla="*/ 10447 h 93"/>
                <a:gd name="T10" fmla="*/ 25565 w 125"/>
                <a:gd name="T11" fmla="*/ 9218 h 93"/>
                <a:gd name="T12" fmla="*/ 27241 w 125"/>
                <a:gd name="T13" fmla="*/ 6760 h 93"/>
                <a:gd name="T14" fmla="*/ 28499 w 125"/>
                <a:gd name="T15" fmla="*/ 4916 h 93"/>
                <a:gd name="T16" fmla="*/ 29337 w 125"/>
                <a:gd name="T17" fmla="*/ 3073 h 93"/>
                <a:gd name="T18" fmla="*/ 30175 w 125"/>
                <a:gd name="T19" fmla="*/ 1844 h 93"/>
                <a:gd name="T20" fmla="*/ 30175 w 125"/>
                <a:gd name="T21" fmla="*/ 0 h 93"/>
                <a:gd name="T22" fmla="*/ 49453 w 125"/>
                <a:gd name="T23" fmla="*/ 0 h 93"/>
                <a:gd name="T24" fmla="*/ 51130 w 125"/>
                <a:gd name="T25" fmla="*/ 9218 h 93"/>
                <a:gd name="T26" fmla="*/ 52387 w 125"/>
                <a:gd name="T27" fmla="*/ 15363 h 93"/>
                <a:gd name="T28" fmla="*/ 51968 w 125"/>
                <a:gd name="T29" fmla="*/ 17821 h 93"/>
                <a:gd name="T30" fmla="*/ 51130 w 125"/>
                <a:gd name="T31" fmla="*/ 20279 h 93"/>
                <a:gd name="T32" fmla="*/ 49872 w 125"/>
                <a:gd name="T33" fmla="*/ 21508 h 93"/>
                <a:gd name="T34" fmla="*/ 49034 w 125"/>
                <a:gd name="T35" fmla="*/ 22737 h 93"/>
                <a:gd name="T36" fmla="*/ 46520 w 125"/>
                <a:gd name="T37" fmla="*/ 24581 h 93"/>
                <a:gd name="T38" fmla="*/ 43586 w 125"/>
                <a:gd name="T39" fmla="*/ 25195 h 93"/>
                <a:gd name="T40" fmla="*/ 36880 w 125"/>
                <a:gd name="T41" fmla="*/ 25195 h 93"/>
                <a:gd name="T42" fmla="*/ 30175 w 125"/>
                <a:gd name="T43" fmla="*/ 26424 h 93"/>
                <a:gd name="T44" fmla="*/ 29337 w 125"/>
                <a:gd name="T45" fmla="*/ 28882 h 93"/>
                <a:gd name="T46" fmla="*/ 28918 w 125"/>
                <a:gd name="T47" fmla="*/ 32569 h 93"/>
                <a:gd name="T48" fmla="*/ 28079 w 125"/>
                <a:gd name="T49" fmla="*/ 37485 h 93"/>
                <a:gd name="T50" fmla="*/ 28079 w 125"/>
                <a:gd name="T51" fmla="*/ 43631 h 93"/>
                <a:gd name="T52" fmla="*/ 27660 w 125"/>
                <a:gd name="T53" fmla="*/ 52848 h 93"/>
                <a:gd name="T54" fmla="*/ 27660 w 125"/>
                <a:gd name="T55" fmla="*/ 57150 h 93"/>
                <a:gd name="T56" fmla="*/ 20536 w 125"/>
                <a:gd name="T57" fmla="*/ 52234 h 93"/>
                <a:gd name="T58" fmla="*/ 11316 w 125"/>
                <a:gd name="T59" fmla="*/ 44860 h 93"/>
                <a:gd name="T60" fmla="*/ 6706 w 125"/>
                <a:gd name="T61" fmla="*/ 39944 h 93"/>
                <a:gd name="T62" fmla="*/ 2934 w 125"/>
                <a:gd name="T63" fmla="*/ 35642 h 93"/>
                <a:gd name="T64" fmla="*/ 1676 w 125"/>
                <a:gd name="T65" fmla="*/ 33184 h 93"/>
                <a:gd name="T66" fmla="*/ 838 w 125"/>
                <a:gd name="T67" fmla="*/ 30726 h 93"/>
                <a:gd name="T68" fmla="*/ 0 w 125"/>
                <a:gd name="T69" fmla="*/ 28882 h 93"/>
                <a:gd name="T70" fmla="*/ 0 w 125"/>
                <a:gd name="T71" fmla="*/ 26424 h 93"/>
                <a:gd name="T72" fmla="*/ 2934 w 125"/>
                <a:gd name="T73" fmla="*/ 26424 h 93"/>
                <a:gd name="T74" fmla="*/ 6286 w 125"/>
                <a:gd name="T75" fmla="*/ 25195 h 93"/>
                <a:gd name="T76" fmla="*/ 8382 w 125"/>
                <a:gd name="T77" fmla="*/ 23966 h 93"/>
                <a:gd name="T78" fmla="*/ 9639 w 125"/>
                <a:gd name="T79" fmla="*/ 22123 h 93"/>
                <a:gd name="T80" fmla="*/ 11735 w 125"/>
                <a:gd name="T81" fmla="*/ 17206 h 93"/>
                <a:gd name="T82" fmla="*/ 13830 w 125"/>
                <a:gd name="T83" fmla="*/ 11676 h 9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77" name="Freeform 484">
              <a:extLst>
                <a:ext uri="{FF2B5EF4-FFF2-40B4-BE49-F238E27FC236}">
                  <a16:creationId xmlns:a16="http://schemas.microsoft.com/office/drawing/2014/main" id="{21EDEB9B-0BF6-460C-9B6A-F102F3F8A00E}"/>
                </a:ext>
              </a:extLst>
            </p:cNvPr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8612189" y="2579689"/>
              <a:ext cx="60325" cy="84137"/>
            </a:xfrm>
            <a:custGeom>
              <a:avLst/>
              <a:gdLst>
                <a:gd name="T0" fmla="*/ 9071 w 133"/>
                <a:gd name="T1" fmla="*/ 6556 h 154"/>
                <a:gd name="T2" fmla="*/ 10886 w 133"/>
                <a:gd name="T3" fmla="*/ 5463 h 154"/>
                <a:gd name="T4" fmla="*/ 14061 w 133"/>
                <a:gd name="T5" fmla="*/ 3278 h 154"/>
                <a:gd name="T6" fmla="*/ 15421 w 133"/>
                <a:gd name="T7" fmla="*/ 2185 h 154"/>
                <a:gd name="T8" fmla="*/ 16782 w 133"/>
                <a:gd name="T9" fmla="*/ 1093 h 154"/>
                <a:gd name="T10" fmla="*/ 19050 w 133"/>
                <a:gd name="T11" fmla="*/ 546 h 154"/>
                <a:gd name="T12" fmla="*/ 20864 w 133"/>
                <a:gd name="T13" fmla="*/ 0 h 154"/>
                <a:gd name="T14" fmla="*/ 26761 w 133"/>
                <a:gd name="T15" fmla="*/ 546 h 154"/>
                <a:gd name="T16" fmla="*/ 31750 w 133"/>
                <a:gd name="T17" fmla="*/ 2185 h 154"/>
                <a:gd name="T18" fmla="*/ 36739 w 133"/>
                <a:gd name="T19" fmla="*/ 4371 h 154"/>
                <a:gd name="T20" fmla="*/ 40821 w 133"/>
                <a:gd name="T21" fmla="*/ 7649 h 154"/>
                <a:gd name="T22" fmla="*/ 44904 w 133"/>
                <a:gd name="T23" fmla="*/ 11473 h 154"/>
                <a:gd name="T24" fmla="*/ 47625 w 133"/>
                <a:gd name="T25" fmla="*/ 16390 h 154"/>
                <a:gd name="T26" fmla="*/ 50800 w 133"/>
                <a:gd name="T27" fmla="*/ 21854 h 154"/>
                <a:gd name="T28" fmla="*/ 52614 w 133"/>
                <a:gd name="T29" fmla="*/ 27317 h 154"/>
                <a:gd name="T30" fmla="*/ 54882 w 133"/>
                <a:gd name="T31" fmla="*/ 32781 h 154"/>
                <a:gd name="T32" fmla="*/ 56243 w 133"/>
                <a:gd name="T33" fmla="*/ 38790 h 154"/>
                <a:gd name="T34" fmla="*/ 57604 w 133"/>
                <a:gd name="T35" fmla="*/ 44800 h 154"/>
                <a:gd name="T36" fmla="*/ 58964 w 133"/>
                <a:gd name="T37" fmla="*/ 51356 h 154"/>
                <a:gd name="T38" fmla="*/ 59871 w 133"/>
                <a:gd name="T39" fmla="*/ 63376 h 154"/>
                <a:gd name="T40" fmla="*/ 60325 w 133"/>
                <a:gd name="T41" fmla="*/ 73756 h 154"/>
                <a:gd name="T42" fmla="*/ 59871 w 133"/>
                <a:gd name="T43" fmla="*/ 75395 h 154"/>
                <a:gd name="T44" fmla="*/ 58964 w 133"/>
                <a:gd name="T45" fmla="*/ 77035 h 154"/>
                <a:gd name="T46" fmla="*/ 56696 w 133"/>
                <a:gd name="T47" fmla="*/ 78674 h 154"/>
                <a:gd name="T48" fmla="*/ 54882 w 133"/>
                <a:gd name="T49" fmla="*/ 80313 h 154"/>
                <a:gd name="T50" fmla="*/ 52161 w 133"/>
                <a:gd name="T51" fmla="*/ 81952 h 154"/>
                <a:gd name="T52" fmla="*/ 49893 w 133"/>
                <a:gd name="T53" fmla="*/ 83591 h 154"/>
                <a:gd name="T54" fmla="*/ 47171 w 133"/>
                <a:gd name="T55" fmla="*/ 84137 h 154"/>
                <a:gd name="T56" fmla="*/ 44904 w 133"/>
                <a:gd name="T57" fmla="*/ 84137 h 154"/>
                <a:gd name="T58" fmla="*/ 42182 w 133"/>
                <a:gd name="T59" fmla="*/ 83591 h 154"/>
                <a:gd name="T60" fmla="*/ 39461 w 133"/>
                <a:gd name="T61" fmla="*/ 81405 h 154"/>
                <a:gd name="T62" fmla="*/ 35832 w 133"/>
                <a:gd name="T63" fmla="*/ 77035 h 154"/>
                <a:gd name="T64" fmla="*/ 32204 w 133"/>
                <a:gd name="T65" fmla="*/ 73210 h 154"/>
                <a:gd name="T66" fmla="*/ 29029 w 133"/>
                <a:gd name="T67" fmla="*/ 68839 h 154"/>
                <a:gd name="T68" fmla="*/ 26307 w 133"/>
                <a:gd name="T69" fmla="*/ 64469 h 154"/>
                <a:gd name="T70" fmla="*/ 24493 w 133"/>
                <a:gd name="T71" fmla="*/ 60644 h 154"/>
                <a:gd name="T72" fmla="*/ 24039 w 133"/>
                <a:gd name="T73" fmla="*/ 57366 h 154"/>
                <a:gd name="T74" fmla="*/ 24493 w 133"/>
                <a:gd name="T75" fmla="*/ 53542 h 154"/>
                <a:gd name="T76" fmla="*/ 25400 w 133"/>
                <a:gd name="T77" fmla="*/ 45347 h 154"/>
                <a:gd name="T78" fmla="*/ 26307 w 133"/>
                <a:gd name="T79" fmla="*/ 37151 h 154"/>
                <a:gd name="T80" fmla="*/ 26761 w 133"/>
                <a:gd name="T81" fmla="*/ 33873 h 154"/>
                <a:gd name="T82" fmla="*/ 21318 w 133"/>
                <a:gd name="T83" fmla="*/ 33327 h 154"/>
                <a:gd name="T84" fmla="*/ 16329 w 133"/>
                <a:gd name="T85" fmla="*/ 32234 h 154"/>
                <a:gd name="T86" fmla="*/ 11339 w 133"/>
                <a:gd name="T87" fmla="*/ 30595 h 154"/>
                <a:gd name="T88" fmla="*/ 7711 w 133"/>
                <a:gd name="T89" fmla="*/ 28410 h 154"/>
                <a:gd name="T90" fmla="*/ 5896 w 133"/>
                <a:gd name="T91" fmla="*/ 26771 h 154"/>
                <a:gd name="T92" fmla="*/ 4536 w 133"/>
                <a:gd name="T93" fmla="*/ 25132 h 154"/>
                <a:gd name="T94" fmla="*/ 3175 w 133"/>
                <a:gd name="T95" fmla="*/ 23493 h 154"/>
                <a:gd name="T96" fmla="*/ 1814 w 133"/>
                <a:gd name="T97" fmla="*/ 21307 h 154"/>
                <a:gd name="T98" fmla="*/ 907 w 133"/>
                <a:gd name="T99" fmla="*/ 18576 h 154"/>
                <a:gd name="T100" fmla="*/ 454 w 133"/>
                <a:gd name="T101" fmla="*/ 15844 h 154"/>
                <a:gd name="T102" fmla="*/ 0 w 133"/>
                <a:gd name="T103" fmla="*/ 13112 h 154"/>
                <a:gd name="T104" fmla="*/ 0 w 133"/>
                <a:gd name="T105" fmla="*/ 9834 h 154"/>
                <a:gd name="T106" fmla="*/ 3175 w 133"/>
                <a:gd name="T107" fmla="*/ 8195 h 154"/>
                <a:gd name="T108" fmla="*/ 9071 w 133"/>
                <a:gd name="T109" fmla="*/ 6556 h 15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78" name="Freeform 485">
              <a:extLst>
                <a:ext uri="{FF2B5EF4-FFF2-40B4-BE49-F238E27FC236}">
                  <a16:creationId xmlns:a16="http://schemas.microsoft.com/office/drawing/2014/main" id="{15B05F29-0698-49CC-9E3F-77ED789D7F89}"/>
                </a:ext>
              </a:extLst>
            </p:cNvPr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8628063" y="2341564"/>
              <a:ext cx="209550" cy="244475"/>
            </a:xfrm>
            <a:custGeom>
              <a:avLst/>
              <a:gdLst>
                <a:gd name="T0" fmla="*/ 57896 w 485"/>
                <a:gd name="T1" fmla="*/ 183356 h 468"/>
                <a:gd name="T2" fmla="*/ 72154 w 485"/>
                <a:gd name="T3" fmla="*/ 177088 h 468"/>
                <a:gd name="T4" fmla="*/ 86412 w 485"/>
                <a:gd name="T5" fmla="*/ 177088 h 468"/>
                <a:gd name="T6" fmla="*/ 97646 w 485"/>
                <a:gd name="T7" fmla="*/ 181789 h 468"/>
                <a:gd name="T8" fmla="*/ 96782 w 485"/>
                <a:gd name="T9" fmla="*/ 170819 h 468"/>
                <a:gd name="T10" fmla="*/ 95054 w 485"/>
                <a:gd name="T11" fmla="*/ 165073 h 468"/>
                <a:gd name="T12" fmla="*/ 100670 w 485"/>
                <a:gd name="T13" fmla="*/ 158282 h 468"/>
                <a:gd name="T14" fmla="*/ 103263 w 485"/>
                <a:gd name="T15" fmla="*/ 144178 h 468"/>
                <a:gd name="T16" fmla="*/ 104559 w 485"/>
                <a:gd name="T17" fmla="*/ 128506 h 468"/>
                <a:gd name="T18" fmla="*/ 115793 w 485"/>
                <a:gd name="T19" fmla="*/ 133208 h 468"/>
                <a:gd name="T20" fmla="*/ 129619 w 485"/>
                <a:gd name="T21" fmla="*/ 124327 h 468"/>
                <a:gd name="T22" fmla="*/ 136532 w 485"/>
                <a:gd name="T23" fmla="*/ 113357 h 468"/>
                <a:gd name="T24" fmla="*/ 126594 w 485"/>
                <a:gd name="T25" fmla="*/ 101342 h 468"/>
                <a:gd name="T26" fmla="*/ 137396 w 485"/>
                <a:gd name="T27" fmla="*/ 103954 h 468"/>
                <a:gd name="T28" fmla="*/ 148197 w 485"/>
                <a:gd name="T29" fmla="*/ 105521 h 468"/>
                <a:gd name="T30" fmla="*/ 149493 w 485"/>
                <a:gd name="T31" fmla="*/ 96641 h 468"/>
                <a:gd name="T32" fmla="*/ 127458 w 485"/>
                <a:gd name="T33" fmla="*/ 50149 h 468"/>
                <a:gd name="T34" fmla="*/ 123138 w 485"/>
                <a:gd name="T35" fmla="*/ 27686 h 468"/>
                <a:gd name="T36" fmla="*/ 125730 w 485"/>
                <a:gd name="T37" fmla="*/ 9925 h 468"/>
                <a:gd name="T38" fmla="*/ 136532 w 485"/>
                <a:gd name="T39" fmla="*/ 522 h 468"/>
                <a:gd name="T40" fmla="*/ 145173 w 485"/>
                <a:gd name="T41" fmla="*/ 9403 h 468"/>
                <a:gd name="T42" fmla="*/ 162887 w 485"/>
                <a:gd name="T43" fmla="*/ 23507 h 468"/>
                <a:gd name="T44" fmla="*/ 179306 w 485"/>
                <a:gd name="T45" fmla="*/ 37612 h 468"/>
                <a:gd name="T46" fmla="*/ 184058 w 485"/>
                <a:gd name="T47" fmla="*/ 51193 h 468"/>
                <a:gd name="T48" fmla="*/ 188379 w 485"/>
                <a:gd name="T49" fmla="*/ 71566 h 468"/>
                <a:gd name="T50" fmla="*/ 192268 w 485"/>
                <a:gd name="T51" fmla="*/ 90372 h 468"/>
                <a:gd name="T52" fmla="*/ 184922 w 485"/>
                <a:gd name="T53" fmla="*/ 93506 h 468"/>
                <a:gd name="T54" fmla="*/ 178009 w 485"/>
                <a:gd name="T55" fmla="*/ 96641 h 468"/>
                <a:gd name="T56" fmla="*/ 184058 w 485"/>
                <a:gd name="T57" fmla="*/ 103954 h 468"/>
                <a:gd name="T58" fmla="*/ 192268 w 485"/>
                <a:gd name="T59" fmla="*/ 106044 h 468"/>
                <a:gd name="T60" fmla="*/ 196588 w 485"/>
                <a:gd name="T61" fmla="*/ 136864 h 468"/>
                <a:gd name="T62" fmla="*/ 205229 w 485"/>
                <a:gd name="T63" fmla="*/ 162983 h 468"/>
                <a:gd name="T64" fmla="*/ 207390 w 485"/>
                <a:gd name="T65" fmla="*/ 199028 h 468"/>
                <a:gd name="T66" fmla="*/ 200045 w 485"/>
                <a:gd name="T67" fmla="*/ 190147 h 468"/>
                <a:gd name="T68" fmla="*/ 195724 w 485"/>
                <a:gd name="T69" fmla="*/ 185968 h 468"/>
                <a:gd name="T70" fmla="*/ 188379 w 485"/>
                <a:gd name="T71" fmla="*/ 189625 h 468"/>
                <a:gd name="T72" fmla="*/ 185355 w 485"/>
                <a:gd name="T73" fmla="*/ 208431 h 468"/>
                <a:gd name="T74" fmla="*/ 176281 w 485"/>
                <a:gd name="T75" fmla="*/ 203207 h 468"/>
                <a:gd name="T76" fmla="*/ 168072 w 485"/>
                <a:gd name="T77" fmla="*/ 199550 h 468"/>
                <a:gd name="T78" fmla="*/ 162455 w 485"/>
                <a:gd name="T79" fmla="*/ 209998 h 468"/>
                <a:gd name="T80" fmla="*/ 149061 w 485"/>
                <a:gd name="T81" fmla="*/ 215744 h 468"/>
                <a:gd name="T82" fmla="*/ 144309 w 485"/>
                <a:gd name="T83" fmla="*/ 208953 h 468"/>
                <a:gd name="T84" fmla="*/ 134803 w 485"/>
                <a:gd name="T85" fmla="*/ 206341 h 468"/>
                <a:gd name="T86" fmla="*/ 130915 w 485"/>
                <a:gd name="T87" fmla="*/ 222535 h 468"/>
                <a:gd name="T88" fmla="*/ 129186 w 485"/>
                <a:gd name="T89" fmla="*/ 235072 h 468"/>
                <a:gd name="T90" fmla="*/ 132643 w 485"/>
                <a:gd name="T91" fmla="*/ 243430 h 468"/>
                <a:gd name="T92" fmla="*/ 117521 w 485"/>
                <a:gd name="T93" fmla="*/ 244475 h 468"/>
                <a:gd name="T94" fmla="*/ 111472 w 485"/>
                <a:gd name="T95" fmla="*/ 242908 h 468"/>
                <a:gd name="T96" fmla="*/ 105423 w 485"/>
                <a:gd name="T97" fmla="*/ 229848 h 468"/>
                <a:gd name="T98" fmla="*/ 98942 w 485"/>
                <a:gd name="T99" fmla="*/ 218356 h 468"/>
                <a:gd name="T100" fmla="*/ 88141 w 485"/>
                <a:gd name="T101" fmla="*/ 212087 h 468"/>
                <a:gd name="T102" fmla="*/ 82092 w 485"/>
                <a:gd name="T103" fmla="*/ 205819 h 468"/>
                <a:gd name="T104" fmla="*/ 58760 w 485"/>
                <a:gd name="T105" fmla="*/ 217833 h 468"/>
                <a:gd name="T106" fmla="*/ 38886 w 485"/>
                <a:gd name="T107" fmla="*/ 227236 h 468"/>
                <a:gd name="T108" fmla="*/ 28084 w 485"/>
                <a:gd name="T109" fmla="*/ 239774 h 468"/>
                <a:gd name="T110" fmla="*/ 11666 w 485"/>
                <a:gd name="T111" fmla="*/ 240818 h 468"/>
                <a:gd name="T112" fmla="*/ 3024 w 485"/>
                <a:gd name="T113" fmla="*/ 228804 h 468"/>
                <a:gd name="T114" fmla="*/ 0 w 485"/>
                <a:gd name="T115" fmla="*/ 217833 h 468"/>
                <a:gd name="T116" fmla="*/ 3024 w 485"/>
                <a:gd name="T117" fmla="*/ 215744 h 468"/>
                <a:gd name="T118" fmla="*/ 11666 w 485"/>
                <a:gd name="T119" fmla="*/ 216266 h 468"/>
                <a:gd name="T120" fmla="*/ 20739 w 485"/>
                <a:gd name="T121" fmla="*/ 211565 h 468"/>
                <a:gd name="T122" fmla="*/ 31108 w 485"/>
                <a:gd name="T123" fmla="*/ 192759 h 468"/>
                <a:gd name="T124" fmla="*/ 40182 w 485"/>
                <a:gd name="T125" fmla="*/ 183879 h 46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79" name="Freeform 486">
              <a:extLst>
                <a:ext uri="{FF2B5EF4-FFF2-40B4-BE49-F238E27FC236}">
                  <a16:creationId xmlns:a16="http://schemas.microsoft.com/office/drawing/2014/main" id="{E760DD5A-467E-431D-A67E-8301ADEEAB25}"/>
                </a:ext>
              </a:extLst>
            </p:cNvPr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6211888" y="1231901"/>
              <a:ext cx="107950" cy="60325"/>
            </a:xfrm>
            <a:custGeom>
              <a:avLst/>
              <a:gdLst>
                <a:gd name="T0" fmla="*/ 11848 w 246"/>
                <a:gd name="T1" fmla="*/ 51707 h 42"/>
                <a:gd name="T2" fmla="*/ 15798 w 246"/>
                <a:gd name="T3" fmla="*/ 51707 h 42"/>
                <a:gd name="T4" fmla="*/ 19747 w 246"/>
                <a:gd name="T5" fmla="*/ 50271 h 42"/>
                <a:gd name="T6" fmla="*/ 23258 w 246"/>
                <a:gd name="T7" fmla="*/ 47398 h 42"/>
                <a:gd name="T8" fmla="*/ 25890 w 246"/>
                <a:gd name="T9" fmla="*/ 44526 h 42"/>
                <a:gd name="T10" fmla="*/ 28962 w 246"/>
                <a:gd name="T11" fmla="*/ 43089 h 42"/>
                <a:gd name="T12" fmla="*/ 31595 w 246"/>
                <a:gd name="T13" fmla="*/ 41653 h 42"/>
                <a:gd name="T14" fmla="*/ 35106 w 246"/>
                <a:gd name="T15" fmla="*/ 41653 h 42"/>
                <a:gd name="T16" fmla="*/ 38177 w 246"/>
                <a:gd name="T17" fmla="*/ 43089 h 42"/>
                <a:gd name="T18" fmla="*/ 38177 w 246"/>
                <a:gd name="T19" fmla="*/ 60325 h 42"/>
                <a:gd name="T20" fmla="*/ 67578 w 246"/>
                <a:gd name="T21" fmla="*/ 60325 h 42"/>
                <a:gd name="T22" fmla="*/ 67578 w 246"/>
                <a:gd name="T23" fmla="*/ 56016 h 42"/>
                <a:gd name="T24" fmla="*/ 68456 w 246"/>
                <a:gd name="T25" fmla="*/ 51707 h 42"/>
                <a:gd name="T26" fmla="*/ 69773 w 246"/>
                <a:gd name="T27" fmla="*/ 47398 h 42"/>
                <a:gd name="T28" fmla="*/ 71528 w 246"/>
                <a:gd name="T29" fmla="*/ 44526 h 42"/>
                <a:gd name="T30" fmla="*/ 76794 w 246"/>
                <a:gd name="T31" fmla="*/ 37344 h 42"/>
                <a:gd name="T32" fmla="*/ 83376 w 246"/>
                <a:gd name="T33" fmla="*/ 33035 h 42"/>
                <a:gd name="T34" fmla="*/ 96979 w 246"/>
                <a:gd name="T35" fmla="*/ 24417 h 42"/>
                <a:gd name="T36" fmla="*/ 107950 w 246"/>
                <a:gd name="T37" fmla="*/ 17236 h 42"/>
                <a:gd name="T38" fmla="*/ 93030 w 246"/>
                <a:gd name="T39" fmla="*/ 18672 h 42"/>
                <a:gd name="T40" fmla="*/ 81621 w 246"/>
                <a:gd name="T41" fmla="*/ 20108 h 42"/>
                <a:gd name="T42" fmla="*/ 78110 w 246"/>
                <a:gd name="T43" fmla="*/ 21545 h 42"/>
                <a:gd name="T44" fmla="*/ 75038 w 246"/>
                <a:gd name="T45" fmla="*/ 21545 h 42"/>
                <a:gd name="T46" fmla="*/ 73722 w 246"/>
                <a:gd name="T47" fmla="*/ 20108 h 42"/>
                <a:gd name="T48" fmla="*/ 73283 w 246"/>
                <a:gd name="T49" fmla="*/ 17236 h 42"/>
                <a:gd name="T50" fmla="*/ 69773 w 246"/>
                <a:gd name="T51" fmla="*/ 22981 h 42"/>
                <a:gd name="T52" fmla="*/ 66701 w 246"/>
                <a:gd name="T53" fmla="*/ 24417 h 42"/>
                <a:gd name="T54" fmla="*/ 64507 w 246"/>
                <a:gd name="T55" fmla="*/ 24417 h 42"/>
                <a:gd name="T56" fmla="*/ 61874 w 246"/>
                <a:gd name="T57" fmla="*/ 21545 h 42"/>
                <a:gd name="T58" fmla="*/ 60118 w 246"/>
                <a:gd name="T59" fmla="*/ 17236 h 42"/>
                <a:gd name="T60" fmla="*/ 58363 w 246"/>
                <a:gd name="T61" fmla="*/ 12927 h 42"/>
                <a:gd name="T62" fmla="*/ 56608 w 246"/>
                <a:gd name="T63" fmla="*/ 7182 h 42"/>
                <a:gd name="T64" fmla="*/ 55291 w 246"/>
                <a:gd name="T65" fmla="*/ 0 h 42"/>
                <a:gd name="T66" fmla="*/ 53097 w 246"/>
                <a:gd name="T67" fmla="*/ 2873 h 42"/>
                <a:gd name="T68" fmla="*/ 49587 w 246"/>
                <a:gd name="T69" fmla="*/ 5745 h 42"/>
                <a:gd name="T70" fmla="*/ 45199 w 246"/>
                <a:gd name="T71" fmla="*/ 7182 h 42"/>
                <a:gd name="T72" fmla="*/ 40810 w 246"/>
                <a:gd name="T73" fmla="*/ 7182 h 42"/>
                <a:gd name="T74" fmla="*/ 32473 w 246"/>
                <a:gd name="T75" fmla="*/ 8618 h 42"/>
                <a:gd name="T76" fmla="*/ 26329 w 246"/>
                <a:gd name="T77" fmla="*/ 8618 h 42"/>
                <a:gd name="T78" fmla="*/ 25452 w 246"/>
                <a:gd name="T79" fmla="*/ 12927 h 42"/>
                <a:gd name="T80" fmla="*/ 24574 w 246"/>
                <a:gd name="T81" fmla="*/ 17236 h 42"/>
                <a:gd name="T82" fmla="*/ 23696 w 246"/>
                <a:gd name="T83" fmla="*/ 21545 h 42"/>
                <a:gd name="T84" fmla="*/ 21941 w 246"/>
                <a:gd name="T85" fmla="*/ 24417 h 42"/>
                <a:gd name="T86" fmla="*/ 18430 w 246"/>
                <a:gd name="T87" fmla="*/ 28726 h 42"/>
                <a:gd name="T88" fmla="*/ 14481 w 246"/>
                <a:gd name="T89" fmla="*/ 31599 h 42"/>
                <a:gd name="T90" fmla="*/ 6143 w 246"/>
                <a:gd name="T91" fmla="*/ 34471 h 42"/>
                <a:gd name="T92" fmla="*/ 0 w 246"/>
                <a:gd name="T93" fmla="*/ 34471 h 42"/>
                <a:gd name="T94" fmla="*/ 439 w 246"/>
                <a:gd name="T95" fmla="*/ 38780 h 42"/>
                <a:gd name="T96" fmla="*/ 1316 w 246"/>
                <a:gd name="T97" fmla="*/ 41653 h 42"/>
                <a:gd name="T98" fmla="*/ 2194 w 246"/>
                <a:gd name="T99" fmla="*/ 44526 h 42"/>
                <a:gd name="T100" fmla="*/ 3949 w 246"/>
                <a:gd name="T101" fmla="*/ 47398 h 42"/>
                <a:gd name="T102" fmla="*/ 7460 w 246"/>
                <a:gd name="T103" fmla="*/ 50271 h 42"/>
                <a:gd name="T104" fmla="*/ 11848 w 246"/>
                <a:gd name="T105" fmla="*/ 5170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80" name="Freeform 487">
              <a:extLst>
                <a:ext uri="{FF2B5EF4-FFF2-40B4-BE49-F238E27FC236}">
                  <a16:creationId xmlns:a16="http://schemas.microsoft.com/office/drawing/2014/main" id="{8D1A6F51-9086-41FA-B834-CDA6D6DE7E45}"/>
                </a:ext>
              </a:extLst>
            </p:cNvPr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6354763" y="1214438"/>
              <a:ext cx="63500" cy="57150"/>
            </a:xfrm>
            <a:custGeom>
              <a:avLst/>
              <a:gdLst>
                <a:gd name="T0" fmla="*/ 43896 w 149"/>
                <a:gd name="T1" fmla="*/ 0 h 61"/>
                <a:gd name="T2" fmla="*/ 50289 w 149"/>
                <a:gd name="T3" fmla="*/ 937 h 61"/>
                <a:gd name="T4" fmla="*/ 57107 w 149"/>
                <a:gd name="T5" fmla="*/ 2811 h 61"/>
                <a:gd name="T6" fmla="*/ 61795 w 149"/>
                <a:gd name="T7" fmla="*/ 4684 h 61"/>
                <a:gd name="T8" fmla="*/ 63500 w 149"/>
                <a:gd name="T9" fmla="*/ 5621 h 61"/>
                <a:gd name="T10" fmla="*/ 63500 w 149"/>
                <a:gd name="T11" fmla="*/ 7495 h 61"/>
                <a:gd name="T12" fmla="*/ 62648 w 149"/>
                <a:gd name="T13" fmla="*/ 9369 h 61"/>
                <a:gd name="T14" fmla="*/ 61795 w 149"/>
                <a:gd name="T15" fmla="*/ 11243 h 61"/>
                <a:gd name="T16" fmla="*/ 60091 w 149"/>
                <a:gd name="T17" fmla="*/ 12180 h 61"/>
                <a:gd name="T18" fmla="*/ 58386 w 149"/>
                <a:gd name="T19" fmla="*/ 13116 h 61"/>
                <a:gd name="T20" fmla="*/ 56255 w 149"/>
                <a:gd name="T21" fmla="*/ 13116 h 61"/>
                <a:gd name="T22" fmla="*/ 54124 w 149"/>
                <a:gd name="T23" fmla="*/ 13116 h 61"/>
                <a:gd name="T24" fmla="*/ 52419 w 149"/>
                <a:gd name="T25" fmla="*/ 11243 h 61"/>
                <a:gd name="T26" fmla="*/ 52419 w 149"/>
                <a:gd name="T27" fmla="*/ 21548 h 61"/>
                <a:gd name="T28" fmla="*/ 52419 w 149"/>
                <a:gd name="T29" fmla="*/ 30917 h 61"/>
                <a:gd name="T30" fmla="*/ 52419 w 149"/>
                <a:gd name="T31" fmla="*/ 38412 h 61"/>
                <a:gd name="T32" fmla="*/ 52419 w 149"/>
                <a:gd name="T33" fmla="*/ 45907 h 61"/>
                <a:gd name="T34" fmla="*/ 49436 w 149"/>
                <a:gd name="T35" fmla="*/ 46844 h 61"/>
                <a:gd name="T36" fmla="*/ 46453 w 149"/>
                <a:gd name="T37" fmla="*/ 47781 h 61"/>
                <a:gd name="T38" fmla="*/ 44322 w 149"/>
                <a:gd name="T39" fmla="*/ 49655 h 61"/>
                <a:gd name="T40" fmla="*/ 42617 w 149"/>
                <a:gd name="T41" fmla="*/ 51529 h 61"/>
                <a:gd name="T42" fmla="*/ 40060 w 149"/>
                <a:gd name="T43" fmla="*/ 53402 h 61"/>
                <a:gd name="T44" fmla="*/ 37930 w 149"/>
                <a:gd name="T45" fmla="*/ 55276 h 61"/>
                <a:gd name="T46" fmla="*/ 35372 w 149"/>
                <a:gd name="T47" fmla="*/ 57150 h 61"/>
                <a:gd name="T48" fmla="*/ 32389 w 149"/>
                <a:gd name="T49" fmla="*/ 57150 h 61"/>
                <a:gd name="T50" fmla="*/ 28554 w 149"/>
                <a:gd name="T51" fmla="*/ 56213 h 61"/>
                <a:gd name="T52" fmla="*/ 22587 w 149"/>
                <a:gd name="T53" fmla="*/ 53402 h 61"/>
                <a:gd name="T54" fmla="*/ 16621 w 149"/>
                <a:gd name="T55" fmla="*/ 50592 h 61"/>
                <a:gd name="T56" fmla="*/ 10654 w 149"/>
                <a:gd name="T57" fmla="*/ 45907 h 61"/>
                <a:gd name="T58" fmla="*/ 5114 w 149"/>
                <a:gd name="T59" fmla="*/ 42160 h 61"/>
                <a:gd name="T60" fmla="*/ 1279 w 149"/>
                <a:gd name="T61" fmla="*/ 38412 h 61"/>
                <a:gd name="T62" fmla="*/ 426 w 149"/>
                <a:gd name="T63" fmla="*/ 36539 h 61"/>
                <a:gd name="T64" fmla="*/ 0 w 149"/>
                <a:gd name="T65" fmla="*/ 35602 h 61"/>
                <a:gd name="T66" fmla="*/ 0 w 149"/>
                <a:gd name="T67" fmla="*/ 34665 h 61"/>
                <a:gd name="T68" fmla="*/ 1279 w 149"/>
                <a:gd name="T69" fmla="*/ 34665 h 61"/>
                <a:gd name="T70" fmla="*/ 8097 w 149"/>
                <a:gd name="T71" fmla="*/ 33728 h 61"/>
                <a:gd name="T72" fmla="*/ 14916 w 149"/>
                <a:gd name="T73" fmla="*/ 32791 h 61"/>
                <a:gd name="T74" fmla="*/ 20456 w 149"/>
                <a:gd name="T75" fmla="*/ 29980 h 61"/>
                <a:gd name="T76" fmla="*/ 25570 w 149"/>
                <a:gd name="T77" fmla="*/ 25296 h 61"/>
                <a:gd name="T78" fmla="*/ 30685 w 149"/>
                <a:gd name="T79" fmla="*/ 20611 h 61"/>
                <a:gd name="T80" fmla="*/ 34946 w 149"/>
                <a:gd name="T81" fmla="*/ 14990 h 61"/>
                <a:gd name="T82" fmla="*/ 39634 w 149"/>
                <a:gd name="T83" fmla="*/ 7495 h 61"/>
                <a:gd name="T84" fmla="*/ 43896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81" name="Freeform 488">
              <a:extLst>
                <a:ext uri="{FF2B5EF4-FFF2-40B4-BE49-F238E27FC236}">
                  <a16:creationId xmlns:a16="http://schemas.microsoft.com/office/drawing/2014/main" id="{4E10F76B-8501-45D8-A802-DA68F6E360E0}"/>
                </a:ext>
              </a:extLst>
            </p:cNvPr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6391276" y="1222375"/>
              <a:ext cx="130175" cy="57150"/>
            </a:xfrm>
            <a:custGeom>
              <a:avLst/>
              <a:gdLst>
                <a:gd name="T0" fmla="*/ 57904 w 299"/>
                <a:gd name="T1" fmla="*/ 55605 h 74"/>
                <a:gd name="T2" fmla="*/ 67047 w 299"/>
                <a:gd name="T3" fmla="*/ 50199 h 74"/>
                <a:gd name="T4" fmla="*/ 77495 w 299"/>
                <a:gd name="T5" fmla="*/ 41704 h 74"/>
                <a:gd name="T6" fmla="*/ 86638 w 299"/>
                <a:gd name="T7" fmla="*/ 32436 h 74"/>
                <a:gd name="T8" fmla="*/ 90121 w 299"/>
                <a:gd name="T9" fmla="*/ 30892 h 74"/>
                <a:gd name="T10" fmla="*/ 91863 w 299"/>
                <a:gd name="T11" fmla="*/ 35526 h 74"/>
                <a:gd name="T12" fmla="*/ 95781 w 299"/>
                <a:gd name="T13" fmla="*/ 39387 h 74"/>
                <a:gd name="T14" fmla="*/ 105794 w 299"/>
                <a:gd name="T15" fmla="*/ 42476 h 74"/>
                <a:gd name="T16" fmla="*/ 117114 w 299"/>
                <a:gd name="T17" fmla="*/ 42476 h 74"/>
                <a:gd name="T18" fmla="*/ 124515 w 299"/>
                <a:gd name="T19" fmla="*/ 42476 h 74"/>
                <a:gd name="T20" fmla="*/ 127563 w 299"/>
                <a:gd name="T21" fmla="*/ 35526 h 74"/>
                <a:gd name="T22" fmla="*/ 129740 w 299"/>
                <a:gd name="T23" fmla="*/ 23941 h 74"/>
                <a:gd name="T24" fmla="*/ 121468 w 299"/>
                <a:gd name="T25" fmla="*/ 19307 h 74"/>
                <a:gd name="T26" fmla="*/ 106230 w 299"/>
                <a:gd name="T27" fmla="*/ 19307 h 74"/>
                <a:gd name="T28" fmla="*/ 97958 w 299"/>
                <a:gd name="T29" fmla="*/ 19307 h 74"/>
                <a:gd name="T30" fmla="*/ 93169 w 299"/>
                <a:gd name="T31" fmla="*/ 20852 h 74"/>
                <a:gd name="T32" fmla="*/ 88815 w 299"/>
                <a:gd name="T33" fmla="*/ 25486 h 74"/>
                <a:gd name="T34" fmla="*/ 74883 w 299"/>
                <a:gd name="T35" fmla="*/ 28575 h 74"/>
                <a:gd name="T36" fmla="*/ 76625 w 299"/>
                <a:gd name="T37" fmla="*/ 21624 h 74"/>
                <a:gd name="T38" fmla="*/ 78366 w 299"/>
                <a:gd name="T39" fmla="*/ 16218 h 74"/>
                <a:gd name="T40" fmla="*/ 84461 w 299"/>
                <a:gd name="T41" fmla="*/ 10040 h 74"/>
                <a:gd name="T42" fmla="*/ 91427 w 299"/>
                <a:gd name="T43" fmla="*/ 6951 h 74"/>
                <a:gd name="T44" fmla="*/ 97958 w 299"/>
                <a:gd name="T45" fmla="*/ 0 h 74"/>
                <a:gd name="T46" fmla="*/ 80543 w 299"/>
                <a:gd name="T47" fmla="*/ 2317 h 74"/>
                <a:gd name="T48" fmla="*/ 68353 w 299"/>
                <a:gd name="T49" fmla="*/ 8495 h 74"/>
                <a:gd name="T50" fmla="*/ 58339 w 299"/>
                <a:gd name="T51" fmla="*/ 19307 h 74"/>
                <a:gd name="T52" fmla="*/ 49632 w 299"/>
                <a:gd name="T53" fmla="*/ 30892 h 74"/>
                <a:gd name="T54" fmla="*/ 43537 w 299"/>
                <a:gd name="T55" fmla="*/ 40932 h 74"/>
                <a:gd name="T56" fmla="*/ 37877 w 299"/>
                <a:gd name="T57" fmla="*/ 45566 h 74"/>
                <a:gd name="T58" fmla="*/ 27864 w 299"/>
                <a:gd name="T59" fmla="*/ 48655 h 74"/>
                <a:gd name="T60" fmla="*/ 13932 w 299"/>
                <a:gd name="T61" fmla="*/ 49427 h 74"/>
                <a:gd name="T62" fmla="*/ 5224 w 299"/>
                <a:gd name="T63" fmla="*/ 51744 h 74"/>
                <a:gd name="T64" fmla="*/ 871 w 299"/>
                <a:gd name="T65" fmla="*/ 54061 h 74"/>
                <a:gd name="T66" fmla="*/ 16979 w 299"/>
                <a:gd name="T67" fmla="*/ 57150 h 74"/>
                <a:gd name="T68" fmla="*/ 44408 w 299"/>
                <a:gd name="T69" fmla="*/ 57150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82" name="Freeform 489">
              <a:extLst>
                <a:ext uri="{FF2B5EF4-FFF2-40B4-BE49-F238E27FC236}">
                  <a16:creationId xmlns:a16="http://schemas.microsoft.com/office/drawing/2014/main" id="{9D197AA2-BCF3-44DF-BEF6-55CBEBF3030D}"/>
                </a:ext>
              </a:extLst>
            </p:cNvPr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6924676" y="1408113"/>
              <a:ext cx="41275" cy="57150"/>
            </a:xfrm>
            <a:custGeom>
              <a:avLst/>
              <a:gdLst>
                <a:gd name="T0" fmla="*/ 38386 w 100"/>
                <a:gd name="T1" fmla="*/ 0 h 42"/>
                <a:gd name="T2" fmla="*/ 40037 w 100"/>
                <a:gd name="T3" fmla="*/ 9525 h 42"/>
                <a:gd name="T4" fmla="*/ 41275 w 100"/>
                <a:gd name="T5" fmla="*/ 24493 h 42"/>
                <a:gd name="T6" fmla="*/ 37973 w 100"/>
                <a:gd name="T7" fmla="*/ 32657 h 42"/>
                <a:gd name="T8" fmla="*/ 35497 w 100"/>
                <a:gd name="T9" fmla="*/ 39461 h 42"/>
                <a:gd name="T10" fmla="*/ 32607 w 100"/>
                <a:gd name="T11" fmla="*/ 46264 h 42"/>
                <a:gd name="T12" fmla="*/ 29718 w 100"/>
                <a:gd name="T13" fmla="*/ 50346 h 42"/>
                <a:gd name="T14" fmla="*/ 26829 w 100"/>
                <a:gd name="T15" fmla="*/ 53068 h 42"/>
                <a:gd name="T16" fmla="*/ 23527 w 100"/>
                <a:gd name="T17" fmla="*/ 55789 h 42"/>
                <a:gd name="T18" fmla="*/ 20225 w 100"/>
                <a:gd name="T19" fmla="*/ 57150 h 42"/>
                <a:gd name="T20" fmla="*/ 16510 w 100"/>
                <a:gd name="T21" fmla="*/ 57150 h 42"/>
                <a:gd name="T22" fmla="*/ 11144 w 100"/>
                <a:gd name="T23" fmla="*/ 55789 h 42"/>
                <a:gd name="T24" fmla="*/ 4953 w 100"/>
                <a:gd name="T25" fmla="*/ 53068 h 42"/>
                <a:gd name="T26" fmla="*/ 413 w 100"/>
                <a:gd name="T27" fmla="*/ 50346 h 42"/>
                <a:gd name="T28" fmla="*/ 0 w 100"/>
                <a:gd name="T29" fmla="*/ 48986 h 42"/>
                <a:gd name="T30" fmla="*/ 2477 w 100"/>
                <a:gd name="T31" fmla="*/ 48986 h 42"/>
                <a:gd name="T32" fmla="*/ 4953 w 100"/>
                <a:gd name="T33" fmla="*/ 47625 h 42"/>
                <a:gd name="T34" fmla="*/ 7430 w 100"/>
                <a:gd name="T35" fmla="*/ 44904 h 42"/>
                <a:gd name="T36" fmla="*/ 9493 w 100"/>
                <a:gd name="T37" fmla="*/ 40821 h 42"/>
                <a:gd name="T38" fmla="*/ 13621 w 100"/>
                <a:gd name="T39" fmla="*/ 34018 h 42"/>
                <a:gd name="T40" fmla="*/ 18161 w 100"/>
                <a:gd name="T41" fmla="*/ 24493 h 42"/>
                <a:gd name="T42" fmla="*/ 22701 w 100"/>
                <a:gd name="T43" fmla="*/ 14968 h 42"/>
                <a:gd name="T44" fmla="*/ 27242 w 100"/>
                <a:gd name="T45" fmla="*/ 6804 h 42"/>
                <a:gd name="T46" fmla="*/ 29718 w 100"/>
                <a:gd name="T47" fmla="*/ 4082 h 42"/>
                <a:gd name="T48" fmla="*/ 32607 w 100"/>
                <a:gd name="T49" fmla="*/ 1361 h 42"/>
                <a:gd name="T50" fmla="*/ 35497 w 100"/>
                <a:gd name="T51" fmla="*/ 0 h 42"/>
                <a:gd name="T52" fmla="*/ 38386 w 100"/>
                <a:gd name="T53" fmla="*/ 0 h 4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83" name="Freeform 490">
              <a:extLst>
                <a:ext uri="{FF2B5EF4-FFF2-40B4-BE49-F238E27FC236}">
                  <a16:creationId xmlns:a16="http://schemas.microsoft.com/office/drawing/2014/main" id="{AD1AA31C-A2E0-477B-92F7-D5DFB45B18EC}"/>
                </a:ext>
              </a:extLst>
            </p:cNvPr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6834189" y="1266825"/>
              <a:ext cx="15875" cy="58738"/>
            </a:xfrm>
            <a:custGeom>
              <a:avLst/>
              <a:gdLst>
                <a:gd name="T0" fmla="*/ 15875 w 40"/>
                <a:gd name="T1" fmla="*/ 58738 h 5"/>
                <a:gd name="T2" fmla="*/ 0 w 40"/>
                <a:gd name="T3" fmla="*/ 58738 h 5"/>
                <a:gd name="T4" fmla="*/ 1984 w 40"/>
                <a:gd name="T5" fmla="*/ 35243 h 5"/>
                <a:gd name="T6" fmla="*/ 3572 w 40"/>
                <a:gd name="T7" fmla="*/ 11748 h 5"/>
                <a:gd name="T8" fmla="*/ 5953 w 40"/>
                <a:gd name="T9" fmla="*/ 0 h 5"/>
                <a:gd name="T10" fmla="*/ 7938 w 40"/>
                <a:gd name="T11" fmla="*/ 0 h 5"/>
                <a:gd name="T12" fmla="*/ 9922 w 40"/>
                <a:gd name="T13" fmla="*/ 0 h 5"/>
                <a:gd name="T14" fmla="*/ 11906 w 40"/>
                <a:gd name="T15" fmla="*/ 11748 h 5"/>
                <a:gd name="T16" fmla="*/ 13891 w 40"/>
                <a:gd name="T17" fmla="*/ 35243 h 5"/>
                <a:gd name="T18" fmla="*/ 15875 w 40"/>
                <a:gd name="T19" fmla="*/ 58738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84" name="Freeform 491">
              <a:extLst>
                <a:ext uri="{FF2B5EF4-FFF2-40B4-BE49-F238E27FC236}">
                  <a16:creationId xmlns:a16="http://schemas.microsoft.com/office/drawing/2014/main" id="{66AEBD24-B0C0-4D28-8034-8D14B637653B}"/>
                </a:ext>
              </a:extLst>
            </p:cNvPr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6856414" y="1225551"/>
              <a:ext cx="14287" cy="60325"/>
            </a:xfrm>
            <a:custGeom>
              <a:avLst/>
              <a:gdLst>
                <a:gd name="T0" fmla="*/ 0 w 33"/>
                <a:gd name="T1" fmla="*/ 36973 h 31"/>
                <a:gd name="T2" fmla="*/ 8659 w 33"/>
                <a:gd name="T3" fmla="*/ 0 h 31"/>
                <a:gd name="T4" fmla="*/ 8659 w 33"/>
                <a:gd name="T5" fmla="*/ 7784 h 31"/>
                <a:gd name="T6" fmla="*/ 9525 w 33"/>
                <a:gd name="T7" fmla="*/ 19460 h 31"/>
                <a:gd name="T8" fmla="*/ 10823 w 33"/>
                <a:gd name="T9" fmla="*/ 27244 h 31"/>
                <a:gd name="T10" fmla="*/ 11689 w 33"/>
                <a:gd name="T11" fmla="*/ 35027 h 31"/>
                <a:gd name="T12" fmla="*/ 13421 w 33"/>
                <a:gd name="T13" fmla="*/ 50595 h 31"/>
                <a:gd name="T14" fmla="*/ 14287 w 33"/>
                <a:gd name="T15" fmla="*/ 60325 h 31"/>
                <a:gd name="T16" fmla="*/ 0 w 33"/>
                <a:gd name="T17" fmla="*/ 60325 h 31"/>
                <a:gd name="T18" fmla="*/ 0 w 33"/>
                <a:gd name="T19" fmla="*/ 48649 h 31"/>
                <a:gd name="T20" fmla="*/ 0 w 33"/>
                <a:gd name="T21" fmla="*/ 36973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85" name="Freeform 492">
              <a:extLst>
                <a:ext uri="{FF2B5EF4-FFF2-40B4-BE49-F238E27FC236}">
                  <a16:creationId xmlns:a16="http://schemas.microsoft.com/office/drawing/2014/main" id="{68A32DBA-C92E-4F1B-A3C0-E7651DE64CD9}"/>
                </a:ext>
              </a:extLst>
            </p:cNvPr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7000876" y="1341438"/>
              <a:ext cx="17463" cy="57150"/>
            </a:xfrm>
            <a:custGeom>
              <a:avLst/>
              <a:gdLst>
                <a:gd name="T0" fmla="*/ 17463 w 41"/>
                <a:gd name="T1" fmla="*/ 0 h 43"/>
                <a:gd name="T2" fmla="*/ 17463 w 41"/>
                <a:gd name="T3" fmla="*/ 57150 h 43"/>
                <a:gd name="T4" fmla="*/ 13204 w 41"/>
                <a:gd name="T5" fmla="*/ 55821 h 43"/>
                <a:gd name="T6" fmla="*/ 10222 w 41"/>
                <a:gd name="T7" fmla="*/ 53163 h 43"/>
                <a:gd name="T8" fmla="*/ 7667 w 41"/>
                <a:gd name="T9" fmla="*/ 49176 h 43"/>
                <a:gd name="T10" fmla="*/ 5537 w 41"/>
                <a:gd name="T11" fmla="*/ 43859 h 43"/>
                <a:gd name="T12" fmla="*/ 2130 w 41"/>
                <a:gd name="T13" fmla="*/ 33227 h 43"/>
                <a:gd name="T14" fmla="*/ 0 w 41"/>
                <a:gd name="T15" fmla="*/ 25252 h 43"/>
                <a:gd name="T16" fmla="*/ 5111 w 41"/>
                <a:gd name="T17" fmla="*/ 17278 h 43"/>
                <a:gd name="T18" fmla="*/ 10648 w 41"/>
                <a:gd name="T19" fmla="*/ 9303 h 43"/>
                <a:gd name="T20" fmla="*/ 15333 w 41"/>
                <a:gd name="T21" fmla="*/ 2658 h 43"/>
                <a:gd name="T22" fmla="*/ 17463 w 41"/>
                <a:gd name="T23" fmla="*/ 0 h 4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86" name="Freeform 493">
              <a:extLst>
                <a:ext uri="{FF2B5EF4-FFF2-40B4-BE49-F238E27FC236}">
                  <a16:creationId xmlns:a16="http://schemas.microsoft.com/office/drawing/2014/main" id="{B3BA7621-5C96-4BAF-BAE9-6CBCCC422ED8}"/>
                </a:ext>
              </a:extLst>
            </p:cNvPr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7054851" y="1225551"/>
              <a:ext cx="93663" cy="60325"/>
            </a:xfrm>
            <a:custGeom>
              <a:avLst/>
              <a:gdLst>
                <a:gd name="T0" fmla="*/ 26824 w 213"/>
                <a:gd name="T1" fmla="*/ 0 h 62"/>
                <a:gd name="T2" fmla="*/ 36498 w 213"/>
                <a:gd name="T3" fmla="*/ 0 h 62"/>
                <a:gd name="T4" fmla="*/ 46172 w 213"/>
                <a:gd name="T5" fmla="*/ 973 h 62"/>
                <a:gd name="T6" fmla="*/ 55846 w 213"/>
                <a:gd name="T7" fmla="*/ 2919 h 62"/>
                <a:gd name="T8" fmla="*/ 64201 w 213"/>
                <a:gd name="T9" fmla="*/ 6811 h 62"/>
                <a:gd name="T10" fmla="*/ 72996 w 213"/>
                <a:gd name="T11" fmla="*/ 10703 h 62"/>
                <a:gd name="T12" fmla="*/ 80911 w 213"/>
                <a:gd name="T13" fmla="*/ 15568 h 62"/>
                <a:gd name="T14" fmla="*/ 83989 w 213"/>
                <a:gd name="T15" fmla="*/ 18487 h 62"/>
                <a:gd name="T16" fmla="*/ 87507 w 213"/>
                <a:gd name="T17" fmla="*/ 22379 h 62"/>
                <a:gd name="T18" fmla="*/ 91025 w 213"/>
                <a:gd name="T19" fmla="*/ 26271 h 62"/>
                <a:gd name="T20" fmla="*/ 93663 w 213"/>
                <a:gd name="T21" fmla="*/ 30163 h 62"/>
                <a:gd name="T22" fmla="*/ 92784 w 213"/>
                <a:gd name="T23" fmla="*/ 34054 h 62"/>
                <a:gd name="T24" fmla="*/ 91025 w 213"/>
                <a:gd name="T25" fmla="*/ 36973 h 62"/>
                <a:gd name="T26" fmla="*/ 88386 w 213"/>
                <a:gd name="T27" fmla="*/ 39892 h 62"/>
                <a:gd name="T28" fmla="*/ 85748 w 213"/>
                <a:gd name="T29" fmla="*/ 42811 h 62"/>
                <a:gd name="T30" fmla="*/ 77833 w 213"/>
                <a:gd name="T31" fmla="*/ 47676 h 62"/>
                <a:gd name="T32" fmla="*/ 68598 w 213"/>
                <a:gd name="T33" fmla="*/ 51568 h 62"/>
                <a:gd name="T34" fmla="*/ 59364 w 213"/>
                <a:gd name="T35" fmla="*/ 55460 h 62"/>
                <a:gd name="T36" fmla="*/ 50129 w 213"/>
                <a:gd name="T37" fmla="*/ 57406 h 62"/>
                <a:gd name="T38" fmla="*/ 41775 w 213"/>
                <a:gd name="T39" fmla="*/ 60325 h 62"/>
                <a:gd name="T40" fmla="*/ 35179 w 213"/>
                <a:gd name="T41" fmla="*/ 60325 h 62"/>
                <a:gd name="T42" fmla="*/ 27263 w 213"/>
                <a:gd name="T43" fmla="*/ 60325 h 62"/>
                <a:gd name="T44" fmla="*/ 18908 w 213"/>
                <a:gd name="T45" fmla="*/ 57406 h 62"/>
                <a:gd name="T46" fmla="*/ 14511 w 213"/>
                <a:gd name="T47" fmla="*/ 57406 h 62"/>
                <a:gd name="T48" fmla="*/ 10114 w 213"/>
                <a:gd name="T49" fmla="*/ 57406 h 62"/>
                <a:gd name="T50" fmla="*/ 5277 w 213"/>
                <a:gd name="T51" fmla="*/ 58379 h 62"/>
                <a:gd name="T52" fmla="*/ 0 w 213"/>
                <a:gd name="T53" fmla="*/ 60325 h 62"/>
                <a:gd name="T54" fmla="*/ 2638 w 213"/>
                <a:gd name="T55" fmla="*/ 48649 h 62"/>
                <a:gd name="T56" fmla="*/ 4837 w 213"/>
                <a:gd name="T57" fmla="*/ 37946 h 62"/>
                <a:gd name="T58" fmla="*/ 7475 w 213"/>
                <a:gd name="T59" fmla="*/ 28217 h 62"/>
                <a:gd name="T60" fmla="*/ 10114 w 213"/>
                <a:gd name="T61" fmla="*/ 19460 h 62"/>
                <a:gd name="T62" fmla="*/ 11873 w 213"/>
                <a:gd name="T63" fmla="*/ 15568 h 62"/>
                <a:gd name="T64" fmla="*/ 13192 w 213"/>
                <a:gd name="T65" fmla="*/ 11676 h 62"/>
                <a:gd name="T66" fmla="*/ 14951 w 213"/>
                <a:gd name="T67" fmla="*/ 8757 h 62"/>
                <a:gd name="T68" fmla="*/ 17150 w 213"/>
                <a:gd name="T69" fmla="*/ 5838 h 62"/>
                <a:gd name="T70" fmla="*/ 18908 w 213"/>
                <a:gd name="T71" fmla="*/ 2919 h 62"/>
                <a:gd name="T72" fmla="*/ 21547 w 213"/>
                <a:gd name="T73" fmla="*/ 973 h 62"/>
                <a:gd name="T74" fmla="*/ 23746 w 213"/>
                <a:gd name="T75" fmla="*/ 0 h 62"/>
                <a:gd name="T76" fmla="*/ 26824 w 213"/>
                <a:gd name="T77" fmla="*/ 0 h 6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87" name="Freeform 494">
              <a:extLst>
                <a:ext uri="{FF2B5EF4-FFF2-40B4-BE49-F238E27FC236}">
                  <a16:creationId xmlns:a16="http://schemas.microsoft.com/office/drawing/2014/main" id="{004FDA89-EFD1-46DB-A8D5-241DEF9A5FB0}"/>
                </a:ext>
              </a:extLst>
            </p:cNvPr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7115175" y="1250951"/>
              <a:ext cx="103188" cy="60325"/>
            </a:xfrm>
            <a:custGeom>
              <a:avLst/>
              <a:gdLst>
                <a:gd name="T0" fmla="*/ 17702 w 239"/>
                <a:gd name="T1" fmla="*/ 0 h 56"/>
                <a:gd name="T2" fmla="*/ 12952 w 239"/>
                <a:gd name="T3" fmla="*/ 3232 h 56"/>
                <a:gd name="T4" fmla="*/ 9930 w 239"/>
                <a:gd name="T5" fmla="*/ 5386 h 56"/>
                <a:gd name="T6" fmla="*/ 8203 w 239"/>
                <a:gd name="T7" fmla="*/ 7541 h 56"/>
                <a:gd name="T8" fmla="*/ 6476 w 239"/>
                <a:gd name="T9" fmla="*/ 9695 h 56"/>
                <a:gd name="T10" fmla="*/ 5613 w 239"/>
                <a:gd name="T11" fmla="*/ 14004 h 56"/>
                <a:gd name="T12" fmla="*/ 4317 w 239"/>
                <a:gd name="T13" fmla="*/ 16158 h 56"/>
                <a:gd name="T14" fmla="*/ 3022 w 239"/>
                <a:gd name="T15" fmla="*/ 18313 h 56"/>
                <a:gd name="T16" fmla="*/ 0 w 239"/>
                <a:gd name="T17" fmla="*/ 20467 h 56"/>
                <a:gd name="T18" fmla="*/ 863 w 239"/>
                <a:gd name="T19" fmla="*/ 25854 h 56"/>
                <a:gd name="T20" fmla="*/ 2159 w 239"/>
                <a:gd name="T21" fmla="*/ 29085 h 56"/>
                <a:gd name="T22" fmla="*/ 3022 w 239"/>
                <a:gd name="T23" fmla="*/ 32317 h 56"/>
                <a:gd name="T24" fmla="*/ 4317 w 239"/>
                <a:gd name="T25" fmla="*/ 35549 h 56"/>
                <a:gd name="T26" fmla="*/ 7340 w 239"/>
                <a:gd name="T27" fmla="*/ 38780 h 56"/>
                <a:gd name="T28" fmla="*/ 10362 w 239"/>
                <a:gd name="T29" fmla="*/ 40935 h 56"/>
                <a:gd name="T30" fmla="*/ 17702 w 239"/>
                <a:gd name="T31" fmla="*/ 40935 h 56"/>
                <a:gd name="T32" fmla="*/ 23314 w 239"/>
                <a:gd name="T33" fmla="*/ 40935 h 56"/>
                <a:gd name="T34" fmla="*/ 66058 w 239"/>
                <a:gd name="T35" fmla="*/ 40935 h 56"/>
                <a:gd name="T36" fmla="*/ 66921 w 239"/>
                <a:gd name="T37" fmla="*/ 44167 h 56"/>
                <a:gd name="T38" fmla="*/ 67353 w 239"/>
                <a:gd name="T39" fmla="*/ 47398 h 56"/>
                <a:gd name="T40" fmla="*/ 68648 w 239"/>
                <a:gd name="T41" fmla="*/ 49553 h 56"/>
                <a:gd name="T42" fmla="*/ 69943 w 239"/>
                <a:gd name="T43" fmla="*/ 51707 h 56"/>
                <a:gd name="T44" fmla="*/ 72102 w 239"/>
                <a:gd name="T45" fmla="*/ 54939 h 56"/>
                <a:gd name="T46" fmla="*/ 75124 w 239"/>
                <a:gd name="T47" fmla="*/ 58171 h 56"/>
                <a:gd name="T48" fmla="*/ 81169 w 239"/>
                <a:gd name="T49" fmla="*/ 60325 h 56"/>
                <a:gd name="T50" fmla="*/ 86350 w 239"/>
                <a:gd name="T51" fmla="*/ 60325 h 56"/>
                <a:gd name="T52" fmla="*/ 88077 w 239"/>
                <a:gd name="T53" fmla="*/ 59248 h 56"/>
                <a:gd name="T54" fmla="*/ 90667 w 239"/>
                <a:gd name="T55" fmla="*/ 58171 h 56"/>
                <a:gd name="T56" fmla="*/ 92394 w 239"/>
                <a:gd name="T57" fmla="*/ 56016 h 56"/>
                <a:gd name="T58" fmla="*/ 94985 w 239"/>
                <a:gd name="T59" fmla="*/ 52784 h 56"/>
                <a:gd name="T60" fmla="*/ 99302 w 239"/>
                <a:gd name="T61" fmla="*/ 46321 h 56"/>
                <a:gd name="T62" fmla="*/ 103188 w 239"/>
                <a:gd name="T63" fmla="*/ 40935 h 56"/>
                <a:gd name="T64" fmla="*/ 100166 w 239"/>
                <a:gd name="T65" fmla="*/ 39858 h 56"/>
                <a:gd name="T66" fmla="*/ 97144 w 239"/>
                <a:gd name="T67" fmla="*/ 38780 h 56"/>
                <a:gd name="T68" fmla="*/ 94553 w 239"/>
                <a:gd name="T69" fmla="*/ 36626 h 56"/>
                <a:gd name="T70" fmla="*/ 91963 w 239"/>
                <a:gd name="T71" fmla="*/ 34471 h 56"/>
                <a:gd name="T72" fmla="*/ 86782 w 239"/>
                <a:gd name="T73" fmla="*/ 28008 h 56"/>
                <a:gd name="T74" fmla="*/ 82032 w 239"/>
                <a:gd name="T75" fmla="*/ 20467 h 56"/>
                <a:gd name="T76" fmla="*/ 76851 w 239"/>
                <a:gd name="T77" fmla="*/ 14004 h 56"/>
                <a:gd name="T78" fmla="*/ 72102 w 239"/>
                <a:gd name="T79" fmla="*/ 6463 h 56"/>
                <a:gd name="T80" fmla="*/ 69080 w 239"/>
                <a:gd name="T81" fmla="*/ 4309 h 56"/>
                <a:gd name="T82" fmla="*/ 66489 w 239"/>
                <a:gd name="T83" fmla="*/ 2154 h 56"/>
                <a:gd name="T84" fmla="*/ 63467 w 239"/>
                <a:gd name="T85" fmla="*/ 1077 h 56"/>
                <a:gd name="T86" fmla="*/ 60445 w 239"/>
                <a:gd name="T87" fmla="*/ 0 h 56"/>
                <a:gd name="T88" fmla="*/ 57854 w 239"/>
                <a:gd name="T89" fmla="*/ 1077 h 56"/>
                <a:gd name="T90" fmla="*/ 54832 w 239"/>
                <a:gd name="T91" fmla="*/ 4309 h 56"/>
                <a:gd name="T92" fmla="*/ 53537 w 239"/>
                <a:gd name="T93" fmla="*/ 6463 h 56"/>
                <a:gd name="T94" fmla="*/ 52673 w 239"/>
                <a:gd name="T95" fmla="*/ 8618 h 56"/>
                <a:gd name="T96" fmla="*/ 52242 w 239"/>
                <a:gd name="T97" fmla="*/ 10772 h 56"/>
                <a:gd name="T98" fmla="*/ 51810 w 239"/>
                <a:gd name="T99" fmla="*/ 14004 h 56"/>
                <a:gd name="T100" fmla="*/ 43175 w 239"/>
                <a:gd name="T101" fmla="*/ 8618 h 56"/>
                <a:gd name="T102" fmla="*/ 34540 w 239"/>
                <a:gd name="T103" fmla="*/ 4309 h 56"/>
                <a:gd name="T104" fmla="*/ 26337 w 239"/>
                <a:gd name="T105" fmla="*/ 1077 h 56"/>
                <a:gd name="T106" fmla="*/ 17702 w 239"/>
                <a:gd name="T107" fmla="*/ 0 h 5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88" name="Freeform 495">
              <a:extLst>
                <a:ext uri="{FF2B5EF4-FFF2-40B4-BE49-F238E27FC236}">
                  <a16:creationId xmlns:a16="http://schemas.microsoft.com/office/drawing/2014/main" id="{F3BE99F4-03EA-4936-8BF6-C31D3F9CA722}"/>
                </a:ext>
              </a:extLst>
            </p:cNvPr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7232650" y="1265238"/>
              <a:ext cx="82550" cy="57150"/>
            </a:xfrm>
            <a:custGeom>
              <a:avLst/>
              <a:gdLst>
                <a:gd name="T0" fmla="*/ 6180 w 187"/>
                <a:gd name="T1" fmla="*/ 13573 h 80"/>
                <a:gd name="T2" fmla="*/ 18099 w 187"/>
                <a:gd name="T3" fmla="*/ 0 h 80"/>
                <a:gd name="T4" fmla="*/ 19424 w 187"/>
                <a:gd name="T5" fmla="*/ 2143 h 80"/>
                <a:gd name="T6" fmla="*/ 22072 w 187"/>
                <a:gd name="T7" fmla="*/ 4286 h 80"/>
                <a:gd name="T8" fmla="*/ 25604 w 187"/>
                <a:gd name="T9" fmla="*/ 6429 h 80"/>
                <a:gd name="T10" fmla="*/ 29577 w 187"/>
                <a:gd name="T11" fmla="*/ 8573 h 80"/>
                <a:gd name="T12" fmla="*/ 39289 w 187"/>
                <a:gd name="T13" fmla="*/ 13573 h 80"/>
                <a:gd name="T14" fmla="*/ 50325 w 187"/>
                <a:gd name="T15" fmla="*/ 18574 h 80"/>
                <a:gd name="T16" fmla="*/ 61361 w 187"/>
                <a:gd name="T17" fmla="*/ 23574 h 80"/>
                <a:gd name="T18" fmla="*/ 71072 w 187"/>
                <a:gd name="T19" fmla="*/ 27146 h 80"/>
                <a:gd name="T20" fmla="*/ 78136 w 187"/>
                <a:gd name="T21" fmla="*/ 30004 h 80"/>
                <a:gd name="T22" fmla="*/ 82550 w 187"/>
                <a:gd name="T23" fmla="*/ 30718 h 80"/>
                <a:gd name="T24" fmla="*/ 82550 w 187"/>
                <a:gd name="T25" fmla="*/ 40005 h 80"/>
                <a:gd name="T26" fmla="*/ 82550 w 187"/>
                <a:gd name="T27" fmla="*/ 48578 h 80"/>
                <a:gd name="T28" fmla="*/ 75045 w 187"/>
                <a:gd name="T29" fmla="*/ 50006 h 80"/>
                <a:gd name="T30" fmla="*/ 66658 w 187"/>
                <a:gd name="T31" fmla="*/ 50721 h 80"/>
                <a:gd name="T32" fmla="*/ 58712 w 187"/>
                <a:gd name="T33" fmla="*/ 50721 h 80"/>
                <a:gd name="T34" fmla="*/ 51207 w 187"/>
                <a:gd name="T35" fmla="*/ 50006 h 80"/>
                <a:gd name="T36" fmla="*/ 37523 w 187"/>
                <a:gd name="T37" fmla="*/ 49292 h 80"/>
                <a:gd name="T38" fmla="*/ 26928 w 187"/>
                <a:gd name="T39" fmla="*/ 48578 h 80"/>
                <a:gd name="T40" fmla="*/ 24279 w 187"/>
                <a:gd name="T41" fmla="*/ 49292 h 80"/>
                <a:gd name="T42" fmla="*/ 22514 w 187"/>
                <a:gd name="T43" fmla="*/ 50006 h 80"/>
                <a:gd name="T44" fmla="*/ 19865 w 187"/>
                <a:gd name="T45" fmla="*/ 51435 h 80"/>
                <a:gd name="T46" fmla="*/ 18099 w 187"/>
                <a:gd name="T47" fmla="*/ 52864 h 80"/>
                <a:gd name="T48" fmla="*/ 14568 w 187"/>
                <a:gd name="T49" fmla="*/ 55721 h 80"/>
                <a:gd name="T50" fmla="*/ 12360 w 187"/>
                <a:gd name="T51" fmla="*/ 57150 h 80"/>
                <a:gd name="T52" fmla="*/ 9712 w 187"/>
                <a:gd name="T53" fmla="*/ 56436 h 80"/>
                <a:gd name="T54" fmla="*/ 7946 w 187"/>
                <a:gd name="T55" fmla="*/ 54293 h 80"/>
                <a:gd name="T56" fmla="*/ 6180 w 187"/>
                <a:gd name="T57" fmla="*/ 51435 h 80"/>
                <a:gd name="T58" fmla="*/ 3973 w 187"/>
                <a:gd name="T59" fmla="*/ 47863 h 80"/>
                <a:gd name="T60" fmla="*/ 2649 w 187"/>
                <a:gd name="T61" fmla="*/ 44291 h 80"/>
                <a:gd name="T62" fmla="*/ 1324 w 187"/>
                <a:gd name="T63" fmla="*/ 40719 h 80"/>
                <a:gd name="T64" fmla="*/ 883 w 187"/>
                <a:gd name="T65" fmla="*/ 37862 h 80"/>
                <a:gd name="T66" fmla="*/ 0 w 187"/>
                <a:gd name="T67" fmla="*/ 35719 h 80"/>
                <a:gd name="T68" fmla="*/ 883 w 187"/>
                <a:gd name="T69" fmla="*/ 31433 h 80"/>
                <a:gd name="T70" fmla="*/ 1324 w 187"/>
                <a:gd name="T71" fmla="*/ 28575 h 80"/>
                <a:gd name="T72" fmla="*/ 2207 w 187"/>
                <a:gd name="T73" fmla="*/ 25718 h 80"/>
                <a:gd name="T74" fmla="*/ 3090 w 187"/>
                <a:gd name="T75" fmla="*/ 22146 h 80"/>
                <a:gd name="T76" fmla="*/ 5739 w 187"/>
                <a:gd name="T77" fmla="*/ 17145 h 80"/>
                <a:gd name="T78" fmla="*/ 6180 w 187"/>
                <a:gd name="T79" fmla="*/ 13573 h 8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89" name="Freeform 496">
              <a:extLst>
                <a:ext uri="{FF2B5EF4-FFF2-40B4-BE49-F238E27FC236}">
                  <a16:creationId xmlns:a16="http://schemas.microsoft.com/office/drawing/2014/main" id="{7ED4629E-F97E-4235-8548-535549B73B94}"/>
                </a:ext>
              </a:extLst>
            </p:cNvPr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7759701" y="1390650"/>
              <a:ext cx="79375" cy="58738"/>
            </a:xfrm>
            <a:custGeom>
              <a:avLst/>
              <a:gdLst>
                <a:gd name="T0" fmla="*/ 21687 w 183"/>
                <a:gd name="T1" fmla="*/ 0 h 73"/>
                <a:gd name="T2" fmla="*/ 27326 w 183"/>
                <a:gd name="T3" fmla="*/ 0 h 73"/>
                <a:gd name="T4" fmla="*/ 32531 w 183"/>
                <a:gd name="T5" fmla="*/ 805 h 73"/>
                <a:gd name="T6" fmla="*/ 37302 w 183"/>
                <a:gd name="T7" fmla="*/ 3219 h 73"/>
                <a:gd name="T8" fmla="*/ 42073 w 183"/>
                <a:gd name="T9" fmla="*/ 5632 h 73"/>
                <a:gd name="T10" fmla="*/ 45977 w 183"/>
                <a:gd name="T11" fmla="*/ 8046 h 73"/>
                <a:gd name="T12" fmla="*/ 50314 w 183"/>
                <a:gd name="T13" fmla="*/ 12069 h 73"/>
                <a:gd name="T14" fmla="*/ 53784 w 183"/>
                <a:gd name="T15" fmla="*/ 15288 h 73"/>
                <a:gd name="T16" fmla="*/ 56820 w 183"/>
                <a:gd name="T17" fmla="*/ 20116 h 73"/>
                <a:gd name="T18" fmla="*/ 68965 w 183"/>
                <a:gd name="T19" fmla="*/ 39427 h 73"/>
                <a:gd name="T20" fmla="*/ 79375 w 183"/>
                <a:gd name="T21" fmla="*/ 58738 h 73"/>
                <a:gd name="T22" fmla="*/ 59423 w 183"/>
                <a:gd name="T23" fmla="*/ 58738 h 73"/>
                <a:gd name="T24" fmla="*/ 55519 w 183"/>
                <a:gd name="T25" fmla="*/ 57933 h 73"/>
                <a:gd name="T26" fmla="*/ 50748 w 183"/>
                <a:gd name="T27" fmla="*/ 56324 h 73"/>
                <a:gd name="T28" fmla="*/ 45109 w 183"/>
                <a:gd name="T29" fmla="*/ 53106 h 73"/>
                <a:gd name="T30" fmla="*/ 39037 w 183"/>
                <a:gd name="T31" fmla="*/ 49887 h 73"/>
                <a:gd name="T32" fmla="*/ 31663 w 183"/>
                <a:gd name="T33" fmla="*/ 45059 h 73"/>
                <a:gd name="T34" fmla="*/ 25157 w 183"/>
                <a:gd name="T35" fmla="*/ 40232 h 73"/>
                <a:gd name="T36" fmla="*/ 18217 w 183"/>
                <a:gd name="T37" fmla="*/ 35404 h 73"/>
                <a:gd name="T38" fmla="*/ 12145 w 183"/>
                <a:gd name="T39" fmla="*/ 29771 h 73"/>
                <a:gd name="T40" fmla="*/ 6940 w 183"/>
                <a:gd name="T41" fmla="*/ 24139 h 73"/>
                <a:gd name="T42" fmla="*/ 3036 w 183"/>
                <a:gd name="T43" fmla="*/ 18506 h 73"/>
                <a:gd name="T44" fmla="*/ 1735 w 183"/>
                <a:gd name="T45" fmla="*/ 15288 h 73"/>
                <a:gd name="T46" fmla="*/ 867 w 183"/>
                <a:gd name="T47" fmla="*/ 12874 h 73"/>
                <a:gd name="T48" fmla="*/ 434 w 183"/>
                <a:gd name="T49" fmla="*/ 11265 h 73"/>
                <a:gd name="T50" fmla="*/ 0 w 183"/>
                <a:gd name="T51" fmla="*/ 8851 h 73"/>
                <a:gd name="T52" fmla="*/ 434 w 183"/>
                <a:gd name="T53" fmla="*/ 6437 h 73"/>
                <a:gd name="T54" fmla="*/ 1301 w 183"/>
                <a:gd name="T55" fmla="*/ 4828 h 73"/>
                <a:gd name="T56" fmla="*/ 3036 w 183"/>
                <a:gd name="T57" fmla="*/ 3219 h 73"/>
                <a:gd name="T58" fmla="*/ 5639 w 183"/>
                <a:gd name="T59" fmla="*/ 2414 h 73"/>
                <a:gd name="T60" fmla="*/ 8241 w 183"/>
                <a:gd name="T61" fmla="*/ 805 h 73"/>
                <a:gd name="T62" fmla="*/ 12145 w 183"/>
                <a:gd name="T63" fmla="*/ 0 h 73"/>
                <a:gd name="T64" fmla="*/ 16482 w 183"/>
                <a:gd name="T65" fmla="*/ 0 h 73"/>
                <a:gd name="T66" fmla="*/ 21687 w 183"/>
                <a:gd name="T67" fmla="*/ 0 h 7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90" name="Freeform 497">
              <a:extLst>
                <a:ext uri="{FF2B5EF4-FFF2-40B4-BE49-F238E27FC236}">
                  <a16:creationId xmlns:a16="http://schemas.microsoft.com/office/drawing/2014/main" id="{529DD3EC-3E93-40D9-9475-B9FC4671ECEA}"/>
                </a:ext>
              </a:extLst>
            </p:cNvPr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7826375" y="1408113"/>
              <a:ext cx="33338" cy="57150"/>
            </a:xfrm>
            <a:custGeom>
              <a:avLst/>
              <a:gdLst>
                <a:gd name="T0" fmla="*/ 0 w 79"/>
                <a:gd name="T1" fmla="*/ 8164 h 42"/>
                <a:gd name="T2" fmla="*/ 9706 w 79"/>
                <a:gd name="T3" fmla="*/ 2721 h 42"/>
                <a:gd name="T4" fmla="*/ 17302 w 79"/>
                <a:gd name="T5" fmla="*/ 1361 h 42"/>
                <a:gd name="T6" fmla="*/ 25320 w 79"/>
                <a:gd name="T7" fmla="*/ 0 h 42"/>
                <a:gd name="T8" fmla="*/ 33338 w 79"/>
                <a:gd name="T9" fmla="*/ 0 h 42"/>
                <a:gd name="T10" fmla="*/ 33338 w 79"/>
                <a:gd name="T11" fmla="*/ 12246 h 42"/>
                <a:gd name="T12" fmla="*/ 33338 w 79"/>
                <a:gd name="T13" fmla="*/ 24493 h 42"/>
                <a:gd name="T14" fmla="*/ 33338 w 79"/>
                <a:gd name="T15" fmla="*/ 29936 h 42"/>
                <a:gd name="T16" fmla="*/ 31650 w 79"/>
                <a:gd name="T17" fmla="*/ 36739 h 42"/>
                <a:gd name="T18" fmla="*/ 30384 w 79"/>
                <a:gd name="T19" fmla="*/ 42182 h 42"/>
                <a:gd name="T20" fmla="*/ 28696 w 79"/>
                <a:gd name="T21" fmla="*/ 47625 h 42"/>
                <a:gd name="T22" fmla="*/ 26164 w 79"/>
                <a:gd name="T23" fmla="*/ 51707 h 42"/>
                <a:gd name="T24" fmla="*/ 24054 w 79"/>
                <a:gd name="T25" fmla="*/ 54429 h 42"/>
                <a:gd name="T26" fmla="*/ 21522 w 79"/>
                <a:gd name="T27" fmla="*/ 57150 h 42"/>
                <a:gd name="T28" fmla="*/ 19412 w 79"/>
                <a:gd name="T29" fmla="*/ 57150 h 42"/>
                <a:gd name="T30" fmla="*/ 16880 w 79"/>
                <a:gd name="T31" fmla="*/ 57150 h 42"/>
                <a:gd name="T32" fmla="*/ 14770 w 79"/>
                <a:gd name="T33" fmla="*/ 55789 h 42"/>
                <a:gd name="T34" fmla="*/ 12238 w 79"/>
                <a:gd name="T35" fmla="*/ 53068 h 42"/>
                <a:gd name="T36" fmla="*/ 10550 w 79"/>
                <a:gd name="T37" fmla="*/ 50346 h 42"/>
                <a:gd name="T38" fmla="*/ 6752 w 79"/>
                <a:gd name="T39" fmla="*/ 43543 h 42"/>
                <a:gd name="T40" fmla="*/ 4642 w 79"/>
                <a:gd name="T41" fmla="*/ 35379 h 42"/>
                <a:gd name="T42" fmla="*/ 2110 w 79"/>
                <a:gd name="T43" fmla="*/ 27214 h 42"/>
                <a:gd name="T44" fmla="*/ 844 w 79"/>
                <a:gd name="T45" fmla="*/ 19050 h 42"/>
                <a:gd name="T46" fmla="*/ 0 w 79"/>
                <a:gd name="T47" fmla="*/ 12246 h 42"/>
                <a:gd name="T48" fmla="*/ 0 w 79"/>
                <a:gd name="T49" fmla="*/ 8164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91" name="Freeform 498">
              <a:extLst>
                <a:ext uri="{FF2B5EF4-FFF2-40B4-BE49-F238E27FC236}">
                  <a16:creationId xmlns:a16="http://schemas.microsoft.com/office/drawing/2014/main" id="{3E54BC12-9FD4-4378-93C1-4DDE4470AF79}"/>
                </a:ext>
              </a:extLst>
            </p:cNvPr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7856539" y="1419225"/>
              <a:ext cx="52387" cy="58738"/>
            </a:xfrm>
            <a:custGeom>
              <a:avLst/>
              <a:gdLst>
                <a:gd name="T0" fmla="*/ 52387 w 113"/>
                <a:gd name="T1" fmla="*/ 44054 h 52"/>
                <a:gd name="T2" fmla="*/ 51923 w 113"/>
                <a:gd name="T3" fmla="*/ 47442 h 52"/>
                <a:gd name="T4" fmla="*/ 50533 w 113"/>
                <a:gd name="T5" fmla="*/ 50831 h 52"/>
                <a:gd name="T6" fmla="*/ 49142 w 113"/>
                <a:gd name="T7" fmla="*/ 53090 h 52"/>
                <a:gd name="T8" fmla="*/ 47751 w 113"/>
                <a:gd name="T9" fmla="*/ 55349 h 52"/>
                <a:gd name="T10" fmla="*/ 43579 w 113"/>
                <a:gd name="T11" fmla="*/ 57608 h 52"/>
                <a:gd name="T12" fmla="*/ 39406 w 113"/>
                <a:gd name="T13" fmla="*/ 58738 h 52"/>
                <a:gd name="T14" fmla="*/ 30598 w 113"/>
                <a:gd name="T15" fmla="*/ 58738 h 52"/>
                <a:gd name="T16" fmla="*/ 24571 w 113"/>
                <a:gd name="T17" fmla="*/ 57608 h 52"/>
                <a:gd name="T18" fmla="*/ 21789 w 113"/>
                <a:gd name="T19" fmla="*/ 57608 h 52"/>
                <a:gd name="T20" fmla="*/ 18080 w 113"/>
                <a:gd name="T21" fmla="*/ 54220 h 52"/>
                <a:gd name="T22" fmla="*/ 13908 w 113"/>
                <a:gd name="T23" fmla="*/ 50831 h 52"/>
                <a:gd name="T24" fmla="*/ 9736 w 113"/>
                <a:gd name="T25" fmla="*/ 46313 h 52"/>
                <a:gd name="T26" fmla="*/ 6027 w 113"/>
                <a:gd name="T27" fmla="*/ 40665 h 52"/>
                <a:gd name="T28" fmla="*/ 2782 w 113"/>
                <a:gd name="T29" fmla="*/ 35017 h 52"/>
                <a:gd name="T30" fmla="*/ 1854 w 113"/>
                <a:gd name="T31" fmla="*/ 31628 h 52"/>
                <a:gd name="T32" fmla="*/ 927 w 113"/>
                <a:gd name="T33" fmla="*/ 28239 h 52"/>
                <a:gd name="T34" fmla="*/ 464 w 113"/>
                <a:gd name="T35" fmla="*/ 24851 h 52"/>
                <a:gd name="T36" fmla="*/ 0 w 113"/>
                <a:gd name="T37" fmla="*/ 22592 h 52"/>
                <a:gd name="T38" fmla="*/ 464 w 113"/>
                <a:gd name="T39" fmla="*/ 16944 h 52"/>
                <a:gd name="T40" fmla="*/ 464 w 113"/>
                <a:gd name="T41" fmla="*/ 12425 h 52"/>
                <a:gd name="T42" fmla="*/ 1391 w 113"/>
                <a:gd name="T43" fmla="*/ 9037 h 52"/>
                <a:gd name="T44" fmla="*/ 2318 w 113"/>
                <a:gd name="T45" fmla="*/ 5648 h 52"/>
                <a:gd name="T46" fmla="*/ 3245 w 113"/>
                <a:gd name="T47" fmla="*/ 3389 h 52"/>
                <a:gd name="T48" fmla="*/ 4636 w 113"/>
                <a:gd name="T49" fmla="*/ 2259 h 52"/>
                <a:gd name="T50" fmla="*/ 6490 w 113"/>
                <a:gd name="T51" fmla="*/ 1130 h 52"/>
                <a:gd name="T52" fmla="*/ 7881 w 113"/>
                <a:gd name="T53" fmla="*/ 0 h 52"/>
                <a:gd name="T54" fmla="*/ 12054 w 113"/>
                <a:gd name="T55" fmla="*/ 0 h 52"/>
                <a:gd name="T56" fmla="*/ 16690 w 113"/>
                <a:gd name="T57" fmla="*/ 2259 h 52"/>
                <a:gd name="T58" fmla="*/ 21326 w 113"/>
                <a:gd name="T59" fmla="*/ 5648 h 52"/>
                <a:gd name="T60" fmla="*/ 26425 w 113"/>
                <a:gd name="T61" fmla="*/ 10166 h 52"/>
                <a:gd name="T62" fmla="*/ 35697 w 113"/>
                <a:gd name="T63" fmla="*/ 20332 h 52"/>
                <a:gd name="T64" fmla="*/ 44042 w 113"/>
                <a:gd name="T65" fmla="*/ 32758 h 52"/>
                <a:gd name="T66" fmla="*/ 50069 w 113"/>
                <a:gd name="T67" fmla="*/ 40665 h 52"/>
                <a:gd name="T68" fmla="*/ 52387 w 113"/>
                <a:gd name="T69" fmla="*/ 44054 h 5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92" name="Freeform 499">
              <a:extLst>
                <a:ext uri="{FF2B5EF4-FFF2-40B4-BE49-F238E27FC236}">
                  <a16:creationId xmlns:a16="http://schemas.microsoft.com/office/drawing/2014/main" id="{CE135D36-51B1-4C50-95DB-F0D2D6826703}"/>
                </a:ext>
              </a:extLst>
            </p:cNvPr>
            <p:cNvSpPr>
              <a:spLocks/>
            </p:cNvSpPr>
            <p:nvPr>
              <p:custDataLst>
                <p:tags r:id="rId337"/>
              </p:custDataLst>
            </p:nvPr>
          </p:nvSpPr>
          <p:spPr bwMode="auto">
            <a:xfrm>
              <a:off x="7627938" y="1392239"/>
              <a:ext cx="61912" cy="58737"/>
            </a:xfrm>
            <a:custGeom>
              <a:avLst/>
              <a:gdLst>
                <a:gd name="T0" fmla="*/ 0 w 139"/>
                <a:gd name="T1" fmla="*/ 11747 h 40"/>
                <a:gd name="T2" fmla="*/ 3563 w 139"/>
                <a:gd name="T3" fmla="*/ 13216 h 40"/>
                <a:gd name="T4" fmla="*/ 8463 w 139"/>
                <a:gd name="T5" fmla="*/ 11747 h 40"/>
                <a:gd name="T6" fmla="*/ 13362 w 139"/>
                <a:gd name="T7" fmla="*/ 10279 h 40"/>
                <a:gd name="T8" fmla="*/ 18707 w 139"/>
                <a:gd name="T9" fmla="*/ 7342 h 40"/>
                <a:gd name="T10" fmla="*/ 23607 w 139"/>
                <a:gd name="T11" fmla="*/ 2937 h 40"/>
                <a:gd name="T12" fmla="*/ 28506 w 139"/>
                <a:gd name="T13" fmla="*/ 1468 h 40"/>
                <a:gd name="T14" fmla="*/ 32515 w 139"/>
                <a:gd name="T15" fmla="*/ 0 h 40"/>
                <a:gd name="T16" fmla="*/ 35633 w 139"/>
                <a:gd name="T17" fmla="*/ 2937 h 40"/>
                <a:gd name="T18" fmla="*/ 61912 w 139"/>
                <a:gd name="T19" fmla="*/ 57269 h 40"/>
                <a:gd name="T20" fmla="*/ 59240 w 139"/>
                <a:gd name="T21" fmla="*/ 58737 h 40"/>
                <a:gd name="T22" fmla="*/ 55676 w 139"/>
                <a:gd name="T23" fmla="*/ 57269 h 40"/>
                <a:gd name="T24" fmla="*/ 51668 w 139"/>
                <a:gd name="T25" fmla="*/ 55800 h 40"/>
                <a:gd name="T26" fmla="*/ 47213 w 139"/>
                <a:gd name="T27" fmla="*/ 52863 h 40"/>
                <a:gd name="T28" fmla="*/ 38305 w 139"/>
                <a:gd name="T29" fmla="*/ 44053 h 40"/>
                <a:gd name="T30" fmla="*/ 28506 w 139"/>
                <a:gd name="T31" fmla="*/ 35242 h 40"/>
                <a:gd name="T32" fmla="*/ 19598 w 139"/>
                <a:gd name="T33" fmla="*/ 23495 h 40"/>
                <a:gd name="T34" fmla="*/ 11581 w 139"/>
                <a:gd name="T35" fmla="*/ 16153 h 40"/>
                <a:gd name="T36" fmla="*/ 7572 w 139"/>
                <a:gd name="T37" fmla="*/ 13216 h 40"/>
                <a:gd name="T38" fmla="*/ 4900 w 139"/>
                <a:gd name="T39" fmla="*/ 10279 h 40"/>
                <a:gd name="T40" fmla="*/ 1782 w 139"/>
                <a:gd name="T41" fmla="*/ 10279 h 40"/>
                <a:gd name="T42" fmla="*/ 0 w 139"/>
                <a:gd name="T43" fmla="*/ 11747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93" name="Freeform 500">
              <a:extLst>
                <a:ext uri="{FF2B5EF4-FFF2-40B4-BE49-F238E27FC236}">
                  <a16:creationId xmlns:a16="http://schemas.microsoft.com/office/drawing/2014/main" id="{A0FA7649-42A4-495C-B878-61C62D8888AD}"/>
                </a:ext>
              </a:extLst>
            </p:cNvPr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7927975" y="1333500"/>
              <a:ext cx="139700" cy="57150"/>
            </a:xfrm>
            <a:custGeom>
              <a:avLst/>
              <a:gdLst>
                <a:gd name="T0" fmla="*/ 4298 w 325"/>
                <a:gd name="T1" fmla="*/ 5635 h 71"/>
                <a:gd name="T2" fmla="*/ 13325 w 325"/>
                <a:gd name="T3" fmla="*/ 805 h 71"/>
                <a:gd name="T4" fmla="*/ 22782 w 325"/>
                <a:gd name="T5" fmla="*/ 0 h 71"/>
                <a:gd name="T6" fmla="*/ 31379 w 325"/>
                <a:gd name="T7" fmla="*/ 3220 h 71"/>
                <a:gd name="T8" fmla="*/ 39546 w 325"/>
                <a:gd name="T9" fmla="*/ 8049 h 71"/>
                <a:gd name="T10" fmla="*/ 47283 w 325"/>
                <a:gd name="T11" fmla="*/ 14489 h 71"/>
                <a:gd name="T12" fmla="*/ 52441 w 325"/>
                <a:gd name="T13" fmla="*/ 23343 h 71"/>
                <a:gd name="T14" fmla="*/ 55880 w 325"/>
                <a:gd name="T15" fmla="*/ 30587 h 71"/>
                <a:gd name="T16" fmla="*/ 58459 w 325"/>
                <a:gd name="T17" fmla="*/ 27368 h 71"/>
                <a:gd name="T18" fmla="*/ 59749 w 325"/>
                <a:gd name="T19" fmla="*/ 12074 h 71"/>
                <a:gd name="T20" fmla="*/ 69205 w 325"/>
                <a:gd name="T21" fmla="*/ 5635 h 71"/>
                <a:gd name="T22" fmla="*/ 92847 w 325"/>
                <a:gd name="T23" fmla="*/ 10464 h 71"/>
                <a:gd name="T24" fmla="*/ 110900 w 325"/>
                <a:gd name="T25" fmla="*/ 18513 h 71"/>
                <a:gd name="T26" fmla="*/ 121646 w 325"/>
                <a:gd name="T27" fmla="*/ 25758 h 71"/>
                <a:gd name="T28" fmla="*/ 131103 w 325"/>
                <a:gd name="T29" fmla="*/ 34612 h 71"/>
                <a:gd name="T30" fmla="*/ 137551 w 325"/>
                <a:gd name="T31" fmla="*/ 44271 h 71"/>
                <a:gd name="T32" fmla="*/ 135831 w 325"/>
                <a:gd name="T33" fmla="*/ 51515 h 71"/>
                <a:gd name="T34" fmla="*/ 126375 w 325"/>
                <a:gd name="T35" fmla="*/ 54735 h 71"/>
                <a:gd name="T36" fmla="*/ 111330 w 325"/>
                <a:gd name="T37" fmla="*/ 57150 h 71"/>
                <a:gd name="T38" fmla="*/ 90268 w 325"/>
                <a:gd name="T39" fmla="*/ 56345 h 71"/>
                <a:gd name="T40" fmla="*/ 71784 w 325"/>
                <a:gd name="T41" fmla="*/ 54735 h 71"/>
                <a:gd name="T42" fmla="*/ 57170 w 325"/>
                <a:gd name="T43" fmla="*/ 55540 h 71"/>
                <a:gd name="T44" fmla="*/ 38686 w 325"/>
                <a:gd name="T45" fmla="*/ 57150 h 71"/>
                <a:gd name="T46" fmla="*/ 30949 w 325"/>
                <a:gd name="T47" fmla="*/ 54735 h 71"/>
                <a:gd name="T48" fmla="*/ 28800 w 325"/>
                <a:gd name="T49" fmla="*/ 51515 h 71"/>
                <a:gd name="T50" fmla="*/ 24931 w 325"/>
                <a:gd name="T51" fmla="*/ 49101 h 71"/>
                <a:gd name="T52" fmla="*/ 19773 w 325"/>
                <a:gd name="T53" fmla="*/ 47491 h 71"/>
                <a:gd name="T54" fmla="*/ 15045 w 325"/>
                <a:gd name="T55" fmla="*/ 42661 h 71"/>
                <a:gd name="T56" fmla="*/ 10746 w 325"/>
                <a:gd name="T57" fmla="*/ 36222 h 71"/>
                <a:gd name="T58" fmla="*/ 6878 w 325"/>
                <a:gd name="T59" fmla="*/ 31392 h 71"/>
                <a:gd name="T60" fmla="*/ 2579 w 325"/>
                <a:gd name="T61" fmla="*/ 29782 h 71"/>
                <a:gd name="T62" fmla="*/ 0 w 325"/>
                <a:gd name="T63" fmla="*/ 17708 h 7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94" name="Freeform 501">
              <a:extLst>
                <a:ext uri="{FF2B5EF4-FFF2-40B4-BE49-F238E27FC236}">
                  <a16:creationId xmlns:a16="http://schemas.microsoft.com/office/drawing/2014/main" id="{D7216ABC-F885-497B-A27C-0654E2CA9C2E}"/>
                </a:ext>
              </a:extLst>
            </p:cNvPr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8088313" y="1341438"/>
              <a:ext cx="95250" cy="57150"/>
            </a:xfrm>
            <a:custGeom>
              <a:avLst/>
              <a:gdLst>
                <a:gd name="T0" fmla="*/ 37667 w 220"/>
                <a:gd name="T1" fmla="*/ 19844 h 72"/>
                <a:gd name="T2" fmla="*/ 39832 w 220"/>
                <a:gd name="T3" fmla="*/ 20638 h 72"/>
                <a:gd name="T4" fmla="*/ 42430 w 220"/>
                <a:gd name="T5" fmla="*/ 21431 h 72"/>
                <a:gd name="T6" fmla="*/ 43728 w 220"/>
                <a:gd name="T7" fmla="*/ 22225 h 72"/>
                <a:gd name="T8" fmla="*/ 45027 w 220"/>
                <a:gd name="T9" fmla="*/ 21431 h 72"/>
                <a:gd name="T10" fmla="*/ 47192 w 220"/>
                <a:gd name="T11" fmla="*/ 21431 h 72"/>
                <a:gd name="T12" fmla="*/ 48924 w 220"/>
                <a:gd name="T13" fmla="*/ 19844 h 72"/>
                <a:gd name="T14" fmla="*/ 49357 w 220"/>
                <a:gd name="T15" fmla="*/ 20638 h 72"/>
                <a:gd name="T16" fmla="*/ 49790 w 220"/>
                <a:gd name="T17" fmla="*/ 20638 h 72"/>
                <a:gd name="T18" fmla="*/ 50223 w 220"/>
                <a:gd name="T19" fmla="*/ 19844 h 72"/>
                <a:gd name="T20" fmla="*/ 50656 w 220"/>
                <a:gd name="T21" fmla="*/ 19844 h 72"/>
                <a:gd name="T22" fmla="*/ 51522 w 220"/>
                <a:gd name="T23" fmla="*/ 17463 h 72"/>
                <a:gd name="T24" fmla="*/ 51955 w 220"/>
                <a:gd name="T25" fmla="*/ 13494 h 72"/>
                <a:gd name="T26" fmla="*/ 51955 w 220"/>
                <a:gd name="T27" fmla="*/ 5556 h 72"/>
                <a:gd name="T28" fmla="*/ 51955 w 220"/>
                <a:gd name="T29" fmla="*/ 0 h 72"/>
                <a:gd name="T30" fmla="*/ 54119 w 220"/>
                <a:gd name="T31" fmla="*/ 3969 h 72"/>
                <a:gd name="T32" fmla="*/ 56717 w 220"/>
                <a:gd name="T33" fmla="*/ 7938 h 72"/>
                <a:gd name="T34" fmla="*/ 59315 w 220"/>
                <a:gd name="T35" fmla="*/ 11906 h 72"/>
                <a:gd name="T36" fmla="*/ 61913 w 220"/>
                <a:gd name="T37" fmla="*/ 15081 h 72"/>
                <a:gd name="T38" fmla="*/ 67541 w 220"/>
                <a:gd name="T39" fmla="*/ 19844 h 72"/>
                <a:gd name="T40" fmla="*/ 73602 w 220"/>
                <a:gd name="T41" fmla="*/ 23813 h 72"/>
                <a:gd name="T42" fmla="*/ 79231 w 220"/>
                <a:gd name="T43" fmla="*/ 27781 h 72"/>
                <a:gd name="T44" fmla="*/ 84859 w 220"/>
                <a:gd name="T45" fmla="*/ 32544 h 72"/>
                <a:gd name="T46" fmla="*/ 87890 w 220"/>
                <a:gd name="T47" fmla="*/ 34925 h 72"/>
                <a:gd name="T48" fmla="*/ 90488 w 220"/>
                <a:gd name="T49" fmla="*/ 37306 h 72"/>
                <a:gd name="T50" fmla="*/ 92652 w 220"/>
                <a:gd name="T51" fmla="*/ 40481 h 72"/>
                <a:gd name="T52" fmla="*/ 95250 w 220"/>
                <a:gd name="T53" fmla="*/ 43656 h 72"/>
                <a:gd name="T54" fmla="*/ 89189 w 220"/>
                <a:gd name="T55" fmla="*/ 44450 h 72"/>
                <a:gd name="T56" fmla="*/ 83993 w 220"/>
                <a:gd name="T57" fmla="*/ 45244 h 72"/>
                <a:gd name="T58" fmla="*/ 78798 w 220"/>
                <a:gd name="T59" fmla="*/ 46038 h 72"/>
                <a:gd name="T60" fmla="*/ 74035 w 220"/>
                <a:gd name="T61" fmla="*/ 47625 h 72"/>
                <a:gd name="T62" fmla="*/ 65376 w 220"/>
                <a:gd name="T63" fmla="*/ 51594 h 72"/>
                <a:gd name="T64" fmla="*/ 58016 w 220"/>
                <a:gd name="T65" fmla="*/ 55563 h 72"/>
                <a:gd name="T66" fmla="*/ 54552 w 220"/>
                <a:gd name="T67" fmla="*/ 56356 h 72"/>
                <a:gd name="T68" fmla="*/ 50656 w 220"/>
                <a:gd name="T69" fmla="*/ 57150 h 72"/>
                <a:gd name="T70" fmla="*/ 47625 w 220"/>
                <a:gd name="T71" fmla="*/ 57150 h 72"/>
                <a:gd name="T72" fmla="*/ 44594 w 220"/>
                <a:gd name="T73" fmla="*/ 57150 h 72"/>
                <a:gd name="T74" fmla="*/ 41131 w 220"/>
                <a:gd name="T75" fmla="*/ 55563 h 72"/>
                <a:gd name="T76" fmla="*/ 38100 w 220"/>
                <a:gd name="T77" fmla="*/ 52388 h 72"/>
                <a:gd name="T78" fmla="*/ 35069 w 220"/>
                <a:gd name="T79" fmla="*/ 48419 h 72"/>
                <a:gd name="T80" fmla="*/ 32039 w 220"/>
                <a:gd name="T81" fmla="*/ 43656 h 72"/>
                <a:gd name="T82" fmla="*/ 25544 w 220"/>
                <a:gd name="T83" fmla="*/ 42069 h 72"/>
                <a:gd name="T84" fmla="*/ 19483 w 220"/>
                <a:gd name="T85" fmla="*/ 39688 h 72"/>
                <a:gd name="T86" fmla="*/ 14288 w 220"/>
                <a:gd name="T87" fmla="*/ 37306 h 72"/>
                <a:gd name="T88" fmla="*/ 9525 w 220"/>
                <a:gd name="T89" fmla="*/ 34131 h 72"/>
                <a:gd name="T90" fmla="*/ 7793 w 220"/>
                <a:gd name="T91" fmla="*/ 32544 h 72"/>
                <a:gd name="T92" fmla="*/ 5628 w 220"/>
                <a:gd name="T93" fmla="*/ 30163 h 72"/>
                <a:gd name="T94" fmla="*/ 3897 w 220"/>
                <a:gd name="T95" fmla="*/ 27781 h 72"/>
                <a:gd name="T96" fmla="*/ 3031 w 220"/>
                <a:gd name="T97" fmla="*/ 24606 h 72"/>
                <a:gd name="T98" fmla="*/ 1299 w 220"/>
                <a:gd name="T99" fmla="*/ 21431 h 72"/>
                <a:gd name="T100" fmla="*/ 866 w 220"/>
                <a:gd name="T101" fmla="*/ 18256 h 72"/>
                <a:gd name="T102" fmla="*/ 433 w 220"/>
                <a:gd name="T103" fmla="*/ 14288 h 72"/>
                <a:gd name="T104" fmla="*/ 0 w 220"/>
                <a:gd name="T105" fmla="*/ 10319 h 72"/>
                <a:gd name="T106" fmla="*/ 9958 w 220"/>
                <a:gd name="T107" fmla="*/ 13494 h 72"/>
                <a:gd name="T108" fmla="*/ 19050 w 220"/>
                <a:gd name="T109" fmla="*/ 16669 h 72"/>
                <a:gd name="T110" fmla="*/ 27709 w 220"/>
                <a:gd name="T111" fmla="*/ 19050 h 72"/>
                <a:gd name="T112" fmla="*/ 37667 w 220"/>
                <a:gd name="T113" fmla="*/ 19844 h 7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95" name="Freeform 502">
              <a:extLst>
                <a:ext uri="{FF2B5EF4-FFF2-40B4-BE49-F238E27FC236}">
                  <a16:creationId xmlns:a16="http://schemas.microsoft.com/office/drawing/2014/main" id="{DF0BB374-2052-4D39-8491-A0806A128D8C}"/>
                </a:ext>
              </a:extLst>
            </p:cNvPr>
            <p:cNvSpPr>
              <a:spLocks/>
            </p:cNvSpPr>
            <p:nvPr>
              <p:custDataLst>
                <p:tags r:id="rId340"/>
              </p:custDataLst>
            </p:nvPr>
          </p:nvSpPr>
          <p:spPr bwMode="auto">
            <a:xfrm>
              <a:off x="8048625" y="1389064"/>
              <a:ext cx="63500" cy="58737"/>
            </a:xfrm>
            <a:custGeom>
              <a:avLst/>
              <a:gdLst>
                <a:gd name="T0" fmla="*/ 63500 w 146"/>
                <a:gd name="T1" fmla="*/ 48948 h 30"/>
                <a:gd name="T2" fmla="*/ 60890 w 146"/>
                <a:gd name="T3" fmla="*/ 31326 h 30"/>
                <a:gd name="T4" fmla="*/ 59586 w 146"/>
                <a:gd name="T5" fmla="*/ 17621 h 30"/>
                <a:gd name="T6" fmla="*/ 57846 w 146"/>
                <a:gd name="T7" fmla="*/ 7832 h 30"/>
                <a:gd name="T8" fmla="*/ 55671 w 146"/>
                <a:gd name="T9" fmla="*/ 1958 h 30"/>
                <a:gd name="T10" fmla="*/ 54801 w 146"/>
                <a:gd name="T11" fmla="*/ 1958 h 30"/>
                <a:gd name="T12" fmla="*/ 53932 w 146"/>
                <a:gd name="T13" fmla="*/ 1958 h 30"/>
                <a:gd name="T14" fmla="*/ 52192 w 146"/>
                <a:gd name="T15" fmla="*/ 3916 h 30"/>
                <a:gd name="T16" fmla="*/ 51322 w 146"/>
                <a:gd name="T17" fmla="*/ 5874 h 30"/>
                <a:gd name="T18" fmla="*/ 49147 w 146"/>
                <a:gd name="T19" fmla="*/ 17621 h 30"/>
                <a:gd name="T20" fmla="*/ 45668 w 146"/>
                <a:gd name="T21" fmla="*/ 37200 h 30"/>
                <a:gd name="T22" fmla="*/ 31315 w 146"/>
                <a:gd name="T23" fmla="*/ 37200 h 30"/>
                <a:gd name="T24" fmla="*/ 27401 w 146"/>
                <a:gd name="T25" fmla="*/ 35242 h 30"/>
                <a:gd name="T26" fmla="*/ 23921 w 146"/>
                <a:gd name="T27" fmla="*/ 33284 h 30"/>
                <a:gd name="T28" fmla="*/ 20442 w 146"/>
                <a:gd name="T29" fmla="*/ 27411 h 30"/>
                <a:gd name="T30" fmla="*/ 17397 w 146"/>
                <a:gd name="T31" fmla="*/ 23495 h 30"/>
                <a:gd name="T32" fmla="*/ 12613 w 146"/>
                <a:gd name="T33" fmla="*/ 11747 h 30"/>
                <a:gd name="T34" fmla="*/ 8264 w 146"/>
                <a:gd name="T35" fmla="*/ 0 h 30"/>
                <a:gd name="T36" fmla="*/ 6089 w 146"/>
                <a:gd name="T37" fmla="*/ 17621 h 30"/>
                <a:gd name="T38" fmla="*/ 4349 w 146"/>
                <a:gd name="T39" fmla="*/ 29369 h 30"/>
                <a:gd name="T40" fmla="*/ 1740 w 146"/>
                <a:gd name="T41" fmla="*/ 39158 h 30"/>
                <a:gd name="T42" fmla="*/ 0 w 146"/>
                <a:gd name="T43" fmla="*/ 48948 h 30"/>
                <a:gd name="T44" fmla="*/ 14353 w 146"/>
                <a:gd name="T45" fmla="*/ 48948 h 30"/>
                <a:gd name="T46" fmla="*/ 24791 w 146"/>
                <a:gd name="T47" fmla="*/ 48948 h 30"/>
                <a:gd name="T48" fmla="*/ 33490 w 146"/>
                <a:gd name="T49" fmla="*/ 48948 h 30"/>
                <a:gd name="T50" fmla="*/ 43058 w 146"/>
                <a:gd name="T51" fmla="*/ 48948 h 30"/>
                <a:gd name="T52" fmla="*/ 47842 w 146"/>
                <a:gd name="T53" fmla="*/ 50905 h 30"/>
                <a:gd name="T54" fmla="*/ 53497 w 146"/>
                <a:gd name="T55" fmla="*/ 56779 h 30"/>
                <a:gd name="T56" fmla="*/ 55671 w 146"/>
                <a:gd name="T57" fmla="*/ 58737 h 30"/>
                <a:gd name="T58" fmla="*/ 58716 w 146"/>
                <a:gd name="T59" fmla="*/ 58737 h 30"/>
                <a:gd name="T60" fmla="*/ 60890 w 146"/>
                <a:gd name="T61" fmla="*/ 54821 h 30"/>
                <a:gd name="T62" fmla="*/ 63500 w 146"/>
                <a:gd name="T63" fmla="*/ 48948 h 3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96" name="Freeform 503">
              <a:extLst>
                <a:ext uri="{FF2B5EF4-FFF2-40B4-BE49-F238E27FC236}">
                  <a16:creationId xmlns:a16="http://schemas.microsoft.com/office/drawing/2014/main" id="{BDA74645-283E-4ABF-893E-02628F3FECE1}"/>
                </a:ext>
              </a:extLst>
            </p:cNvPr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8027989" y="1385889"/>
              <a:ext cx="20637" cy="58737"/>
            </a:xfrm>
            <a:custGeom>
              <a:avLst/>
              <a:gdLst>
                <a:gd name="T0" fmla="*/ 0 w 53"/>
                <a:gd name="T1" fmla="*/ 58737 h 9"/>
                <a:gd name="T2" fmla="*/ 6619 w 53"/>
                <a:gd name="T3" fmla="*/ 58737 h 9"/>
                <a:gd name="T4" fmla="*/ 11292 w 53"/>
                <a:gd name="T5" fmla="*/ 58737 h 9"/>
                <a:gd name="T6" fmla="*/ 15575 w 53"/>
                <a:gd name="T7" fmla="*/ 58737 h 9"/>
                <a:gd name="T8" fmla="*/ 20637 w 53"/>
                <a:gd name="T9" fmla="*/ 58737 h 9"/>
                <a:gd name="T10" fmla="*/ 17911 w 53"/>
                <a:gd name="T11" fmla="*/ 39158 h 9"/>
                <a:gd name="T12" fmla="*/ 14796 w 53"/>
                <a:gd name="T13" fmla="*/ 19579 h 9"/>
                <a:gd name="T14" fmla="*/ 12071 w 53"/>
                <a:gd name="T15" fmla="*/ 6526 h 9"/>
                <a:gd name="T16" fmla="*/ 9734 w 53"/>
                <a:gd name="T17" fmla="*/ 0 h 9"/>
                <a:gd name="T18" fmla="*/ 7398 w 53"/>
                <a:gd name="T19" fmla="*/ 0 h 9"/>
                <a:gd name="T20" fmla="*/ 5451 w 53"/>
                <a:gd name="T21" fmla="*/ 0 h 9"/>
                <a:gd name="T22" fmla="*/ 3504 w 53"/>
                <a:gd name="T23" fmla="*/ 6526 h 9"/>
                <a:gd name="T24" fmla="*/ 2336 w 53"/>
                <a:gd name="T25" fmla="*/ 19579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97" name="Line 504">
              <a:extLst>
                <a:ext uri="{FF2B5EF4-FFF2-40B4-BE49-F238E27FC236}">
                  <a16:creationId xmlns:a16="http://schemas.microsoft.com/office/drawing/2014/main" id="{A1EDE0D7-F4FD-4F65-9131-522EC45CB4FF}"/>
                </a:ext>
              </a:extLst>
            </p:cNvPr>
            <p:cNvSpPr>
              <a:spLocks noChangeShapeType="1"/>
            </p:cNvSpPr>
            <p:nvPr>
              <p:custDataLst>
                <p:tags r:id="rId342"/>
              </p:custDataLst>
            </p:nvPr>
          </p:nvSpPr>
          <p:spPr bwMode="auto">
            <a:xfrm flipV="1">
              <a:off x="8029575" y="1384300"/>
              <a:ext cx="0" cy="158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98" name="Freeform 505">
              <a:extLst>
                <a:ext uri="{FF2B5EF4-FFF2-40B4-BE49-F238E27FC236}">
                  <a16:creationId xmlns:a16="http://schemas.microsoft.com/office/drawing/2014/main" id="{9E3A3E05-ABBE-44CD-9989-620257ADA43C}"/>
                </a:ext>
              </a:extLst>
            </p:cNvPr>
            <p:cNvSpPr>
              <a:spLocks/>
            </p:cNvSpPr>
            <p:nvPr>
              <p:custDataLst>
                <p:tags r:id="rId343"/>
              </p:custDataLst>
            </p:nvPr>
          </p:nvSpPr>
          <p:spPr bwMode="auto">
            <a:xfrm>
              <a:off x="7199313" y="1312863"/>
              <a:ext cx="11112" cy="55562"/>
            </a:xfrm>
            <a:custGeom>
              <a:avLst/>
              <a:gdLst>
                <a:gd name="T0" fmla="*/ 0 w 26"/>
                <a:gd name="T1" fmla="*/ 55562 h 25"/>
                <a:gd name="T2" fmla="*/ 2137 w 26"/>
                <a:gd name="T3" fmla="*/ 37782 h 25"/>
                <a:gd name="T4" fmla="*/ 5556 w 26"/>
                <a:gd name="T5" fmla="*/ 17780 h 25"/>
                <a:gd name="T6" fmla="*/ 6838 w 26"/>
                <a:gd name="T7" fmla="*/ 11112 h 25"/>
                <a:gd name="T8" fmla="*/ 8548 w 26"/>
                <a:gd name="T9" fmla="*/ 4445 h 25"/>
                <a:gd name="T10" fmla="*/ 9830 w 26"/>
                <a:gd name="T11" fmla="*/ 2222 h 25"/>
                <a:gd name="T12" fmla="*/ 11112 w 26"/>
                <a:gd name="T13" fmla="*/ 0 h 25"/>
                <a:gd name="T14" fmla="*/ 11112 w 26"/>
                <a:gd name="T15" fmla="*/ 55562 h 25"/>
                <a:gd name="T16" fmla="*/ 8548 w 26"/>
                <a:gd name="T17" fmla="*/ 55562 h 25"/>
                <a:gd name="T18" fmla="*/ 5556 w 26"/>
                <a:gd name="T19" fmla="*/ 55562 h 25"/>
                <a:gd name="T20" fmla="*/ 0 w 26"/>
                <a:gd name="T21" fmla="*/ 55562 h 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99" name="Freeform 506">
              <a:extLst>
                <a:ext uri="{FF2B5EF4-FFF2-40B4-BE49-F238E27FC236}">
                  <a16:creationId xmlns:a16="http://schemas.microsoft.com/office/drawing/2014/main" id="{85EFF62A-9B70-452C-AEE6-3ED1D7108B21}"/>
                </a:ext>
              </a:extLst>
            </p:cNvPr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7948614" y="1384300"/>
              <a:ext cx="9525" cy="57150"/>
            </a:xfrm>
            <a:custGeom>
              <a:avLst/>
              <a:gdLst>
                <a:gd name="T0" fmla="*/ 9525 w 33"/>
                <a:gd name="T1" fmla="*/ 57150 h 25"/>
                <a:gd name="T2" fmla="*/ 9525 w 33"/>
                <a:gd name="T3" fmla="*/ 27432 h 25"/>
                <a:gd name="T4" fmla="*/ 9525 w 33"/>
                <a:gd name="T5" fmla="*/ 0 h 25"/>
                <a:gd name="T6" fmla="*/ 0 w 33"/>
                <a:gd name="T7" fmla="*/ 0 h 25"/>
                <a:gd name="T8" fmla="*/ 2598 w 33"/>
                <a:gd name="T9" fmla="*/ 20574 h 25"/>
                <a:gd name="T10" fmla="*/ 4618 w 33"/>
                <a:gd name="T11" fmla="*/ 38862 h 25"/>
                <a:gd name="T12" fmla="*/ 5773 w 33"/>
                <a:gd name="T13" fmla="*/ 45720 h 25"/>
                <a:gd name="T14" fmla="*/ 6927 w 33"/>
                <a:gd name="T15" fmla="*/ 52578 h 25"/>
                <a:gd name="T16" fmla="*/ 8082 w 33"/>
                <a:gd name="T17" fmla="*/ 54864 h 25"/>
                <a:gd name="T18" fmla="*/ 9525 w 33"/>
                <a:gd name="T19" fmla="*/ 57150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00" name="Freeform 507">
              <a:extLst>
                <a:ext uri="{FF2B5EF4-FFF2-40B4-BE49-F238E27FC236}">
                  <a16:creationId xmlns:a16="http://schemas.microsoft.com/office/drawing/2014/main" id="{BB411079-A086-4C0C-A75D-47708C9DA177}"/>
                </a:ext>
              </a:extLst>
            </p:cNvPr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7902576" y="1347788"/>
              <a:ext cx="9525" cy="57150"/>
            </a:xfrm>
            <a:custGeom>
              <a:avLst/>
              <a:gdLst>
                <a:gd name="T0" fmla="*/ 0 w 20"/>
                <a:gd name="T1" fmla="*/ 0 h 18"/>
                <a:gd name="T2" fmla="*/ 6191 w 20"/>
                <a:gd name="T3" fmla="*/ 57150 h 18"/>
                <a:gd name="T4" fmla="*/ 7620 w 20"/>
                <a:gd name="T5" fmla="*/ 34925 h 18"/>
                <a:gd name="T6" fmla="*/ 9525 w 20"/>
                <a:gd name="T7" fmla="*/ 0 h 18"/>
                <a:gd name="T8" fmla="*/ 0 w 20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01" name="Freeform 508">
              <a:extLst>
                <a:ext uri="{FF2B5EF4-FFF2-40B4-BE49-F238E27FC236}">
                  <a16:creationId xmlns:a16="http://schemas.microsoft.com/office/drawing/2014/main" id="{210E2903-BC13-4CC8-89A1-22F7606F4FD9}"/>
                </a:ext>
              </a:extLst>
            </p:cNvPr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8402638" y="1917700"/>
              <a:ext cx="12700" cy="58738"/>
            </a:xfrm>
            <a:custGeom>
              <a:avLst/>
              <a:gdLst>
                <a:gd name="T0" fmla="*/ 0 w 33"/>
                <a:gd name="T1" fmla="*/ 58738 h 31"/>
                <a:gd name="T2" fmla="*/ 0 w 33"/>
                <a:gd name="T3" fmla="*/ 0 h 31"/>
                <a:gd name="T4" fmla="*/ 3464 w 33"/>
                <a:gd name="T5" fmla="*/ 0 h 31"/>
                <a:gd name="T6" fmla="*/ 6158 w 33"/>
                <a:gd name="T7" fmla="*/ 0 h 31"/>
                <a:gd name="T8" fmla="*/ 9236 w 33"/>
                <a:gd name="T9" fmla="*/ 0 h 31"/>
                <a:gd name="T10" fmla="*/ 12700 w 33"/>
                <a:gd name="T11" fmla="*/ 0 h 31"/>
                <a:gd name="T12" fmla="*/ 11545 w 33"/>
                <a:gd name="T13" fmla="*/ 3790 h 31"/>
                <a:gd name="T14" fmla="*/ 11161 w 33"/>
                <a:gd name="T15" fmla="*/ 9474 h 31"/>
                <a:gd name="T16" fmla="*/ 10776 w 33"/>
                <a:gd name="T17" fmla="*/ 17053 h 31"/>
                <a:gd name="T18" fmla="*/ 10776 w 33"/>
                <a:gd name="T19" fmla="*/ 24632 h 31"/>
                <a:gd name="T20" fmla="*/ 10776 w 33"/>
                <a:gd name="T21" fmla="*/ 32211 h 31"/>
                <a:gd name="T22" fmla="*/ 11161 w 33"/>
                <a:gd name="T23" fmla="*/ 39790 h 31"/>
                <a:gd name="T24" fmla="*/ 11545 w 33"/>
                <a:gd name="T25" fmla="*/ 49264 h 31"/>
                <a:gd name="T26" fmla="*/ 12700 w 33"/>
                <a:gd name="T27" fmla="*/ 58738 h 31"/>
                <a:gd name="T28" fmla="*/ 0 w 33"/>
                <a:gd name="T29" fmla="*/ 58738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02" name="Freeform 509">
              <a:extLst>
                <a:ext uri="{FF2B5EF4-FFF2-40B4-BE49-F238E27FC236}">
                  <a16:creationId xmlns:a16="http://schemas.microsoft.com/office/drawing/2014/main" id="{F0089C45-4310-42C1-B257-A4DAD00ABDEC}"/>
                </a:ext>
              </a:extLst>
            </p:cNvPr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8696326" y="1439864"/>
              <a:ext cx="55563" cy="58737"/>
            </a:xfrm>
            <a:custGeom>
              <a:avLst/>
              <a:gdLst>
                <a:gd name="T0" fmla="*/ 1292 w 129"/>
                <a:gd name="T1" fmla="*/ 46151 h 56"/>
                <a:gd name="T2" fmla="*/ 431 w 129"/>
                <a:gd name="T3" fmla="*/ 44053 h 56"/>
                <a:gd name="T4" fmla="*/ 431 w 129"/>
                <a:gd name="T5" fmla="*/ 41955 h 56"/>
                <a:gd name="T6" fmla="*/ 0 w 129"/>
                <a:gd name="T7" fmla="*/ 38808 h 56"/>
                <a:gd name="T8" fmla="*/ 431 w 129"/>
                <a:gd name="T9" fmla="*/ 34613 h 56"/>
                <a:gd name="T10" fmla="*/ 861 w 129"/>
                <a:gd name="T11" fmla="*/ 26222 h 56"/>
                <a:gd name="T12" fmla="*/ 1292 w 129"/>
                <a:gd name="T13" fmla="*/ 18880 h 56"/>
                <a:gd name="T14" fmla="*/ 3876 w 129"/>
                <a:gd name="T15" fmla="*/ 13635 h 56"/>
                <a:gd name="T16" fmla="*/ 6892 w 129"/>
                <a:gd name="T17" fmla="*/ 9440 h 56"/>
                <a:gd name="T18" fmla="*/ 9045 w 129"/>
                <a:gd name="T19" fmla="*/ 6293 h 56"/>
                <a:gd name="T20" fmla="*/ 11629 w 129"/>
                <a:gd name="T21" fmla="*/ 5244 h 56"/>
                <a:gd name="T22" fmla="*/ 16798 w 129"/>
                <a:gd name="T23" fmla="*/ 3147 h 56"/>
                <a:gd name="T24" fmla="*/ 24551 w 129"/>
                <a:gd name="T25" fmla="*/ 0 h 56"/>
                <a:gd name="T26" fmla="*/ 25843 w 129"/>
                <a:gd name="T27" fmla="*/ 5244 h 56"/>
                <a:gd name="T28" fmla="*/ 27566 w 129"/>
                <a:gd name="T29" fmla="*/ 8391 h 56"/>
                <a:gd name="T30" fmla="*/ 29720 w 129"/>
                <a:gd name="T31" fmla="*/ 11538 h 56"/>
                <a:gd name="T32" fmla="*/ 31443 w 129"/>
                <a:gd name="T33" fmla="*/ 14684 h 56"/>
                <a:gd name="T34" fmla="*/ 35750 w 129"/>
                <a:gd name="T35" fmla="*/ 18880 h 56"/>
                <a:gd name="T36" fmla="*/ 40057 w 129"/>
                <a:gd name="T37" fmla="*/ 22026 h 56"/>
                <a:gd name="T38" fmla="*/ 44364 w 129"/>
                <a:gd name="T39" fmla="*/ 26222 h 56"/>
                <a:gd name="T40" fmla="*/ 48671 w 129"/>
                <a:gd name="T41" fmla="*/ 30417 h 56"/>
                <a:gd name="T42" fmla="*/ 50394 w 129"/>
                <a:gd name="T43" fmla="*/ 33564 h 56"/>
                <a:gd name="T44" fmla="*/ 52117 w 129"/>
                <a:gd name="T45" fmla="*/ 36711 h 56"/>
                <a:gd name="T46" fmla="*/ 54271 w 129"/>
                <a:gd name="T47" fmla="*/ 39857 h 56"/>
                <a:gd name="T48" fmla="*/ 55563 w 129"/>
                <a:gd name="T49" fmla="*/ 46151 h 56"/>
                <a:gd name="T50" fmla="*/ 51256 w 129"/>
                <a:gd name="T51" fmla="*/ 50346 h 56"/>
                <a:gd name="T52" fmla="*/ 46949 w 129"/>
                <a:gd name="T53" fmla="*/ 53493 h 56"/>
                <a:gd name="T54" fmla="*/ 42641 w 129"/>
                <a:gd name="T55" fmla="*/ 55590 h 56"/>
                <a:gd name="T56" fmla="*/ 38765 w 129"/>
                <a:gd name="T57" fmla="*/ 56639 h 56"/>
                <a:gd name="T58" fmla="*/ 30150 w 129"/>
                <a:gd name="T59" fmla="*/ 58737 h 56"/>
                <a:gd name="T60" fmla="*/ 21105 w 129"/>
                <a:gd name="T61" fmla="*/ 58737 h 56"/>
                <a:gd name="T62" fmla="*/ 17229 w 129"/>
                <a:gd name="T63" fmla="*/ 57688 h 56"/>
                <a:gd name="T64" fmla="*/ 13352 w 129"/>
                <a:gd name="T65" fmla="*/ 56639 h 56"/>
                <a:gd name="T66" fmla="*/ 9907 w 129"/>
                <a:gd name="T67" fmla="*/ 54542 h 56"/>
                <a:gd name="T68" fmla="*/ 6892 w 129"/>
                <a:gd name="T69" fmla="*/ 52444 h 56"/>
                <a:gd name="T70" fmla="*/ 2584 w 129"/>
                <a:gd name="T71" fmla="*/ 48248 h 56"/>
                <a:gd name="T72" fmla="*/ 1292 w 129"/>
                <a:gd name="T73" fmla="*/ 46151 h 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03" name="Freeform 510">
              <a:extLst>
                <a:ext uri="{FF2B5EF4-FFF2-40B4-BE49-F238E27FC236}">
                  <a16:creationId xmlns:a16="http://schemas.microsoft.com/office/drawing/2014/main" id="{3CB44435-4008-4246-8599-6DC7BB077F04}"/>
                </a:ext>
              </a:extLst>
            </p:cNvPr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8832850" y="1792288"/>
              <a:ext cx="14288" cy="57150"/>
            </a:xfrm>
            <a:custGeom>
              <a:avLst/>
              <a:gdLst>
                <a:gd name="T0" fmla="*/ 7318 w 41"/>
                <a:gd name="T1" fmla="*/ 57150 h 42"/>
                <a:gd name="T2" fmla="*/ 0 w 41"/>
                <a:gd name="T3" fmla="*/ 40821 h 42"/>
                <a:gd name="T4" fmla="*/ 0 w 41"/>
                <a:gd name="T5" fmla="*/ 8164 h 42"/>
                <a:gd name="T6" fmla="*/ 2439 w 41"/>
                <a:gd name="T7" fmla="*/ 6804 h 42"/>
                <a:gd name="T8" fmla="*/ 4879 w 41"/>
                <a:gd name="T9" fmla="*/ 4082 h 42"/>
                <a:gd name="T10" fmla="*/ 8364 w 41"/>
                <a:gd name="T11" fmla="*/ 1361 h 42"/>
                <a:gd name="T12" fmla="*/ 11849 w 41"/>
                <a:gd name="T13" fmla="*/ 0 h 42"/>
                <a:gd name="T14" fmla="*/ 11849 w 41"/>
                <a:gd name="T15" fmla="*/ 24493 h 42"/>
                <a:gd name="T16" fmla="*/ 14288 w 41"/>
                <a:gd name="T17" fmla="*/ 24493 h 42"/>
                <a:gd name="T18" fmla="*/ 7318 w 41"/>
                <a:gd name="T19" fmla="*/ 57150 h 4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04" name="Freeform 511">
              <a:extLst>
                <a:ext uri="{FF2B5EF4-FFF2-40B4-BE49-F238E27FC236}">
                  <a16:creationId xmlns:a16="http://schemas.microsoft.com/office/drawing/2014/main" id="{AA8C4315-0AA6-424D-A043-8660549A995A}"/>
                </a:ext>
              </a:extLst>
            </p:cNvPr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8982076" y="1905001"/>
              <a:ext cx="42863" cy="60325"/>
            </a:xfrm>
            <a:custGeom>
              <a:avLst/>
              <a:gdLst>
                <a:gd name="T0" fmla="*/ 27654 w 93"/>
                <a:gd name="T1" fmla="*/ 13921 h 39"/>
                <a:gd name="T2" fmla="*/ 30880 w 93"/>
                <a:gd name="T3" fmla="*/ 27842 h 39"/>
                <a:gd name="T4" fmla="*/ 35489 w 93"/>
                <a:gd name="T5" fmla="*/ 43310 h 39"/>
                <a:gd name="T6" fmla="*/ 37332 w 93"/>
                <a:gd name="T7" fmla="*/ 51044 h 39"/>
                <a:gd name="T8" fmla="*/ 39637 w 93"/>
                <a:gd name="T9" fmla="*/ 55685 h 39"/>
                <a:gd name="T10" fmla="*/ 41480 w 93"/>
                <a:gd name="T11" fmla="*/ 58778 h 39"/>
                <a:gd name="T12" fmla="*/ 42863 w 93"/>
                <a:gd name="T13" fmla="*/ 60325 h 39"/>
                <a:gd name="T14" fmla="*/ 27654 w 93"/>
                <a:gd name="T15" fmla="*/ 60325 h 39"/>
                <a:gd name="T16" fmla="*/ 23045 w 93"/>
                <a:gd name="T17" fmla="*/ 55685 h 39"/>
                <a:gd name="T18" fmla="*/ 19818 w 93"/>
                <a:gd name="T19" fmla="*/ 49497 h 39"/>
                <a:gd name="T20" fmla="*/ 16592 w 93"/>
                <a:gd name="T21" fmla="*/ 43310 h 39"/>
                <a:gd name="T22" fmla="*/ 13827 w 93"/>
                <a:gd name="T23" fmla="*/ 35576 h 39"/>
                <a:gd name="T24" fmla="*/ 11061 w 93"/>
                <a:gd name="T25" fmla="*/ 27842 h 39"/>
                <a:gd name="T26" fmla="*/ 7374 w 93"/>
                <a:gd name="T27" fmla="*/ 20108 h 39"/>
                <a:gd name="T28" fmla="*/ 4148 w 93"/>
                <a:gd name="T29" fmla="*/ 10828 h 39"/>
                <a:gd name="T30" fmla="*/ 0 w 93"/>
                <a:gd name="T31" fmla="*/ 4640 h 39"/>
                <a:gd name="T32" fmla="*/ 5070 w 93"/>
                <a:gd name="T33" fmla="*/ 1547 h 39"/>
                <a:gd name="T34" fmla="*/ 9218 w 93"/>
                <a:gd name="T35" fmla="*/ 0 h 39"/>
                <a:gd name="T36" fmla="*/ 11983 w 93"/>
                <a:gd name="T37" fmla="*/ 0 h 39"/>
                <a:gd name="T38" fmla="*/ 15209 w 93"/>
                <a:gd name="T39" fmla="*/ 1547 h 39"/>
                <a:gd name="T40" fmla="*/ 20279 w 93"/>
                <a:gd name="T41" fmla="*/ 6187 h 39"/>
                <a:gd name="T42" fmla="*/ 27654 w 93"/>
                <a:gd name="T43" fmla="*/ 13921 h 3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05" name="Freeform 512">
              <a:extLst>
                <a:ext uri="{FF2B5EF4-FFF2-40B4-BE49-F238E27FC236}">
                  <a16:creationId xmlns:a16="http://schemas.microsoft.com/office/drawing/2014/main" id="{CF8FEE41-C6DF-4C95-9018-1EDF3334722F}"/>
                </a:ext>
              </a:extLst>
            </p:cNvPr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9032875" y="1920875"/>
              <a:ext cx="19050" cy="58738"/>
            </a:xfrm>
            <a:custGeom>
              <a:avLst/>
              <a:gdLst>
                <a:gd name="T0" fmla="*/ 19050 w 39"/>
                <a:gd name="T1" fmla="*/ 58738 h 19"/>
                <a:gd name="T2" fmla="*/ 6350 w 39"/>
                <a:gd name="T3" fmla="*/ 58738 h 19"/>
                <a:gd name="T4" fmla="*/ 3908 w 39"/>
                <a:gd name="T5" fmla="*/ 58738 h 19"/>
                <a:gd name="T6" fmla="*/ 2442 w 39"/>
                <a:gd name="T7" fmla="*/ 52555 h 19"/>
                <a:gd name="T8" fmla="*/ 1465 w 39"/>
                <a:gd name="T9" fmla="*/ 43281 h 19"/>
                <a:gd name="T10" fmla="*/ 977 w 39"/>
                <a:gd name="T11" fmla="*/ 34006 h 19"/>
                <a:gd name="T12" fmla="*/ 0 w 39"/>
                <a:gd name="T13" fmla="*/ 15457 h 19"/>
                <a:gd name="T14" fmla="*/ 0 w 39"/>
                <a:gd name="T15" fmla="*/ 0 h 19"/>
                <a:gd name="T16" fmla="*/ 6350 w 39"/>
                <a:gd name="T17" fmla="*/ 12366 h 19"/>
                <a:gd name="T18" fmla="*/ 10746 w 39"/>
                <a:gd name="T19" fmla="*/ 27823 h 19"/>
                <a:gd name="T20" fmla="*/ 14654 w 39"/>
                <a:gd name="T21" fmla="*/ 43281 h 19"/>
                <a:gd name="T22" fmla="*/ 19050 w 39"/>
                <a:gd name="T23" fmla="*/ 58738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06" name="Freeform 513">
              <a:extLst>
                <a:ext uri="{FF2B5EF4-FFF2-40B4-BE49-F238E27FC236}">
                  <a16:creationId xmlns:a16="http://schemas.microsoft.com/office/drawing/2014/main" id="{CC4A7C68-9E51-4F32-AEA5-43C4F93AE2EF}"/>
                </a:ext>
              </a:extLst>
            </p:cNvPr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8897939" y="2047875"/>
              <a:ext cx="14287" cy="57150"/>
            </a:xfrm>
            <a:custGeom>
              <a:avLst/>
              <a:gdLst>
                <a:gd name="T0" fmla="*/ 0 w 26"/>
                <a:gd name="T1" fmla="*/ 57150 h 36"/>
                <a:gd name="T2" fmla="*/ 1649 w 26"/>
                <a:gd name="T3" fmla="*/ 49213 h 36"/>
                <a:gd name="T4" fmla="*/ 5495 w 26"/>
                <a:gd name="T5" fmla="*/ 31750 h 36"/>
                <a:gd name="T6" fmla="*/ 9891 w 26"/>
                <a:gd name="T7" fmla="*/ 12700 h 36"/>
                <a:gd name="T8" fmla="*/ 14287 w 26"/>
                <a:gd name="T9" fmla="*/ 0 h 36"/>
                <a:gd name="T10" fmla="*/ 14287 w 26"/>
                <a:gd name="T11" fmla="*/ 14288 h 36"/>
                <a:gd name="T12" fmla="*/ 14287 w 26"/>
                <a:gd name="T13" fmla="*/ 28575 h 36"/>
                <a:gd name="T14" fmla="*/ 13738 w 26"/>
                <a:gd name="T15" fmla="*/ 34925 h 36"/>
                <a:gd name="T16" fmla="*/ 13188 w 26"/>
                <a:gd name="T17" fmla="*/ 41275 h 36"/>
                <a:gd name="T18" fmla="*/ 11540 w 26"/>
                <a:gd name="T19" fmla="*/ 46038 h 36"/>
                <a:gd name="T20" fmla="*/ 9342 w 26"/>
                <a:gd name="T21" fmla="*/ 50800 h 36"/>
                <a:gd name="T22" fmla="*/ 7693 w 26"/>
                <a:gd name="T23" fmla="*/ 53975 h 36"/>
                <a:gd name="T24" fmla="*/ 5495 w 26"/>
                <a:gd name="T25" fmla="*/ 55563 h 36"/>
                <a:gd name="T26" fmla="*/ 2198 w 26"/>
                <a:gd name="T27" fmla="*/ 57150 h 36"/>
                <a:gd name="T28" fmla="*/ 0 w 26"/>
                <a:gd name="T29" fmla="*/ 57150 h 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07" name="Freeform 514">
              <a:extLst>
                <a:ext uri="{FF2B5EF4-FFF2-40B4-BE49-F238E27FC236}">
                  <a16:creationId xmlns:a16="http://schemas.microsoft.com/office/drawing/2014/main" id="{90A9EDF0-E08A-4BEB-BE61-FBDD3AF3A1B6}"/>
                </a:ext>
              </a:extLst>
            </p:cNvPr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8909051" y="2076451"/>
              <a:ext cx="3175" cy="60325"/>
            </a:xfrm>
            <a:custGeom>
              <a:avLst/>
              <a:gdLst>
                <a:gd name="T0" fmla="*/ 0 w 6"/>
                <a:gd name="T1" fmla="*/ 60325 h 37"/>
                <a:gd name="T2" fmla="*/ 0 w 6"/>
                <a:gd name="T3" fmla="*/ 0 h 37"/>
                <a:gd name="T4" fmla="*/ 3175 w 6"/>
                <a:gd name="T5" fmla="*/ 0 h 37"/>
                <a:gd name="T6" fmla="*/ 3175 w 6"/>
                <a:gd name="T7" fmla="*/ 50543 h 37"/>
                <a:gd name="T8" fmla="*/ 0 w 6"/>
                <a:gd name="T9" fmla="*/ 60325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08" name="Freeform 515">
              <a:extLst>
                <a:ext uri="{FF2B5EF4-FFF2-40B4-BE49-F238E27FC236}">
                  <a16:creationId xmlns:a16="http://schemas.microsoft.com/office/drawing/2014/main" id="{58003A3E-3617-4DF0-A5BA-A42AA15369E7}"/>
                </a:ext>
              </a:extLst>
            </p:cNvPr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8896351" y="2159001"/>
              <a:ext cx="9525" cy="55563"/>
            </a:xfrm>
            <a:custGeom>
              <a:avLst/>
              <a:gdLst>
                <a:gd name="T0" fmla="*/ 0 w 20"/>
                <a:gd name="T1" fmla="*/ 40057 h 43"/>
                <a:gd name="T2" fmla="*/ 0 w 20"/>
                <a:gd name="T3" fmla="*/ 32304 h 43"/>
                <a:gd name="T4" fmla="*/ 0 w 20"/>
                <a:gd name="T5" fmla="*/ 23259 h 43"/>
                <a:gd name="T6" fmla="*/ 953 w 20"/>
                <a:gd name="T7" fmla="*/ 11629 h 43"/>
                <a:gd name="T8" fmla="*/ 3334 w 20"/>
                <a:gd name="T9" fmla="*/ 0 h 43"/>
                <a:gd name="T10" fmla="*/ 5239 w 20"/>
                <a:gd name="T11" fmla="*/ 9045 h 43"/>
                <a:gd name="T12" fmla="*/ 7620 w 20"/>
                <a:gd name="T13" fmla="*/ 15506 h 43"/>
                <a:gd name="T14" fmla="*/ 8096 w 20"/>
                <a:gd name="T15" fmla="*/ 18090 h 43"/>
                <a:gd name="T16" fmla="*/ 9049 w 20"/>
                <a:gd name="T17" fmla="*/ 23259 h 43"/>
                <a:gd name="T18" fmla="*/ 9049 w 20"/>
                <a:gd name="T19" fmla="*/ 27135 h 43"/>
                <a:gd name="T20" fmla="*/ 9525 w 20"/>
                <a:gd name="T21" fmla="*/ 32304 h 43"/>
                <a:gd name="T22" fmla="*/ 9049 w 20"/>
                <a:gd name="T23" fmla="*/ 34888 h 43"/>
                <a:gd name="T24" fmla="*/ 8573 w 20"/>
                <a:gd name="T25" fmla="*/ 38765 h 43"/>
                <a:gd name="T26" fmla="*/ 7620 w 20"/>
                <a:gd name="T27" fmla="*/ 42641 h 43"/>
                <a:gd name="T28" fmla="*/ 5715 w 20"/>
                <a:gd name="T29" fmla="*/ 46518 h 43"/>
                <a:gd name="T30" fmla="*/ 4286 w 20"/>
                <a:gd name="T31" fmla="*/ 50394 h 43"/>
                <a:gd name="T32" fmla="*/ 2858 w 20"/>
                <a:gd name="T33" fmla="*/ 52979 h 43"/>
                <a:gd name="T34" fmla="*/ 953 w 20"/>
                <a:gd name="T35" fmla="*/ 54271 h 43"/>
                <a:gd name="T36" fmla="*/ 0 w 20"/>
                <a:gd name="T37" fmla="*/ 55563 h 43"/>
                <a:gd name="T38" fmla="*/ 0 w 20"/>
                <a:gd name="T39" fmla="*/ 40057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09" name="Freeform 516">
              <a:extLst>
                <a:ext uri="{FF2B5EF4-FFF2-40B4-BE49-F238E27FC236}">
                  <a16:creationId xmlns:a16="http://schemas.microsoft.com/office/drawing/2014/main" id="{3EB9F7AF-D29B-4B3A-8B3A-8F4D484E6456}"/>
                </a:ext>
              </a:extLst>
            </p:cNvPr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8874125" y="2193925"/>
              <a:ext cx="0" cy="58738"/>
            </a:xfrm>
            <a:custGeom>
              <a:avLst/>
              <a:gdLst>
                <a:gd name="T0" fmla="*/ 58738 h 30"/>
                <a:gd name="T1" fmla="*/ 48948 h 30"/>
                <a:gd name="T2" fmla="*/ 35243 h 30"/>
                <a:gd name="T3" fmla="*/ 17621 h 30"/>
                <a:gd name="T4" fmla="*/ 0 h 30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</a:gdLst>
              <a:ahLst/>
              <a:cxnLst>
                <a:cxn ang="T5">
                  <a:pos x="0" y="T0"/>
                </a:cxn>
                <a:cxn ang="T6">
                  <a:pos x="0" y="T1"/>
                </a:cxn>
                <a:cxn ang="T7">
                  <a:pos x="0" y="T2"/>
                </a:cxn>
                <a:cxn ang="T8">
                  <a:pos x="0" y="T3"/>
                </a:cxn>
                <a:cxn ang="T9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10" name="Freeform 517">
              <a:extLst>
                <a:ext uri="{FF2B5EF4-FFF2-40B4-BE49-F238E27FC236}">
                  <a16:creationId xmlns:a16="http://schemas.microsoft.com/office/drawing/2014/main" id="{89ECF0F8-C8D4-41AA-A078-64AE1CFB5AE7}"/>
                </a:ext>
              </a:extLst>
            </p:cNvPr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8874125" y="2193925"/>
              <a:ext cx="7938" cy="58738"/>
            </a:xfrm>
            <a:custGeom>
              <a:avLst/>
              <a:gdLst>
                <a:gd name="T0" fmla="*/ 0 w 20"/>
                <a:gd name="T1" fmla="*/ 0 h 24"/>
                <a:gd name="T2" fmla="*/ 7938 w 20"/>
                <a:gd name="T3" fmla="*/ 0 h 24"/>
                <a:gd name="T4" fmla="*/ 0 w 20"/>
                <a:gd name="T5" fmla="*/ 58738 h 24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11" name="Freeform 518">
              <a:extLst>
                <a:ext uri="{FF2B5EF4-FFF2-40B4-BE49-F238E27FC236}">
                  <a16:creationId xmlns:a16="http://schemas.microsoft.com/office/drawing/2014/main" id="{5F8BB387-3A8E-40BC-80D4-CF75895FC7E5}"/>
                </a:ext>
              </a:extLst>
            </p:cNvPr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8628063" y="1781176"/>
              <a:ext cx="17462" cy="60325"/>
            </a:xfrm>
            <a:custGeom>
              <a:avLst/>
              <a:gdLst>
                <a:gd name="T0" fmla="*/ 0 w 46"/>
                <a:gd name="T1" fmla="*/ 0 h 19"/>
                <a:gd name="T2" fmla="*/ 3416 w 46"/>
                <a:gd name="T3" fmla="*/ 9525 h 19"/>
                <a:gd name="T4" fmla="*/ 5315 w 46"/>
                <a:gd name="T5" fmla="*/ 15875 h 19"/>
                <a:gd name="T6" fmla="*/ 7213 w 46"/>
                <a:gd name="T7" fmla="*/ 25400 h 19"/>
                <a:gd name="T8" fmla="*/ 8731 w 46"/>
                <a:gd name="T9" fmla="*/ 31750 h 19"/>
                <a:gd name="T10" fmla="*/ 9870 w 46"/>
                <a:gd name="T11" fmla="*/ 38100 h 19"/>
                <a:gd name="T12" fmla="*/ 12147 w 46"/>
                <a:gd name="T13" fmla="*/ 44450 h 19"/>
                <a:gd name="T14" fmla="*/ 14046 w 46"/>
                <a:gd name="T15" fmla="*/ 53975 h 19"/>
                <a:gd name="T16" fmla="*/ 17462 w 46"/>
                <a:gd name="T17" fmla="*/ 60325 h 19"/>
                <a:gd name="T18" fmla="*/ 12527 w 46"/>
                <a:gd name="T19" fmla="*/ 60325 h 19"/>
                <a:gd name="T20" fmla="*/ 9111 w 46"/>
                <a:gd name="T21" fmla="*/ 60325 h 19"/>
                <a:gd name="T22" fmla="*/ 6833 w 46"/>
                <a:gd name="T23" fmla="*/ 57150 h 19"/>
                <a:gd name="T24" fmla="*/ 4935 w 46"/>
                <a:gd name="T25" fmla="*/ 53975 h 19"/>
                <a:gd name="T26" fmla="*/ 3796 w 46"/>
                <a:gd name="T27" fmla="*/ 44450 h 19"/>
                <a:gd name="T28" fmla="*/ 2657 w 46"/>
                <a:gd name="T29" fmla="*/ 34925 h 19"/>
                <a:gd name="T30" fmla="*/ 1518 w 46"/>
                <a:gd name="T31" fmla="*/ 22225 h 19"/>
                <a:gd name="T32" fmla="*/ 0 w 46"/>
                <a:gd name="T33" fmla="*/ 0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12" name="Freeform 519">
              <a:extLst>
                <a:ext uri="{FF2B5EF4-FFF2-40B4-BE49-F238E27FC236}">
                  <a16:creationId xmlns:a16="http://schemas.microsoft.com/office/drawing/2014/main" id="{C4416398-2118-4AD0-96A2-586A6FCF104F}"/>
                </a:ext>
              </a:extLst>
            </p:cNvPr>
            <p:cNvSpPr>
              <a:spLocks/>
            </p:cNvSpPr>
            <p:nvPr>
              <p:custDataLst>
                <p:tags r:id="rId357"/>
              </p:custDataLst>
            </p:nvPr>
          </p:nvSpPr>
          <p:spPr bwMode="auto">
            <a:xfrm>
              <a:off x="5943601" y="1920875"/>
              <a:ext cx="47625" cy="58738"/>
            </a:xfrm>
            <a:custGeom>
              <a:avLst/>
              <a:gdLst>
                <a:gd name="T0" fmla="*/ 15716 w 100"/>
                <a:gd name="T1" fmla="*/ 0 h 55"/>
                <a:gd name="T2" fmla="*/ 47625 w 100"/>
                <a:gd name="T3" fmla="*/ 12816 h 55"/>
                <a:gd name="T4" fmla="*/ 47625 w 100"/>
                <a:gd name="T5" fmla="*/ 58738 h 55"/>
                <a:gd name="T6" fmla="*/ 6191 w 100"/>
                <a:gd name="T7" fmla="*/ 58738 h 55"/>
                <a:gd name="T8" fmla="*/ 0 w 100"/>
                <a:gd name="T9" fmla="*/ 45922 h 55"/>
                <a:gd name="T10" fmla="*/ 476 w 100"/>
                <a:gd name="T11" fmla="*/ 40583 h 55"/>
                <a:gd name="T12" fmla="*/ 1905 w 100"/>
                <a:gd name="T13" fmla="*/ 34175 h 55"/>
                <a:gd name="T14" fmla="*/ 4763 w 100"/>
                <a:gd name="T15" fmla="*/ 26699 h 55"/>
                <a:gd name="T16" fmla="*/ 7620 w 100"/>
                <a:gd name="T17" fmla="*/ 19223 h 55"/>
                <a:gd name="T18" fmla="*/ 12859 w 100"/>
                <a:gd name="T19" fmla="*/ 5340 h 55"/>
                <a:gd name="T20" fmla="*/ 15716 w 100"/>
                <a:gd name="T21" fmla="*/ 0 h 5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13" name="Freeform 520">
              <a:extLst>
                <a:ext uri="{FF2B5EF4-FFF2-40B4-BE49-F238E27FC236}">
                  <a16:creationId xmlns:a16="http://schemas.microsoft.com/office/drawing/2014/main" id="{94282280-5415-4C0C-A1EF-9B6BD916067E}"/>
                </a:ext>
              </a:extLst>
            </p:cNvPr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6392863" y="1512889"/>
              <a:ext cx="42862" cy="58737"/>
            </a:xfrm>
            <a:custGeom>
              <a:avLst/>
              <a:gdLst>
                <a:gd name="T0" fmla="*/ 22946 w 99"/>
                <a:gd name="T1" fmla="*/ 2303 h 51"/>
                <a:gd name="T2" fmla="*/ 25111 w 99"/>
                <a:gd name="T3" fmla="*/ 1152 h 51"/>
                <a:gd name="T4" fmla="*/ 26843 w 99"/>
                <a:gd name="T5" fmla="*/ 0 h 51"/>
                <a:gd name="T6" fmla="*/ 28142 w 99"/>
                <a:gd name="T7" fmla="*/ 0 h 51"/>
                <a:gd name="T8" fmla="*/ 29874 w 99"/>
                <a:gd name="T9" fmla="*/ 1152 h 51"/>
                <a:gd name="T10" fmla="*/ 32038 w 99"/>
                <a:gd name="T11" fmla="*/ 5759 h 51"/>
                <a:gd name="T12" fmla="*/ 34203 w 99"/>
                <a:gd name="T13" fmla="*/ 12669 h 51"/>
                <a:gd name="T14" fmla="*/ 35935 w 99"/>
                <a:gd name="T15" fmla="*/ 20731 h 51"/>
                <a:gd name="T16" fmla="*/ 37667 w 99"/>
                <a:gd name="T17" fmla="*/ 28793 h 51"/>
                <a:gd name="T18" fmla="*/ 39398 w 99"/>
                <a:gd name="T19" fmla="*/ 32248 h 51"/>
                <a:gd name="T20" fmla="*/ 40264 w 99"/>
                <a:gd name="T21" fmla="*/ 34551 h 51"/>
                <a:gd name="T22" fmla="*/ 41563 w 99"/>
                <a:gd name="T23" fmla="*/ 36855 h 51"/>
                <a:gd name="T24" fmla="*/ 42862 w 99"/>
                <a:gd name="T25" fmla="*/ 39158 h 51"/>
                <a:gd name="T26" fmla="*/ 42862 w 99"/>
                <a:gd name="T27" fmla="*/ 42613 h 51"/>
                <a:gd name="T28" fmla="*/ 41996 w 99"/>
                <a:gd name="T29" fmla="*/ 46068 h 51"/>
                <a:gd name="T30" fmla="*/ 41130 w 99"/>
                <a:gd name="T31" fmla="*/ 49523 h 51"/>
                <a:gd name="T32" fmla="*/ 39398 w 99"/>
                <a:gd name="T33" fmla="*/ 51827 h 51"/>
                <a:gd name="T34" fmla="*/ 37234 w 99"/>
                <a:gd name="T35" fmla="*/ 54130 h 51"/>
                <a:gd name="T36" fmla="*/ 35069 w 99"/>
                <a:gd name="T37" fmla="*/ 55282 h 51"/>
                <a:gd name="T38" fmla="*/ 32038 w 99"/>
                <a:gd name="T39" fmla="*/ 57585 h 51"/>
                <a:gd name="T40" fmla="*/ 29441 w 99"/>
                <a:gd name="T41" fmla="*/ 57585 h 51"/>
                <a:gd name="T42" fmla="*/ 22513 w 99"/>
                <a:gd name="T43" fmla="*/ 58737 h 51"/>
                <a:gd name="T44" fmla="*/ 15586 w 99"/>
                <a:gd name="T45" fmla="*/ 56434 h 51"/>
                <a:gd name="T46" fmla="*/ 11690 w 99"/>
                <a:gd name="T47" fmla="*/ 55282 h 51"/>
                <a:gd name="T48" fmla="*/ 7793 w 99"/>
                <a:gd name="T49" fmla="*/ 51827 h 51"/>
                <a:gd name="T50" fmla="*/ 3897 w 99"/>
                <a:gd name="T51" fmla="*/ 49523 h 51"/>
                <a:gd name="T52" fmla="*/ 433 w 99"/>
                <a:gd name="T53" fmla="*/ 46068 h 51"/>
                <a:gd name="T54" fmla="*/ 0 w 99"/>
                <a:gd name="T55" fmla="*/ 44917 h 51"/>
                <a:gd name="T56" fmla="*/ 433 w 99"/>
                <a:gd name="T57" fmla="*/ 42613 h 51"/>
                <a:gd name="T58" fmla="*/ 1299 w 99"/>
                <a:gd name="T59" fmla="*/ 40310 h 51"/>
                <a:gd name="T60" fmla="*/ 2598 w 99"/>
                <a:gd name="T61" fmla="*/ 38006 h 51"/>
                <a:gd name="T62" fmla="*/ 6061 w 99"/>
                <a:gd name="T63" fmla="*/ 33399 h 51"/>
                <a:gd name="T64" fmla="*/ 10824 w 99"/>
                <a:gd name="T65" fmla="*/ 27641 h 51"/>
                <a:gd name="T66" fmla="*/ 15153 w 99"/>
                <a:gd name="T67" fmla="*/ 21882 h 51"/>
                <a:gd name="T68" fmla="*/ 19483 w 99"/>
                <a:gd name="T69" fmla="*/ 13820 h 51"/>
                <a:gd name="T70" fmla="*/ 20782 w 99"/>
                <a:gd name="T71" fmla="*/ 11517 h 51"/>
                <a:gd name="T72" fmla="*/ 22080 w 99"/>
                <a:gd name="T73" fmla="*/ 8062 h 51"/>
                <a:gd name="T74" fmla="*/ 22513 w 99"/>
                <a:gd name="T75" fmla="*/ 5759 h 51"/>
                <a:gd name="T76" fmla="*/ 22946 w 99"/>
                <a:gd name="T77" fmla="*/ 2303 h 5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14" name="Freeform 521">
              <a:extLst>
                <a:ext uri="{FF2B5EF4-FFF2-40B4-BE49-F238E27FC236}">
                  <a16:creationId xmlns:a16="http://schemas.microsoft.com/office/drawing/2014/main" id="{29837B76-7F6A-4049-B9ED-A509D308D0FD}"/>
                </a:ext>
              </a:extLst>
            </p:cNvPr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6427788" y="1325563"/>
              <a:ext cx="228600" cy="163512"/>
            </a:xfrm>
            <a:custGeom>
              <a:avLst/>
              <a:gdLst>
                <a:gd name="T0" fmla="*/ 137160 w 525"/>
                <a:gd name="T1" fmla="*/ 14196 h 311"/>
                <a:gd name="T2" fmla="*/ 148917 w 525"/>
                <a:gd name="T3" fmla="*/ 11041 h 311"/>
                <a:gd name="T4" fmla="*/ 167640 w 525"/>
                <a:gd name="T5" fmla="*/ 10515 h 311"/>
                <a:gd name="T6" fmla="*/ 177655 w 525"/>
                <a:gd name="T7" fmla="*/ 8938 h 311"/>
                <a:gd name="T8" fmla="*/ 185928 w 525"/>
                <a:gd name="T9" fmla="*/ 3680 h 311"/>
                <a:gd name="T10" fmla="*/ 223810 w 525"/>
                <a:gd name="T11" fmla="*/ 3155 h 311"/>
                <a:gd name="T12" fmla="*/ 228600 w 525"/>
                <a:gd name="T13" fmla="*/ 9989 h 311"/>
                <a:gd name="T14" fmla="*/ 203781 w 525"/>
                <a:gd name="T15" fmla="*/ 24711 h 311"/>
                <a:gd name="T16" fmla="*/ 170688 w 525"/>
                <a:gd name="T17" fmla="*/ 38381 h 311"/>
                <a:gd name="T18" fmla="*/ 155013 w 525"/>
                <a:gd name="T19" fmla="*/ 42061 h 311"/>
                <a:gd name="T20" fmla="*/ 139773 w 525"/>
                <a:gd name="T21" fmla="*/ 43638 h 311"/>
                <a:gd name="T22" fmla="*/ 121485 w 525"/>
                <a:gd name="T23" fmla="*/ 53102 h 311"/>
                <a:gd name="T24" fmla="*/ 106245 w 525"/>
                <a:gd name="T25" fmla="*/ 63617 h 311"/>
                <a:gd name="T26" fmla="*/ 94923 w 525"/>
                <a:gd name="T27" fmla="*/ 67823 h 311"/>
                <a:gd name="T28" fmla="*/ 81425 w 525"/>
                <a:gd name="T29" fmla="*/ 64669 h 311"/>
                <a:gd name="T30" fmla="*/ 77506 w 525"/>
                <a:gd name="T31" fmla="*/ 72029 h 311"/>
                <a:gd name="T32" fmla="*/ 76200 w 525"/>
                <a:gd name="T33" fmla="*/ 76235 h 311"/>
                <a:gd name="T34" fmla="*/ 80554 w 525"/>
                <a:gd name="T35" fmla="*/ 77813 h 311"/>
                <a:gd name="T36" fmla="*/ 80119 w 525"/>
                <a:gd name="T37" fmla="*/ 82545 h 311"/>
                <a:gd name="T38" fmla="*/ 76635 w 525"/>
                <a:gd name="T39" fmla="*/ 87802 h 311"/>
                <a:gd name="T40" fmla="*/ 78377 w 525"/>
                <a:gd name="T41" fmla="*/ 94111 h 311"/>
                <a:gd name="T42" fmla="*/ 70539 w 525"/>
                <a:gd name="T43" fmla="*/ 101998 h 311"/>
                <a:gd name="T44" fmla="*/ 62702 w 525"/>
                <a:gd name="T45" fmla="*/ 107255 h 311"/>
                <a:gd name="T46" fmla="*/ 61395 w 525"/>
                <a:gd name="T47" fmla="*/ 111987 h 311"/>
                <a:gd name="T48" fmla="*/ 62702 w 525"/>
                <a:gd name="T49" fmla="*/ 119874 h 311"/>
                <a:gd name="T50" fmla="*/ 70975 w 525"/>
                <a:gd name="T51" fmla="*/ 129863 h 311"/>
                <a:gd name="T52" fmla="*/ 83167 w 525"/>
                <a:gd name="T53" fmla="*/ 140378 h 311"/>
                <a:gd name="T54" fmla="*/ 111470 w 525"/>
                <a:gd name="T55" fmla="*/ 157729 h 311"/>
                <a:gd name="T56" fmla="*/ 105809 w 525"/>
                <a:gd name="T57" fmla="*/ 163512 h 311"/>
                <a:gd name="T58" fmla="*/ 82296 w 525"/>
                <a:gd name="T59" fmla="*/ 162460 h 311"/>
                <a:gd name="T60" fmla="*/ 63137 w 525"/>
                <a:gd name="T61" fmla="*/ 161935 h 311"/>
                <a:gd name="T62" fmla="*/ 56170 w 525"/>
                <a:gd name="T63" fmla="*/ 159832 h 311"/>
                <a:gd name="T64" fmla="*/ 53558 w 525"/>
                <a:gd name="T65" fmla="*/ 156677 h 311"/>
                <a:gd name="T66" fmla="*/ 52251 w 525"/>
                <a:gd name="T67" fmla="*/ 148265 h 311"/>
                <a:gd name="T68" fmla="*/ 50510 w 525"/>
                <a:gd name="T69" fmla="*/ 146162 h 311"/>
                <a:gd name="T70" fmla="*/ 41366 w 525"/>
                <a:gd name="T71" fmla="*/ 145636 h 311"/>
                <a:gd name="T72" fmla="*/ 34834 w 525"/>
                <a:gd name="T73" fmla="*/ 155626 h 311"/>
                <a:gd name="T74" fmla="*/ 19159 w 525"/>
                <a:gd name="T75" fmla="*/ 148265 h 311"/>
                <a:gd name="T76" fmla="*/ 0 w 525"/>
                <a:gd name="T77" fmla="*/ 129337 h 311"/>
                <a:gd name="T78" fmla="*/ 7838 w 525"/>
                <a:gd name="T79" fmla="*/ 125657 h 311"/>
                <a:gd name="T80" fmla="*/ 14805 w 525"/>
                <a:gd name="T81" fmla="*/ 116719 h 311"/>
                <a:gd name="T82" fmla="*/ 12192 w 525"/>
                <a:gd name="T83" fmla="*/ 111987 h 311"/>
                <a:gd name="T84" fmla="*/ 14805 w 525"/>
                <a:gd name="T85" fmla="*/ 105152 h 311"/>
                <a:gd name="T86" fmla="*/ 17417 w 525"/>
                <a:gd name="T87" fmla="*/ 98843 h 311"/>
                <a:gd name="T88" fmla="*/ 14805 w 525"/>
                <a:gd name="T89" fmla="*/ 94111 h 311"/>
                <a:gd name="T90" fmla="*/ 58347 w 525"/>
                <a:gd name="T91" fmla="*/ 94111 h 311"/>
                <a:gd name="T92" fmla="*/ 57041 w 525"/>
                <a:gd name="T93" fmla="*/ 93060 h 311"/>
                <a:gd name="T94" fmla="*/ 39189 w 525"/>
                <a:gd name="T95" fmla="*/ 87277 h 311"/>
                <a:gd name="T96" fmla="*/ 23513 w 525"/>
                <a:gd name="T97" fmla="*/ 77813 h 311"/>
                <a:gd name="T98" fmla="*/ 36576 w 525"/>
                <a:gd name="T99" fmla="*/ 70452 h 311"/>
                <a:gd name="T100" fmla="*/ 52251 w 525"/>
                <a:gd name="T101" fmla="*/ 58360 h 311"/>
                <a:gd name="T102" fmla="*/ 48333 w 525"/>
                <a:gd name="T103" fmla="*/ 54153 h 311"/>
                <a:gd name="T104" fmla="*/ 43543 w 525"/>
                <a:gd name="T105" fmla="*/ 42061 h 311"/>
                <a:gd name="T106" fmla="*/ 55299 w 525"/>
                <a:gd name="T107" fmla="*/ 39958 h 311"/>
                <a:gd name="T108" fmla="*/ 80119 w 525"/>
                <a:gd name="T109" fmla="*/ 30494 h 311"/>
                <a:gd name="T110" fmla="*/ 110599 w 525"/>
                <a:gd name="T111" fmla="*/ 18402 h 31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15" name="Freeform 522">
              <a:extLst>
                <a:ext uri="{FF2B5EF4-FFF2-40B4-BE49-F238E27FC236}">
                  <a16:creationId xmlns:a16="http://schemas.microsoft.com/office/drawing/2014/main" id="{32ABA77A-2D3F-429E-8BEA-121FD7EFE62F}"/>
                </a:ext>
              </a:extLst>
            </p:cNvPr>
            <p:cNvSpPr>
              <a:spLocks/>
            </p:cNvSpPr>
            <p:nvPr>
              <p:custDataLst>
                <p:tags r:id="rId360"/>
              </p:custDataLst>
            </p:nvPr>
          </p:nvSpPr>
          <p:spPr bwMode="auto">
            <a:xfrm>
              <a:off x="6219825" y="1636713"/>
              <a:ext cx="31750" cy="55562"/>
            </a:xfrm>
            <a:custGeom>
              <a:avLst/>
              <a:gdLst>
                <a:gd name="T0" fmla="*/ 18487 w 79"/>
                <a:gd name="T1" fmla="*/ 0 h 38"/>
                <a:gd name="T2" fmla="*/ 21703 w 79"/>
                <a:gd name="T3" fmla="*/ 1462 h 38"/>
                <a:gd name="T4" fmla="*/ 24918 w 79"/>
                <a:gd name="T5" fmla="*/ 4386 h 38"/>
                <a:gd name="T6" fmla="*/ 27329 w 79"/>
                <a:gd name="T7" fmla="*/ 10235 h 38"/>
                <a:gd name="T8" fmla="*/ 28937 w 79"/>
                <a:gd name="T9" fmla="*/ 17546 h 38"/>
                <a:gd name="T10" fmla="*/ 30142 w 79"/>
                <a:gd name="T11" fmla="*/ 24857 h 38"/>
                <a:gd name="T12" fmla="*/ 30946 w 79"/>
                <a:gd name="T13" fmla="*/ 32167 h 38"/>
                <a:gd name="T14" fmla="*/ 31750 w 79"/>
                <a:gd name="T15" fmla="*/ 39478 h 38"/>
                <a:gd name="T16" fmla="*/ 31750 w 79"/>
                <a:gd name="T17" fmla="*/ 46789 h 38"/>
                <a:gd name="T18" fmla="*/ 30946 w 79"/>
                <a:gd name="T19" fmla="*/ 49713 h 38"/>
                <a:gd name="T20" fmla="*/ 30142 w 79"/>
                <a:gd name="T21" fmla="*/ 51176 h 38"/>
                <a:gd name="T22" fmla="*/ 28937 w 79"/>
                <a:gd name="T23" fmla="*/ 52638 h 38"/>
                <a:gd name="T24" fmla="*/ 27329 w 79"/>
                <a:gd name="T25" fmla="*/ 54100 h 38"/>
                <a:gd name="T26" fmla="*/ 22908 w 79"/>
                <a:gd name="T27" fmla="*/ 55562 h 38"/>
                <a:gd name="T28" fmla="*/ 18487 w 79"/>
                <a:gd name="T29" fmla="*/ 55562 h 38"/>
                <a:gd name="T30" fmla="*/ 15272 w 79"/>
                <a:gd name="T31" fmla="*/ 54100 h 38"/>
                <a:gd name="T32" fmla="*/ 12057 w 79"/>
                <a:gd name="T33" fmla="*/ 52638 h 38"/>
                <a:gd name="T34" fmla="*/ 8440 w 79"/>
                <a:gd name="T35" fmla="*/ 51176 h 38"/>
                <a:gd name="T36" fmla="*/ 6028 w 79"/>
                <a:gd name="T37" fmla="*/ 46789 h 38"/>
                <a:gd name="T38" fmla="*/ 3215 w 79"/>
                <a:gd name="T39" fmla="*/ 42403 h 38"/>
                <a:gd name="T40" fmla="*/ 1608 w 79"/>
                <a:gd name="T41" fmla="*/ 36554 h 38"/>
                <a:gd name="T42" fmla="*/ 804 w 79"/>
                <a:gd name="T43" fmla="*/ 32167 h 38"/>
                <a:gd name="T44" fmla="*/ 402 w 79"/>
                <a:gd name="T45" fmla="*/ 29243 h 38"/>
                <a:gd name="T46" fmla="*/ 0 w 79"/>
                <a:gd name="T47" fmla="*/ 24857 h 38"/>
                <a:gd name="T48" fmla="*/ 0 w 79"/>
                <a:gd name="T49" fmla="*/ 19008 h 38"/>
                <a:gd name="T50" fmla="*/ 402 w 79"/>
                <a:gd name="T51" fmla="*/ 16084 h 38"/>
                <a:gd name="T52" fmla="*/ 1608 w 79"/>
                <a:gd name="T53" fmla="*/ 13159 h 38"/>
                <a:gd name="T54" fmla="*/ 4019 w 79"/>
                <a:gd name="T55" fmla="*/ 8773 h 38"/>
                <a:gd name="T56" fmla="*/ 6832 w 79"/>
                <a:gd name="T57" fmla="*/ 5849 h 38"/>
                <a:gd name="T58" fmla="*/ 12861 w 79"/>
                <a:gd name="T59" fmla="*/ 1462 h 38"/>
                <a:gd name="T60" fmla="*/ 18487 w 79"/>
                <a:gd name="T61" fmla="*/ 0 h 3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16" name="Freeform 523">
              <a:extLst>
                <a:ext uri="{FF2B5EF4-FFF2-40B4-BE49-F238E27FC236}">
                  <a16:creationId xmlns:a16="http://schemas.microsoft.com/office/drawing/2014/main" id="{CF8459CE-9001-4411-AD85-36E39AC7CC2F}"/>
                </a:ext>
              </a:extLst>
            </p:cNvPr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8524875" y="1933575"/>
              <a:ext cx="196850" cy="268288"/>
            </a:xfrm>
            <a:custGeom>
              <a:avLst/>
              <a:gdLst>
                <a:gd name="T0" fmla="*/ 11151 w 459"/>
                <a:gd name="T1" fmla="*/ 23626 h 511"/>
                <a:gd name="T2" fmla="*/ 5146 w 459"/>
                <a:gd name="T3" fmla="*/ 13126 h 511"/>
                <a:gd name="T4" fmla="*/ 0 w 459"/>
                <a:gd name="T5" fmla="*/ 0 h 511"/>
                <a:gd name="T6" fmla="*/ 9435 w 459"/>
                <a:gd name="T7" fmla="*/ 3675 h 511"/>
                <a:gd name="T8" fmla="*/ 14153 w 459"/>
                <a:gd name="T9" fmla="*/ 3150 h 511"/>
                <a:gd name="T10" fmla="*/ 40742 w 459"/>
                <a:gd name="T11" fmla="*/ 35177 h 511"/>
                <a:gd name="T12" fmla="*/ 62615 w 459"/>
                <a:gd name="T13" fmla="*/ 64578 h 511"/>
                <a:gd name="T14" fmla="*/ 92635 w 459"/>
                <a:gd name="T15" fmla="*/ 103955 h 511"/>
                <a:gd name="T16" fmla="*/ 110648 w 459"/>
                <a:gd name="T17" fmla="*/ 124431 h 511"/>
                <a:gd name="T18" fmla="*/ 129947 w 459"/>
                <a:gd name="T19" fmla="*/ 139657 h 511"/>
                <a:gd name="T20" fmla="*/ 159539 w 459"/>
                <a:gd name="T21" fmla="*/ 163283 h 511"/>
                <a:gd name="T22" fmla="*/ 170689 w 459"/>
                <a:gd name="T23" fmla="*/ 176409 h 511"/>
                <a:gd name="T24" fmla="*/ 156536 w 459"/>
                <a:gd name="T25" fmla="*/ 168008 h 511"/>
                <a:gd name="T26" fmla="*/ 138953 w 459"/>
                <a:gd name="T27" fmla="*/ 155408 h 511"/>
                <a:gd name="T28" fmla="*/ 134664 w 459"/>
                <a:gd name="T29" fmla="*/ 156458 h 511"/>
                <a:gd name="T30" fmla="*/ 134235 w 459"/>
                <a:gd name="T31" fmla="*/ 163283 h 511"/>
                <a:gd name="T32" fmla="*/ 135951 w 459"/>
                <a:gd name="T33" fmla="*/ 176934 h 511"/>
                <a:gd name="T34" fmla="*/ 139811 w 459"/>
                <a:gd name="T35" fmla="*/ 187959 h 511"/>
                <a:gd name="T36" fmla="*/ 149246 w 459"/>
                <a:gd name="T37" fmla="*/ 203185 h 511"/>
                <a:gd name="T38" fmla="*/ 168974 w 459"/>
                <a:gd name="T39" fmla="*/ 221036 h 511"/>
                <a:gd name="T40" fmla="*/ 188702 w 459"/>
                <a:gd name="T41" fmla="*/ 240462 h 511"/>
                <a:gd name="T42" fmla="*/ 192132 w 459"/>
                <a:gd name="T43" fmla="*/ 249912 h 511"/>
                <a:gd name="T44" fmla="*/ 183555 w 459"/>
                <a:gd name="T45" fmla="*/ 246237 h 511"/>
                <a:gd name="T46" fmla="*/ 168116 w 459"/>
                <a:gd name="T47" fmla="*/ 242562 h 511"/>
                <a:gd name="T48" fmla="*/ 168545 w 459"/>
                <a:gd name="T49" fmla="*/ 259363 h 511"/>
                <a:gd name="T50" fmla="*/ 170689 w 459"/>
                <a:gd name="T51" fmla="*/ 268288 h 511"/>
                <a:gd name="T52" fmla="*/ 166400 w 459"/>
                <a:gd name="T53" fmla="*/ 258313 h 511"/>
                <a:gd name="T54" fmla="*/ 155679 w 459"/>
                <a:gd name="T55" fmla="*/ 244662 h 511"/>
                <a:gd name="T56" fmla="*/ 147101 w 459"/>
                <a:gd name="T57" fmla="*/ 233636 h 511"/>
                <a:gd name="T58" fmla="*/ 145386 w 459"/>
                <a:gd name="T59" fmla="*/ 226286 h 511"/>
                <a:gd name="T60" fmla="*/ 140668 w 459"/>
                <a:gd name="T61" fmla="*/ 215785 h 511"/>
                <a:gd name="T62" fmla="*/ 132949 w 459"/>
                <a:gd name="T63" fmla="*/ 201610 h 511"/>
                <a:gd name="T64" fmla="*/ 127802 w 459"/>
                <a:gd name="T65" fmla="*/ 192684 h 511"/>
                <a:gd name="T66" fmla="*/ 120083 w 459"/>
                <a:gd name="T67" fmla="*/ 187959 h 511"/>
                <a:gd name="T68" fmla="*/ 113221 w 459"/>
                <a:gd name="T69" fmla="*/ 180084 h 511"/>
                <a:gd name="T70" fmla="*/ 106788 w 459"/>
                <a:gd name="T71" fmla="*/ 164858 h 511"/>
                <a:gd name="T72" fmla="*/ 105072 w 459"/>
                <a:gd name="T73" fmla="*/ 153832 h 511"/>
                <a:gd name="T74" fmla="*/ 100355 w 459"/>
                <a:gd name="T75" fmla="*/ 147532 h 511"/>
                <a:gd name="T76" fmla="*/ 83200 w 459"/>
                <a:gd name="T77" fmla="*/ 128106 h 511"/>
                <a:gd name="T78" fmla="*/ 73336 w 459"/>
                <a:gd name="T79" fmla="*/ 115506 h 511"/>
                <a:gd name="T80" fmla="*/ 69905 w 459"/>
                <a:gd name="T81" fmla="*/ 106580 h 511"/>
                <a:gd name="T82" fmla="*/ 66046 w 459"/>
                <a:gd name="T83" fmla="*/ 98180 h 511"/>
                <a:gd name="T84" fmla="*/ 49320 w 459"/>
                <a:gd name="T85" fmla="*/ 81379 h 511"/>
                <a:gd name="T86" fmla="*/ 30021 w 459"/>
                <a:gd name="T87" fmla="*/ 68253 h 511"/>
                <a:gd name="T88" fmla="*/ 20157 w 459"/>
                <a:gd name="T89" fmla="*/ 57753 h 511"/>
                <a:gd name="T90" fmla="*/ 16297 w 459"/>
                <a:gd name="T91" fmla="*/ 48827 h 511"/>
                <a:gd name="T92" fmla="*/ 14581 w 459"/>
                <a:gd name="T93" fmla="*/ 39377 h 51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917" name="Group 524">
              <a:extLst>
                <a:ext uri="{FF2B5EF4-FFF2-40B4-BE49-F238E27FC236}">
                  <a16:creationId xmlns:a16="http://schemas.microsoft.com/office/drawing/2014/main" id="{4BC427EB-871E-4355-B51B-491D3434A59F}"/>
                </a:ext>
              </a:extLst>
            </p:cNvPr>
            <p:cNvGrpSpPr>
              <a:grpSpLocks/>
            </p:cNvGrpSpPr>
            <p:nvPr>
              <p:custDataLst>
                <p:tags r:id="rId362"/>
              </p:custDataLst>
            </p:nvPr>
          </p:nvGrpSpPr>
          <p:grpSpPr bwMode="auto">
            <a:xfrm>
              <a:off x="7315201" y="1889126"/>
              <a:ext cx="671513" cy="384175"/>
              <a:chOff x="4115" y="1551"/>
              <a:chExt cx="504" cy="244"/>
            </a:xfrm>
          </p:grpSpPr>
          <p:sp>
            <p:nvSpPr>
              <p:cNvPr id="942" name="Freeform 525">
                <a:extLst>
                  <a:ext uri="{FF2B5EF4-FFF2-40B4-BE49-F238E27FC236}">
                    <a16:creationId xmlns:a16="http://schemas.microsoft.com/office/drawing/2014/main" id="{70D2B2F9-9CF1-432A-84DF-EC43D6BFB7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4 w 240"/>
                  <a:gd name="T1" fmla="*/ 82 h 259"/>
                  <a:gd name="T2" fmla="*/ 26 w 240"/>
                  <a:gd name="T3" fmla="*/ 86 h 259"/>
                  <a:gd name="T4" fmla="*/ 40 w 240"/>
                  <a:gd name="T5" fmla="*/ 80 h 259"/>
                  <a:gd name="T6" fmla="*/ 44 w 240"/>
                  <a:gd name="T7" fmla="*/ 70 h 259"/>
                  <a:gd name="T8" fmla="*/ 63 w 240"/>
                  <a:gd name="T9" fmla="*/ 53 h 259"/>
                  <a:gd name="T10" fmla="*/ 70 w 240"/>
                  <a:gd name="T11" fmla="*/ 37 h 259"/>
                  <a:gd name="T12" fmla="*/ 79 w 240"/>
                  <a:gd name="T13" fmla="*/ 9 h 259"/>
                  <a:gd name="T14" fmla="*/ 70 w 240"/>
                  <a:gd name="T15" fmla="*/ 0 h 259"/>
                  <a:gd name="T16" fmla="*/ 68 w 240"/>
                  <a:gd name="T17" fmla="*/ 11 h 259"/>
                  <a:gd name="T18" fmla="*/ 66 w 240"/>
                  <a:gd name="T19" fmla="*/ 25 h 259"/>
                  <a:gd name="T20" fmla="*/ 55 w 240"/>
                  <a:gd name="T21" fmla="*/ 35 h 259"/>
                  <a:gd name="T22" fmla="*/ 44 w 240"/>
                  <a:gd name="T23" fmla="*/ 49 h 259"/>
                  <a:gd name="T24" fmla="*/ 37 w 240"/>
                  <a:gd name="T25" fmla="*/ 59 h 259"/>
                  <a:gd name="T26" fmla="*/ 31 w 240"/>
                  <a:gd name="T27" fmla="*/ 72 h 259"/>
                  <a:gd name="T28" fmla="*/ 7 w 240"/>
                  <a:gd name="T29" fmla="*/ 74 h 259"/>
                  <a:gd name="T30" fmla="*/ 0 w 240"/>
                  <a:gd name="T31" fmla="*/ 74 h 259"/>
                  <a:gd name="T32" fmla="*/ 4 w 240"/>
                  <a:gd name="T33" fmla="*/ 82 h 25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43" name="Freeform 526">
                <a:extLst>
                  <a:ext uri="{FF2B5EF4-FFF2-40B4-BE49-F238E27FC236}">
                    <a16:creationId xmlns:a16="http://schemas.microsoft.com/office/drawing/2014/main" id="{4B7FFEF1-E98B-45D0-83A9-507BECA084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11 w 259"/>
                  <a:gd name="T1" fmla="*/ 34 h 104"/>
                  <a:gd name="T2" fmla="*/ 8 w 259"/>
                  <a:gd name="T3" fmla="*/ 28 h 104"/>
                  <a:gd name="T4" fmla="*/ 17 w 259"/>
                  <a:gd name="T5" fmla="*/ 20 h 104"/>
                  <a:gd name="T6" fmla="*/ 23 w 259"/>
                  <a:gd name="T7" fmla="*/ 16 h 104"/>
                  <a:gd name="T8" fmla="*/ 41 w 259"/>
                  <a:gd name="T9" fmla="*/ 14 h 104"/>
                  <a:gd name="T10" fmla="*/ 56 w 259"/>
                  <a:gd name="T11" fmla="*/ 14 h 104"/>
                  <a:gd name="T12" fmla="*/ 80 w 259"/>
                  <a:gd name="T13" fmla="*/ 10 h 104"/>
                  <a:gd name="T14" fmla="*/ 84 w 259"/>
                  <a:gd name="T15" fmla="*/ 2 h 104"/>
                  <a:gd name="T16" fmla="*/ 80 w 259"/>
                  <a:gd name="T17" fmla="*/ 0 h 104"/>
                  <a:gd name="T18" fmla="*/ 66 w 259"/>
                  <a:gd name="T19" fmla="*/ 4 h 104"/>
                  <a:gd name="T20" fmla="*/ 49 w 259"/>
                  <a:gd name="T21" fmla="*/ 2 h 104"/>
                  <a:gd name="T22" fmla="*/ 34 w 259"/>
                  <a:gd name="T23" fmla="*/ 4 h 104"/>
                  <a:gd name="T24" fmla="*/ 17 w 259"/>
                  <a:gd name="T25" fmla="*/ 6 h 104"/>
                  <a:gd name="T26" fmla="*/ 8 w 259"/>
                  <a:gd name="T27" fmla="*/ 14 h 104"/>
                  <a:gd name="T28" fmla="*/ 0 w 259"/>
                  <a:gd name="T29" fmla="*/ 22 h 104"/>
                  <a:gd name="T30" fmla="*/ 0 w 259"/>
                  <a:gd name="T31" fmla="*/ 34 h 104"/>
                  <a:gd name="T32" fmla="*/ 11 w 259"/>
                  <a:gd name="T33" fmla="*/ 34 h 10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918" name="Freeform 527">
              <a:extLst>
                <a:ext uri="{FF2B5EF4-FFF2-40B4-BE49-F238E27FC236}">
                  <a16:creationId xmlns:a16="http://schemas.microsoft.com/office/drawing/2014/main" id="{D191A7B3-D1FB-495E-BF4A-D106AAC07D4D}"/>
                </a:ext>
              </a:extLst>
            </p:cNvPr>
            <p:cNvSpPr>
              <a:spLocks/>
            </p:cNvSpPr>
            <p:nvPr>
              <p:custDataLst>
                <p:tags r:id="rId363"/>
              </p:custDataLst>
            </p:nvPr>
          </p:nvSpPr>
          <p:spPr bwMode="auto">
            <a:xfrm>
              <a:off x="6372226" y="2638426"/>
              <a:ext cx="530225" cy="511175"/>
            </a:xfrm>
            <a:custGeom>
              <a:avLst/>
              <a:gdLst>
                <a:gd name="T0" fmla="*/ 402746 w 1227"/>
                <a:gd name="T1" fmla="*/ 243317 h 979"/>
                <a:gd name="T2" fmla="*/ 402746 w 1227"/>
                <a:gd name="T3" fmla="*/ 230786 h 979"/>
                <a:gd name="T4" fmla="*/ 401882 w 1227"/>
                <a:gd name="T5" fmla="*/ 215122 h 979"/>
                <a:gd name="T6" fmla="*/ 392375 w 1227"/>
                <a:gd name="T7" fmla="*/ 201024 h 979"/>
                <a:gd name="T8" fmla="*/ 388486 w 1227"/>
                <a:gd name="T9" fmla="*/ 191625 h 979"/>
                <a:gd name="T10" fmla="*/ 353051 w 1227"/>
                <a:gd name="T11" fmla="*/ 162908 h 979"/>
                <a:gd name="T12" fmla="*/ 327988 w 1227"/>
                <a:gd name="T13" fmla="*/ 137323 h 979"/>
                <a:gd name="T14" fmla="*/ 324963 w 1227"/>
                <a:gd name="T15" fmla="*/ 119570 h 979"/>
                <a:gd name="T16" fmla="*/ 313727 w 1227"/>
                <a:gd name="T17" fmla="*/ 113827 h 979"/>
                <a:gd name="T18" fmla="*/ 300331 w 1227"/>
                <a:gd name="T19" fmla="*/ 108083 h 979"/>
                <a:gd name="T20" fmla="*/ 275700 w 1227"/>
                <a:gd name="T21" fmla="*/ 102339 h 979"/>
                <a:gd name="T22" fmla="*/ 257550 w 1227"/>
                <a:gd name="T23" fmla="*/ 104950 h 979"/>
                <a:gd name="T24" fmla="*/ 246315 w 1227"/>
                <a:gd name="T25" fmla="*/ 106517 h 979"/>
                <a:gd name="T26" fmla="*/ 229030 w 1227"/>
                <a:gd name="T27" fmla="*/ 101817 h 979"/>
                <a:gd name="T28" fmla="*/ 218226 w 1227"/>
                <a:gd name="T29" fmla="*/ 93463 h 979"/>
                <a:gd name="T30" fmla="*/ 208719 w 1227"/>
                <a:gd name="T31" fmla="*/ 66834 h 979"/>
                <a:gd name="T32" fmla="*/ 200941 w 1227"/>
                <a:gd name="T33" fmla="*/ 53780 h 979"/>
                <a:gd name="T34" fmla="*/ 186681 w 1227"/>
                <a:gd name="T35" fmla="*/ 42293 h 979"/>
                <a:gd name="T36" fmla="*/ 157728 w 1227"/>
                <a:gd name="T37" fmla="*/ 31851 h 979"/>
                <a:gd name="T38" fmla="*/ 130936 w 1227"/>
                <a:gd name="T39" fmla="*/ 16708 h 979"/>
                <a:gd name="T40" fmla="*/ 92476 w 1227"/>
                <a:gd name="T41" fmla="*/ 5221 h 979"/>
                <a:gd name="T42" fmla="*/ 71734 w 1227"/>
                <a:gd name="T43" fmla="*/ 19841 h 979"/>
                <a:gd name="T44" fmla="*/ 65252 w 1227"/>
                <a:gd name="T45" fmla="*/ 31851 h 979"/>
                <a:gd name="T46" fmla="*/ 66116 w 1227"/>
                <a:gd name="T47" fmla="*/ 46993 h 979"/>
                <a:gd name="T48" fmla="*/ 73030 w 1227"/>
                <a:gd name="T49" fmla="*/ 61613 h 979"/>
                <a:gd name="T50" fmla="*/ 65252 w 1227"/>
                <a:gd name="T51" fmla="*/ 78321 h 979"/>
                <a:gd name="T52" fmla="*/ 41052 w 1227"/>
                <a:gd name="T53" fmla="*/ 97118 h 979"/>
                <a:gd name="T54" fmla="*/ 23335 w 1227"/>
                <a:gd name="T55" fmla="*/ 99207 h 979"/>
                <a:gd name="T56" fmla="*/ 3889 w 1227"/>
                <a:gd name="T57" fmla="*/ 95552 h 979"/>
                <a:gd name="T58" fmla="*/ 0 w 1227"/>
                <a:gd name="T59" fmla="*/ 123225 h 979"/>
                <a:gd name="T60" fmla="*/ 3889 w 1227"/>
                <a:gd name="T61" fmla="*/ 140456 h 979"/>
                <a:gd name="T62" fmla="*/ 10803 w 1227"/>
                <a:gd name="T63" fmla="*/ 147243 h 979"/>
                <a:gd name="T64" fmla="*/ 17285 w 1227"/>
                <a:gd name="T65" fmla="*/ 160297 h 979"/>
                <a:gd name="T66" fmla="*/ 35867 w 1227"/>
                <a:gd name="T67" fmla="*/ 190059 h 979"/>
                <a:gd name="T68" fmla="*/ 44077 w 1227"/>
                <a:gd name="T69" fmla="*/ 216166 h 979"/>
                <a:gd name="T70" fmla="*/ 52288 w 1227"/>
                <a:gd name="T71" fmla="*/ 222954 h 979"/>
                <a:gd name="T72" fmla="*/ 57473 w 1227"/>
                <a:gd name="T73" fmla="*/ 228697 h 979"/>
                <a:gd name="T74" fmla="*/ 63955 w 1227"/>
                <a:gd name="T75" fmla="*/ 244884 h 979"/>
                <a:gd name="T76" fmla="*/ 96797 w 1227"/>
                <a:gd name="T77" fmla="*/ 285088 h 979"/>
                <a:gd name="T78" fmla="*/ 107601 w 1227"/>
                <a:gd name="T79" fmla="*/ 305452 h 979"/>
                <a:gd name="T80" fmla="*/ 110626 w 1227"/>
                <a:gd name="T81" fmla="*/ 325815 h 979"/>
                <a:gd name="T82" fmla="*/ 114947 w 1227"/>
                <a:gd name="T83" fmla="*/ 344090 h 979"/>
                <a:gd name="T84" fmla="*/ 129207 w 1227"/>
                <a:gd name="T85" fmla="*/ 366020 h 979"/>
                <a:gd name="T86" fmla="*/ 155999 w 1227"/>
                <a:gd name="T87" fmla="*/ 397348 h 979"/>
                <a:gd name="T88" fmla="*/ 167667 w 1227"/>
                <a:gd name="T89" fmla="*/ 425022 h 979"/>
                <a:gd name="T90" fmla="*/ 183656 w 1227"/>
                <a:gd name="T91" fmla="*/ 452695 h 979"/>
                <a:gd name="T92" fmla="*/ 208719 w 1227"/>
                <a:gd name="T93" fmla="*/ 489767 h 979"/>
                <a:gd name="T94" fmla="*/ 228165 w 1227"/>
                <a:gd name="T95" fmla="*/ 511175 h 979"/>
                <a:gd name="T96" fmla="*/ 234647 w 1227"/>
                <a:gd name="T97" fmla="*/ 497599 h 979"/>
                <a:gd name="T98" fmla="*/ 235944 w 1227"/>
                <a:gd name="T99" fmla="*/ 474625 h 979"/>
                <a:gd name="T100" fmla="*/ 246315 w 1227"/>
                <a:gd name="T101" fmla="*/ 467837 h 979"/>
                <a:gd name="T102" fmla="*/ 261439 w 1227"/>
                <a:gd name="T103" fmla="*/ 467315 h 979"/>
                <a:gd name="T104" fmla="*/ 285207 w 1227"/>
                <a:gd name="T105" fmla="*/ 474625 h 979"/>
                <a:gd name="T106" fmla="*/ 305949 w 1227"/>
                <a:gd name="T107" fmla="*/ 492378 h 979"/>
                <a:gd name="T108" fmla="*/ 340087 w 1227"/>
                <a:gd name="T109" fmla="*/ 437553 h 979"/>
                <a:gd name="T110" fmla="*/ 518125 w 1227"/>
                <a:gd name="T111" fmla="*/ 296053 h 979"/>
                <a:gd name="T112" fmla="*/ 406203 w 1227"/>
                <a:gd name="T113" fmla="*/ 244361 h 97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19" name="Freeform 528">
              <a:extLst>
                <a:ext uri="{FF2B5EF4-FFF2-40B4-BE49-F238E27FC236}">
                  <a16:creationId xmlns:a16="http://schemas.microsoft.com/office/drawing/2014/main" id="{C02F5A50-4780-4805-8ACC-BC85C52B6B34}"/>
                </a:ext>
              </a:extLst>
            </p:cNvPr>
            <p:cNvSpPr>
              <a:spLocks/>
            </p:cNvSpPr>
            <p:nvPr>
              <p:custDataLst>
                <p:tags r:id="rId364"/>
              </p:custDataLst>
            </p:nvPr>
          </p:nvSpPr>
          <p:spPr bwMode="auto">
            <a:xfrm>
              <a:off x="5846763" y="2182813"/>
              <a:ext cx="57150" cy="57150"/>
            </a:xfrm>
            <a:custGeom>
              <a:avLst/>
              <a:gdLst>
                <a:gd name="T0" fmla="*/ 57150 w 146"/>
                <a:gd name="T1" fmla="*/ 12700 h 81"/>
                <a:gd name="T2" fmla="*/ 54018 w 146"/>
                <a:gd name="T3" fmla="*/ 16933 h 81"/>
                <a:gd name="T4" fmla="*/ 50887 w 146"/>
                <a:gd name="T5" fmla="*/ 20461 h 81"/>
                <a:gd name="T6" fmla="*/ 48147 w 146"/>
                <a:gd name="T7" fmla="*/ 24694 h 81"/>
                <a:gd name="T8" fmla="*/ 46190 w 146"/>
                <a:gd name="T9" fmla="*/ 28928 h 81"/>
                <a:gd name="T10" fmla="*/ 42275 w 146"/>
                <a:gd name="T11" fmla="*/ 37394 h 81"/>
                <a:gd name="T12" fmla="*/ 38361 w 146"/>
                <a:gd name="T13" fmla="*/ 45156 h 81"/>
                <a:gd name="T14" fmla="*/ 36404 w 146"/>
                <a:gd name="T15" fmla="*/ 48683 h 81"/>
                <a:gd name="T16" fmla="*/ 33272 w 146"/>
                <a:gd name="T17" fmla="*/ 51506 h 81"/>
                <a:gd name="T18" fmla="*/ 29749 w 146"/>
                <a:gd name="T19" fmla="*/ 54328 h 81"/>
                <a:gd name="T20" fmla="*/ 25835 w 146"/>
                <a:gd name="T21" fmla="*/ 56444 h 81"/>
                <a:gd name="T22" fmla="*/ 20746 w 146"/>
                <a:gd name="T23" fmla="*/ 57150 h 81"/>
                <a:gd name="T24" fmla="*/ 15266 w 146"/>
                <a:gd name="T25" fmla="*/ 56444 h 81"/>
                <a:gd name="T26" fmla="*/ 8220 w 146"/>
                <a:gd name="T27" fmla="*/ 54328 h 81"/>
                <a:gd name="T28" fmla="*/ 0 w 146"/>
                <a:gd name="T29" fmla="*/ 52211 h 81"/>
                <a:gd name="T30" fmla="*/ 0 w 146"/>
                <a:gd name="T31" fmla="*/ 43744 h 81"/>
                <a:gd name="T32" fmla="*/ 0 w 146"/>
                <a:gd name="T33" fmla="*/ 34572 h 81"/>
                <a:gd name="T34" fmla="*/ 0 w 146"/>
                <a:gd name="T35" fmla="*/ 23989 h 81"/>
                <a:gd name="T36" fmla="*/ 0 w 146"/>
                <a:gd name="T37" fmla="*/ 12700 h 81"/>
                <a:gd name="T38" fmla="*/ 5480 w 146"/>
                <a:gd name="T39" fmla="*/ 12700 h 81"/>
                <a:gd name="T40" fmla="*/ 8612 w 146"/>
                <a:gd name="T41" fmla="*/ 12700 h 81"/>
                <a:gd name="T42" fmla="*/ 12135 w 146"/>
                <a:gd name="T43" fmla="*/ 12700 h 81"/>
                <a:gd name="T44" fmla="*/ 15658 w 146"/>
                <a:gd name="T45" fmla="*/ 12700 h 81"/>
                <a:gd name="T46" fmla="*/ 20355 w 146"/>
                <a:gd name="T47" fmla="*/ 12700 h 81"/>
                <a:gd name="T48" fmla="*/ 24661 w 146"/>
                <a:gd name="T49" fmla="*/ 11289 h 81"/>
                <a:gd name="T50" fmla="*/ 28575 w 146"/>
                <a:gd name="T51" fmla="*/ 9878 h 81"/>
                <a:gd name="T52" fmla="*/ 32489 w 146"/>
                <a:gd name="T53" fmla="*/ 7761 h 81"/>
                <a:gd name="T54" fmla="*/ 39535 w 146"/>
                <a:gd name="T55" fmla="*/ 3528 h 81"/>
                <a:gd name="T56" fmla="*/ 46973 w 146"/>
                <a:gd name="T57" fmla="*/ 0 h 81"/>
                <a:gd name="T58" fmla="*/ 50496 w 146"/>
                <a:gd name="T59" fmla="*/ 2822 h 81"/>
                <a:gd name="T60" fmla="*/ 52844 w 146"/>
                <a:gd name="T61" fmla="*/ 6350 h 81"/>
                <a:gd name="T62" fmla="*/ 55193 w 146"/>
                <a:gd name="T63" fmla="*/ 9878 h 81"/>
                <a:gd name="T64" fmla="*/ 57150 w 146"/>
                <a:gd name="T65" fmla="*/ 12700 h 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20" name="Freeform 529">
              <a:extLst>
                <a:ext uri="{FF2B5EF4-FFF2-40B4-BE49-F238E27FC236}">
                  <a16:creationId xmlns:a16="http://schemas.microsoft.com/office/drawing/2014/main" id="{5B64A84A-8431-4177-B0D5-8D39EEDEE5AB}"/>
                </a:ext>
              </a:extLst>
            </p:cNvPr>
            <p:cNvSpPr>
              <a:spLocks/>
            </p:cNvSpPr>
            <p:nvPr>
              <p:custDataLst>
                <p:tags r:id="rId365"/>
              </p:custDataLst>
            </p:nvPr>
          </p:nvSpPr>
          <p:spPr bwMode="auto">
            <a:xfrm>
              <a:off x="5586414" y="2395538"/>
              <a:ext cx="15875" cy="57150"/>
            </a:xfrm>
            <a:custGeom>
              <a:avLst/>
              <a:gdLst>
                <a:gd name="T0" fmla="*/ 15875 w 34"/>
                <a:gd name="T1" fmla="*/ 57150 h 49"/>
                <a:gd name="T2" fmla="*/ 15875 w 34"/>
                <a:gd name="T3" fmla="*/ 39655 h 49"/>
                <a:gd name="T4" fmla="*/ 15875 w 34"/>
                <a:gd name="T5" fmla="*/ 29158 h 49"/>
                <a:gd name="T6" fmla="*/ 15408 w 34"/>
                <a:gd name="T7" fmla="*/ 24493 h 49"/>
                <a:gd name="T8" fmla="*/ 15408 w 34"/>
                <a:gd name="T9" fmla="*/ 19828 h 49"/>
                <a:gd name="T10" fmla="*/ 14474 w 34"/>
                <a:gd name="T11" fmla="*/ 17495 h 49"/>
                <a:gd name="T12" fmla="*/ 14007 w 34"/>
                <a:gd name="T13" fmla="*/ 13996 h 49"/>
                <a:gd name="T14" fmla="*/ 11673 w 34"/>
                <a:gd name="T15" fmla="*/ 9331 h 49"/>
                <a:gd name="T16" fmla="*/ 9805 w 34"/>
                <a:gd name="T17" fmla="*/ 0 h 49"/>
                <a:gd name="T18" fmla="*/ 3735 w 34"/>
                <a:gd name="T19" fmla="*/ 0 h 49"/>
                <a:gd name="T20" fmla="*/ 0 w 34"/>
                <a:gd name="T21" fmla="*/ 0 h 49"/>
                <a:gd name="T22" fmla="*/ 1401 w 34"/>
                <a:gd name="T23" fmla="*/ 12830 h 49"/>
                <a:gd name="T24" fmla="*/ 3268 w 34"/>
                <a:gd name="T25" fmla="*/ 23327 h 49"/>
                <a:gd name="T26" fmla="*/ 4669 w 34"/>
                <a:gd name="T27" fmla="*/ 31491 h 49"/>
                <a:gd name="T28" fmla="*/ 6537 w 34"/>
                <a:gd name="T29" fmla="*/ 39655 h 49"/>
                <a:gd name="T30" fmla="*/ 8871 w 34"/>
                <a:gd name="T31" fmla="*/ 45487 h 49"/>
                <a:gd name="T32" fmla="*/ 11206 w 34"/>
                <a:gd name="T33" fmla="*/ 50152 h 49"/>
                <a:gd name="T34" fmla="*/ 13540 w 34"/>
                <a:gd name="T35" fmla="*/ 53651 h 49"/>
                <a:gd name="T36" fmla="*/ 15875 w 34"/>
                <a:gd name="T37" fmla="*/ 57150 h 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21" name="Freeform 530">
              <a:extLst>
                <a:ext uri="{FF2B5EF4-FFF2-40B4-BE49-F238E27FC236}">
                  <a16:creationId xmlns:a16="http://schemas.microsoft.com/office/drawing/2014/main" id="{B6C87C84-755D-4024-AB54-E2C0703D1B5C}"/>
                </a:ext>
              </a:extLst>
            </p:cNvPr>
            <p:cNvSpPr>
              <a:spLocks/>
            </p:cNvSpPr>
            <p:nvPr>
              <p:custDataLst>
                <p:tags r:id="rId366"/>
              </p:custDataLst>
            </p:nvPr>
          </p:nvSpPr>
          <p:spPr bwMode="auto">
            <a:xfrm>
              <a:off x="5178426" y="2741613"/>
              <a:ext cx="28575" cy="57150"/>
            </a:xfrm>
            <a:custGeom>
              <a:avLst/>
              <a:gdLst>
                <a:gd name="T0" fmla="*/ 28575 w 60"/>
                <a:gd name="T1" fmla="*/ 0 h 74"/>
                <a:gd name="T2" fmla="*/ 26670 w 60"/>
                <a:gd name="T3" fmla="*/ 3089 h 74"/>
                <a:gd name="T4" fmla="*/ 24289 w 60"/>
                <a:gd name="T5" fmla="*/ 7723 h 74"/>
                <a:gd name="T6" fmla="*/ 22860 w 60"/>
                <a:gd name="T7" fmla="*/ 11584 h 74"/>
                <a:gd name="T8" fmla="*/ 21908 w 60"/>
                <a:gd name="T9" fmla="*/ 16218 h 74"/>
                <a:gd name="T10" fmla="*/ 19526 w 60"/>
                <a:gd name="T11" fmla="*/ 23941 h 74"/>
                <a:gd name="T12" fmla="*/ 17621 w 60"/>
                <a:gd name="T13" fmla="*/ 32436 h 74"/>
                <a:gd name="T14" fmla="*/ 16669 w 60"/>
                <a:gd name="T15" fmla="*/ 36298 h 74"/>
                <a:gd name="T16" fmla="*/ 15240 w 60"/>
                <a:gd name="T17" fmla="*/ 39387 h 74"/>
                <a:gd name="T18" fmla="*/ 13811 w 60"/>
                <a:gd name="T19" fmla="*/ 43249 h 74"/>
                <a:gd name="T20" fmla="*/ 11906 w 60"/>
                <a:gd name="T21" fmla="*/ 46338 h 74"/>
                <a:gd name="T22" fmla="*/ 9525 w 60"/>
                <a:gd name="T23" fmla="*/ 50199 h 74"/>
                <a:gd name="T24" fmla="*/ 7144 w 60"/>
                <a:gd name="T25" fmla="*/ 53289 h 74"/>
                <a:gd name="T26" fmla="*/ 3810 w 60"/>
                <a:gd name="T27" fmla="*/ 55605 h 74"/>
                <a:gd name="T28" fmla="*/ 0 w 60"/>
                <a:gd name="T29" fmla="*/ 57150 h 74"/>
                <a:gd name="T30" fmla="*/ 2381 w 60"/>
                <a:gd name="T31" fmla="*/ 46338 h 74"/>
                <a:gd name="T32" fmla="*/ 5715 w 60"/>
                <a:gd name="T33" fmla="*/ 36298 h 74"/>
                <a:gd name="T34" fmla="*/ 9049 w 60"/>
                <a:gd name="T35" fmla="*/ 26258 h 74"/>
                <a:gd name="T36" fmla="*/ 12859 w 60"/>
                <a:gd name="T37" fmla="*/ 17763 h 74"/>
                <a:gd name="T38" fmla="*/ 17145 w 60"/>
                <a:gd name="T39" fmla="*/ 10812 h 74"/>
                <a:gd name="T40" fmla="*/ 20479 w 60"/>
                <a:gd name="T41" fmla="*/ 4634 h 74"/>
                <a:gd name="T42" fmla="*/ 22860 w 60"/>
                <a:gd name="T43" fmla="*/ 2317 h 74"/>
                <a:gd name="T44" fmla="*/ 24765 w 60"/>
                <a:gd name="T45" fmla="*/ 772 h 74"/>
                <a:gd name="T46" fmla="*/ 26670 w 60"/>
                <a:gd name="T47" fmla="*/ 0 h 74"/>
                <a:gd name="T48" fmla="*/ 28575 w 60"/>
                <a:gd name="T49" fmla="*/ 0 h 7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22" name="Freeform 531">
              <a:extLst>
                <a:ext uri="{FF2B5EF4-FFF2-40B4-BE49-F238E27FC236}">
                  <a16:creationId xmlns:a16="http://schemas.microsoft.com/office/drawing/2014/main" id="{FB604D2A-3F18-487C-8B19-1DA7E620C07B}"/>
                </a:ext>
              </a:extLst>
            </p:cNvPr>
            <p:cNvSpPr>
              <a:spLocks/>
            </p:cNvSpPr>
            <p:nvPr>
              <p:custDataLst>
                <p:tags r:id="rId367"/>
              </p:custDataLst>
            </p:nvPr>
          </p:nvSpPr>
          <p:spPr bwMode="auto">
            <a:xfrm>
              <a:off x="5119688" y="2757489"/>
              <a:ext cx="23812" cy="60325"/>
            </a:xfrm>
            <a:custGeom>
              <a:avLst/>
              <a:gdLst>
                <a:gd name="T0" fmla="*/ 6586 w 47"/>
                <a:gd name="T1" fmla="*/ 10724 h 45"/>
                <a:gd name="T2" fmla="*/ 11146 w 47"/>
                <a:gd name="T3" fmla="*/ 10724 h 45"/>
                <a:gd name="T4" fmla="*/ 14186 w 47"/>
                <a:gd name="T5" fmla="*/ 8043 h 45"/>
                <a:gd name="T6" fmla="*/ 16212 w 47"/>
                <a:gd name="T7" fmla="*/ 6703 h 45"/>
                <a:gd name="T8" fmla="*/ 17732 w 47"/>
                <a:gd name="T9" fmla="*/ 4022 h 45"/>
                <a:gd name="T10" fmla="*/ 18746 w 47"/>
                <a:gd name="T11" fmla="*/ 1341 h 45"/>
                <a:gd name="T12" fmla="*/ 19759 w 47"/>
                <a:gd name="T13" fmla="*/ 0 h 45"/>
                <a:gd name="T14" fmla="*/ 21785 w 47"/>
                <a:gd name="T15" fmla="*/ 1341 h 45"/>
                <a:gd name="T16" fmla="*/ 23812 w 47"/>
                <a:gd name="T17" fmla="*/ 2681 h 45"/>
                <a:gd name="T18" fmla="*/ 23305 w 47"/>
                <a:gd name="T19" fmla="*/ 9384 h 45"/>
                <a:gd name="T20" fmla="*/ 23305 w 47"/>
                <a:gd name="T21" fmla="*/ 14746 h 45"/>
                <a:gd name="T22" fmla="*/ 22292 w 47"/>
                <a:gd name="T23" fmla="*/ 20108 h 45"/>
                <a:gd name="T24" fmla="*/ 21785 w 47"/>
                <a:gd name="T25" fmla="*/ 25471 h 45"/>
                <a:gd name="T26" fmla="*/ 18746 w 47"/>
                <a:gd name="T27" fmla="*/ 34854 h 45"/>
                <a:gd name="T28" fmla="*/ 15199 w 47"/>
                <a:gd name="T29" fmla="*/ 42898 h 45"/>
                <a:gd name="T30" fmla="*/ 12159 w 47"/>
                <a:gd name="T31" fmla="*/ 50941 h 45"/>
                <a:gd name="T32" fmla="*/ 8106 w 47"/>
                <a:gd name="T33" fmla="*/ 56303 h 45"/>
                <a:gd name="T34" fmla="*/ 3546 w 47"/>
                <a:gd name="T35" fmla="*/ 60325 h 45"/>
                <a:gd name="T36" fmla="*/ 0 w 47"/>
                <a:gd name="T37" fmla="*/ 60325 h 45"/>
                <a:gd name="T38" fmla="*/ 1013 w 47"/>
                <a:gd name="T39" fmla="*/ 50941 h 45"/>
                <a:gd name="T40" fmla="*/ 3040 w 47"/>
                <a:gd name="T41" fmla="*/ 34854 h 45"/>
                <a:gd name="T42" fmla="*/ 5573 w 47"/>
                <a:gd name="T43" fmla="*/ 20108 h 45"/>
                <a:gd name="T44" fmla="*/ 6586 w 47"/>
                <a:gd name="T45" fmla="*/ 10724 h 4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23" name="Freeform 532">
              <a:extLst>
                <a:ext uri="{FF2B5EF4-FFF2-40B4-BE49-F238E27FC236}">
                  <a16:creationId xmlns:a16="http://schemas.microsoft.com/office/drawing/2014/main" id="{72E95EE0-402E-44C2-964C-BC80FD49E944}"/>
                </a:ext>
              </a:extLst>
            </p:cNvPr>
            <p:cNvSpPr>
              <a:spLocks/>
            </p:cNvSpPr>
            <p:nvPr>
              <p:custDataLst>
                <p:tags r:id="rId368"/>
              </p:custDataLst>
            </p:nvPr>
          </p:nvSpPr>
          <p:spPr bwMode="auto">
            <a:xfrm>
              <a:off x="5094288" y="2751138"/>
              <a:ext cx="6350" cy="57150"/>
            </a:xfrm>
            <a:custGeom>
              <a:avLst/>
              <a:gdLst>
                <a:gd name="T0" fmla="*/ 1465 w 26"/>
                <a:gd name="T1" fmla="*/ 57150 h 36"/>
                <a:gd name="T2" fmla="*/ 1221 w 26"/>
                <a:gd name="T3" fmla="*/ 47625 h 36"/>
                <a:gd name="T4" fmla="*/ 733 w 26"/>
                <a:gd name="T5" fmla="*/ 31750 h 36"/>
                <a:gd name="T6" fmla="*/ 244 w 26"/>
                <a:gd name="T7" fmla="*/ 15875 h 36"/>
                <a:gd name="T8" fmla="*/ 0 w 26"/>
                <a:gd name="T9" fmla="*/ 0 h 36"/>
                <a:gd name="T10" fmla="*/ 6350 w 26"/>
                <a:gd name="T11" fmla="*/ 0 h 36"/>
                <a:gd name="T12" fmla="*/ 6106 w 26"/>
                <a:gd name="T13" fmla="*/ 19050 h 36"/>
                <a:gd name="T14" fmla="*/ 5862 w 26"/>
                <a:gd name="T15" fmla="*/ 36513 h 36"/>
                <a:gd name="T16" fmla="*/ 5617 w 26"/>
                <a:gd name="T17" fmla="*/ 42863 h 36"/>
                <a:gd name="T18" fmla="*/ 5617 w 26"/>
                <a:gd name="T19" fmla="*/ 49213 h 36"/>
                <a:gd name="T20" fmla="*/ 5862 w 26"/>
                <a:gd name="T21" fmla="*/ 53975 h 36"/>
                <a:gd name="T22" fmla="*/ 6350 w 26"/>
                <a:gd name="T23" fmla="*/ 57150 h 36"/>
                <a:gd name="T24" fmla="*/ 1465 w 26"/>
                <a:gd name="T25" fmla="*/ 57150 h 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24" name="Freeform 533">
              <a:extLst>
                <a:ext uri="{FF2B5EF4-FFF2-40B4-BE49-F238E27FC236}">
                  <a16:creationId xmlns:a16="http://schemas.microsoft.com/office/drawing/2014/main" id="{308D4AB2-9F7D-4ECF-9F2C-C79D34F8DF26}"/>
                </a:ext>
              </a:extLst>
            </p:cNvPr>
            <p:cNvSpPr>
              <a:spLocks/>
            </p:cNvSpPr>
            <p:nvPr>
              <p:custDataLst>
                <p:tags r:id="rId369"/>
              </p:custDataLst>
            </p:nvPr>
          </p:nvSpPr>
          <p:spPr bwMode="auto">
            <a:xfrm>
              <a:off x="6365876" y="2479675"/>
              <a:ext cx="174625" cy="158750"/>
            </a:xfrm>
            <a:custGeom>
              <a:avLst/>
              <a:gdLst>
                <a:gd name="T0" fmla="*/ 11210 w 405"/>
                <a:gd name="T1" fmla="*/ 85157 h 302"/>
                <a:gd name="T2" fmla="*/ 12073 w 405"/>
                <a:gd name="T3" fmla="*/ 82003 h 302"/>
                <a:gd name="T4" fmla="*/ 12935 w 405"/>
                <a:gd name="T5" fmla="*/ 80952 h 302"/>
                <a:gd name="T6" fmla="*/ 12073 w 405"/>
                <a:gd name="T7" fmla="*/ 79375 h 302"/>
                <a:gd name="T8" fmla="*/ 7761 w 405"/>
                <a:gd name="T9" fmla="*/ 75170 h 302"/>
                <a:gd name="T10" fmla="*/ 2587 w 405"/>
                <a:gd name="T11" fmla="*/ 66759 h 302"/>
                <a:gd name="T12" fmla="*/ 862 w 405"/>
                <a:gd name="T13" fmla="*/ 60977 h 302"/>
                <a:gd name="T14" fmla="*/ 2156 w 405"/>
                <a:gd name="T15" fmla="*/ 58874 h 302"/>
                <a:gd name="T16" fmla="*/ 2587 w 405"/>
                <a:gd name="T17" fmla="*/ 54669 h 302"/>
                <a:gd name="T18" fmla="*/ 7330 w 405"/>
                <a:gd name="T19" fmla="*/ 50989 h 302"/>
                <a:gd name="T20" fmla="*/ 14660 w 405"/>
                <a:gd name="T21" fmla="*/ 48887 h 302"/>
                <a:gd name="T22" fmla="*/ 20265 w 405"/>
                <a:gd name="T23" fmla="*/ 46258 h 302"/>
                <a:gd name="T24" fmla="*/ 24577 w 405"/>
                <a:gd name="T25" fmla="*/ 43104 h 302"/>
                <a:gd name="T26" fmla="*/ 28889 w 405"/>
                <a:gd name="T27" fmla="*/ 36796 h 302"/>
                <a:gd name="T28" fmla="*/ 32338 w 405"/>
                <a:gd name="T29" fmla="*/ 27334 h 302"/>
                <a:gd name="T30" fmla="*/ 36219 w 405"/>
                <a:gd name="T31" fmla="*/ 24706 h 302"/>
                <a:gd name="T32" fmla="*/ 40961 w 405"/>
                <a:gd name="T33" fmla="*/ 27334 h 302"/>
                <a:gd name="T34" fmla="*/ 50447 w 405"/>
                <a:gd name="T35" fmla="*/ 28386 h 302"/>
                <a:gd name="T36" fmla="*/ 72868 w 405"/>
                <a:gd name="T37" fmla="*/ 24180 h 302"/>
                <a:gd name="T38" fmla="*/ 91409 w 405"/>
                <a:gd name="T39" fmla="*/ 22603 h 302"/>
                <a:gd name="T40" fmla="*/ 100894 w 405"/>
                <a:gd name="T41" fmla="*/ 21552 h 302"/>
                <a:gd name="T42" fmla="*/ 113830 w 405"/>
                <a:gd name="T43" fmla="*/ 18398 h 302"/>
                <a:gd name="T44" fmla="*/ 137113 w 405"/>
                <a:gd name="T45" fmla="*/ 8936 h 302"/>
                <a:gd name="T46" fmla="*/ 154791 w 405"/>
                <a:gd name="T47" fmla="*/ 2103 h 302"/>
                <a:gd name="T48" fmla="*/ 160396 w 405"/>
                <a:gd name="T49" fmla="*/ 1577 h 302"/>
                <a:gd name="T50" fmla="*/ 166002 w 405"/>
                <a:gd name="T51" fmla="*/ 1577 h 302"/>
                <a:gd name="T52" fmla="*/ 171607 w 405"/>
                <a:gd name="T53" fmla="*/ 526 h 302"/>
                <a:gd name="T54" fmla="*/ 170313 w 405"/>
                <a:gd name="T55" fmla="*/ 4205 h 302"/>
                <a:gd name="T56" fmla="*/ 155222 w 405"/>
                <a:gd name="T57" fmla="*/ 21552 h 302"/>
                <a:gd name="T58" fmla="*/ 148323 w 405"/>
                <a:gd name="T59" fmla="*/ 29963 h 302"/>
                <a:gd name="T60" fmla="*/ 146168 w 405"/>
                <a:gd name="T61" fmla="*/ 33642 h 302"/>
                <a:gd name="T62" fmla="*/ 146168 w 405"/>
                <a:gd name="T63" fmla="*/ 50464 h 302"/>
                <a:gd name="T64" fmla="*/ 145305 w 405"/>
                <a:gd name="T65" fmla="*/ 78324 h 302"/>
                <a:gd name="T66" fmla="*/ 144443 w 405"/>
                <a:gd name="T67" fmla="*/ 94619 h 302"/>
                <a:gd name="T68" fmla="*/ 140562 w 405"/>
                <a:gd name="T69" fmla="*/ 104081 h 302"/>
                <a:gd name="T70" fmla="*/ 131508 w 405"/>
                <a:gd name="T71" fmla="*/ 110389 h 302"/>
                <a:gd name="T72" fmla="*/ 114261 w 405"/>
                <a:gd name="T73" fmla="*/ 119325 h 302"/>
                <a:gd name="T74" fmla="*/ 45704 w 405"/>
                <a:gd name="T75" fmla="*/ 158750 h 302"/>
                <a:gd name="T76" fmla="*/ 24577 w 405"/>
                <a:gd name="T77" fmla="*/ 136672 h 302"/>
                <a:gd name="T78" fmla="*/ 30182 w 405"/>
                <a:gd name="T79" fmla="*/ 119851 h 302"/>
                <a:gd name="T80" fmla="*/ 34925 w 405"/>
                <a:gd name="T81" fmla="*/ 109863 h 302"/>
                <a:gd name="T82" fmla="*/ 37081 w 405"/>
                <a:gd name="T83" fmla="*/ 90414 h 302"/>
                <a:gd name="T84" fmla="*/ 30613 w 405"/>
                <a:gd name="T85" fmla="*/ 90940 h 302"/>
                <a:gd name="T86" fmla="*/ 24577 w 405"/>
                <a:gd name="T87" fmla="*/ 88837 h 302"/>
                <a:gd name="T88" fmla="*/ 17678 w 405"/>
                <a:gd name="T89" fmla="*/ 86734 h 302"/>
                <a:gd name="T90" fmla="*/ 11210 w 405"/>
                <a:gd name="T91" fmla="*/ 87260 h 3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25" name="Freeform 534">
              <a:extLst>
                <a:ext uri="{FF2B5EF4-FFF2-40B4-BE49-F238E27FC236}">
                  <a16:creationId xmlns:a16="http://schemas.microsoft.com/office/drawing/2014/main" id="{286810E7-22E3-4C44-973B-2DD7ACD55E51}"/>
                </a:ext>
              </a:extLst>
            </p:cNvPr>
            <p:cNvSpPr>
              <a:spLocks/>
            </p:cNvSpPr>
            <p:nvPr>
              <p:custDataLst>
                <p:tags r:id="rId370"/>
              </p:custDataLst>
            </p:nvPr>
          </p:nvSpPr>
          <p:spPr bwMode="auto">
            <a:xfrm>
              <a:off x="8459788" y="2860676"/>
              <a:ext cx="42862" cy="79375"/>
            </a:xfrm>
            <a:custGeom>
              <a:avLst/>
              <a:gdLst>
                <a:gd name="T0" fmla="*/ 42862 w 100"/>
                <a:gd name="T1" fmla="*/ 512 h 155"/>
                <a:gd name="T2" fmla="*/ 42862 w 100"/>
                <a:gd name="T3" fmla="*/ 15363 h 155"/>
                <a:gd name="T4" fmla="*/ 42862 w 100"/>
                <a:gd name="T5" fmla="*/ 28165 h 155"/>
                <a:gd name="T6" fmla="*/ 42862 w 100"/>
                <a:gd name="T7" fmla="*/ 39944 h 155"/>
                <a:gd name="T8" fmla="*/ 42862 w 100"/>
                <a:gd name="T9" fmla="*/ 50698 h 155"/>
                <a:gd name="T10" fmla="*/ 42005 w 100"/>
                <a:gd name="T11" fmla="*/ 55819 h 155"/>
                <a:gd name="T12" fmla="*/ 40290 w 100"/>
                <a:gd name="T13" fmla="*/ 60427 h 155"/>
                <a:gd name="T14" fmla="*/ 38147 w 100"/>
                <a:gd name="T15" fmla="*/ 65548 h 155"/>
                <a:gd name="T16" fmla="*/ 35147 w 100"/>
                <a:gd name="T17" fmla="*/ 70157 h 155"/>
                <a:gd name="T18" fmla="*/ 31289 w 100"/>
                <a:gd name="T19" fmla="*/ 73742 h 155"/>
                <a:gd name="T20" fmla="*/ 26574 w 100"/>
                <a:gd name="T21" fmla="*/ 76815 h 155"/>
                <a:gd name="T22" fmla="*/ 24431 w 100"/>
                <a:gd name="T23" fmla="*/ 77839 h 155"/>
                <a:gd name="T24" fmla="*/ 21860 w 100"/>
                <a:gd name="T25" fmla="*/ 78863 h 155"/>
                <a:gd name="T26" fmla="*/ 19717 w 100"/>
                <a:gd name="T27" fmla="*/ 79375 h 155"/>
                <a:gd name="T28" fmla="*/ 16716 w 100"/>
                <a:gd name="T29" fmla="*/ 79375 h 155"/>
                <a:gd name="T30" fmla="*/ 15002 w 100"/>
                <a:gd name="T31" fmla="*/ 78863 h 155"/>
                <a:gd name="T32" fmla="*/ 12859 w 100"/>
                <a:gd name="T33" fmla="*/ 78351 h 155"/>
                <a:gd name="T34" fmla="*/ 11144 w 100"/>
                <a:gd name="T35" fmla="*/ 77327 h 155"/>
                <a:gd name="T36" fmla="*/ 9430 w 100"/>
                <a:gd name="T37" fmla="*/ 76302 h 155"/>
                <a:gd name="T38" fmla="*/ 6429 w 100"/>
                <a:gd name="T39" fmla="*/ 72718 h 155"/>
                <a:gd name="T40" fmla="*/ 3858 w 100"/>
                <a:gd name="T41" fmla="*/ 68621 h 155"/>
                <a:gd name="T42" fmla="*/ 2143 w 100"/>
                <a:gd name="T43" fmla="*/ 63500 h 155"/>
                <a:gd name="T44" fmla="*/ 857 w 100"/>
                <a:gd name="T45" fmla="*/ 57867 h 155"/>
                <a:gd name="T46" fmla="*/ 0 w 100"/>
                <a:gd name="T47" fmla="*/ 52746 h 155"/>
                <a:gd name="T48" fmla="*/ 0 w 100"/>
                <a:gd name="T49" fmla="*/ 47625 h 155"/>
                <a:gd name="T50" fmla="*/ 0 w 100"/>
                <a:gd name="T51" fmla="*/ 39431 h 155"/>
                <a:gd name="T52" fmla="*/ 0 w 100"/>
                <a:gd name="T53" fmla="*/ 33286 h 155"/>
                <a:gd name="T54" fmla="*/ 0 w 100"/>
                <a:gd name="T55" fmla="*/ 28677 h 155"/>
                <a:gd name="T56" fmla="*/ 0 w 100"/>
                <a:gd name="T57" fmla="*/ 25605 h 155"/>
                <a:gd name="T58" fmla="*/ 6429 w 100"/>
                <a:gd name="T59" fmla="*/ 25605 h 155"/>
                <a:gd name="T60" fmla="*/ 11144 w 100"/>
                <a:gd name="T61" fmla="*/ 25605 h 155"/>
                <a:gd name="T62" fmla="*/ 11144 w 100"/>
                <a:gd name="T63" fmla="*/ 20484 h 155"/>
                <a:gd name="T64" fmla="*/ 11573 w 100"/>
                <a:gd name="T65" fmla="*/ 15875 h 155"/>
                <a:gd name="T66" fmla="*/ 12430 w 100"/>
                <a:gd name="T67" fmla="*/ 11778 h 155"/>
                <a:gd name="T68" fmla="*/ 13287 w 100"/>
                <a:gd name="T69" fmla="*/ 8706 h 155"/>
                <a:gd name="T70" fmla="*/ 15002 w 100"/>
                <a:gd name="T71" fmla="*/ 6145 h 155"/>
                <a:gd name="T72" fmla="*/ 16716 w 100"/>
                <a:gd name="T73" fmla="*/ 3585 h 155"/>
                <a:gd name="T74" fmla="*/ 18002 w 100"/>
                <a:gd name="T75" fmla="*/ 2048 h 155"/>
                <a:gd name="T76" fmla="*/ 20574 w 100"/>
                <a:gd name="T77" fmla="*/ 1024 h 155"/>
                <a:gd name="T78" fmla="*/ 25289 w 100"/>
                <a:gd name="T79" fmla="*/ 0 h 155"/>
                <a:gd name="T80" fmla="*/ 30432 w 100"/>
                <a:gd name="T81" fmla="*/ 0 h 155"/>
                <a:gd name="T82" fmla="*/ 36004 w 100"/>
                <a:gd name="T83" fmla="*/ 0 h 155"/>
                <a:gd name="T84" fmla="*/ 42862 w 100"/>
                <a:gd name="T85" fmla="*/ 512 h 1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926" name="Group 535">
              <a:extLst>
                <a:ext uri="{FF2B5EF4-FFF2-40B4-BE49-F238E27FC236}">
                  <a16:creationId xmlns:a16="http://schemas.microsoft.com/office/drawing/2014/main" id="{604026C5-0E87-465D-87E0-2684CDFEE8CC}"/>
                </a:ext>
              </a:extLst>
            </p:cNvPr>
            <p:cNvGrpSpPr>
              <a:grpSpLocks/>
            </p:cNvGrpSpPr>
            <p:nvPr>
              <p:custDataLst>
                <p:tags r:id="rId371"/>
              </p:custDataLst>
            </p:nvPr>
          </p:nvGrpSpPr>
          <p:grpSpPr bwMode="auto">
            <a:xfrm>
              <a:off x="6107113" y="2328863"/>
              <a:ext cx="482600" cy="201612"/>
              <a:chOff x="3289" y="1830"/>
              <a:chExt cx="363" cy="128"/>
            </a:xfrm>
          </p:grpSpPr>
          <p:sp>
            <p:nvSpPr>
              <p:cNvPr id="937" name="Freeform 536">
                <a:extLst>
                  <a:ext uri="{FF2B5EF4-FFF2-40B4-BE49-F238E27FC236}">
                    <a16:creationId xmlns:a16="http://schemas.microsoft.com/office/drawing/2014/main" id="{76647274-9026-43AF-9597-DD812CB7C5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4 w 13"/>
                  <a:gd name="T1" fmla="*/ 0 h 7"/>
                  <a:gd name="T2" fmla="*/ 4 w 13"/>
                  <a:gd name="T3" fmla="*/ 0 h 7"/>
                  <a:gd name="T4" fmla="*/ 3 w 13"/>
                  <a:gd name="T5" fmla="*/ 1 h 7"/>
                  <a:gd name="T6" fmla="*/ 1 w 13"/>
                  <a:gd name="T7" fmla="*/ 2 h 7"/>
                  <a:gd name="T8" fmla="*/ 0 w 13"/>
                  <a:gd name="T9" fmla="*/ 3 h 7"/>
                  <a:gd name="T10" fmla="*/ 2 w 13"/>
                  <a:gd name="T11" fmla="*/ 1 h 7"/>
                  <a:gd name="T12" fmla="*/ 4 w 13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38" name="Freeform 537">
                <a:extLst>
                  <a:ext uri="{FF2B5EF4-FFF2-40B4-BE49-F238E27FC236}">
                    <a16:creationId xmlns:a16="http://schemas.microsoft.com/office/drawing/2014/main" id="{F0DAE9A8-AF61-460B-AD41-C0A609D26B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2 h 8"/>
                  <a:gd name="T2" fmla="*/ 2 w 34"/>
                  <a:gd name="T3" fmla="*/ 2 h 8"/>
                  <a:gd name="T4" fmla="*/ 4 w 34"/>
                  <a:gd name="T5" fmla="*/ 1 h 8"/>
                  <a:gd name="T6" fmla="*/ 7 w 34"/>
                  <a:gd name="T7" fmla="*/ 0 h 8"/>
                  <a:gd name="T8" fmla="*/ 10 w 34"/>
                  <a:gd name="T9" fmla="*/ 0 h 8"/>
                  <a:gd name="T10" fmla="*/ 9 w 34"/>
                  <a:gd name="T11" fmla="*/ 1 h 8"/>
                  <a:gd name="T12" fmla="*/ 8 w 34"/>
                  <a:gd name="T13" fmla="*/ 2 h 8"/>
                  <a:gd name="T14" fmla="*/ 6 w 34"/>
                  <a:gd name="T15" fmla="*/ 2 h 8"/>
                  <a:gd name="T16" fmla="*/ 5 w 34"/>
                  <a:gd name="T17" fmla="*/ 3 h 8"/>
                  <a:gd name="T18" fmla="*/ 4 w 34"/>
                  <a:gd name="T19" fmla="*/ 3 h 8"/>
                  <a:gd name="T20" fmla="*/ 2 w 34"/>
                  <a:gd name="T21" fmla="*/ 3 h 8"/>
                  <a:gd name="T22" fmla="*/ 1 w 34"/>
                  <a:gd name="T23" fmla="*/ 3 h 8"/>
                  <a:gd name="T24" fmla="*/ 0 w 34"/>
                  <a:gd name="T25" fmla="*/ 2 h 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39" name="Freeform 538">
                <a:extLst>
                  <a:ext uri="{FF2B5EF4-FFF2-40B4-BE49-F238E27FC236}">
                    <a16:creationId xmlns:a16="http://schemas.microsoft.com/office/drawing/2014/main" id="{979AC2B5-871F-4815-96D5-6E6F9B6976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8 h 24"/>
                  <a:gd name="T2" fmla="*/ 0 w 13"/>
                  <a:gd name="T3" fmla="*/ 0 h 24"/>
                  <a:gd name="T4" fmla="*/ 4 w 13"/>
                  <a:gd name="T5" fmla="*/ 4 h 24"/>
                  <a:gd name="T6" fmla="*/ 0 w 13"/>
                  <a:gd name="T7" fmla="*/ 8 h 2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40" name="Freeform 539">
                <a:extLst>
                  <a:ext uri="{FF2B5EF4-FFF2-40B4-BE49-F238E27FC236}">
                    <a16:creationId xmlns:a16="http://schemas.microsoft.com/office/drawing/2014/main" id="{4D5491D4-D498-4856-864C-CCD5FAE204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4 h 69"/>
                  <a:gd name="T2" fmla="*/ 0 w 107"/>
                  <a:gd name="T3" fmla="*/ 9 h 69"/>
                  <a:gd name="T4" fmla="*/ 0 w 107"/>
                  <a:gd name="T5" fmla="*/ 15 h 69"/>
                  <a:gd name="T6" fmla="*/ 0 w 107"/>
                  <a:gd name="T7" fmla="*/ 21 h 69"/>
                  <a:gd name="T8" fmla="*/ 0 w 107"/>
                  <a:gd name="T9" fmla="*/ 23 h 69"/>
                  <a:gd name="T10" fmla="*/ 5 w 107"/>
                  <a:gd name="T11" fmla="*/ 22 h 69"/>
                  <a:gd name="T12" fmla="*/ 16 w 107"/>
                  <a:gd name="T13" fmla="*/ 19 h 69"/>
                  <a:gd name="T14" fmla="*/ 27 w 107"/>
                  <a:gd name="T15" fmla="*/ 17 h 69"/>
                  <a:gd name="T16" fmla="*/ 34 w 107"/>
                  <a:gd name="T17" fmla="*/ 15 h 69"/>
                  <a:gd name="T18" fmla="*/ 32 w 107"/>
                  <a:gd name="T19" fmla="*/ 13 h 69"/>
                  <a:gd name="T20" fmla="*/ 30 w 107"/>
                  <a:gd name="T21" fmla="*/ 11 h 69"/>
                  <a:gd name="T22" fmla="*/ 27 w 107"/>
                  <a:gd name="T23" fmla="*/ 10 h 69"/>
                  <a:gd name="T24" fmla="*/ 25 w 107"/>
                  <a:gd name="T25" fmla="*/ 9 h 69"/>
                  <a:gd name="T26" fmla="*/ 23 w 107"/>
                  <a:gd name="T27" fmla="*/ 8 h 69"/>
                  <a:gd name="T28" fmla="*/ 21 w 107"/>
                  <a:gd name="T29" fmla="*/ 6 h 69"/>
                  <a:gd name="T30" fmla="*/ 20 w 107"/>
                  <a:gd name="T31" fmla="*/ 5 h 69"/>
                  <a:gd name="T32" fmla="*/ 20 w 107"/>
                  <a:gd name="T33" fmla="*/ 4 h 69"/>
                  <a:gd name="T34" fmla="*/ 19 w 107"/>
                  <a:gd name="T35" fmla="*/ 2 h 69"/>
                  <a:gd name="T36" fmla="*/ 19 w 107"/>
                  <a:gd name="T37" fmla="*/ 0 h 69"/>
                  <a:gd name="T38" fmla="*/ 17 w 107"/>
                  <a:gd name="T39" fmla="*/ 0 h 69"/>
                  <a:gd name="T40" fmla="*/ 12 w 107"/>
                  <a:gd name="T41" fmla="*/ 1 h 69"/>
                  <a:gd name="T42" fmla="*/ 6 w 107"/>
                  <a:gd name="T43" fmla="*/ 3 h 69"/>
                  <a:gd name="T44" fmla="*/ 0 w 107"/>
                  <a:gd name="T45" fmla="*/ 4 h 6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41" name="Freeform 540">
                <a:extLst>
                  <a:ext uri="{FF2B5EF4-FFF2-40B4-BE49-F238E27FC236}">
                    <a16:creationId xmlns:a16="http://schemas.microsoft.com/office/drawing/2014/main" id="{F0508D6F-F94A-4927-94D0-5ED17AD25F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324 w 1070"/>
                  <a:gd name="T1" fmla="*/ 42 h 382"/>
                  <a:gd name="T2" fmla="*/ 317 w 1070"/>
                  <a:gd name="T3" fmla="*/ 35 h 382"/>
                  <a:gd name="T4" fmla="*/ 315 w 1070"/>
                  <a:gd name="T5" fmla="*/ 19 h 382"/>
                  <a:gd name="T6" fmla="*/ 306 w 1070"/>
                  <a:gd name="T7" fmla="*/ 12 h 382"/>
                  <a:gd name="T8" fmla="*/ 267 w 1070"/>
                  <a:gd name="T9" fmla="*/ 6 h 382"/>
                  <a:gd name="T10" fmla="*/ 237 w 1070"/>
                  <a:gd name="T11" fmla="*/ 19 h 382"/>
                  <a:gd name="T12" fmla="*/ 222 w 1070"/>
                  <a:gd name="T13" fmla="*/ 22 h 382"/>
                  <a:gd name="T14" fmla="*/ 207 w 1070"/>
                  <a:gd name="T15" fmla="*/ 22 h 382"/>
                  <a:gd name="T16" fmla="*/ 200 w 1070"/>
                  <a:gd name="T17" fmla="*/ 15 h 382"/>
                  <a:gd name="T18" fmla="*/ 183 w 1070"/>
                  <a:gd name="T19" fmla="*/ 12 h 382"/>
                  <a:gd name="T20" fmla="*/ 172 w 1070"/>
                  <a:gd name="T21" fmla="*/ 6 h 382"/>
                  <a:gd name="T22" fmla="*/ 158 w 1070"/>
                  <a:gd name="T23" fmla="*/ 7 h 382"/>
                  <a:gd name="T24" fmla="*/ 152 w 1070"/>
                  <a:gd name="T25" fmla="*/ 0 h 382"/>
                  <a:gd name="T26" fmla="*/ 128 w 1070"/>
                  <a:gd name="T27" fmla="*/ 5 h 382"/>
                  <a:gd name="T28" fmla="*/ 98 w 1070"/>
                  <a:gd name="T29" fmla="*/ 9 h 382"/>
                  <a:gd name="T30" fmla="*/ 84 w 1070"/>
                  <a:gd name="T31" fmla="*/ 15 h 382"/>
                  <a:gd name="T32" fmla="*/ 45 w 1070"/>
                  <a:gd name="T33" fmla="*/ 20 h 382"/>
                  <a:gd name="T34" fmla="*/ 57 w 1070"/>
                  <a:gd name="T35" fmla="*/ 25 h 382"/>
                  <a:gd name="T36" fmla="*/ 54 w 1070"/>
                  <a:gd name="T37" fmla="*/ 30 h 382"/>
                  <a:gd name="T38" fmla="*/ 37 w 1070"/>
                  <a:gd name="T39" fmla="*/ 31 h 382"/>
                  <a:gd name="T40" fmla="*/ 14 w 1070"/>
                  <a:gd name="T41" fmla="*/ 31 h 382"/>
                  <a:gd name="T42" fmla="*/ 3 w 1070"/>
                  <a:gd name="T43" fmla="*/ 37 h 382"/>
                  <a:gd name="T44" fmla="*/ 0 w 1070"/>
                  <a:gd name="T45" fmla="*/ 49 h 382"/>
                  <a:gd name="T46" fmla="*/ 5 w 1070"/>
                  <a:gd name="T47" fmla="*/ 56 h 382"/>
                  <a:gd name="T48" fmla="*/ 7 w 1070"/>
                  <a:gd name="T49" fmla="*/ 65 h 382"/>
                  <a:gd name="T50" fmla="*/ 7 w 1070"/>
                  <a:gd name="T51" fmla="*/ 70 h 382"/>
                  <a:gd name="T52" fmla="*/ 16 w 1070"/>
                  <a:gd name="T53" fmla="*/ 79 h 382"/>
                  <a:gd name="T54" fmla="*/ 18 w 1070"/>
                  <a:gd name="T55" fmla="*/ 87 h 382"/>
                  <a:gd name="T56" fmla="*/ 24 w 1070"/>
                  <a:gd name="T57" fmla="*/ 91 h 382"/>
                  <a:gd name="T58" fmla="*/ 31 w 1070"/>
                  <a:gd name="T59" fmla="*/ 97 h 382"/>
                  <a:gd name="T60" fmla="*/ 67 w 1070"/>
                  <a:gd name="T61" fmla="*/ 118 h 382"/>
                  <a:gd name="T62" fmla="*/ 83 w 1070"/>
                  <a:gd name="T63" fmla="*/ 124 h 382"/>
                  <a:gd name="T64" fmla="*/ 87 w 1070"/>
                  <a:gd name="T65" fmla="*/ 120 h 382"/>
                  <a:gd name="T66" fmla="*/ 91 w 1070"/>
                  <a:gd name="T67" fmla="*/ 113 h 382"/>
                  <a:gd name="T68" fmla="*/ 97 w 1070"/>
                  <a:gd name="T69" fmla="*/ 106 h 382"/>
                  <a:gd name="T70" fmla="*/ 109 w 1070"/>
                  <a:gd name="T71" fmla="*/ 108 h 382"/>
                  <a:gd name="T72" fmla="*/ 118 w 1070"/>
                  <a:gd name="T73" fmla="*/ 120 h 382"/>
                  <a:gd name="T74" fmla="*/ 131 w 1070"/>
                  <a:gd name="T75" fmla="*/ 124 h 382"/>
                  <a:gd name="T76" fmla="*/ 146 w 1070"/>
                  <a:gd name="T77" fmla="*/ 120 h 382"/>
                  <a:gd name="T78" fmla="*/ 161 w 1070"/>
                  <a:gd name="T79" fmla="*/ 112 h 382"/>
                  <a:gd name="T80" fmla="*/ 172 w 1070"/>
                  <a:gd name="T81" fmla="*/ 110 h 382"/>
                  <a:gd name="T82" fmla="*/ 184 w 1070"/>
                  <a:gd name="T83" fmla="*/ 109 h 382"/>
                  <a:gd name="T84" fmla="*/ 185 w 1070"/>
                  <a:gd name="T85" fmla="*/ 123 h 382"/>
                  <a:gd name="T86" fmla="*/ 193 w 1070"/>
                  <a:gd name="T87" fmla="*/ 126 h 382"/>
                  <a:gd name="T88" fmla="*/ 201 w 1070"/>
                  <a:gd name="T89" fmla="*/ 121 h 382"/>
                  <a:gd name="T90" fmla="*/ 212 w 1070"/>
                  <a:gd name="T91" fmla="*/ 113 h 382"/>
                  <a:gd name="T92" fmla="*/ 246 w 1070"/>
                  <a:gd name="T93" fmla="*/ 110 h 382"/>
                  <a:gd name="T94" fmla="*/ 272 w 1070"/>
                  <a:gd name="T95" fmla="*/ 106 h 382"/>
                  <a:gd name="T96" fmla="*/ 300 w 1070"/>
                  <a:gd name="T97" fmla="*/ 95 h 382"/>
                  <a:gd name="T98" fmla="*/ 316 w 1070"/>
                  <a:gd name="T99" fmla="*/ 96 h 382"/>
                  <a:gd name="T100" fmla="*/ 329 w 1070"/>
                  <a:gd name="T101" fmla="*/ 98 h 382"/>
                  <a:gd name="T102" fmla="*/ 345 w 1070"/>
                  <a:gd name="T103" fmla="*/ 103 h 382"/>
                  <a:gd name="T104" fmla="*/ 345 w 1070"/>
                  <a:gd name="T105" fmla="*/ 90 h 382"/>
                  <a:gd name="T106" fmla="*/ 336 w 1070"/>
                  <a:gd name="T107" fmla="*/ 73 h 382"/>
                  <a:gd name="T108" fmla="*/ 333 w 1070"/>
                  <a:gd name="T109" fmla="*/ 56 h 38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927" name="Freeform 541">
              <a:extLst>
                <a:ext uri="{FF2B5EF4-FFF2-40B4-BE49-F238E27FC236}">
                  <a16:creationId xmlns:a16="http://schemas.microsoft.com/office/drawing/2014/main" id="{9EEF456B-4892-4AA6-81C0-436B276F4466}"/>
                </a:ext>
              </a:extLst>
            </p:cNvPr>
            <p:cNvSpPr>
              <a:spLocks/>
            </p:cNvSpPr>
            <p:nvPr>
              <p:custDataLst>
                <p:tags r:id="rId372"/>
              </p:custDataLst>
            </p:nvPr>
          </p:nvSpPr>
          <p:spPr bwMode="auto">
            <a:xfrm>
              <a:off x="4095751" y="3481389"/>
              <a:ext cx="100013" cy="122237"/>
            </a:xfrm>
            <a:custGeom>
              <a:avLst/>
              <a:gdLst>
                <a:gd name="T0" fmla="*/ 27880 w 226"/>
                <a:gd name="T1" fmla="*/ 121721 h 237"/>
                <a:gd name="T2" fmla="*/ 30092 w 226"/>
                <a:gd name="T3" fmla="*/ 122237 h 237"/>
                <a:gd name="T4" fmla="*/ 33190 w 226"/>
                <a:gd name="T5" fmla="*/ 121205 h 237"/>
                <a:gd name="T6" fmla="*/ 36730 w 226"/>
                <a:gd name="T7" fmla="*/ 120690 h 237"/>
                <a:gd name="T8" fmla="*/ 39386 w 226"/>
                <a:gd name="T9" fmla="*/ 118627 h 237"/>
                <a:gd name="T10" fmla="*/ 42483 w 226"/>
                <a:gd name="T11" fmla="*/ 115016 h 237"/>
                <a:gd name="T12" fmla="*/ 43811 w 226"/>
                <a:gd name="T13" fmla="*/ 110374 h 237"/>
                <a:gd name="T14" fmla="*/ 54432 w 226"/>
                <a:gd name="T15" fmla="*/ 107795 h 237"/>
                <a:gd name="T16" fmla="*/ 73461 w 226"/>
                <a:gd name="T17" fmla="*/ 105732 h 237"/>
                <a:gd name="T18" fmla="*/ 86294 w 226"/>
                <a:gd name="T19" fmla="*/ 102122 h 237"/>
                <a:gd name="T20" fmla="*/ 92490 w 226"/>
                <a:gd name="T21" fmla="*/ 98512 h 237"/>
                <a:gd name="T22" fmla="*/ 97358 w 226"/>
                <a:gd name="T23" fmla="*/ 93354 h 237"/>
                <a:gd name="T24" fmla="*/ 99570 w 226"/>
                <a:gd name="T25" fmla="*/ 86649 h 237"/>
                <a:gd name="T26" fmla="*/ 100013 w 226"/>
                <a:gd name="T27" fmla="*/ 78912 h 237"/>
                <a:gd name="T28" fmla="*/ 98685 w 226"/>
                <a:gd name="T29" fmla="*/ 72208 h 237"/>
                <a:gd name="T30" fmla="*/ 95145 w 226"/>
                <a:gd name="T31" fmla="*/ 63439 h 237"/>
                <a:gd name="T32" fmla="*/ 89835 w 226"/>
                <a:gd name="T33" fmla="*/ 51577 h 237"/>
                <a:gd name="T34" fmla="*/ 86737 w 226"/>
                <a:gd name="T35" fmla="*/ 43325 h 237"/>
                <a:gd name="T36" fmla="*/ 85409 w 226"/>
                <a:gd name="T37" fmla="*/ 38167 h 237"/>
                <a:gd name="T38" fmla="*/ 86294 w 226"/>
                <a:gd name="T39" fmla="*/ 30430 h 237"/>
                <a:gd name="T40" fmla="*/ 88507 w 226"/>
                <a:gd name="T41" fmla="*/ 22178 h 237"/>
                <a:gd name="T42" fmla="*/ 94260 w 226"/>
                <a:gd name="T43" fmla="*/ 12894 h 237"/>
                <a:gd name="T44" fmla="*/ 94260 w 226"/>
                <a:gd name="T45" fmla="*/ 7221 h 237"/>
                <a:gd name="T46" fmla="*/ 84524 w 226"/>
                <a:gd name="T47" fmla="*/ 3610 h 237"/>
                <a:gd name="T48" fmla="*/ 68150 w 226"/>
                <a:gd name="T49" fmla="*/ 1032 h 237"/>
                <a:gd name="T50" fmla="*/ 8851 w 226"/>
                <a:gd name="T51" fmla="*/ 3095 h 237"/>
                <a:gd name="T52" fmla="*/ 7966 w 226"/>
                <a:gd name="T53" fmla="*/ 15989 h 237"/>
                <a:gd name="T54" fmla="*/ 4425 w 226"/>
                <a:gd name="T55" fmla="*/ 27851 h 237"/>
                <a:gd name="T56" fmla="*/ 1328 w 226"/>
                <a:gd name="T57" fmla="*/ 40746 h 237"/>
                <a:gd name="T58" fmla="*/ 0 w 226"/>
                <a:gd name="T59" fmla="*/ 57250 h 237"/>
                <a:gd name="T60" fmla="*/ 1328 w 226"/>
                <a:gd name="T61" fmla="*/ 67050 h 237"/>
                <a:gd name="T62" fmla="*/ 4425 w 226"/>
                <a:gd name="T63" fmla="*/ 75302 h 237"/>
                <a:gd name="T64" fmla="*/ 13276 w 226"/>
                <a:gd name="T65" fmla="*/ 89228 h 237"/>
                <a:gd name="T66" fmla="*/ 22569 w 226"/>
                <a:gd name="T67" fmla="*/ 102638 h 237"/>
                <a:gd name="T68" fmla="*/ 25225 w 226"/>
                <a:gd name="T69" fmla="*/ 111406 h 237"/>
                <a:gd name="T70" fmla="*/ 26995 w 226"/>
                <a:gd name="T71" fmla="*/ 120690 h 23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28" name="Freeform 542">
              <a:extLst>
                <a:ext uri="{FF2B5EF4-FFF2-40B4-BE49-F238E27FC236}">
                  <a16:creationId xmlns:a16="http://schemas.microsoft.com/office/drawing/2014/main" id="{E04AA9E7-8837-498C-8FE5-1D0D668BB997}"/>
                </a:ext>
              </a:extLst>
            </p:cNvPr>
            <p:cNvSpPr>
              <a:spLocks/>
            </p:cNvSpPr>
            <p:nvPr>
              <p:custDataLst>
                <p:tags r:id="rId373"/>
              </p:custDataLst>
            </p:nvPr>
          </p:nvSpPr>
          <p:spPr bwMode="auto">
            <a:xfrm>
              <a:off x="8040688" y="2917825"/>
              <a:ext cx="207962" cy="458788"/>
            </a:xfrm>
            <a:custGeom>
              <a:avLst/>
              <a:gdLst>
                <a:gd name="T0" fmla="*/ 124864 w 478"/>
                <a:gd name="T1" fmla="*/ 57152 h 875"/>
                <a:gd name="T2" fmla="*/ 108767 w 478"/>
                <a:gd name="T3" fmla="*/ 72357 h 875"/>
                <a:gd name="T4" fmla="*/ 86578 w 478"/>
                <a:gd name="T5" fmla="*/ 103293 h 875"/>
                <a:gd name="T6" fmla="*/ 86143 w 478"/>
                <a:gd name="T7" fmla="*/ 111682 h 875"/>
                <a:gd name="T8" fmla="*/ 89624 w 478"/>
                <a:gd name="T9" fmla="*/ 125315 h 875"/>
                <a:gd name="T10" fmla="*/ 96150 w 478"/>
                <a:gd name="T11" fmla="*/ 138947 h 875"/>
                <a:gd name="T12" fmla="*/ 104416 w 478"/>
                <a:gd name="T13" fmla="*/ 151007 h 875"/>
                <a:gd name="T14" fmla="*/ 112682 w 478"/>
                <a:gd name="T15" fmla="*/ 157823 h 875"/>
                <a:gd name="T16" fmla="*/ 121384 w 478"/>
                <a:gd name="T17" fmla="*/ 172504 h 875"/>
                <a:gd name="T18" fmla="*/ 128345 w 478"/>
                <a:gd name="T19" fmla="*/ 189283 h 875"/>
                <a:gd name="T20" fmla="*/ 132695 w 478"/>
                <a:gd name="T21" fmla="*/ 193477 h 875"/>
                <a:gd name="T22" fmla="*/ 190559 w 478"/>
                <a:gd name="T23" fmla="*/ 261640 h 875"/>
                <a:gd name="T24" fmla="*/ 204917 w 478"/>
                <a:gd name="T25" fmla="*/ 308830 h 875"/>
                <a:gd name="T26" fmla="*/ 207962 w 478"/>
                <a:gd name="T27" fmla="*/ 339241 h 875"/>
                <a:gd name="T28" fmla="*/ 207092 w 478"/>
                <a:gd name="T29" fmla="*/ 360214 h 875"/>
                <a:gd name="T30" fmla="*/ 207962 w 478"/>
                <a:gd name="T31" fmla="*/ 371225 h 875"/>
                <a:gd name="T32" fmla="*/ 194475 w 478"/>
                <a:gd name="T33" fmla="*/ 376468 h 875"/>
                <a:gd name="T34" fmla="*/ 182728 w 478"/>
                <a:gd name="T35" fmla="*/ 384333 h 875"/>
                <a:gd name="T36" fmla="*/ 170111 w 478"/>
                <a:gd name="T37" fmla="*/ 396393 h 875"/>
                <a:gd name="T38" fmla="*/ 158799 w 478"/>
                <a:gd name="T39" fmla="*/ 413696 h 875"/>
                <a:gd name="T40" fmla="*/ 151403 w 478"/>
                <a:gd name="T41" fmla="*/ 411598 h 875"/>
                <a:gd name="T42" fmla="*/ 138786 w 478"/>
                <a:gd name="T43" fmla="*/ 413696 h 875"/>
                <a:gd name="T44" fmla="*/ 136176 w 478"/>
                <a:gd name="T45" fmla="*/ 421561 h 875"/>
                <a:gd name="T46" fmla="*/ 125734 w 478"/>
                <a:gd name="T47" fmla="*/ 439388 h 875"/>
                <a:gd name="T48" fmla="*/ 111377 w 478"/>
                <a:gd name="T49" fmla="*/ 455118 h 875"/>
                <a:gd name="T50" fmla="*/ 103981 w 478"/>
                <a:gd name="T51" fmla="*/ 458788 h 875"/>
                <a:gd name="T52" fmla="*/ 100936 w 478"/>
                <a:gd name="T53" fmla="*/ 455118 h 875"/>
                <a:gd name="T54" fmla="*/ 97890 w 478"/>
                <a:gd name="T55" fmla="*/ 442534 h 875"/>
                <a:gd name="T56" fmla="*/ 100500 w 478"/>
                <a:gd name="T57" fmla="*/ 419463 h 875"/>
                <a:gd name="T58" fmla="*/ 110072 w 478"/>
                <a:gd name="T59" fmla="*/ 406355 h 875"/>
                <a:gd name="T60" fmla="*/ 120514 w 478"/>
                <a:gd name="T61" fmla="*/ 398490 h 875"/>
                <a:gd name="T62" fmla="*/ 128345 w 478"/>
                <a:gd name="T63" fmla="*/ 394820 h 875"/>
                <a:gd name="T64" fmla="*/ 132695 w 478"/>
                <a:gd name="T65" fmla="*/ 389577 h 875"/>
                <a:gd name="T66" fmla="*/ 136611 w 478"/>
                <a:gd name="T67" fmla="*/ 374371 h 875"/>
                <a:gd name="T68" fmla="*/ 143572 w 478"/>
                <a:gd name="T69" fmla="*/ 359690 h 875"/>
                <a:gd name="T70" fmla="*/ 158799 w 478"/>
                <a:gd name="T71" fmla="*/ 337144 h 875"/>
                <a:gd name="T72" fmla="*/ 161410 w 478"/>
                <a:gd name="T73" fmla="*/ 281040 h 875"/>
                <a:gd name="T74" fmla="*/ 158364 w 478"/>
                <a:gd name="T75" fmla="*/ 249056 h 875"/>
                <a:gd name="T76" fmla="*/ 148358 w 478"/>
                <a:gd name="T77" fmla="*/ 223889 h 875"/>
                <a:gd name="T78" fmla="*/ 129215 w 478"/>
                <a:gd name="T79" fmla="*/ 197672 h 875"/>
                <a:gd name="T80" fmla="*/ 95280 w 478"/>
                <a:gd name="T81" fmla="*/ 161493 h 875"/>
                <a:gd name="T82" fmla="*/ 70046 w 478"/>
                <a:gd name="T83" fmla="*/ 133704 h 875"/>
                <a:gd name="T84" fmla="*/ 46987 w 478"/>
                <a:gd name="T85" fmla="*/ 103817 h 875"/>
                <a:gd name="T86" fmla="*/ 31325 w 478"/>
                <a:gd name="T87" fmla="*/ 76552 h 875"/>
                <a:gd name="T88" fmla="*/ 18273 w 478"/>
                <a:gd name="T89" fmla="*/ 54530 h 875"/>
                <a:gd name="T90" fmla="*/ 20013 w 478"/>
                <a:gd name="T91" fmla="*/ 21497 h 875"/>
                <a:gd name="T92" fmla="*/ 56124 w 478"/>
                <a:gd name="T93" fmla="*/ 9962 h 875"/>
                <a:gd name="T94" fmla="*/ 64390 w 478"/>
                <a:gd name="T95" fmla="*/ 2622 h 875"/>
                <a:gd name="T96" fmla="*/ 76137 w 478"/>
                <a:gd name="T97" fmla="*/ 8389 h 875"/>
                <a:gd name="T98" fmla="*/ 96150 w 478"/>
                <a:gd name="T99" fmla="*/ 18352 h 875"/>
                <a:gd name="T100" fmla="*/ 117033 w 478"/>
                <a:gd name="T101" fmla="*/ 35130 h 87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29" name="Freeform 543">
              <a:extLst>
                <a:ext uri="{FF2B5EF4-FFF2-40B4-BE49-F238E27FC236}">
                  <a16:creationId xmlns:a16="http://schemas.microsoft.com/office/drawing/2014/main" id="{1E99AEE2-4E30-4FED-BD59-175113FC395E}"/>
                </a:ext>
              </a:extLst>
            </p:cNvPr>
            <p:cNvSpPr>
              <a:spLocks/>
            </p:cNvSpPr>
            <p:nvPr>
              <p:custDataLst>
                <p:tags r:id="rId374"/>
              </p:custDataLst>
            </p:nvPr>
          </p:nvSpPr>
          <p:spPr bwMode="auto">
            <a:xfrm>
              <a:off x="8128000" y="3603625"/>
              <a:ext cx="25400" cy="57150"/>
            </a:xfrm>
            <a:custGeom>
              <a:avLst/>
              <a:gdLst>
                <a:gd name="T0" fmla="*/ 25400 w 59"/>
                <a:gd name="T1" fmla="*/ 11061 h 31"/>
                <a:gd name="T2" fmla="*/ 24539 w 59"/>
                <a:gd name="T3" fmla="*/ 20279 h 31"/>
                <a:gd name="T4" fmla="*/ 22817 w 59"/>
                <a:gd name="T5" fmla="*/ 27653 h 31"/>
                <a:gd name="T6" fmla="*/ 21095 w 59"/>
                <a:gd name="T7" fmla="*/ 35027 h 31"/>
                <a:gd name="T8" fmla="*/ 19373 w 59"/>
                <a:gd name="T9" fmla="*/ 44245 h 31"/>
                <a:gd name="T10" fmla="*/ 17220 w 59"/>
                <a:gd name="T11" fmla="*/ 49776 h 31"/>
                <a:gd name="T12" fmla="*/ 15498 w 59"/>
                <a:gd name="T13" fmla="*/ 53463 h 31"/>
                <a:gd name="T14" fmla="*/ 12915 w 59"/>
                <a:gd name="T15" fmla="*/ 57150 h 31"/>
                <a:gd name="T16" fmla="*/ 11193 w 59"/>
                <a:gd name="T17" fmla="*/ 57150 h 31"/>
                <a:gd name="T18" fmla="*/ 9041 w 59"/>
                <a:gd name="T19" fmla="*/ 57150 h 31"/>
                <a:gd name="T20" fmla="*/ 7319 w 59"/>
                <a:gd name="T21" fmla="*/ 55306 h 31"/>
                <a:gd name="T22" fmla="*/ 6027 w 59"/>
                <a:gd name="T23" fmla="*/ 53463 h 31"/>
                <a:gd name="T24" fmla="*/ 4736 w 59"/>
                <a:gd name="T25" fmla="*/ 49776 h 31"/>
                <a:gd name="T26" fmla="*/ 1722 w 59"/>
                <a:gd name="T27" fmla="*/ 36871 h 31"/>
                <a:gd name="T28" fmla="*/ 0 w 59"/>
                <a:gd name="T29" fmla="*/ 22123 h 31"/>
                <a:gd name="T30" fmla="*/ 431 w 59"/>
                <a:gd name="T31" fmla="*/ 16592 h 31"/>
                <a:gd name="T32" fmla="*/ 1292 w 59"/>
                <a:gd name="T33" fmla="*/ 11061 h 31"/>
                <a:gd name="T34" fmla="*/ 2153 w 59"/>
                <a:gd name="T35" fmla="*/ 7374 h 31"/>
                <a:gd name="T36" fmla="*/ 3444 w 59"/>
                <a:gd name="T37" fmla="*/ 5531 h 31"/>
                <a:gd name="T38" fmla="*/ 6888 w 59"/>
                <a:gd name="T39" fmla="*/ 1844 h 31"/>
                <a:gd name="T40" fmla="*/ 10332 w 59"/>
                <a:gd name="T41" fmla="*/ 0 h 31"/>
                <a:gd name="T42" fmla="*/ 14637 w 59"/>
                <a:gd name="T43" fmla="*/ 0 h 31"/>
                <a:gd name="T44" fmla="*/ 18081 w 59"/>
                <a:gd name="T45" fmla="*/ 3687 h 31"/>
                <a:gd name="T46" fmla="*/ 21956 w 59"/>
                <a:gd name="T47" fmla="*/ 7374 h 31"/>
                <a:gd name="T48" fmla="*/ 25400 w 59"/>
                <a:gd name="T49" fmla="*/ 11061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30" name="Freeform 544">
              <a:extLst>
                <a:ext uri="{FF2B5EF4-FFF2-40B4-BE49-F238E27FC236}">
                  <a16:creationId xmlns:a16="http://schemas.microsoft.com/office/drawing/2014/main" id="{76AAD176-BAE2-44F6-A2CA-79227C08E678}"/>
                </a:ext>
              </a:extLst>
            </p:cNvPr>
            <p:cNvSpPr>
              <a:spLocks/>
            </p:cNvSpPr>
            <p:nvPr>
              <p:custDataLst>
                <p:tags r:id="rId375"/>
              </p:custDataLst>
            </p:nvPr>
          </p:nvSpPr>
          <p:spPr bwMode="auto">
            <a:xfrm>
              <a:off x="6819901" y="2862263"/>
              <a:ext cx="174625" cy="271462"/>
            </a:xfrm>
            <a:custGeom>
              <a:avLst/>
              <a:gdLst>
                <a:gd name="T0" fmla="*/ 87531 w 399"/>
                <a:gd name="T1" fmla="*/ 4192 h 518"/>
                <a:gd name="T2" fmla="*/ 88407 w 399"/>
                <a:gd name="T3" fmla="*/ 11529 h 518"/>
                <a:gd name="T4" fmla="*/ 91033 w 399"/>
                <a:gd name="T5" fmla="*/ 18866 h 518"/>
                <a:gd name="T6" fmla="*/ 93659 w 399"/>
                <a:gd name="T7" fmla="*/ 25679 h 518"/>
                <a:gd name="T8" fmla="*/ 98035 w 399"/>
                <a:gd name="T9" fmla="*/ 33016 h 518"/>
                <a:gd name="T10" fmla="*/ 102849 w 399"/>
                <a:gd name="T11" fmla="*/ 39304 h 518"/>
                <a:gd name="T12" fmla="*/ 108977 w 399"/>
                <a:gd name="T13" fmla="*/ 45069 h 518"/>
                <a:gd name="T14" fmla="*/ 115541 w 399"/>
                <a:gd name="T15" fmla="*/ 49786 h 518"/>
                <a:gd name="T16" fmla="*/ 138299 w 399"/>
                <a:gd name="T17" fmla="*/ 55550 h 518"/>
                <a:gd name="T18" fmla="*/ 159745 w 399"/>
                <a:gd name="T19" fmla="*/ 62363 h 518"/>
                <a:gd name="T20" fmla="*/ 166310 w 399"/>
                <a:gd name="T21" fmla="*/ 66555 h 518"/>
                <a:gd name="T22" fmla="*/ 171561 w 399"/>
                <a:gd name="T23" fmla="*/ 71796 h 518"/>
                <a:gd name="T24" fmla="*/ 174187 w 399"/>
                <a:gd name="T25" fmla="*/ 79133 h 518"/>
                <a:gd name="T26" fmla="*/ 174187 w 399"/>
                <a:gd name="T27" fmla="*/ 91186 h 518"/>
                <a:gd name="T28" fmla="*/ 170686 w 399"/>
                <a:gd name="T29" fmla="*/ 104812 h 518"/>
                <a:gd name="T30" fmla="*/ 161495 w 399"/>
                <a:gd name="T31" fmla="*/ 125250 h 518"/>
                <a:gd name="T32" fmla="*/ 150554 w 399"/>
                <a:gd name="T33" fmla="*/ 144640 h 518"/>
                <a:gd name="T34" fmla="*/ 143551 w 399"/>
                <a:gd name="T35" fmla="*/ 158790 h 518"/>
                <a:gd name="T36" fmla="*/ 137424 w 399"/>
                <a:gd name="T37" fmla="*/ 172939 h 518"/>
                <a:gd name="T38" fmla="*/ 134361 w 399"/>
                <a:gd name="T39" fmla="*/ 188661 h 518"/>
                <a:gd name="T40" fmla="*/ 129984 w 399"/>
                <a:gd name="T41" fmla="*/ 197570 h 518"/>
                <a:gd name="T42" fmla="*/ 117292 w 399"/>
                <a:gd name="T43" fmla="*/ 202810 h 518"/>
                <a:gd name="T44" fmla="*/ 107664 w 399"/>
                <a:gd name="T45" fmla="*/ 209099 h 518"/>
                <a:gd name="T46" fmla="*/ 102849 w 399"/>
                <a:gd name="T47" fmla="*/ 213816 h 518"/>
                <a:gd name="T48" fmla="*/ 99348 w 399"/>
                <a:gd name="T49" fmla="*/ 218532 h 518"/>
                <a:gd name="T50" fmla="*/ 98035 w 399"/>
                <a:gd name="T51" fmla="*/ 223773 h 518"/>
                <a:gd name="T52" fmla="*/ 93221 w 399"/>
                <a:gd name="T53" fmla="*/ 229537 h 518"/>
                <a:gd name="T54" fmla="*/ 82279 w 399"/>
                <a:gd name="T55" fmla="*/ 235826 h 518"/>
                <a:gd name="T56" fmla="*/ 75715 w 399"/>
                <a:gd name="T57" fmla="*/ 238970 h 518"/>
                <a:gd name="T58" fmla="*/ 72651 w 399"/>
                <a:gd name="T59" fmla="*/ 244735 h 518"/>
                <a:gd name="T60" fmla="*/ 69150 w 399"/>
                <a:gd name="T61" fmla="*/ 252072 h 518"/>
                <a:gd name="T62" fmla="*/ 63898 w 399"/>
                <a:gd name="T63" fmla="*/ 256788 h 518"/>
                <a:gd name="T64" fmla="*/ 57333 w 399"/>
                <a:gd name="T65" fmla="*/ 258885 h 518"/>
                <a:gd name="T66" fmla="*/ 44641 w 399"/>
                <a:gd name="T67" fmla="*/ 260981 h 518"/>
                <a:gd name="T68" fmla="*/ 31949 w 399"/>
                <a:gd name="T69" fmla="*/ 264125 h 518"/>
                <a:gd name="T70" fmla="*/ 24071 w 399"/>
                <a:gd name="T71" fmla="*/ 268318 h 518"/>
                <a:gd name="T72" fmla="*/ 20132 w 399"/>
                <a:gd name="T73" fmla="*/ 269366 h 518"/>
                <a:gd name="T74" fmla="*/ 18819 w 399"/>
                <a:gd name="T75" fmla="*/ 265173 h 518"/>
                <a:gd name="T76" fmla="*/ 16631 w 399"/>
                <a:gd name="T77" fmla="*/ 260457 h 518"/>
                <a:gd name="T78" fmla="*/ 14880 w 399"/>
                <a:gd name="T79" fmla="*/ 255216 h 518"/>
                <a:gd name="T80" fmla="*/ 14443 w 399"/>
                <a:gd name="T81" fmla="*/ 245259 h 518"/>
                <a:gd name="T82" fmla="*/ 12692 w 399"/>
                <a:gd name="T83" fmla="*/ 233206 h 518"/>
                <a:gd name="T84" fmla="*/ 7440 w 399"/>
                <a:gd name="T85" fmla="*/ 219056 h 518"/>
                <a:gd name="T86" fmla="*/ 0 w 399"/>
                <a:gd name="T87" fmla="*/ 187613 h 518"/>
                <a:gd name="T88" fmla="*/ 84905 w 399"/>
                <a:gd name="T89" fmla="*/ 96951 h 518"/>
                <a:gd name="T90" fmla="*/ 87531 w 399"/>
                <a:gd name="T91" fmla="*/ 0 h 51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31" name="Freeform 545">
              <a:extLst>
                <a:ext uri="{FF2B5EF4-FFF2-40B4-BE49-F238E27FC236}">
                  <a16:creationId xmlns:a16="http://schemas.microsoft.com/office/drawing/2014/main" id="{E1F86DAB-5A67-41C3-8C30-020BAC3B80FD}"/>
                </a:ext>
              </a:extLst>
            </p:cNvPr>
            <p:cNvSpPr>
              <a:spLocks/>
            </p:cNvSpPr>
            <p:nvPr>
              <p:custDataLst>
                <p:tags r:id="rId376"/>
              </p:custDataLst>
            </p:nvPr>
          </p:nvSpPr>
          <p:spPr bwMode="auto">
            <a:xfrm>
              <a:off x="5546725" y="2916238"/>
              <a:ext cx="376238" cy="385762"/>
            </a:xfrm>
            <a:custGeom>
              <a:avLst/>
              <a:gdLst>
                <a:gd name="T0" fmla="*/ 100359 w 866"/>
                <a:gd name="T1" fmla="*/ 140751 h 740"/>
                <a:gd name="T2" fmla="*/ 106441 w 866"/>
                <a:gd name="T3" fmla="*/ 137623 h 740"/>
                <a:gd name="T4" fmla="*/ 118172 w 866"/>
                <a:gd name="T5" fmla="*/ 141794 h 740"/>
                <a:gd name="T6" fmla="*/ 284134 w 866"/>
                <a:gd name="T7" fmla="*/ 521 h 740"/>
                <a:gd name="T8" fmla="*/ 294995 w 866"/>
                <a:gd name="T9" fmla="*/ 3128 h 740"/>
                <a:gd name="T10" fmla="*/ 308897 w 866"/>
                <a:gd name="T11" fmla="*/ 10947 h 740"/>
                <a:gd name="T12" fmla="*/ 317152 w 866"/>
                <a:gd name="T13" fmla="*/ 18246 h 740"/>
                <a:gd name="T14" fmla="*/ 330186 w 866"/>
                <a:gd name="T15" fmla="*/ 29714 h 740"/>
                <a:gd name="T16" fmla="*/ 343654 w 866"/>
                <a:gd name="T17" fmla="*/ 30757 h 740"/>
                <a:gd name="T18" fmla="*/ 361032 w 866"/>
                <a:gd name="T19" fmla="*/ 22416 h 740"/>
                <a:gd name="T20" fmla="*/ 371025 w 866"/>
                <a:gd name="T21" fmla="*/ 86536 h 740"/>
                <a:gd name="T22" fmla="*/ 376238 w 866"/>
                <a:gd name="T23" fmla="*/ 106866 h 740"/>
                <a:gd name="T24" fmla="*/ 369287 w 866"/>
                <a:gd name="T25" fmla="*/ 156911 h 740"/>
                <a:gd name="T26" fmla="*/ 368418 w 866"/>
                <a:gd name="T27" fmla="*/ 196009 h 740"/>
                <a:gd name="T28" fmla="*/ 362335 w 866"/>
                <a:gd name="T29" fmla="*/ 219467 h 740"/>
                <a:gd name="T30" fmla="*/ 348433 w 866"/>
                <a:gd name="T31" fmla="*/ 243447 h 740"/>
                <a:gd name="T32" fmla="*/ 337572 w 866"/>
                <a:gd name="T33" fmla="*/ 260129 h 740"/>
                <a:gd name="T34" fmla="*/ 329317 w 866"/>
                <a:gd name="T35" fmla="*/ 295577 h 740"/>
                <a:gd name="T36" fmla="*/ 308897 w 866"/>
                <a:gd name="T37" fmla="*/ 327898 h 740"/>
                <a:gd name="T38" fmla="*/ 295429 w 866"/>
                <a:gd name="T39" fmla="*/ 336760 h 740"/>
                <a:gd name="T40" fmla="*/ 279789 w 866"/>
                <a:gd name="T41" fmla="*/ 332589 h 740"/>
                <a:gd name="T42" fmla="*/ 265452 w 866"/>
                <a:gd name="T43" fmla="*/ 325813 h 740"/>
                <a:gd name="T44" fmla="*/ 245902 w 866"/>
                <a:gd name="T45" fmla="*/ 329983 h 740"/>
                <a:gd name="T46" fmla="*/ 230261 w 866"/>
                <a:gd name="T47" fmla="*/ 343537 h 740"/>
                <a:gd name="T48" fmla="*/ 222006 w 866"/>
                <a:gd name="T49" fmla="*/ 354484 h 740"/>
                <a:gd name="T50" fmla="*/ 213317 w 866"/>
                <a:gd name="T51" fmla="*/ 356569 h 740"/>
                <a:gd name="T52" fmla="*/ 204194 w 866"/>
                <a:gd name="T53" fmla="*/ 348228 h 740"/>
                <a:gd name="T54" fmla="*/ 193767 w 866"/>
                <a:gd name="T55" fmla="*/ 333111 h 740"/>
                <a:gd name="T56" fmla="*/ 182906 w 866"/>
                <a:gd name="T57" fmla="*/ 331026 h 740"/>
                <a:gd name="T58" fmla="*/ 175954 w 866"/>
                <a:gd name="T59" fmla="*/ 337281 h 740"/>
                <a:gd name="T60" fmla="*/ 166831 w 866"/>
                <a:gd name="T61" fmla="*/ 339888 h 740"/>
                <a:gd name="T62" fmla="*/ 152059 w 866"/>
                <a:gd name="T63" fmla="*/ 332589 h 740"/>
                <a:gd name="T64" fmla="*/ 132943 w 866"/>
                <a:gd name="T65" fmla="*/ 316950 h 740"/>
                <a:gd name="T66" fmla="*/ 117737 w 866"/>
                <a:gd name="T67" fmla="*/ 314865 h 740"/>
                <a:gd name="T68" fmla="*/ 102966 w 866"/>
                <a:gd name="T69" fmla="*/ 323206 h 740"/>
                <a:gd name="T70" fmla="*/ 90801 w 866"/>
                <a:gd name="T71" fmla="*/ 340409 h 740"/>
                <a:gd name="T72" fmla="*/ 82546 w 866"/>
                <a:gd name="T73" fmla="*/ 360740 h 740"/>
                <a:gd name="T74" fmla="*/ 77333 w 866"/>
                <a:gd name="T75" fmla="*/ 374815 h 740"/>
                <a:gd name="T76" fmla="*/ 64734 w 866"/>
                <a:gd name="T77" fmla="*/ 365953 h 740"/>
                <a:gd name="T78" fmla="*/ 43445 w 866"/>
                <a:gd name="T79" fmla="*/ 385762 h 740"/>
                <a:gd name="T80" fmla="*/ 28674 w 866"/>
                <a:gd name="T81" fmla="*/ 364389 h 740"/>
                <a:gd name="T82" fmla="*/ 27805 w 866"/>
                <a:gd name="T83" fmla="*/ 335717 h 740"/>
                <a:gd name="T84" fmla="*/ 21723 w 866"/>
                <a:gd name="T85" fmla="*/ 319557 h 740"/>
                <a:gd name="T86" fmla="*/ 8689 w 866"/>
                <a:gd name="T87" fmla="*/ 306003 h 740"/>
                <a:gd name="T88" fmla="*/ 2172 w 866"/>
                <a:gd name="T89" fmla="*/ 290885 h 740"/>
                <a:gd name="T90" fmla="*/ 23026 w 866"/>
                <a:gd name="T91" fmla="*/ 276289 h 740"/>
                <a:gd name="T92" fmla="*/ 33019 w 866"/>
                <a:gd name="T93" fmla="*/ 270033 h 740"/>
                <a:gd name="T94" fmla="*/ 60389 w 866"/>
                <a:gd name="T95" fmla="*/ 265863 h 740"/>
                <a:gd name="T96" fmla="*/ 79071 w 866"/>
                <a:gd name="T97" fmla="*/ 260650 h 740"/>
                <a:gd name="T98" fmla="*/ 87325 w 866"/>
                <a:gd name="T99" fmla="*/ 247617 h 740"/>
                <a:gd name="T100" fmla="*/ 95146 w 866"/>
                <a:gd name="T101" fmla="*/ 221031 h 740"/>
                <a:gd name="T102" fmla="*/ 97318 w 866"/>
                <a:gd name="T103" fmla="*/ 191317 h 740"/>
                <a:gd name="T104" fmla="*/ 95146 w 866"/>
                <a:gd name="T105" fmla="*/ 166816 h 7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32" name="Freeform 546">
              <a:extLst>
                <a:ext uri="{FF2B5EF4-FFF2-40B4-BE49-F238E27FC236}">
                  <a16:creationId xmlns:a16="http://schemas.microsoft.com/office/drawing/2014/main" id="{FE66D1A2-CE9D-4834-BD14-EEE429AE7D89}"/>
                </a:ext>
              </a:extLst>
            </p:cNvPr>
            <p:cNvSpPr>
              <a:spLocks/>
            </p:cNvSpPr>
            <p:nvPr>
              <p:custDataLst>
                <p:tags r:id="rId377"/>
              </p:custDataLst>
            </p:nvPr>
          </p:nvSpPr>
          <p:spPr bwMode="auto">
            <a:xfrm>
              <a:off x="5216525" y="2533650"/>
              <a:ext cx="300038" cy="260350"/>
            </a:xfrm>
            <a:custGeom>
              <a:avLst/>
              <a:gdLst>
                <a:gd name="T0" fmla="*/ 278945 w 697"/>
                <a:gd name="T1" fmla="*/ 27597 h 500"/>
                <a:gd name="T2" fmla="*/ 282819 w 697"/>
                <a:gd name="T3" fmla="*/ 83833 h 500"/>
                <a:gd name="T4" fmla="*/ 284541 w 697"/>
                <a:gd name="T5" fmla="*/ 86957 h 500"/>
                <a:gd name="T6" fmla="*/ 291429 w 697"/>
                <a:gd name="T7" fmla="*/ 92164 h 500"/>
                <a:gd name="T8" fmla="*/ 298747 w 697"/>
                <a:gd name="T9" fmla="*/ 98412 h 500"/>
                <a:gd name="T10" fmla="*/ 300038 w 697"/>
                <a:gd name="T11" fmla="*/ 103099 h 500"/>
                <a:gd name="T12" fmla="*/ 298747 w 697"/>
                <a:gd name="T13" fmla="*/ 109868 h 500"/>
                <a:gd name="T14" fmla="*/ 294872 w 697"/>
                <a:gd name="T15" fmla="*/ 112992 h 500"/>
                <a:gd name="T16" fmla="*/ 281958 w 697"/>
                <a:gd name="T17" fmla="*/ 113513 h 500"/>
                <a:gd name="T18" fmla="*/ 260435 w 697"/>
                <a:gd name="T19" fmla="*/ 118720 h 500"/>
                <a:gd name="T20" fmla="*/ 244077 w 697"/>
                <a:gd name="T21" fmla="*/ 130175 h 500"/>
                <a:gd name="T22" fmla="*/ 236328 w 697"/>
                <a:gd name="T23" fmla="*/ 139027 h 500"/>
                <a:gd name="T24" fmla="*/ 232024 w 697"/>
                <a:gd name="T25" fmla="*/ 149962 h 500"/>
                <a:gd name="T26" fmla="*/ 224275 w 697"/>
                <a:gd name="T27" fmla="*/ 157251 h 500"/>
                <a:gd name="T28" fmla="*/ 211361 w 697"/>
                <a:gd name="T29" fmla="*/ 168707 h 500"/>
                <a:gd name="T30" fmla="*/ 195864 w 697"/>
                <a:gd name="T31" fmla="*/ 183286 h 500"/>
                <a:gd name="T32" fmla="*/ 180798 w 697"/>
                <a:gd name="T33" fmla="*/ 192659 h 500"/>
                <a:gd name="T34" fmla="*/ 160135 w 697"/>
                <a:gd name="T35" fmla="*/ 196304 h 500"/>
                <a:gd name="T36" fmla="*/ 148082 w 697"/>
                <a:gd name="T37" fmla="*/ 197866 h 500"/>
                <a:gd name="T38" fmla="*/ 136029 w 697"/>
                <a:gd name="T39" fmla="*/ 206197 h 500"/>
                <a:gd name="T40" fmla="*/ 124836 w 697"/>
                <a:gd name="T41" fmla="*/ 217132 h 500"/>
                <a:gd name="T42" fmla="*/ 114075 w 697"/>
                <a:gd name="T43" fmla="*/ 221818 h 500"/>
                <a:gd name="T44" fmla="*/ 2152 w 697"/>
                <a:gd name="T45" fmla="*/ 258267 h 500"/>
                <a:gd name="T46" fmla="*/ 13775 w 697"/>
                <a:gd name="T47" fmla="*/ 253581 h 500"/>
                <a:gd name="T48" fmla="*/ 36590 w 697"/>
                <a:gd name="T49" fmla="*/ 246291 h 500"/>
                <a:gd name="T50" fmla="*/ 40034 w 697"/>
                <a:gd name="T51" fmla="*/ 239001 h 500"/>
                <a:gd name="T52" fmla="*/ 42617 w 697"/>
                <a:gd name="T53" fmla="*/ 228067 h 500"/>
                <a:gd name="T54" fmla="*/ 51226 w 697"/>
                <a:gd name="T55" fmla="*/ 219735 h 500"/>
                <a:gd name="T56" fmla="*/ 68875 w 697"/>
                <a:gd name="T57" fmla="*/ 207759 h 500"/>
                <a:gd name="T58" fmla="*/ 77915 w 697"/>
                <a:gd name="T59" fmla="*/ 198907 h 500"/>
                <a:gd name="T60" fmla="*/ 82650 w 697"/>
                <a:gd name="T61" fmla="*/ 185890 h 500"/>
                <a:gd name="T62" fmla="*/ 83081 w 697"/>
                <a:gd name="T63" fmla="*/ 164541 h 500"/>
                <a:gd name="T64" fmla="*/ 83942 w 697"/>
                <a:gd name="T65" fmla="*/ 132258 h 500"/>
                <a:gd name="T66" fmla="*/ 82650 w 697"/>
                <a:gd name="T67" fmla="*/ 99974 h 500"/>
                <a:gd name="T68" fmla="*/ 92121 w 697"/>
                <a:gd name="T69" fmla="*/ 98412 h 500"/>
                <a:gd name="T70" fmla="*/ 98147 w 697"/>
                <a:gd name="T71" fmla="*/ 93205 h 500"/>
                <a:gd name="T72" fmla="*/ 103743 w 697"/>
                <a:gd name="T73" fmla="*/ 85916 h 500"/>
                <a:gd name="T74" fmla="*/ 108479 w 697"/>
                <a:gd name="T75" fmla="*/ 79146 h 500"/>
                <a:gd name="T76" fmla="*/ 120962 w 697"/>
                <a:gd name="T77" fmla="*/ 76022 h 500"/>
                <a:gd name="T78" fmla="*/ 135168 w 697"/>
                <a:gd name="T79" fmla="*/ 74460 h 500"/>
                <a:gd name="T80" fmla="*/ 146360 w 697"/>
                <a:gd name="T81" fmla="*/ 68212 h 500"/>
                <a:gd name="T82" fmla="*/ 154969 w 697"/>
                <a:gd name="T83" fmla="*/ 56236 h 500"/>
                <a:gd name="T84" fmla="*/ 167023 w 697"/>
                <a:gd name="T85" fmla="*/ 24994 h 500"/>
                <a:gd name="T86" fmla="*/ 175202 w 697"/>
                <a:gd name="T87" fmla="*/ 6248 h 500"/>
                <a:gd name="T88" fmla="*/ 183380 w 697"/>
                <a:gd name="T89" fmla="*/ 4166 h 500"/>
                <a:gd name="T90" fmla="*/ 193281 w 697"/>
                <a:gd name="T91" fmla="*/ 10414 h 500"/>
                <a:gd name="T92" fmla="*/ 220401 w 697"/>
                <a:gd name="T93" fmla="*/ 9373 h 500"/>
                <a:gd name="T94" fmla="*/ 253978 w 697"/>
                <a:gd name="T95" fmla="*/ 6769 h 500"/>
                <a:gd name="T96" fmla="*/ 256991 w 697"/>
                <a:gd name="T97" fmla="*/ 8852 h 500"/>
                <a:gd name="T98" fmla="*/ 260435 w 697"/>
                <a:gd name="T99" fmla="*/ 18745 h 500"/>
                <a:gd name="T100" fmla="*/ 263018 w 697"/>
                <a:gd name="T101" fmla="*/ 26556 h 500"/>
                <a:gd name="T102" fmla="*/ 266031 w 697"/>
                <a:gd name="T103" fmla="*/ 26035 h 5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33" name="Freeform 547">
              <a:extLst>
                <a:ext uri="{FF2B5EF4-FFF2-40B4-BE49-F238E27FC236}">
                  <a16:creationId xmlns:a16="http://schemas.microsoft.com/office/drawing/2014/main" id="{896D925D-9E47-4F6E-8D72-7EE604244D5F}"/>
                </a:ext>
              </a:extLst>
            </p:cNvPr>
            <p:cNvSpPr>
              <a:spLocks/>
            </p:cNvSpPr>
            <p:nvPr>
              <p:custDataLst>
                <p:tags r:id="rId378"/>
              </p:custDataLst>
            </p:nvPr>
          </p:nvSpPr>
          <p:spPr bwMode="auto">
            <a:xfrm>
              <a:off x="5916614" y="1463676"/>
              <a:ext cx="236537" cy="92075"/>
            </a:xfrm>
            <a:custGeom>
              <a:avLst/>
              <a:gdLst>
                <a:gd name="T0" fmla="*/ 32058 w 546"/>
                <a:gd name="T1" fmla="*/ 10112 h 173"/>
                <a:gd name="T2" fmla="*/ 40722 w 546"/>
                <a:gd name="T3" fmla="*/ 18096 h 173"/>
                <a:gd name="T4" fmla="*/ 47654 w 546"/>
                <a:gd name="T5" fmla="*/ 14370 h 173"/>
                <a:gd name="T6" fmla="*/ 57185 w 546"/>
                <a:gd name="T7" fmla="*/ 14370 h 173"/>
                <a:gd name="T8" fmla="*/ 69748 w 546"/>
                <a:gd name="T9" fmla="*/ 23418 h 173"/>
                <a:gd name="T10" fmla="*/ 90543 w 546"/>
                <a:gd name="T11" fmla="*/ 10112 h 173"/>
                <a:gd name="T12" fmla="*/ 105272 w 546"/>
                <a:gd name="T13" fmla="*/ 10112 h 173"/>
                <a:gd name="T14" fmla="*/ 112637 w 546"/>
                <a:gd name="T15" fmla="*/ 8516 h 173"/>
                <a:gd name="T16" fmla="*/ 116536 w 546"/>
                <a:gd name="T17" fmla="*/ 7451 h 173"/>
                <a:gd name="T18" fmla="*/ 120868 w 546"/>
                <a:gd name="T19" fmla="*/ 5854 h 173"/>
                <a:gd name="T20" fmla="*/ 123900 w 546"/>
                <a:gd name="T21" fmla="*/ 1597 h 173"/>
                <a:gd name="T22" fmla="*/ 139063 w 546"/>
                <a:gd name="T23" fmla="*/ 2661 h 173"/>
                <a:gd name="T24" fmla="*/ 144262 w 546"/>
                <a:gd name="T25" fmla="*/ 6387 h 173"/>
                <a:gd name="T26" fmla="*/ 150760 w 546"/>
                <a:gd name="T27" fmla="*/ 3726 h 173"/>
                <a:gd name="T28" fmla="*/ 152926 w 546"/>
                <a:gd name="T29" fmla="*/ 0 h 173"/>
                <a:gd name="T30" fmla="*/ 158991 w 546"/>
                <a:gd name="T31" fmla="*/ 3726 h 173"/>
                <a:gd name="T32" fmla="*/ 168522 w 546"/>
                <a:gd name="T33" fmla="*/ 3726 h 173"/>
                <a:gd name="T34" fmla="*/ 188883 w 546"/>
                <a:gd name="T35" fmla="*/ 532 h 173"/>
                <a:gd name="T36" fmla="*/ 208811 w 546"/>
                <a:gd name="T37" fmla="*/ 3193 h 173"/>
                <a:gd name="T38" fmla="*/ 228739 w 546"/>
                <a:gd name="T39" fmla="*/ 6387 h 173"/>
                <a:gd name="T40" fmla="*/ 236104 w 546"/>
                <a:gd name="T41" fmla="*/ 26079 h 173"/>
                <a:gd name="T42" fmla="*/ 232638 w 546"/>
                <a:gd name="T43" fmla="*/ 31934 h 173"/>
                <a:gd name="T44" fmla="*/ 222241 w 546"/>
                <a:gd name="T45" fmla="*/ 32998 h 173"/>
                <a:gd name="T46" fmla="*/ 209244 w 546"/>
                <a:gd name="T47" fmla="*/ 28740 h 173"/>
                <a:gd name="T48" fmla="*/ 178919 w 546"/>
                <a:gd name="T49" fmla="*/ 23418 h 173"/>
                <a:gd name="T50" fmla="*/ 189749 w 546"/>
                <a:gd name="T51" fmla="*/ 43110 h 173"/>
                <a:gd name="T52" fmla="*/ 204046 w 546"/>
                <a:gd name="T53" fmla="*/ 54287 h 173"/>
                <a:gd name="T54" fmla="*/ 213576 w 546"/>
                <a:gd name="T55" fmla="*/ 63335 h 173"/>
                <a:gd name="T56" fmla="*/ 205779 w 546"/>
                <a:gd name="T57" fmla="*/ 72383 h 173"/>
                <a:gd name="T58" fmla="*/ 194515 w 546"/>
                <a:gd name="T59" fmla="*/ 75576 h 173"/>
                <a:gd name="T60" fmla="*/ 184551 w 546"/>
                <a:gd name="T61" fmla="*/ 75044 h 173"/>
                <a:gd name="T62" fmla="*/ 178486 w 546"/>
                <a:gd name="T63" fmla="*/ 71318 h 173"/>
                <a:gd name="T64" fmla="*/ 172854 w 546"/>
                <a:gd name="T65" fmla="*/ 69189 h 173"/>
                <a:gd name="T66" fmla="*/ 166789 w 546"/>
                <a:gd name="T67" fmla="*/ 64399 h 173"/>
                <a:gd name="T68" fmla="*/ 162457 w 546"/>
                <a:gd name="T69" fmla="*/ 55351 h 173"/>
                <a:gd name="T70" fmla="*/ 158125 w 546"/>
                <a:gd name="T71" fmla="*/ 48965 h 173"/>
                <a:gd name="T72" fmla="*/ 149027 w 546"/>
                <a:gd name="T73" fmla="*/ 44707 h 173"/>
                <a:gd name="T74" fmla="*/ 140796 w 546"/>
                <a:gd name="T75" fmla="*/ 40449 h 173"/>
                <a:gd name="T76" fmla="*/ 131265 w 546"/>
                <a:gd name="T77" fmla="*/ 46304 h 173"/>
                <a:gd name="T78" fmla="*/ 111770 w 546"/>
                <a:gd name="T79" fmla="*/ 71318 h 173"/>
                <a:gd name="T80" fmla="*/ 102239 w 546"/>
                <a:gd name="T81" fmla="*/ 86753 h 173"/>
                <a:gd name="T82" fmla="*/ 95308 w 546"/>
                <a:gd name="T83" fmla="*/ 91543 h 173"/>
                <a:gd name="T84" fmla="*/ 81445 w 546"/>
                <a:gd name="T85" fmla="*/ 88882 h 173"/>
                <a:gd name="T86" fmla="*/ 71481 w 546"/>
                <a:gd name="T87" fmla="*/ 82495 h 173"/>
                <a:gd name="T88" fmla="*/ 48954 w 546"/>
                <a:gd name="T89" fmla="*/ 55884 h 173"/>
                <a:gd name="T90" fmla="*/ 41156 w 546"/>
                <a:gd name="T91" fmla="*/ 48433 h 173"/>
                <a:gd name="T92" fmla="*/ 25993 w 546"/>
                <a:gd name="T93" fmla="*/ 40449 h 173"/>
                <a:gd name="T94" fmla="*/ 6931 w 546"/>
                <a:gd name="T95" fmla="*/ 30869 h 173"/>
                <a:gd name="T96" fmla="*/ 4765 w 546"/>
                <a:gd name="T97" fmla="*/ 18096 h 173"/>
                <a:gd name="T98" fmla="*/ 12130 w 546"/>
                <a:gd name="T99" fmla="*/ 10112 h 173"/>
                <a:gd name="T100" fmla="*/ 20361 w 546"/>
                <a:gd name="T101" fmla="*/ 638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934" name="Freeform 548">
              <a:extLst>
                <a:ext uri="{FF2B5EF4-FFF2-40B4-BE49-F238E27FC236}">
                  <a16:creationId xmlns:a16="http://schemas.microsoft.com/office/drawing/2014/main" id="{B8267796-9209-4110-B700-C1BA8488D6FA}"/>
                </a:ext>
              </a:extLst>
            </p:cNvPr>
            <p:cNvSpPr>
              <a:spLocks/>
            </p:cNvSpPr>
            <p:nvPr>
              <p:custDataLst>
                <p:tags r:id="rId379"/>
              </p:custDataLst>
            </p:nvPr>
          </p:nvSpPr>
          <p:spPr bwMode="auto">
            <a:xfrm>
              <a:off x="6427788" y="1447801"/>
              <a:ext cx="107950" cy="60325"/>
            </a:xfrm>
            <a:custGeom>
              <a:avLst/>
              <a:gdLst>
                <a:gd name="T0" fmla="*/ 11848 w 246"/>
                <a:gd name="T1" fmla="*/ 51707 h 42"/>
                <a:gd name="T2" fmla="*/ 15798 w 246"/>
                <a:gd name="T3" fmla="*/ 51707 h 42"/>
                <a:gd name="T4" fmla="*/ 19747 w 246"/>
                <a:gd name="T5" fmla="*/ 50271 h 42"/>
                <a:gd name="T6" fmla="*/ 23258 w 246"/>
                <a:gd name="T7" fmla="*/ 47398 h 42"/>
                <a:gd name="T8" fmla="*/ 25890 w 246"/>
                <a:gd name="T9" fmla="*/ 44526 h 42"/>
                <a:gd name="T10" fmla="*/ 28962 w 246"/>
                <a:gd name="T11" fmla="*/ 43089 h 42"/>
                <a:gd name="T12" fmla="*/ 31595 w 246"/>
                <a:gd name="T13" fmla="*/ 41653 h 42"/>
                <a:gd name="T14" fmla="*/ 35106 w 246"/>
                <a:gd name="T15" fmla="*/ 41653 h 42"/>
                <a:gd name="T16" fmla="*/ 38177 w 246"/>
                <a:gd name="T17" fmla="*/ 43089 h 42"/>
                <a:gd name="T18" fmla="*/ 38177 w 246"/>
                <a:gd name="T19" fmla="*/ 60325 h 42"/>
                <a:gd name="T20" fmla="*/ 67578 w 246"/>
                <a:gd name="T21" fmla="*/ 60325 h 42"/>
                <a:gd name="T22" fmla="*/ 67578 w 246"/>
                <a:gd name="T23" fmla="*/ 56016 h 42"/>
                <a:gd name="T24" fmla="*/ 68456 w 246"/>
                <a:gd name="T25" fmla="*/ 51707 h 42"/>
                <a:gd name="T26" fmla="*/ 69773 w 246"/>
                <a:gd name="T27" fmla="*/ 47398 h 42"/>
                <a:gd name="T28" fmla="*/ 71528 w 246"/>
                <a:gd name="T29" fmla="*/ 44526 h 42"/>
                <a:gd name="T30" fmla="*/ 76794 w 246"/>
                <a:gd name="T31" fmla="*/ 37344 h 42"/>
                <a:gd name="T32" fmla="*/ 83376 w 246"/>
                <a:gd name="T33" fmla="*/ 33035 h 42"/>
                <a:gd name="T34" fmla="*/ 96979 w 246"/>
                <a:gd name="T35" fmla="*/ 24417 h 42"/>
                <a:gd name="T36" fmla="*/ 107950 w 246"/>
                <a:gd name="T37" fmla="*/ 17236 h 42"/>
                <a:gd name="T38" fmla="*/ 93030 w 246"/>
                <a:gd name="T39" fmla="*/ 18672 h 42"/>
                <a:gd name="T40" fmla="*/ 81621 w 246"/>
                <a:gd name="T41" fmla="*/ 20108 h 42"/>
                <a:gd name="T42" fmla="*/ 78110 w 246"/>
                <a:gd name="T43" fmla="*/ 21545 h 42"/>
                <a:gd name="T44" fmla="*/ 75038 w 246"/>
                <a:gd name="T45" fmla="*/ 21545 h 42"/>
                <a:gd name="T46" fmla="*/ 73722 w 246"/>
                <a:gd name="T47" fmla="*/ 20108 h 42"/>
                <a:gd name="T48" fmla="*/ 73283 w 246"/>
                <a:gd name="T49" fmla="*/ 17236 h 42"/>
                <a:gd name="T50" fmla="*/ 69773 w 246"/>
                <a:gd name="T51" fmla="*/ 22981 h 42"/>
                <a:gd name="T52" fmla="*/ 66701 w 246"/>
                <a:gd name="T53" fmla="*/ 24417 h 42"/>
                <a:gd name="T54" fmla="*/ 64507 w 246"/>
                <a:gd name="T55" fmla="*/ 24417 h 42"/>
                <a:gd name="T56" fmla="*/ 61874 w 246"/>
                <a:gd name="T57" fmla="*/ 21545 h 42"/>
                <a:gd name="T58" fmla="*/ 60118 w 246"/>
                <a:gd name="T59" fmla="*/ 17236 h 42"/>
                <a:gd name="T60" fmla="*/ 58363 w 246"/>
                <a:gd name="T61" fmla="*/ 12927 h 42"/>
                <a:gd name="T62" fmla="*/ 56608 w 246"/>
                <a:gd name="T63" fmla="*/ 7182 h 42"/>
                <a:gd name="T64" fmla="*/ 55291 w 246"/>
                <a:gd name="T65" fmla="*/ 0 h 42"/>
                <a:gd name="T66" fmla="*/ 53097 w 246"/>
                <a:gd name="T67" fmla="*/ 2873 h 42"/>
                <a:gd name="T68" fmla="*/ 49587 w 246"/>
                <a:gd name="T69" fmla="*/ 5745 h 42"/>
                <a:gd name="T70" fmla="*/ 45199 w 246"/>
                <a:gd name="T71" fmla="*/ 7182 h 42"/>
                <a:gd name="T72" fmla="*/ 40810 w 246"/>
                <a:gd name="T73" fmla="*/ 7182 h 42"/>
                <a:gd name="T74" fmla="*/ 32473 w 246"/>
                <a:gd name="T75" fmla="*/ 8618 h 42"/>
                <a:gd name="T76" fmla="*/ 26329 w 246"/>
                <a:gd name="T77" fmla="*/ 8618 h 42"/>
                <a:gd name="T78" fmla="*/ 25452 w 246"/>
                <a:gd name="T79" fmla="*/ 12927 h 42"/>
                <a:gd name="T80" fmla="*/ 24574 w 246"/>
                <a:gd name="T81" fmla="*/ 17236 h 42"/>
                <a:gd name="T82" fmla="*/ 23696 w 246"/>
                <a:gd name="T83" fmla="*/ 21545 h 42"/>
                <a:gd name="T84" fmla="*/ 21941 w 246"/>
                <a:gd name="T85" fmla="*/ 24417 h 42"/>
                <a:gd name="T86" fmla="*/ 18430 w 246"/>
                <a:gd name="T87" fmla="*/ 28726 h 42"/>
                <a:gd name="T88" fmla="*/ 14481 w 246"/>
                <a:gd name="T89" fmla="*/ 31599 h 42"/>
                <a:gd name="T90" fmla="*/ 6143 w 246"/>
                <a:gd name="T91" fmla="*/ 34471 h 42"/>
                <a:gd name="T92" fmla="*/ 0 w 246"/>
                <a:gd name="T93" fmla="*/ 34471 h 42"/>
                <a:gd name="T94" fmla="*/ 439 w 246"/>
                <a:gd name="T95" fmla="*/ 38780 h 42"/>
                <a:gd name="T96" fmla="*/ 1316 w 246"/>
                <a:gd name="T97" fmla="*/ 41653 h 42"/>
                <a:gd name="T98" fmla="*/ 2194 w 246"/>
                <a:gd name="T99" fmla="*/ 44526 h 42"/>
                <a:gd name="T100" fmla="*/ 3949 w 246"/>
                <a:gd name="T101" fmla="*/ 47398 h 42"/>
                <a:gd name="T102" fmla="*/ 7460 w 246"/>
                <a:gd name="T103" fmla="*/ 50271 h 42"/>
                <a:gd name="T104" fmla="*/ 11848 w 246"/>
                <a:gd name="T105" fmla="*/ 5170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35" name="Freeform 549">
              <a:extLst>
                <a:ext uri="{FF2B5EF4-FFF2-40B4-BE49-F238E27FC236}">
                  <a16:creationId xmlns:a16="http://schemas.microsoft.com/office/drawing/2014/main" id="{D9EFE012-EB98-4BE5-B404-29455F38A60F}"/>
                </a:ext>
              </a:extLst>
            </p:cNvPr>
            <p:cNvSpPr>
              <a:spLocks/>
            </p:cNvSpPr>
            <p:nvPr>
              <p:custDataLst>
                <p:tags r:id="rId380"/>
              </p:custDataLst>
            </p:nvPr>
          </p:nvSpPr>
          <p:spPr bwMode="auto">
            <a:xfrm>
              <a:off x="6570663" y="1430338"/>
              <a:ext cx="63500" cy="57150"/>
            </a:xfrm>
            <a:custGeom>
              <a:avLst/>
              <a:gdLst>
                <a:gd name="T0" fmla="*/ 43896 w 149"/>
                <a:gd name="T1" fmla="*/ 0 h 61"/>
                <a:gd name="T2" fmla="*/ 50289 w 149"/>
                <a:gd name="T3" fmla="*/ 937 h 61"/>
                <a:gd name="T4" fmla="*/ 57107 w 149"/>
                <a:gd name="T5" fmla="*/ 2811 h 61"/>
                <a:gd name="T6" fmla="*/ 61795 w 149"/>
                <a:gd name="T7" fmla="*/ 4684 h 61"/>
                <a:gd name="T8" fmla="*/ 63500 w 149"/>
                <a:gd name="T9" fmla="*/ 5621 h 61"/>
                <a:gd name="T10" fmla="*/ 63500 w 149"/>
                <a:gd name="T11" fmla="*/ 7495 h 61"/>
                <a:gd name="T12" fmla="*/ 62648 w 149"/>
                <a:gd name="T13" fmla="*/ 9369 h 61"/>
                <a:gd name="T14" fmla="*/ 61795 w 149"/>
                <a:gd name="T15" fmla="*/ 11243 h 61"/>
                <a:gd name="T16" fmla="*/ 60091 w 149"/>
                <a:gd name="T17" fmla="*/ 12180 h 61"/>
                <a:gd name="T18" fmla="*/ 58386 w 149"/>
                <a:gd name="T19" fmla="*/ 13116 h 61"/>
                <a:gd name="T20" fmla="*/ 56255 w 149"/>
                <a:gd name="T21" fmla="*/ 13116 h 61"/>
                <a:gd name="T22" fmla="*/ 54124 w 149"/>
                <a:gd name="T23" fmla="*/ 13116 h 61"/>
                <a:gd name="T24" fmla="*/ 52419 w 149"/>
                <a:gd name="T25" fmla="*/ 11243 h 61"/>
                <a:gd name="T26" fmla="*/ 52419 w 149"/>
                <a:gd name="T27" fmla="*/ 21548 h 61"/>
                <a:gd name="T28" fmla="*/ 52419 w 149"/>
                <a:gd name="T29" fmla="*/ 30917 h 61"/>
                <a:gd name="T30" fmla="*/ 52419 w 149"/>
                <a:gd name="T31" fmla="*/ 38412 h 61"/>
                <a:gd name="T32" fmla="*/ 52419 w 149"/>
                <a:gd name="T33" fmla="*/ 45907 h 61"/>
                <a:gd name="T34" fmla="*/ 49436 w 149"/>
                <a:gd name="T35" fmla="*/ 46844 h 61"/>
                <a:gd name="T36" fmla="*/ 46453 w 149"/>
                <a:gd name="T37" fmla="*/ 47781 h 61"/>
                <a:gd name="T38" fmla="*/ 44322 w 149"/>
                <a:gd name="T39" fmla="*/ 49655 h 61"/>
                <a:gd name="T40" fmla="*/ 42617 w 149"/>
                <a:gd name="T41" fmla="*/ 51529 h 61"/>
                <a:gd name="T42" fmla="*/ 40060 w 149"/>
                <a:gd name="T43" fmla="*/ 53402 h 61"/>
                <a:gd name="T44" fmla="*/ 37930 w 149"/>
                <a:gd name="T45" fmla="*/ 55276 h 61"/>
                <a:gd name="T46" fmla="*/ 35372 w 149"/>
                <a:gd name="T47" fmla="*/ 57150 h 61"/>
                <a:gd name="T48" fmla="*/ 32389 w 149"/>
                <a:gd name="T49" fmla="*/ 57150 h 61"/>
                <a:gd name="T50" fmla="*/ 28554 w 149"/>
                <a:gd name="T51" fmla="*/ 56213 h 61"/>
                <a:gd name="T52" fmla="*/ 22587 w 149"/>
                <a:gd name="T53" fmla="*/ 53402 h 61"/>
                <a:gd name="T54" fmla="*/ 16621 w 149"/>
                <a:gd name="T55" fmla="*/ 50592 h 61"/>
                <a:gd name="T56" fmla="*/ 10654 w 149"/>
                <a:gd name="T57" fmla="*/ 45907 h 61"/>
                <a:gd name="T58" fmla="*/ 5114 w 149"/>
                <a:gd name="T59" fmla="*/ 42160 h 61"/>
                <a:gd name="T60" fmla="*/ 1279 w 149"/>
                <a:gd name="T61" fmla="*/ 38412 h 61"/>
                <a:gd name="T62" fmla="*/ 426 w 149"/>
                <a:gd name="T63" fmla="*/ 36539 h 61"/>
                <a:gd name="T64" fmla="*/ 0 w 149"/>
                <a:gd name="T65" fmla="*/ 35602 h 61"/>
                <a:gd name="T66" fmla="*/ 0 w 149"/>
                <a:gd name="T67" fmla="*/ 34665 h 61"/>
                <a:gd name="T68" fmla="*/ 1279 w 149"/>
                <a:gd name="T69" fmla="*/ 34665 h 61"/>
                <a:gd name="T70" fmla="*/ 8097 w 149"/>
                <a:gd name="T71" fmla="*/ 33728 h 61"/>
                <a:gd name="T72" fmla="*/ 14916 w 149"/>
                <a:gd name="T73" fmla="*/ 32791 h 61"/>
                <a:gd name="T74" fmla="*/ 20456 w 149"/>
                <a:gd name="T75" fmla="*/ 29980 h 61"/>
                <a:gd name="T76" fmla="*/ 25570 w 149"/>
                <a:gd name="T77" fmla="*/ 25296 h 61"/>
                <a:gd name="T78" fmla="*/ 30685 w 149"/>
                <a:gd name="T79" fmla="*/ 20611 h 61"/>
                <a:gd name="T80" fmla="*/ 34946 w 149"/>
                <a:gd name="T81" fmla="*/ 14990 h 61"/>
                <a:gd name="T82" fmla="*/ 39634 w 149"/>
                <a:gd name="T83" fmla="*/ 7495 h 61"/>
                <a:gd name="T84" fmla="*/ 43896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36" name="Freeform 550">
              <a:extLst>
                <a:ext uri="{FF2B5EF4-FFF2-40B4-BE49-F238E27FC236}">
                  <a16:creationId xmlns:a16="http://schemas.microsoft.com/office/drawing/2014/main" id="{B7060DE4-1C36-46E5-BD22-2CAB7F4E4BAB}"/>
                </a:ext>
              </a:extLst>
            </p:cNvPr>
            <p:cNvSpPr>
              <a:spLocks/>
            </p:cNvSpPr>
            <p:nvPr>
              <p:custDataLst>
                <p:tags r:id="rId381"/>
              </p:custDataLst>
            </p:nvPr>
          </p:nvSpPr>
          <p:spPr bwMode="auto">
            <a:xfrm>
              <a:off x="6607176" y="1438275"/>
              <a:ext cx="130175" cy="57150"/>
            </a:xfrm>
            <a:custGeom>
              <a:avLst/>
              <a:gdLst>
                <a:gd name="T0" fmla="*/ 57904 w 299"/>
                <a:gd name="T1" fmla="*/ 55605 h 74"/>
                <a:gd name="T2" fmla="*/ 67047 w 299"/>
                <a:gd name="T3" fmla="*/ 50199 h 74"/>
                <a:gd name="T4" fmla="*/ 77495 w 299"/>
                <a:gd name="T5" fmla="*/ 41704 h 74"/>
                <a:gd name="T6" fmla="*/ 86638 w 299"/>
                <a:gd name="T7" fmla="*/ 32436 h 74"/>
                <a:gd name="T8" fmla="*/ 90121 w 299"/>
                <a:gd name="T9" fmla="*/ 30892 h 74"/>
                <a:gd name="T10" fmla="*/ 91863 w 299"/>
                <a:gd name="T11" fmla="*/ 35526 h 74"/>
                <a:gd name="T12" fmla="*/ 95781 w 299"/>
                <a:gd name="T13" fmla="*/ 39387 h 74"/>
                <a:gd name="T14" fmla="*/ 105794 w 299"/>
                <a:gd name="T15" fmla="*/ 42476 h 74"/>
                <a:gd name="T16" fmla="*/ 117114 w 299"/>
                <a:gd name="T17" fmla="*/ 42476 h 74"/>
                <a:gd name="T18" fmla="*/ 124515 w 299"/>
                <a:gd name="T19" fmla="*/ 42476 h 74"/>
                <a:gd name="T20" fmla="*/ 127563 w 299"/>
                <a:gd name="T21" fmla="*/ 35526 h 74"/>
                <a:gd name="T22" fmla="*/ 129740 w 299"/>
                <a:gd name="T23" fmla="*/ 23941 h 74"/>
                <a:gd name="T24" fmla="*/ 121468 w 299"/>
                <a:gd name="T25" fmla="*/ 19307 h 74"/>
                <a:gd name="T26" fmla="*/ 106230 w 299"/>
                <a:gd name="T27" fmla="*/ 19307 h 74"/>
                <a:gd name="T28" fmla="*/ 97958 w 299"/>
                <a:gd name="T29" fmla="*/ 19307 h 74"/>
                <a:gd name="T30" fmla="*/ 93169 w 299"/>
                <a:gd name="T31" fmla="*/ 20852 h 74"/>
                <a:gd name="T32" fmla="*/ 88815 w 299"/>
                <a:gd name="T33" fmla="*/ 25486 h 74"/>
                <a:gd name="T34" fmla="*/ 74883 w 299"/>
                <a:gd name="T35" fmla="*/ 28575 h 74"/>
                <a:gd name="T36" fmla="*/ 76625 w 299"/>
                <a:gd name="T37" fmla="*/ 21624 h 74"/>
                <a:gd name="T38" fmla="*/ 78366 w 299"/>
                <a:gd name="T39" fmla="*/ 16218 h 74"/>
                <a:gd name="T40" fmla="*/ 84461 w 299"/>
                <a:gd name="T41" fmla="*/ 10040 h 74"/>
                <a:gd name="T42" fmla="*/ 91427 w 299"/>
                <a:gd name="T43" fmla="*/ 6951 h 74"/>
                <a:gd name="T44" fmla="*/ 97958 w 299"/>
                <a:gd name="T45" fmla="*/ 0 h 74"/>
                <a:gd name="T46" fmla="*/ 80543 w 299"/>
                <a:gd name="T47" fmla="*/ 2317 h 74"/>
                <a:gd name="T48" fmla="*/ 68353 w 299"/>
                <a:gd name="T49" fmla="*/ 8495 h 74"/>
                <a:gd name="T50" fmla="*/ 58339 w 299"/>
                <a:gd name="T51" fmla="*/ 19307 h 74"/>
                <a:gd name="T52" fmla="*/ 49632 w 299"/>
                <a:gd name="T53" fmla="*/ 30892 h 74"/>
                <a:gd name="T54" fmla="*/ 43537 w 299"/>
                <a:gd name="T55" fmla="*/ 40932 h 74"/>
                <a:gd name="T56" fmla="*/ 37877 w 299"/>
                <a:gd name="T57" fmla="*/ 45566 h 74"/>
                <a:gd name="T58" fmla="*/ 27864 w 299"/>
                <a:gd name="T59" fmla="*/ 48655 h 74"/>
                <a:gd name="T60" fmla="*/ 13932 w 299"/>
                <a:gd name="T61" fmla="*/ 49427 h 74"/>
                <a:gd name="T62" fmla="*/ 5224 w 299"/>
                <a:gd name="T63" fmla="*/ 51744 h 74"/>
                <a:gd name="T64" fmla="*/ 871 w 299"/>
                <a:gd name="T65" fmla="*/ 54061 h 74"/>
                <a:gd name="T66" fmla="*/ 16979 w 299"/>
                <a:gd name="T67" fmla="*/ 57150 h 74"/>
                <a:gd name="T68" fmla="*/ 44408 w 299"/>
                <a:gd name="T69" fmla="*/ 57150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18D864E0-94B8-41E2-ADE2-10E815E483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2652" y="346558"/>
            <a:ext cx="9071278" cy="567176"/>
          </a:xfrm>
        </p:spPr>
        <p:txBody>
          <a:bodyPr>
            <a:normAutofit fontScale="90000"/>
          </a:bodyPr>
          <a:lstStyle/>
          <a:p>
            <a:r>
              <a:rPr lang="en-US" b="1" dirty="0"/>
              <a:t>Key Fact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398FFA0-E0DC-412F-8558-33A2E4447D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7374" y="976674"/>
            <a:ext cx="9779723" cy="3858194"/>
          </a:xfrm>
        </p:spPr>
        <p:txBody>
          <a:bodyPr>
            <a:noAutofit/>
          </a:bodyPr>
          <a:lstStyle/>
          <a:p>
            <a:pPr algn="just">
              <a:lnSpc>
                <a:spcPct val="110000"/>
              </a:lnSpc>
            </a:pPr>
            <a:r>
              <a:rPr lang="en-US" sz="2400" dirty="0">
                <a:solidFill>
                  <a:schemeClr val="tx1"/>
                </a:solidFill>
              </a:rPr>
              <a:t>Created in 2012 in the Netherlands, Foundation Status 2016</a:t>
            </a:r>
          </a:p>
          <a:p>
            <a:pPr algn="just">
              <a:lnSpc>
                <a:spcPct val="110000"/>
              </a:lnSpc>
            </a:pPr>
            <a:r>
              <a:rPr lang="en-US" sz="2400" dirty="0">
                <a:solidFill>
                  <a:schemeClr val="tx1"/>
                </a:solidFill>
              </a:rPr>
              <a:t>100 hundred signatories from 28 countries, 2000+ contacts, 130+ participants</a:t>
            </a:r>
          </a:p>
          <a:p>
            <a:pPr algn="just">
              <a:lnSpc>
                <a:spcPct val="110000"/>
              </a:lnSpc>
            </a:pPr>
            <a:r>
              <a:rPr lang="en-US" sz="2400" dirty="0">
                <a:solidFill>
                  <a:schemeClr val="tx1"/>
                </a:solidFill>
              </a:rPr>
              <a:t>12 member board of directors representing every continent (Amee Shroff, India, Chair)</a:t>
            </a:r>
          </a:p>
          <a:p>
            <a:pPr algn="just">
              <a:lnSpc>
                <a:spcPct val="110000"/>
              </a:lnSpc>
            </a:pPr>
            <a:r>
              <a:rPr lang="en-US" sz="2400" dirty="0">
                <a:solidFill>
                  <a:schemeClr val="tx1"/>
                </a:solidFill>
              </a:rPr>
              <a:t>Executive Director: Herman de Leeuw (Netherlands)</a:t>
            </a:r>
          </a:p>
          <a:p>
            <a:pPr algn="just">
              <a:lnSpc>
                <a:spcPct val="110000"/>
              </a:lnSpc>
            </a:pPr>
            <a:r>
              <a:rPr lang="en-US" sz="2400" dirty="0">
                <a:solidFill>
                  <a:schemeClr val="tx1"/>
                </a:solidFill>
              </a:rPr>
              <a:t>Annual convening each spring, rotating continents (2020: India)</a:t>
            </a:r>
          </a:p>
          <a:p>
            <a:pPr algn="just">
              <a:lnSpc>
                <a:spcPct val="110000"/>
              </a:lnSpc>
            </a:pPr>
            <a:r>
              <a:rPr lang="en-US" sz="2400" dirty="0">
                <a:solidFill>
                  <a:schemeClr val="tx1"/>
                </a:solidFill>
              </a:rPr>
              <a:t>Integrated into and supporting global mobility initiatives world-wide </a:t>
            </a:r>
          </a:p>
          <a:p>
            <a:pPr algn="just">
              <a:lnSpc>
                <a:spcPct val="110000"/>
              </a:lnSpc>
            </a:pPr>
            <a:r>
              <a:rPr lang="en-US" sz="2400" dirty="0"/>
              <a:t>Works closely with UNESCO, World Bank/Education and ENIC-NARICs</a:t>
            </a:r>
          </a:p>
          <a:p>
            <a:pPr marL="0" indent="0" algn="just">
              <a:lnSpc>
                <a:spcPct val="110000"/>
              </a:lnSpc>
              <a:buNone/>
            </a:pPr>
            <a:endParaRPr lang="en-US" sz="2400" dirty="0"/>
          </a:p>
          <a:p>
            <a:pPr algn="just">
              <a:lnSpc>
                <a:spcPct val="110000"/>
              </a:lnSpc>
            </a:pPr>
            <a:endParaRPr lang="en-US" sz="2400" dirty="0"/>
          </a:p>
        </p:txBody>
      </p:sp>
      <p:pic>
        <p:nvPicPr>
          <p:cNvPr id="554" name="Picture 553">
            <a:extLst>
              <a:ext uri="{FF2B5EF4-FFF2-40B4-BE49-F238E27FC236}">
                <a16:creationId xmlns:a16="http://schemas.microsoft.com/office/drawing/2014/main" id="{EB17490F-DD8D-43FD-B1A6-CF610364B1BE}"/>
              </a:ext>
            </a:extLst>
          </p:cNvPr>
          <p:cNvPicPr>
            <a:picLocks noChangeAspect="1"/>
          </p:cNvPicPr>
          <p:nvPr/>
        </p:nvPicPr>
        <p:blipFill>
          <a:blip r:embed="rId384"/>
          <a:stretch>
            <a:fillRect/>
          </a:stretch>
        </p:blipFill>
        <p:spPr>
          <a:xfrm>
            <a:off x="615821" y="6283466"/>
            <a:ext cx="1959429" cy="406674"/>
          </a:xfrm>
          <a:prstGeom prst="rect">
            <a:avLst/>
          </a:prstGeom>
        </p:spPr>
      </p:pic>
      <p:sp>
        <p:nvSpPr>
          <p:cNvPr id="2" name="Tijdelijke aanduiding voor voettekst 1"/>
          <p:cNvSpPr>
            <a:spLocks noGrp="1"/>
          </p:cNvSpPr>
          <p:nvPr>
            <p:ph type="ftr" sz="quarter" idx="11"/>
          </p:nvPr>
        </p:nvSpPr>
        <p:spPr>
          <a:xfrm>
            <a:off x="2676913" y="6283466"/>
            <a:ext cx="6652929" cy="447925"/>
          </a:xfrm>
        </p:spPr>
        <p:txBody>
          <a:bodyPr/>
          <a:lstStyle/>
          <a:p>
            <a:r>
              <a:rPr lang="en-US" dirty="0"/>
              <a:t>An international public benefit foundation, registered with the Dutch Chamber of Commerce - 67518613 and the European Transparency Register - 238535130318-52. Office contact details: </a:t>
            </a:r>
            <a:r>
              <a:rPr lang="en-US" dirty="0" err="1"/>
              <a:t>Nolenslaan</a:t>
            </a:r>
            <a:r>
              <a:rPr lang="en-US" dirty="0"/>
              <a:t> 13, 9722 NK Groningen, The Netherlands </a:t>
            </a:r>
            <a:r>
              <a:rPr lang="en-US" dirty="0">
                <a:hlinkClick r:id="rId385"/>
              </a:rPr>
              <a:t>ed@groningendeclaration.org</a:t>
            </a:r>
            <a:r>
              <a:rPr lang="en-US" dirty="0"/>
              <a:t> , +316 15055422,  </a:t>
            </a:r>
            <a:r>
              <a:rPr lang="en-US" dirty="0">
                <a:hlinkClick r:id="rId386"/>
              </a:rPr>
              <a:t>www.groningendeclaration.org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109234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DCAE0595-84A0-44E2-977A-8F30259CEFE9}"/>
              </a:ext>
            </a:extLst>
          </p:cNvPr>
          <p:cNvGrpSpPr/>
          <p:nvPr/>
        </p:nvGrpSpPr>
        <p:grpSpPr>
          <a:xfrm>
            <a:off x="8235819" y="304800"/>
            <a:ext cx="3744761" cy="1840517"/>
            <a:chOff x="2201864" y="1196976"/>
            <a:chExt cx="7500937" cy="4260849"/>
          </a:xfrm>
        </p:grpSpPr>
        <p:sp>
          <p:nvSpPr>
            <p:cNvPr id="13" name="Freeform 4">
              <a:extLst>
                <a:ext uri="{FF2B5EF4-FFF2-40B4-BE49-F238E27FC236}">
                  <a16:creationId xmlns:a16="http://schemas.microsoft.com/office/drawing/2014/main" id="{D3AE7259-877B-4463-B496-869FA2505754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4043364" y="5394325"/>
              <a:ext cx="33337" cy="57150"/>
            </a:xfrm>
            <a:custGeom>
              <a:avLst/>
              <a:gdLst>
                <a:gd name="T0" fmla="*/ 0 w 73"/>
                <a:gd name="T1" fmla="*/ 0 h 20"/>
                <a:gd name="T2" fmla="*/ 457 w 73"/>
                <a:gd name="T3" fmla="*/ 14288 h 20"/>
                <a:gd name="T4" fmla="*/ 1827 w 73"/>
                <a:gd name="T5" fmla="*/ 28575 h 20"/>
                <a:gd name="T6" fmla="*/ 3653 w 73"/>
                <a:gd name="T7" fmla="*/ 40005 h 20"/>
                <a:gd name="T8" fmla="*/ 5937 w 73"/>
                <a:gd name="T9" fmla="*/ 57150 h 20"/>
                <a:gd name="T10" fmla="*/ 7307 w 73"/>
                <a:gd name="T11" fmla="*/ 48578 h 20"/>
                <a:gd name="T12" fmla="*/ 8677 w 73"/>
                <a:gd name="T13" fmla="*/ 37148 h 20"/>
                <a:gd name="T14" fmla="*/ 10503 w 73"/>
                <a:gd name="T15" fmla="*/ 31433 h 20"/>
                <a:gd name="T16" fmla="*/ 12330 w 73"/>
                <a:gd name="T17" fmla="*/ 28575 h 20"/>
                <a:gd name="T18" fmla="*/ 16440 w 73"/>
                <a:gd name="T19" fmla="*/ 22860 h 20"/>
                <a:gd name="T20" fmla="*/ 21007 w 73"/>
                <a:gd name="T21" fmla="*/ 20003 h 20"/>
                <a:gd name="T22" fmla="*/ 24660 w 73"/>
                <a:gd name="T23" fmla="*/ 20003 h 20"/>
                <a:gd name="T24" fmla="*/ 28770 w 73"/>
                <a:gd name="T25" fmla="*/ 17145 h 20"/>
                <a:gd name="T26" fmla="*/ 30140 w 73"/>
                <a:gd name="T27" fmla="*/ 14288 h 20"/>
                <a:gd name="T28" fmla="*/ 31510 w 73"/>
                <a:gd name="T29" fmla="*/ 11430 h 20"/>
                <a:gd name="T30" fmla="*/ 32424 w 73"/>
                <a:gd name="T31" fmla="*/ 5715 h 20"/>
                <a:gd name="T32" fmla="*/ 33337 w 73"/>
                <a:gd name="T33" fmla="*/ 0 h 20"/>
                <a:gd name="T34" fmla="*/ 0 w 73"/>
                <a:gd name="T35" fmla="*/ 0 h 2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266E9908-55EE-4394-897A-F2AEE2AB4E72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2201864" y="1495425"/>
              <a:ext cx="784225" cy="446088"/>
            </a:xfrm>
            <a:custGeom>
              <a:avLst/>
              <a:gdLst>
                <a:gd name="T0" fmla="*/ 605085 w 1808"/>
                <a:gd name="T1" fmla="*/ 423521 h 850"/>
                <a:gd name="T2" fmla="*/ 604651 w 1808"/>
                <a:gd name="T3" fmla="*/ 395181 h 850"/>
                <a:gd name="T4" fmla="*/ 595543 w 1808"/>
                <a:gd name="T5" fmla="*/ 340076 h 850"/>
                <a:gd name="T6" fmla="*/ 573855 w 1808"/>
                <a:gd name="T7" fmla="*/ 336403 h 850"/>
                <a:gd name="T8" fmla="*/ 548263 w 1808"/>
                <a:gd name="T9" fmla="*/ 335353 h 850"/>
                <a:gd name="T10" fmla="*/ 491876 w 1808"/>
                <a:gd name="T11" fmla="*/ 305439 h 850"/>
                <a:gd name="T12" fmla="*/ 422041 w 1808"/>
                <a:gd name="T13" fmla="*/ 281823 h 850"/>
                <a:gd name="T14" fmla="*/ 409029 w 1808"/>
                <a:gd name="T15" fmla="*/ 264504 h 850"/>
                <a:gd name="T16" fmla="*/ 390811 w 1808"/>
                <a:gd name="T17" fmla="*/ 270802 h 850"/>
                <a:gd name="T18" fmla="*/ 368256 w 1808"/>
                <a:gd name="T19" fmla="*/ 299141 h 850"/>
                <a:gd name="T20" fmla="*/ 292783 w 1808"/>
                <a:gd name="T21" fmla="*/ 324857 h 850"/>
                <a:gd name="T22" fmla="*/ 294084 w 1808"/>
                <a:gd name="T23" fmla="*/ 303340 h 850"/>
                <a:gd name="T24" fmla="*/ 312736 w 1808"/>
                <a:gd name="T25" fmla="*/ 287596 h 850"/>
                <a:gd name="T26" fmla="*/ 340930 w 1808"/>
                <a:gd name="T27" fmla="*/ 286021 h 850"/>
                <a:gd name="T28" fmla="*/ 314037 w 1808"/>
                <a:gd name="T29" fmla="*/ 277099 h 850"/>
                <a:gd name="T30" fmla="*/ 250709 w 1808"/>
                <a:gd name="T31" fmla="*/ 309113 h 850"/>
                <a:gd name="T32" fmla="*/ 237263 w 1808"/>
                <a:gd name="T33" fmla="*/ 328006 h 850"/>
                <a:gd name="T34" fmla="*/ 228154 w 1808"/>
                <a:gd name="T35" fmla="*/ 341126 h 850"/>
                <a:gd name="T36" fmla="*/ 196056 w 1808"/>
                <a:gd name="T37" fmla="*/ 343225 h 850"/>
                <a:gd name="T38" fmla="*/ 166127 w 1808"/>
                <a:gd name="T39" fmla="*/ 368416 h 850"/>
                <a:gd name="T40" fmla="*/ 109306 w 1808"/>
                <a:gd name="T41" fmla="*/ 393607 h 850"/>
                <a:gd name="T42" fmla="*/ 45544 w 1808"/>
                <a:gd name="T43" fmla="*/ 423521 h 850"/>
                <a:gd name="T44" fmla="*/ 1735 w 1808"/>
                <a:gd name="T45" fmla="*/ 426670 h 850"/>
                <a:gd name="T46" fmla="*/ 6073 w 1808"/>
                <a:gd name="T47" fmla="*/ 414075 h 850"/>
                <a:gd name="T48" fmla="*/ 55087 w 1808"/>
                <a:gd name="T49" fmla="*/ 399380 h 850"/>
                <a:gd name="T50" fmla="*/ 114944 w 1808"/>
                <a:gd name="T51" fmla="*/ 365267 h 850"/>
                <a:gd name="T52" fmla="*/ 130126 w 1808"/>
                <a:gd name="T53" fmla="*/ 328531 h 850"/>
                <a:gd name="T54" fmla="*/ 109739 w 1808"/>
                <a:gd name="T55" fmla="*/ 344800 h 850"/>
                <a:gd name="T56" fmla="*/ 65063 w 1808"/>
                <a:gd name="T57" fmla="*/ 337452 h 850"/>
                <a:gd name="T58" fmla="*/ 74605 w 1808"/>
                <a:gd name="T59" fmla="*/ 320134 h 850"/>
                <a:gd name="T60" fmla="*/ 104101 w 1808"/>
                <a:gd name="T61" fmla="*/ 287071 h 850"/>
                <a:gd name="T62" fmla="*/ 65930 w 1808"/>
                <a:gd name="T63" fmla="*/ 301765 h 850"/>
                <a:gd name="T64" fmla="*/ 62027 w 1808"/>
                <a:gd name="T65" fmla="*/ 281298 h 850"/>
                <a:gd name="T66" fmla="*/ 150078 w 1808"/>
                <a:gd name="T67" fmla="*/ 199428 h 850"/>
                <a:gd name="T68" fmla="*/ 192586 w 1808"/>
                <a:gd name="T69" fmla="*/ 200477 h 850"/>
                <a:gd name="T70" fmla="*/ 246805 w 1808"/>
                <a:gd name="T71" fmla="*/ 183158 h 850"/>
                <a:gd name="T72" fmla="*/ 256782 w 1808"/>
                <a:gd name="T73" fmla="*/ 160592 h 850"/>
                <a:gd name="T74" fmla="*/ 219479 w 1808"/>
                <a:gd name="T75" fmla="*/ 173712 h 850"/>
                <a:gd name="T76" fmla="*/ 189984 w 1808"/>
                <a:gd name="T77" fmla="*/ 166889 h 850"/>
                <a:gd name="T78" fmla="*/ 204731 w 1808"/>
                <a:gd name="T79" fmla="*/ 150620 h 850"/>
                <a:gd name="T80" fmla="*/ 308398 w 1808"/>
                <a:gd name="T81" fmla="*/ 124905 h 850"/>
                <a:gd name="T82" fmla="*/ 324881 w 1808"/>
                <a:gd name="T83" fmla="*/ 110210 h 850"/>
                <a:gd name="T84" fmla="*/ 296687 w 1808"/>
                <a:gd name="T85" fmla="*/ 92366 h 850"/>
                <a:gd name="T86" fmla="*/ 320543 w 1808"/>
                <a:gd name="T87" fmla="*/ 57204 h 850"/>
                <a:gd name="T88" fmla="*/ 428548 w 1808"/>
                <a:gd name="T89" fmla="*/ 14170 h 850"/>
                <a:gd name="T90" fmla="*/ 501852 w 1808"/>
                <a:gd name="T91" fmla="*/ 4723 h 850"/>
                <a:gd name="T92" fmla="*/ 553902 w 1808"/>
                <a:gd name="T93" fmla="*/ 1050 h 850"/>
                <a:gd name="T94" fmla="*/ 587301 w 1808"/>
                <a:gd name="T95" fmla="*/ 5248 h 850"/>
                <a:gd name="T96" fmla="*/ 657569 w 1808"/>
                <a:gd name="T97" fmla="*/ 17844 h 850"/>
                <a:gd name="T98" fmla="*/ 763839 w 1808"/>
                <a:gd name="T99" fmla="*/ 21517 h 850"/>
                <a:gd name="T100" fmla="*/ 558240 w 1808"/>
                <a:gd name="T101" fmla="*/ 283397 h 850"/>
                <a:gd name="T102" fmla="*/ 572987 w 1808"/>
                <a:gd name="T103" fmla="*/ 299666 h 850"/>
                <a:gd name="T104" fmla="*/ 575590 w 1808"/>
                <a:gd name="T105" fmla="*/ 315410 h 850"/>
                <a:gd name="T106" fmla="*/ 599446 w 1808"/>
                <a:gd name="T107" fmla="*/ 314361 h 850"/>
                <a:gd name="T108" fmla="*/ 619833 w 1808"/>
                <a:gd name="T109" fmla="*/ 302815 h 850"/>
                <a:gd name="T110" fmla="*/ 639785 w 1808"/>
                <a:gd name="T111" fmla="*/ 350048 h 850"/>
                <a:gd name="T112" fmla="*/ 634147 w 1808"/>
                <a:gd name="T113" fmla="*/ 370515 h 850"/>
                <a:gd name="T114" fmla="*/ 628508 w 1808"/>
                <a:gd name="T115" fmla="*/ 389409 h 850"/>
                <a:gd name="T116" fmla="*/ 640653 w 1808"/>
                <a:gd name="T117" fmla="*/ 410926 h 850"/>
                <a:gd name="T118" fmla="*/ 640653 w 1808"/>
                <a:gd name="T119" fmla="*/ 425620 h 850"/>
                <a:gd name="T120" fmla="*/ 618531 w 1808"/>
                <a:gd name="T121" fmla="*/ 445038 h 85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0054D6ED-04B2-49CE-81A1-D1984D7564DA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662239" y="2111375"/>
              <a:ext cx="1381125" cy="769938"/>
            </a:xfrm>
            <a:custGeom>
              <a:avLst/>
              <a:gdLst>
                <a:gd name="T0" fmla="*/ 1273680 w 3175"/>
                <a:gd name="T1" fmla="*/ 184639 h 1472"/>
                <a:gd name="T2" fmla="*/ 1259760 w 3175"/>
                <a:gd name="T3" fmla="*/ 230145 h 1472"/>
                <a:gd name="T4" fmla="*/ 1236705 w 3175"/>
                <a:gd name="T5" fmla="*/ 241652 h 1472"/>
                <a:gd name="T6" fmla="*/ 1160145 w 3175"/>
                <a:gd name="T7" fmla="*/ 296050 h 1472"/>
                <a:gd name="T8" fmla="*/ 1128825 w 3175"/>
                <a:gd name="T9" fmla="*/ 305988 h 1472"/>
                <a:gd name="T10" fmla="*/ 1117950 w 3175"/>
                <a:gd name="T11" fmla="*/ 354109 h 1472"/>
                <a:gd name="T12" fmla="*/ 1093590 w 3175"/>
                <a:gd name="T13" fmla="*/ 324818 h 1472"/>
                <a:gd name="T14" fmla="*/ 1087065 w 3175"/>
                <a:gd name="T15" fmla="*/ 360908 h 1472"/>
                <a:gd name="T16" fmla="*/ 1072275 w 3175"/>
                <a:gd name="T17" fmla="*/ 389153 h 1472"/>
                <a:gd name="T18" fmla="*/ 1074885 w 3175"/>
                <a:gd name="T19" fmla="*/ 430475 h 1472"/>
                <a:gd name="T20" fmla="*/ 1014420 w 3175"/>
                <a:gd name="T21" fmla="*/ 485396 h 1472"/>
                <a:gd name="T22" fmla="*/ 941775 w 3175"/>
                <a:gd name="T23" fmla="*/ 546593 h 1472"/>
                <a:gd name="T24" fmla="*/ 918720 w 3175"/>
                <a:gd name="T25" fmla="*/ 625052 h 1472"/>
                <a:gd name="T26" fmla="*/ 914805 w 3175"/>
                <a:gd name="T27" fmla="*/ 762092 h 1472"/>
                <a:gd name="T28" fmla="*/ 881310 w 3175"/>
                <a:gd name="T29" fmla="*/ 739601 h 1472"/>
                <a:gd name="T30" fmla="*/ 866955 w 3175"/>
                <a:gd name="T31" fmla="*/ 693572 h 1472"/>
                <a:gd name="T32" fmla="*/ 852165 w 3175"/>
                <a:gd name="T33" fmla="*/ 619298 h 1472"/>
                <a:gd name="T34" fmla="*/ 796920 w 3175"/>
                <a:gd name="T35" fmla="*/ 610929 h 1472"/>
                <a:gd name="T36" fmla="*/ 719055 w 3175"/>
                <a:gd name="T37" fmla="*/ 597853 h 1472"/>
                <a:gd name="T38" fmla="*/ 702960 w 3175"/>
                <a:gd name="T39" fmla="*/ 620344 h 1472"/>
                <a:gd name="T40" fmla="*/ 673380 w 3175"/>
                <a:gd name="T41" fmla="*/ 647543 h 1472"/>
                <a:gd name="T42" fmla="*/ 624660 w 3175"/>
                <a:gd name="T43" fmla="*/ 623482 h 1472"/>
                <a:gd name="T44" fmla="*/ 535485 w 3175"/>
                <a:gd name="T45" fmla="*/ 665327 h 1472"/>
                <a:gd name="T46" fmla="*/ 504600 w 3175"/>
                <a:gd name="T47" fmla="*/ 728094 h 1472"/>
                <a:gd name="T48" fmla="*/ 469800 w 3175"/>
                <a:gd name="T49" fmla="*/ 722863 h 1472"/>
                <a:gd name="T50" fmla="*/ 451095 w 3175"/>
                <a:gd name="T51" fmla="*/ 641789 h 1472"/>
                <a:gd name="T52" fmla="*/ 408900 w 3175"/>
                <a:gd name="T53" fmla="*/ 622436 h 1472"/>
                <a:gd name="T54" fmla="*/ 377145 w 3175"/>
                <a:gd name="T55" fmla="*/ 637605 h 1472"/>
                <a:gd name="T56" fmla="*/ 340170 w 3175"/>
                <a:gd name="T57" fmla="*/ 568562 h 1472"/>
                <a:gd name="T58" fmla="*/ 291450 w 3175"/>
                <a:gd name="T59" fmla="*/ 557054 h 1472"/>
                <a:gd name="T60" fmla="*/ 200970 w 3175"/>
                <a:gd name="T61" fmla="*/ 557054 h 1472"/>
                <a:gd name="T62" fmla="*/ 95700 w 3175"/>
                <a:gd name="T63" fmla="*/ 531425 h 1472"/>
                <a:gd name="T64" fmla="*/ 38280 w 3175"/>
                <a:gd name="T65" fmla="*/ 481211 h 1472"/>
                <a:gd name="T66" fmla="*/ 16965 w 3175"/>
                <a:gd name="T67" fmla="*/ 443551 h 1472"/>
                <a:gd name="T68" fmla="*/ 12615 w 3175"/>
                <a:gd name="T69" fmla="*/ 346263 h 1472"/>
                <a:gd name="T70" fmla="*/ 0 w 3175"/>
                <a:gd name="T71" fmla="*/ 315926 h 1472"/>
                <a:gd name="T72" fmla="*/ 61335 w 3175"/>
                <a:gd name="T73" fmla="*/ 175747 h 1472"/>
                <a:gd name="T74" fmla="*/ 107445 w 3175"/>
                <a:gd name="T75" fmla="*/ 92058 h 1472"/>
                <a:gd name="T76" fmla="*/ 154425 w 3175"/>
                <a:gd name="T77" fmla="*/ 53352 h 1472"/>
                <a:gd name="T78" fmla="*/ 163560 w 3175"/>
                <a:gd name="T79" fmla="*/ 62767 h 1472"/>
                <a:gd name="T80" fmla="*/ 794745 w 3175"/>
                <a:gd name="T81" fmla="*/ 0 h 1472"/>
                <a:gd name="T82" fmla="*/ 837810 w 3175"/>
                <a:gd name="T83" fmla="*/ 28768 h 1472"/>
                <a:gd name="T84" fmla="*/ 876525 w 3175"/>
                <a:gd name="T85" fmla="*/ 36091 h 1472"/>
                <a:gd name="T86" fmla="*/ 839115 w 3175"/>
                <a:gd name="T87" fmla="*/ 66951 h 1472"/>
                <a:gd name="T88" fmla="*/ 859995 w 3175"/>
                <a:gd name="T89" fmla="*/ 86827 h 1472"/>
                <a:gd name="T90" fmla="*/ 910890 w 3175"/>
                <a:gd name="T91" fmla="*/ 81074 h 1472"/>
                <a:gd name="T92" fmla="*/ 993540 w 3175"/>
                <a:gd name="T93" fmla="*/ 100950 h 1472"/>
                <a:gd name="T94" fmla="*/ 964395 w 3175"/>
                <a:gd name="T95" fmla="*/ 106703 h 1472"/>
                <a:gd name="T96" fmla="*/ 907845 w 3175"/>
                <a:gd name="T97" fmla="*/ 138087 h 1472"/>
                <a:gd name="T98" fmla="*/ 879135 w 3175"/>
                <a:gd name="T99" fmla="*/ 185685 h 1472"/>
                <a:gd name="T100" fmla="*/ 875220 w 3175"/>
                <a:gd name="T101" fmla="*/ 235898 h 1472"/>
                <a:gd name="T102" fmla="*/ 903060 w 3175"/>
                <a:gd name="T103" fmla="*/ 218114 h 1472"/>
                <a:gd name="T104" fmla="*/ 959175 w 3175"/>
                <a:gd name="T105" fmla="*/ 131810 h 1472"/>
                <a:gd name="T106" fmla="*/ 986145 w 3175"/>
                <a:gd name="T107" fmla="*/ 158486 h 1472"/>
                <a:gd name="T108" fmla="*/ 1000065 w 3175"/>
                <a:gd name="T109" fmla="*/ 206084 h 1472"/>
                <a:gd name="T110" fmla="*/ 959610 w 3175"/>
                <a:gd name="T111" fmla="*/ 237467 h 1472"/>
                <a:gd name="T112" fmla="*/ 1007895 w 3175"/>
                <a:gd name="T113" fmla="*/ 239036 h 1472"/>
                <a:gd name="T114" fmla="*/ 1117950 w 3175"/>
                <a:gd name="T115" fmla="*/ 195100 h 1472"/>
                <a:gd name="T116" fmla="*/ 1187550 w 3175"/>
                <a:gd name="T117" fmla="*/ 131810 h 1472"/>
                <a:gd name="T118" fmla="*/ 1311960 w 3175"/>
                <a:gd name="T119" fmla="*/ 106180 h 1472"/>
                <a:gd name="T120" fmla="*/ 1364160 w 3175"/>
                <a:gd name="T121" fmla="*/ 61721 h 1472"/>
                <a:gd name="T122" fmla="*/ 1369815 w 3175"/>
                <a:gd name="T123" fmla="*/ 96242 h 14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D71C57EA-63DA-4A4A-8378-9AD5FC382C60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495676" y="3662363"/>
              <a:ext cx="339725" cy="590550"/>
            </a:xfrm>
            <a:custGeom>
              <a:avLst/>
              <a:gdLst>
                <a:gd name="T0" fmla="*/ 252627 w 784"/>
                <a:gd name="T1" fmla="*/ 145020 h 1128"/>
                <a:gd name="T2" fmla="*/ 237894 w 784"/>
                <a:gd name="T3" fmla="*/ 154443 h 1128"/>
                <a:gd name="T4" fmla="*/ 209728 w 784"/>
                <a:gd name="T5" fmla="*/ 202609 h 1128"/>
                <a:gd name="T6" fmla="*/ 201495 w 784"/>
                <a:gd name="T7" fmla="*/ 239257 h 1128"/>
                <a:gd name="T8" fmla="*/ 208428 w 784"/>
                <a:gd name="T9" fmla="*/ 273286 h 1128"/>
                <a:gd name="T10" fmla="*/ 229661 w 784"/>
                <a:gd name="T11" fmla="*/ 309411 h 1128"/>
                <a:gd name="T12" fmla="*/ 250894 w 784"/>
                <a:gd name="T13" fmla="*/ 322499 h 1128"/>
                <a:gd name="T14" fmla="*/ 270827 w 784"/>
                <a:gd name="T15" fmla="*/ 314122 h 1128"/>
                <a:gd name="T16" fmla="*/ 283393 w 784"/>
                <a:gd name="T17" fmla="*/ 341870 h 1128"/>
                <a:gd name="T18" fmla="*/ 291193 w 784"/>
                <a:gd name="T19" fmla="*/ 357576 h 1128"/>
                <a:gd name="T20" fmla="*/ 309392 w 784"/>
                <a:gd name="T21" fmla="*/ 359670 h 1128"/>
                <a:gd name="T22" fmla="*/ 324559 w 784"/>
                <a:gd name="T23" fmla="*/ 372759 h 1128"/>
                <a:gd name="T24" fmla="*/ 333658 w 784"/>
                <a:gd name="T25" fmla="*/ 395794 h 1128"/>
                <a:gd name="T26" fmla="*/ 329759 w 784"/>
                <a:gd name="T27" fmla="*/ 413594 h 1128"/>
                <a:gd name="T28" fmla="*/ 329325 w 784"/>
                <a:gd name="T29" fmla="*/ 431918 h 1128"/>
                <a:gd name="T30" fmla="*/ 334525 w 784"/>
                <a:gd name="T31" fmla="*/ 461760 h 1128"/>
                <a:gd name="T32" fmla="*/ 328459 w 784"/>
                <a:gd name="T33" fmla="*/ 487937 h 1128"/>
                <a:gd name="T34" fmla="*/ 333658 w 784"/>
                <a:gd name="T35" fmla="*/ 520396 h 1128"/>
                <a:gd name="T36" fmla="*/ 330625 w 784"/>
                <a:gd name="T37" fmla="*/ 551808 h 1128"/>
                <a:gd name="T38" fmla="*/ 299426 w 784"/>
                <a:gd name="T39" fmla="*/ 587409 h 1128"/>
                <a:gd name="T40" fmla="*/ 280793 w 784"/>
                <a:gd name="T41" fmla="*/ 577462 h 1128"/>
                <a:gd name="T42" fmla="*/ 260860 w 784"/>
                <a:gd name="T43" fmla="*/ 552855 h 1128"/>
                <a:gd name="T44" fmla="*/ 200628 w 784"/>
                <a:gd name="T45" fmla="*/ 522490 h 1128"/>
                <a:gd name="T46" fmla="*/ 184162 w 784"/>
                <a:gd name="T47" fmla="*/ 506261 h 1128"/>
                <a:gd name="T48" fmla="*/ 143430 w 784"/>
                <a:gd name="T49" fmla="*/ 468042 h 1128"/>
                <a:gd name="T50" fmla="*/ 137797 w 784"/>
                <a:gd name="T51" fmla="*/ 453907 h 1128"/>
                <a:gd name="T52" fmla="*/ 142130 w 784"/>
                <a:gd name="T53" fmla="*/ 426683 h 1128"/>
                <a:gd name="T54" fmla="*/ 125664 w 784"/>
                <a:gd name="T55" fmla="*/ 407312 h 1128"/>
                <a:gd name="T56" fmla="*/ 112231 w 784"/>
                <a:gd name="T57" fmla="*/ 390035 h 1128"/>
                <a:gd name="T58" fmla="*/ 105297 w 784"/>
                <a:gd name="T59" fmla="*/ 360717 h 1128"/>
                <a:gd name="T60" fmla="*/ 66298 w 784"/>
                <a:gd name="T61" fmla="*/ 277475 h 1128"/>
                <a:gd name="T62" fmla="*/ 51999 w 784"/>
                <a:gd name="T63" fmla="*/ 254963 h 1128"/>
                <a:gd name="T64" fmla="*/ 38999 w 784"/>
                <a:gd name="T65" fmla="*/ 226168 h 1128"/>
                <a:gd name="T66" fmla="*/ 9533 w 784"/>
                <a:gd name="T67" fmla="*/ 207844 h 1128"/>
                <a:gd name="T68" fmla="*/ 0 w 784"/>
                <a:gd name="T69" fmla="*/ 190044 h 1128"/>
                <a:gd name="T70" fmla="*/ 5633 w 784"/>
                <a:gd name="T71" fmla="*/ 144496 h 1128"/>
                <a:gd name="T72" fmla="*/ 12133 w 784"/>
                <a:gd name="T73" fmla="*/ 128790 h 1128"/>
                <a:gd name="T74" fmla="*/ 31199 w 784"/>
                <a:gd name="T75" fmla="*/ 116225 h 1128"/>
                <a:gd name="T76" fmla="*/ 41166 w 784"/>
                <a:gd name="T77" fmla="*/ 142402 h 1128"/>
                <a:gd name="T78" fmla="*/ 68465 w 784"/>
                <a:gd name="T79" fmla="*/ 160726 h 1128"/>
                <a:gd name="T80" fmla="*/ 79731 w 784"/>
                <a:gd name="T81" fmla="*/ 141879 h 1128"/>
                <a:gd name="T82" fmla="*/ 87098 w 784"/>
                <a:gd name="T83" fmla="*/ 117796 h 1128"/>
                <a:gd name="T84" fmla="*/ 116997 w 784"/>
                <a:gd name="T85" fmla="*/ 89001 h 1128"/>
                <a:gd name="T86" fmla="*/ 149063 w 784"/>
                <a:gd name="T87" fmla="*/ 62824 h 1128"/>
                <a:gd name="T88" fmla="*/ 154696 w 784"/>
                <a:gd name="T89" fmla="*/ 36648 h 1128"/>
                <a:gd name="T90" fmla="*/ 150363 w 784"/>
                <a:gd name="T91" fmla="*/ 2618 h 1128"/>
                <a:gd name="T92" fmla="*/ 182862 w 784"/>
                <a:gd name="T93" fmla="*/ 27747 h 1128"/>
                <a:gd name="T94" fmla="*/ 202362 w 784"/>
                <a:gd name="T95" fmla="*/ 56018 h 1128"/>
                <a:gd name="T96" fmla="*/ 219261 w 784"/>
                <a:gd name="T97" fmla="*/ 80625 h 1128"/>
                <a:gd name="T98" fmla="*/ 243094 w 784"/>
                <a:gd name="T99" fmla="*/ 82195 h 1128"/>
                <a:gd name="T100" fmla="*/ 267360 w 784"/>
                <a:gd name="T101" fmla="*/ 78007 h 1128"/>
                <a:gd name="T102" fmla="*/ 277327 w 784"/>
                <a:gd name="T103" fmla="*/ 81672 h 1128"/>
                <a:gd name="T104" fmla="*/ 283393 w 784"/>
                <a:gd name="T105" fmla="*/ 101043 h 1128"/>
                <a:gd name="T106" fmla="*/ 271693 w 784"/>
                <a:gd name="T107" fmla="*/ 109943 h 1128"/>
                <a:gd name="T108" fmla="*/ 271693 w 784"/>
                <a:gd name="T109" fmla="*/ 125649 h 112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D220FF11-C1F2-48C8-A853-B80A7E5CD65C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795714" y="4225925"/>
              <a:ext cx="261937" cy="1130300"/>
            </a:xfrm>
            <a:custGeom>
              <a:avLst/>
              <a:gdLst>
                <a:gd name="T0" fmla="*/ 183093 w 598"/>
                <a:gd name="T1" fmla="*/ 1058543 h 2158"/>
                <a:gd name="T2" fmla="*/ 149803 w 598"/>
                <a:gd name="T3" fmla="*/ 1023974 h 2158"/>
                <a:gd name="T4" fmla="*/ 148489 w 598"/>
                <a:gd name="T5" fmla="*/ 991500 h 2158"/>
                <a:gd name="T6" fmla="*/ 151118 w 598"/>
                <a:gd name="T7" fmla="*/ 965312 h 2158"/>
                <a:gd name="T8" fmla="*/ 158564 w 598"/>
                <a:gd name="T9" fmla="*/ 938076 h 2158"/>
                <a:gd name="T10" fmla="*/ 155060 w 598"/>
                <a:gd name="T11" fmla="*/ 911363 h 2158"/>
                <a:gd name="T12" fmla="*/ 145423 w 598"/>
                <a:gd name="T13" fmla="*/ 881508 h 2158"/>
                <a:gd name="T14" fmla="*/ 132721 w 598"/>
                <a:gd name="T15" fmla="*/ 828084 h 2158"/>
                <a:gd name="T16" fmla="*/ 98993 w 598"/>
                <a:gd name="T17" fmla="*/ 764707 h 2158"/>
                <a:gd name="T18" fmla="*/ 90232 w 598"/>
                <a:gd name="T19" fmla="*/ 723329 h 2158"/>
                <a:gd name="T20" fmla="*/ 95051 w 598"/>
                <a:gd name="T21" fmla="*/ 680380 h 2158"/>
                <a:gd name="T22" fmla="*/ 91109 w 598"/>
                <a:gd name="T23" fmla="*/ 646858 h 2158"/>
                <a:gd name="T24" fmla="*/ 81034 w 598"/>
                <a:gd name="T25" fmla="*/ 610194 h 2158"/>
                <a:gd name="T26" fmla="*/ 92423 w 598"/>
                <a:gd name="T27" fmla="*/ 588196 h 2158"/>
                <a:gd name="T28" fmla="*/ 85414 w 598"/>
                <a:gd name="T29" fmla="*/ 566721 h 2158"/>
                <a:gd name="T30" fmla="*/ 92423 w 598"/>
                <a:gd name="T31" fmla="*/ 536866 h 2158"/>
                <a:gd name="T32" fmla="*/ 91985 w 598"/>
                <a:gd name="T33" fmla="*/ 520106 h 2158"/>
                <a:gd name="T34" fmla="*/ 81910 w 598"/>
                <a:gd name="T35" fmla="*/ 485537 h 2158"/>
                <a:gd name="T36" fmla="*/ 59571 w 598"/>
                <a:gd name="T37" fmla="*/ 446254 h 2158"/>
                <a:gd name="T38" fmla="*/ 58695 w 598"/>
                <a:gd name="T39" fmla="*/ 359308 h 2158"/>
                <a:gd name="T40" fmla="*/ 80158 w 598"/>
                <a:gd name="T41" fmla="*/ 305883 h 2158"/>
                <a:gd name="T42" fmla="*/ 82786 w 598"/>
                <a:gd name="T43" fmla="*/ 273409 h 2158"/>
                <a:gd name="T44" fmla="*/ 70083 w 598"/>
                <a:gd name="T45" fmla="*/ 240411 h 2158"/>
                <a:gd name="T46" fmla="*/ 79720 w 598"/>
                <a:gd name="T47" fmla="*/ 212651 h 2158"/>
                <a:gd name="T48" fmla="*/ 100307 w 598"/>
                <a:gd name="T49" fmla="*/ 181225 h 2158"/>
                <a:gd name="T50" fmla="*/ 87604 w 598"/>
                <a:gd name="T51" fmla="*/ 161322 h 2158"/>
                <a:gd name="T52" fmla="*/ 64827 w 598"/>
                <a:gd name="T53" fmla="*/ 116277 h 2158"/>
                <a:gd name="T54" fmla="*/ 56505 w 598"/>
                <a:gd name="T55" fmla="*/ 65472 h 2158"/>
                <a:gd name="T56" fmla="*/ 39860 w 598"/>
                <a:gd name="T57" fmla="*/ 19380 h 2158"/>
                <a:gd name="T58" fmla="*/ 0 w 598"/>
                <a:gd name="T59" fmla="*/ 23046 h 2158"/>
                <a:gd name="T60" fmla="*/ 13579 w 598"/>
                <a:gd name="T61" fmla="*/ 104754 h 2158"/>
                <a:gd name="T62" fmla="*/ 18397 w 598"/>
                <a:gd name="T63" fmla="*/ 159227 h 2158"/>
                <a:gd name="T64" fmla="*/ 11827 w 598"/>
                <a:gd name="T65" fmla="*/ 195891 h 2158"/>
                <a:gd name="T66" fmla="*/ 22777 w 598"/>
                <a:gd name="T67" fmla="*/ 274457 h 2158"/>
                <a:gd name="T68" fmla="*/ 20149 w 598"/>
                <a:gd name="T69" fmla="*/ 339928 h 2158"/>
                <a:gd name="T70" fmla="*/ 15769 w 598"/>
                <a:gd name="T71" fmla="*/ 376068 h 2158"/>
                <a:gd name="T72" fmla="*/ 22777 w 598"/>
                <a:gd name="T73" fmla="*/ 401733 h 2158"/>
                <a:gd name="T74" fmla="*/ 28033 w 598"/>
                <a:gd name="T75" fmla="*/ 456205 h 2158"/>
                <a:gd name="T76" fmla="*/ 35480 w 598"/>
                <a:gd name="T77" fmla="*/ 478204 h 2158"/>
                <a:gd name="T78" fmla="*/ 31976 w 598"/>
                <a:gd name="T79" fmla="*/ 547342 h 2158"/>
                <a:gd name="T80" fmla="*/ 27595 w 598"/>
                <a:gd name="T81" fmla="*/ 603385 h 2158"/>
                <a:gd name="T82" fmla="*/ 17521 w 598"/>
                <a:gd name="T83" fmla="*/ 622241 h 2158"/>
                <a:gd name="T84" fmla="*/ 26281 w 598"/>
                <a:gd name="T85" fmla="*/ 658905 h 2158"/>
                <a:gd name="T86" fmla="*/ 46430 w 598"/>
                <a:gd name="T87" fmla="*/ 703426 h 2158"/>
                <a:gd name="T88" fmla="*/ 40736 w 598"/>
                <a:gd name="T89" fmla="*/ 731186 h 2158"/>
                <a:gd name="T90" fmla="*/ 46430 w 598"/>
                <a:gd name="T91" fmla="*/ 758946 h 2158"/>
                <a:gd name="T92" fmla="*/ 71836 w 598"/>
                <a:gd name="T93" fmla="*/ 768374 h 2158"/>
                <a:gd name="T94" fmla="*/ 91547 w 598"/>
                <a:gd name="T95" fmla="*/ 849034 h 2158"/>
                <a:gd name="T96" fmla="*/ 99431 w 598"/>
                <a:gd name="T97" fmla="*/ 895126 h 2158"/>
                <a:gd name="T98" fmla="*/ 66141 w 598"/>
                <a:gd name="T99" fmla="*/ 916077 h 2158"/>
                <a:gd name="T100" fmla="*/ 90671 w 598"/>
                <a:gd name="T101" fmla="*/ 930219 h 2158"/>
                <a:gd name="T102" fmla="*/ 109505 w 598"/>
                <a:gd name="T103" fmla="*/ 953265 h 2158"/>
                <a:gd name="T104" fmla="*/ 120456 w 598"/>
                <a:gd name="T105" fmla="*/ 979977 h 2158"/>
                <a:gd name="T106" fmla="*/ 134911 w 598"/>
                <a:gd name="T107" fmla="*/ 1027117 h 2158"/>
                <a:gd name="T108" fmla="*/ 157250 w 598"/>
                <a:gd name="T109" fmla="*/ 1054353 h 2158"/>
                <a:gd name="T110" fmla="*/ 172143 w 598"/>
                <a:gd name="T111" fmla="*/ 1072685 h 2158"/>
                <a:gd name="T112" fmla="*/ 185721 w 598"/>
                <a:gd name="T113" fmla="*/ 1086303 h 2158"/>
                <a:gd name="T114" fmla="*/ 203680 w 598"/>
                <a:gd name="T115" fmla="*/ 1105159 h 2158"/>
                <a:gd name="T116" fmla="*/ 227333 w 598"/>
                <a:gd name="T117" fmla="*/ 1120872 h 2158"/>
                <a:gd name="T118" fmla="*/ 235656 w 598"/>
                <a:gd name="T119" fmla="*/ 1126634 h 2158"/>
                <a:gd name="T120" fmla="*/ 256681 w 598"/>
                <a:gd name="T121" fmla="*/ 1098874 h 2158"/>
                <a:gd name="T122" fmla="*/ 258871 w 598"/>
                <a:gd name="T123" fmla="*/ 1084732 h 215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76D90A18-F26D-4C66-87AB-84EB6AA84B10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700464" y="3508376"/>
              <a:ext cx="966787" cy="1203325"/>
            </a:xfrm>
            <a:custGeom>
              <a:avLst/>
              <a:gdLst>
                <a:gd name="T0" fmla="*/ 191099 w 2226"/>
                <a:gd name="T1" fmla="*/ 470410 h 2292"/>
                <a:gd name="T2" fmla="*/ 219329 w 2226"/>
                <a:gd name="T3" fmla="*/ 517136 h 2292"/>
                <a:gd name="T4" fmla="*/ 248429 w 2226"/>
                <a:gd name="T5" fmla="*/ 553361 h 2292"/>
                <a:gd name="T6" fmla="*/ 310970 w 2226"/>
                <a:gd name="T7" fmla="*/ 576462 h 2292"/>
                <a:gd name="T8" fmla="*/ 346584 w 2226"/>
                <a:gd name="T9" fmla="*/ 632113 h 2292"/>
                <a:gd name="T10" fmla="*/ 367431 w 2226"/>
                <a:gd name="T11" fmla="*/ 678314 h 2292"/>
                <a:gd name="T12" fmla="*/ 407823 w 2226"/>
                <a:gd name="T13" fmla="*/ 711390 h 2292"/>
                <a:gd name="T14" fmla="*/ 415640 w 2226"/>
                <a:gd name="T15" fmla="*/ 769666 h 2292"/>
                <a:gd name="T16" fmla="*/ 423892 w 2226"/>
                <a:gd name="T17" fmla="*/ 809042 h 2292"/>
                <a:gd name="T18" fmla="*/ 430841 w 2226"/>
                <a:gd name="T19" fmla="*/ 856818 h 2292"/>
                <a:gd name="T20" fmla="*/ 491211 w 2226"/>
                <a:gd name="T21" fmla="*/ 891469 h 2292"/>
                <a:gd name="T22" fmla="*/ 518139 w 2226"/>
                <a:gd name="T23" fmla="*/ 947645 h 2292"/>
                <a:gd name="T24" fmla="*/ 539855 w 2226"/>
                <a:gd name="T25" fmla="*/ 978620 h 2292"/>
                <a:gd name="T26" fmla="*/ 513796 w 2226"/>
                <a:gd name="T27" fmla="*/ 1051597 h 2292"/>
                <a:gd name="T28" fmla="*/ 470798 w 2226"/>
                <a:gd name="T29" fmla="*/ 1117223 h 2292"/>
                <a:gd name="T30" fmla="*/ 512493 w 2226"/>
                <a:gd name="T31" fmla="*/ 1134549 h 2292"/>
                <a:gd name="T32" fmla="*/ 562873 w 2226"/>
                <a:gd name="T33" fmla="*/ 1172874 h 2292"/>
                <a:gd name="T34" fmla="*/ 616294 w 2226"/>
                <a:gd name="T35" fmla="*/ 1153974 h 2292"/>
                <a:gd name="T36" fmla="*/ 659291 w 2226"/>
                <a:gd name="T37" fmla="*/ 1068922 h 2292"/>
                <a:gd name="T38" fmla="*/ 656686 w 2226"/>
                <a:gd name="T39" fmla="*/ 1006971 h 2292"/>
                <a:gd name="T40" fmla="*/ 677967 w 2226"/>
                <a:gd name="T41" fmla="*/ 941345 h 2292"/>
                <a:gd name="T42" fmla="*/ 740943 w 2226"/>
                <a:gd name="T43" fmla="*/ 906694 h 2292"/>
                <a:gd name="T44" fmla="*/ 780900 w 2226"/>
                <a:gd name="T45" fmla="*/ 882543 h 2292"/>
                <a:gd name="T46" fmla="*/ 823897 w 2226"/>
                <a:gd name="T47" fmla="*/ 861543 h 2292"/>
                <a:gd name="T48" fmla="*/ 860814 w 2226"/>
                <a:gd name="T49" fmla="*/ 735015 h 2292"/>
                <a:gd name="T50" fmla="*/ 874712 w 2226"/>
                <a:gd name="T51" fmla="*/ 676214 h 2292"/>
                <a:gd name="T52" fmla="*/ 869500 w 2226"/>
                <a:gd name="T53" fmla="*/ 572262 h 2292"/>
                <a:gd name="T54" fmla="*/ 900337 w 2226"/>
                <a:gd name="T55" fmla="*/ 529736 h 2292"/>
                <a:gd name="T56" fmla="*/ 951152 w 2226"/>
                <a:gd name="T57" fmla="*/ 460435 h 2292"/>
                <a:gd name="T58" fmla="*/ 965050 w 2226"/>
                <a:gd name="T59" fmla="*/ 384308 h 2292"/>
                <a:gd name="T60" fmla="*/ 936819 w 2226"/>
                <a:gd name="T61" fmla="*/ 314482 h 2292"/>
                <a:gd name="T62" fmla="*/ 894256 w 2226"/>
                <a:gd name="T63" fmla="*/ 295581 h 2292"/>
                <a:gd name="T64" fmla="*/ 834321 w 2226"/>
                <a:gd name="T65" fmla="*/ 242555 h 2292"/>
                <a:gd name="T66" fmla="*/ 756578 w 2226"/>
                <a:gd name="T67" fmla="*/ 236255 h 2292"/>
                <a:gd name="T68" fmla="*/ 725307 w 2226"/>
                <a:gd name="T69" fmla="*/ 234680 h 2292"/>
                <a:gd name="T70" fmla="*/ 710541 w 2226"/>
                <a:gd name="T71" fmla="*/ 206854 h 2292"/>
                <a:gd name="T72" fmla="*/ 656686 w 2226"/>
                <a:gd name="T73" fmla="*/ 182704 h 2292"/>
                <a:gd name="T74" fmla="*/ 612820 w 2226"/>
                <a:gd name="T75" fmla="*/ 214729 h 2292"/>
                <a:gd name="T76" fmla="*/ 581115 w 2226"/>
                <a:gd name="T77" fmla="*/ 212629 h 2292"/>
                <a:gd name="T78" fmla="*/ 541592 w 2226"/>
                <a:gd name="T79" fmla="*/ 201604 h 2292"/>
                <a:gd name="T80" fmla="*/ 571994 w 2226"/>
                <a:gd name="T81" fmla="*/ 140703 h 2292"/>
                <a:gd name="T82" fmla="*/ 581115 w 2226"/>
                <a:gd name="T83" fmla="*/ 96602 h 2292"/>
                <a:gd name="T84" fmla="*/ 560702 w 2226"/>
                <a:gd name="T85" fmla="*/ 35701 h 2292"/>
                <a:gd name="T86" fmla="*/ 488171 w 2226"/>
                <a:gd name="T87" fmla="*/ 70876 h 2292"/>
                <a:gd name="T88" fmla="*/ 435619 w 2226"/>
                <a:gd name="T89" fmla="*/ 89252 h 2292"/>
                <a:gd name="T90" fmla="*/ 416943 w 2226"/>
                <a:gd name="T91" fmla="*/ 98177 h 2292"/>
                <a:gd name="T92" fmla="*/ 352664 w 2226"/>
                <a:gd name="T93" fmla="*/ 92402 h 2292"/>
                <a:gd name="T94" fmla="*/ 352230 w 2226"/>
                <a:gd name="T95" fmla="*/ 35176 h 2292"/>
                <a:gd name="T96" fmla="*/ 323565 w 2226"/>
                <a:gd name="T97" fmla="*/ 0 h 2292"/>
                <a:gd name="T98" fmla="*/ 304021 w 2226"/>
                <a:gd name="T99" fmla="*/ 16275 h 2292"/>
                <a:gd name="T100" fmla="*/ 255812 w 2226"/>
                <a:gd name="T101" fmla="*/ 36751 h 2292"/>
                <a:gd name="T102" fmla="*/ 243217 w 2226"/>
                <a:gd name="T103" fmla="*/ 103952 h 2292"/>
                <a:gd name="T104" fmla="*/ 196745 w 2226"/>
                <a:gd name="T105" fmla="*/ 135453 h 2292"/>
                <a:gd name="T106" fmla="*/ 124214 w 2226"/>
                <a:gd name="T107" fmla="*/ 103427 h 2292"/>
                <a:gd name="T108" fmla="*/ 109882 w 2226"/>
                <a:gd name="T109" fmla="*/ 126003 h 2292"/>
                <a:gd name="T110" fmla="*/ 85995 w 2226"/>
                <a:gd name="T111" fmla="*/ 163278 h 2292"/>
                <a:gd name="T112" fmla="*/ 106842 w 2226"/>
                <a:gd name="T113" fmla="*/ 203704 h 2292"/>
                <a:gd name="T114" fmla="*/ 84257 w 2226"/>
                <a:gd name="T115" fmla="*/ 294006 h 2292"/>
                <a:gd name="T116" fmla="*/ 43432 w 2226"/>
                <a:gd name="T117" fmla="*/ 297681 h 2292"/>
                <a:gd name="T118" fmla="*/ 6949 w 2226"/>
                <a:gd name="T119" fmla="*/ 360682 h 2292"/>
                <a:gd name="T120" fmla="*/ 9555 w 2226"/>
                <a:gd name="T121" fmla="*/ 432609 h 2292"/>
                <a:gd name="T122" fmla="*/ 52118 w 2226"/>
                <a:gd name="T123" fmla="*/ 475135 h 2292"/>
                <a:gd name="T124" fmla="*/ 82954 w 2226"/>
                <a:gd name="T125" fmla="*/ 498235 h 22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7EEB127F-57B2-427C-A1EC-0925E33AF84B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5813425" y="2454276"/>
              <a:ext cx="69850" cy="49213"/>
            </a:xfrm>
            <a:custGeom>
              <a:avLst/>
              <a:gdLst>
                <a:gd name="T0" fmla="*/ 40782 w 161"/>
                <a:gd name="T1" fmla="*/ 0 h 93"/>
                <a:gd name="T2" fmla="*/ 46422 w 161"/>
                <a:gd name="T3" fmla="*/ 9525 h 93"/>
                <a:gd name="T4" fmla="*/ 48591 w 161"/>
                <a:gd name="T5" fmla="*/ 6350 h 93"/>
                <a:gd name="T6" fmla="*/ 50761 w 161"/>
                <a:gd name="T7" fmla="*/ 4233 h 93"/>
                <a:gd name="T8" fmla="*/ 52930 w 161"/>
                <a:gd name="T9" fmla="*/ 2646 h 93"/>
                <a:gd name="T10" fmla="*/ 55099 w 161"/>
                <a:gd name="T11" fmla="*/ 1588 h 93"/>
                <a:gd name="T12" fmla="*/ 59438 w 161"/>
                <a:gd name="T13" fmla="*/ 529 h 93"/>
                <a:gd name="T14" fmla="*/ 64210 w 161"/>
                <a:gd name="T15" fmla="*/ 0 h 93"/>
                <a:gd name="T16" fmla="*/ 65511 w 161"/>
                <a:gd name="T17" fmla="*/ 0 h 93"/>
                <a:gd name="T18" fmla="*/ 69850 w 161"/>
                <a:gd name="T19" fmla="*/ 0 h 93"/>
                <a:gd name="T20" fmla="*/ 69850 w 161"/>
                <a:gd name="T21" fmla="*/ 48684 h 93"/>
                <a:gd name="T22" fmla="*/ 67247 w 161"/>
                <a:gd name="T23" fmla="*/ 49213 h 93"/>
                <a:gd name="T24" fmla="*/ 65078 w 161"/>
                <a:gd name="T25" fmla="*/ 49213 h 93"/>
                <a:gd name="T26" fmla="*/ 62908 w 161"/>
                <a:gd name="T27" fmla="*/ 48684 h 93"/>
                <a:gd name="T28" fmla="*/ 60739 w 161"/>
                <a:gd name="T29" fmla="*/ 48155 h 93"/>
                <a:gd name="T30" fmla="*/ 55967 w 161"/>
                <a:gd name="T31" fmla="*/ 46567 h 93"/>
                <a:gd name="T32" fmla="*/ 52062 w 161"/>
                <a:gd name="T33" fmla="*/ 43392 h 93"/>
                <a:gd name="T34" fmla="*/ 48157 w 161"/>
                <a:gd name="T35" fmla="*/ 39688 h 93"/>
                <a:gd name="T36" fmla="*/ 45120 w 161"/>
                <a:gd name="T37" fmla="*/ 35455 h 93"/>
                <a:gd name="T38" fmla="*/ 42084 w 161"/>
                <a:gd name="T39" fmla="*/ 31221 h 93"/>
                <a:gd name="T40" fmla="*/ 40782 w 161"/>
                <a:gd name="T41" fmla="*/ 25929 h 93"/>
                <a:gd name="T42" fmla="*/ 39914 w 161"/>
                <a:gd name="T43" fmla="*/ 26459 h 93"/>
                <a:gd name="T44" fmla="*/ 38613 w 161"/>
                <a:gd name="T45" fmla="*/ 26988 h 93"/>
                <a:gd name="T46" fmla="*/ 37311 w 161"/>
                <a:gd name="T47" fmla="*/ 26988 h 93"/>
                <a:gd name="T48" fmla="*/ 36443 w 161"/>
                <a:gd name="T49" fmla="*/ 26988 h 93"/>
                <a:gd name="T50" fmla="*/ 33840 w 161"/>
                <a:gd name="T51" fmla="*/ 26459 h 93"/>
                <a:gd name="T52" fmla="*/ 32105 w 161"/>
                <a:gd name="T53" fmla="*/ 25929 h 93"/>
                <a:gd name="T54" fmla="*/ 28200 w 161"/>
                <a:gd name="T55" fmla="*/ 25400 h 93"/>
                <a:gd name="T56" fmla="*/ 23862 w 161"/>
                <a:gd name="T57" fmla="*/ 23813 h 93"/>
                <a:gd name="T58" fmla="*/ 19089 w 161"/>
                <a:gd name="T59" fmla="*/ 21167 h 93"/>
                <a:gd name="T60" fmla="*/ 13883 w 161"/>
                <a:gd name="T61" fmla="*/ 17992 h 93"/>
                <a:gd name="T62" fmla="*/ 9111 w 161"/>
                <a:gd name="T63" fmla="*/ 13758 h 93"/>
                <a:gd name="T64" fmla="*/ 5206 w 161"/>
                <a:gd name="T65" fmla="*/ 9525 h 93"/>
                <a:gd name="T66" fmla="*/ 3471 w 161"/>
                <a:gd name="T67" fmla="*/ 7408 h 93"/>
                <a:gd name="T68" fmla="*/ 2169 w 161"/>
                <a:gd name="T69" fmla="*/ 4763 h 93"/>
                <a:gd name="T70" fmla="*/ 1302 w 161"/>
                <a:gd name="T71" fmla="*/ 2646 h 93"/>
                <a:gd name="T72" fmla="*/ 0 w 161"/>
                <a:gd name="T73" fmla="*/ 0 h 93"/>
                <a:gd name="T74" fmla="*/ 40782 w 161"/>
                <a:gd name="T75" fmla="*/ 0 h 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B9BAF0EF-17F1-4FE8-AD4A-1EB73459DB19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5311775" y="2328864"/>
              <a:ext cx="82550" cy="160337"/>
            </a:xfrm>
            <a:custGeom>
              <a:avLst/>
              <a:gdLst>
                <a:gd name="T0" fmla="*/ 16338 w 192"/>
                <a:gd name="T1" fmla="*/ 1567 h 307"/>
                <a:gd name="T2" fmla="*/ 15908 w 192"/>
                <a:gd name="T3" fmla="*/ 0 h 307"/>
                <a:gd name="T4" fmla="*/ 24507 w 192"/>
                <a:gd name="T5" fmla="*/ 1567 h 307"/>
                <a:gd name="T6" fmla="*/ 47294 w 192"/>
                <a:gd name="T7" fmla="*/ 7312 h 307"/>
                <a:gd name="T8" fmla="*/ 66642 w 192"/>
                <a:gd name="T9" fmla="*/ 13057 h 307"/>
                <a:gd name="T10" fmla="*/ 77821 w 192"/>
                <a:gd name="T11" fmla="*/ 14624 h 307"/>
                <a:gd name="T12" fmla="*/ 82550 w 192"/>
                <a:gd name="T13" fmla="*/ 18279 h 307"/>
                <a:gd name="T14" fmla="*/ 80830 w 192"/>
                <a:gd name="T15" fmla="*/ 24547 h 307"/>
                <a:gd name="T16" fmla="*/ 75241 w 192"/>
                <a:gd name="T17" fmla="*/ 42826 h 307"/>
                <a:gd name="T18" fmla="*/ 67932 w 192"/>
                <a:gd name="T19" fmla="*/ 66328 h 307"/>
                <a:gd name="T20" fmla="*/ 63202 w 192"/>
                <a:gd name="T21" fmla="*/ 86175 h 307"/>
                <a:gd name="T22" fmla="*/ 62772 w 192"/>
                <a:gd name="T23" fmla="*/ 108110 h 307"/>
                <a:gd name="T24" fmla="*/ 61913 w 192"/>
                <a:gd name="T25" fmla="*/ 130045 h 307"/>
                <a:gd name="T26" fmla="*/ 57613 w 192"/>
                <a:gd name="T27" fmla="*/ 144669 h 307"/>
                <a:gd name="T28" fmla="*/ 45574 w 192"/>
                <a:gd name="T29" fmla="*/ 154592 h 307"/>
                <a:gd name="T30" fmla="*/ 35686 w 192"/>
                <a:gd name="T31" fmla="*/ 158248 h 307"/>
                <a:gd name="T32" fmla="*/ 30956 w 192"/>
                <a:gd name="T33" fmla="*/ 160337 h 307"/>
                <a:gd name="T34" fmla="*/ 22357 w 192"/>
                <a:gd name="T35" fmla="*/ 159292 h 307"/>
                <a:gd name="T36" fmla="*/ 13758 w 192"/>
                <a:gd name="T37" fmla="*/ 151981 h 307"/>
                <a:gd name="T38" fmla="*/ 12898 w 192"/>
                <a:gd name="T39" fmla="*/ 144669 h 307"/>
                <a:gd name="T40" fmla="*/ 9459 w 192"/>
                <a:gd name="T41" fmla="*/ 134223 h 307"/>
                <a:gd name="T42" fmla="*/ 4299 w 192"/>
                <a:gd name="T43" fmla="*/ 120644 h 307"/>
                <a:gd name="T44" fmla="*/ 860 w 192"/>
                <a:gd name="T45" fmla="*/ 110199 h 307"/>
                <a:gd name="T46" fmla="*/ 0 w 192"/>
                <a:gd name="T47" fmla="*/ 102887 h 307"/>
                <a:gd name="T48" fmla="*/ 0 w 192"/>
                <a:gd name="T49" fmla="*/ 94009 h 307"/>
                <a:gd name="T50" fmla="*/ 860 w 192"/>
                <a:gd name="T51" fmla="*/ 86175 h 307"/>
                <a:gd name="T52" fmla="*/ 4729 w 192"/>
                <a:gd name="T53" fmla="*/ 75729 h 307"/>
                <a:gd name="T54" fmla="*/ 14188 w 192"/>
                <a:gd name="T55" fmla="*/ 56927 h 307"/>
                <a:gd name="T56" fmla="*/ 20638 w 192"/>
                <a:gd name="T57" fmla="*/ 42304 h 307"/>
                <a:gd name="T58" fmla="*/ 22357 w 192"/>
                <a:gd name="T59" fmla="*/ 32381 h 307"/>
                <a:gd name="T60" fmla="*/ 22787 w 192"/>
                <a:gd name="T61" fmla="*/ 21413 h 307"/>
                <a:gd name="T62" fmla="*/ 23647 w 192"/>
                <a:gd name="T63" fmla="*/ 15668 h 307"/>
                <a:gd name="T64" fmla="*/ 24507 w 192"/>
                <a:gd name="T65" fmla="*/ 13579 h 307"/>
                <a:gd name="T66" fmla="*/ 25797 w 192"/>
                <a:gd name="T67" fmla="*/ 11490 h 307"/>
                <a:gd name="T68" fmla="*/ 18918 w 192"/>
                <a:gd name="T69" fmla="*/ 3656 h 30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012F7E4A-A46C-4838-97C3-8E24302EF6CB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5392738" y="1814514"/>
              <a:ext cx="171450" cy="269875"/>
            </a:xfrm>
            <a:custGeom>
              <a:avLst/>
              <a:gdLst>
                <a:gd name="T0" fmla="*/ 11200 w 398"/>
                <a:gd name="T1" fmla="*/ 1042 h 518"/>
                <a:gd name="T2" fmla="*/ 40924 w 398"/>
                <a:gd name="T3" fmla="*/ 6773 h 518"/>
                <a:gd name="T4" fmla="*/ 49970 w 398"/>
                <a:gd name="T5" fmla="*/ 11983 h 518"/>
                <a:gd name="T6" fmla="*/ 34462 w 398"/>
                <a:gd name="T7" fmla="*/ 24487 h 518"/>
                <a:gd name="T8" fmla="*/ 27570 w 398"/>
                <a:gd name="T9" fmla="*/ 32302 h 518"/>
                <a:gd name="T10" fmla="*/ 33170 w 398"/>
                <a:gd name="T11" fmla="*/ 35949 h 518"/>
                <a:gd name="T12" fmla="*/ 71940 w 398"/>
                <a:gd name="T13" fmla="*/ 41159 h 518"/>
                <a:gd name="T14" fmla="*/ 90464 w 398"/>
                <a:gd name="T15" fmla="*/ 56788 h 518"/>
                <a:gd name="T16" fmla="*/ 66340 w 398"/>
                <a:gd name="T17" fmla="*/ 66166 h 518"/>
                <a:gd name="T18" fmla="*/ 63324 w 398"/>
                <a:gd name="T19" fmla="*/ 71897 h 518"/>
                <a:gd name="T20" fmla="*/ 82279 w 398"/>
                <a:gd name="T21" fmla="*/ 74502 h 518"/>
                <a:gd name="T22" fmla="*/ 90894 w 398"/>
                <a:gd name="T23" fmla="*/ 81275 h 518"/>
                <a:gd name="T24" fmla="*/ 104679 w 398"/>
                <a:gd name="T25" fmla="*/ 99510 h 518"/>
                <a:gd name="T26" fmla="*/ 111141 w 398"/>
                <a:gd name="T27" fmla="*/ 110451 h 518"/>
                <a:gd name="T28" fmla="*/ 112003 w 398"/>
                <a:gd name="T29" fmla="*/ 123476 h 518"/>
                <a:gd name="T30" fmla="*/ 117172 w 398"/>
                <a:gd name="T31" fmla="*/ 132333 h 518"/>
                <a:gd name="T32" fmla="*/ 123203 w 398"/>
                <a:gd name="T33" fmla="*/ 145357 h 518"/>
                <a:gd name="T34" fmla="*/ 131818 w 398"/>
                <a:gd name="T35" fmla="*/ 154735 h 518"/>
                <a:gd name="T36" fmla="*/ 140865 w 398"/>
                <a:gd name="T37" fmla="*/ 166718 h 518"/>
                <a:gd name="T38" fmla="*/ 149049 w 398"/>
                <a:gd name="T39" fmla="*/ 175575 h 518"/>
                <a:gd name="T40" fmla="*/ 159388 w 398"/>
                <a:gd name="T41" fmla="*/ 177659 h 518"/>
                <a:gd name="T42" fmla="*/ 170588 w 398"/>
                <a:gd name="T43" fmla="*/ 190163 h 518"/>
                <a:gd name="T44" fmla="*/ 170158 w 398"/>
                <a:gd name="T45" fmla="*/ 205793 h 518"/>
                <a:gd name="T46" fmla="*/ 164558 w 398"/>
                <a:gd name="T47" fmla="*/ 210482 h 518"/>
                <a:gd name="T48" fmla="*/ 158096 w 398"/>
                <a:gd name="T49" fmla="*/ 216213 h 518"/>
                <a:gd name="T50" fmla="*/ 158527 w 398"/>
                <a:gd name="T51" fmla="*/ 221944 h 518"/>
                <a:gd name="T52" fmla="*/ 161973 w 398"/>
                <a:gd name="T53" fmla="*/ 230800 h 518"/>
                <a:gd name="T54" fmla="*/ 154650 w 398"/>
                <a:gd name="T55" fmla="*/ 241220 h 518"/>
                <a:gd name="T56" fmla="*/ 62894 w 398"/>
                <a:gd name="T57" fmla="*/ 260497 h 518"/>
                <a:gd name="T58" fmla="*/ 29293 w 398"/>
                <a:gd name="T59" fmla="*/ 264665 h 518"/>
                <a:gd name="T60" fmla="*/ 22831 w 398"/>
                <a:gd name="T61" fmla="*/ 269875 h 518"/>
                <a:gd name="T62" fmla="*/ 24985 w 398"/>
                <a:gd name="T63" fmla="*/ 256850 h 518"/>
                <a:gd name="T64" fmla="*/ 30585 w 398"/>
                <a:gd name="T65" fmla="*/ 247993 h 518"/>
                <a:gd name="T66" fmla="*/ 49109 w 398"/>
                <a:gd name="T67" fmla="*/ 238615 h 518"/>
                <a:gd name="T68" fmla="*/ 74094 w 398"/>
                <a:gd name="T69" fmla="*/ 228716 h 518"/>
                <a:gd name="T70" fmla="*/ 77109 w 398"/>
                <a:gd name="T71" fmla="*/ 221944 h 518"/>
                <a:gd name="T72" fmla="*/ 73663 w 398"/>
                <a:gd name="T73" fmla="*/ 226111 h 518"/>
                <a:gd name="T74" fmla="*/ 47816 w 398"/>
                <a:gd name="T75" fmla="*/ 225069 h 518"/>
                <a:gd name="T76" fmla="*/ 32739 w 398"/>
                <a:gd name="T77" fmla="*/ 218818 h 518"/>
                <a:gd name="T78" fmla="*/ 33170 w 398"/>
                <a:gd name="T79" fmla="*/ 209440 h 518"/>
                <a:gd name="T80" fmla="*/ 40924 w 398"/>
                <a:gd name="T81" fmla="*/ 203709 h 518"/>
                <a:gd name="T82" fmla="*/ 37478 w 398"/>
                <a:gd name="T83" fmla="*/ 183390 h 518"/>
                <a:gd name="T84" fmla="*/ 45232 w 398"/>
                <a:gd name="T85" fmla="*/ 171407 h 518"/>
                <a:gd name="T86" fmla="*/ 66340 w 398"/>
                <a:gd name="T87" fmla="*/ 160987 h 518"/>
                <a:gd name="T88" fmla="*/ 74094 w 398"/>
                <a:gd name="T89" fmla="*/ 151609 h 518"/>
                <a:gd name="T90" fmla="*/ 63755 w 398"/>
                <a:gd name="T91" fmla="*/ 141189 h 518"/>
                <a:gd name="T92" fmla="*/ 59878 w 398"/>
                <a:gd name="T93" fmla="*/ 128686 h 518"/>
                <a:gd name="T94" fmla="*/ 40493 w 398"/>
                <a:gd name="T95" fmla="*/ 124518 h 518"/>
                <a:gd name="T96" fmla="*/ 34462 w 398"/>
                <a:gd name="T97" fmla="*/ 112535 h 518"/>
                <a:gd name="T98" fmla="*/ 38770 w 398"/>
                <a:gd name="T99" fmla="*/ 100031 h 518"/>
                <a:gd name="T100" fmla="*/ 43078 w 398"/>
                <a:gd name="T101" fmla="*/ 87527 h 518"/>
                <a:gd name="T102" fmla="*/ 31447 w 398"/>
                <a:gd name="T103" fmla="*/ 96905 h 518"/>
                <a:gd name="T104" fmla="*/ 9477 w 398"/>
                <a:gd name="T105" fmla="*/ 84401 h 518"/>
                <a:gd name="T106" fmla="*/ 8616 w 398"/>
                <a:gd name="T107" fmla="*/ 73981 h 518"/>
                <a:gd name="T108" fmla="*/ 6031 w 398"/>
                <a:gd name="T109" fmla="*/ 68250 h 518"/>
                <a:gd name="T110" fmla="*/ 8616 w 398"/>
                <a:gd name="T111" fmla="*/ 32823 h 518"/>
                <a:gd name="T112" fmla="*/ 8185 w 398"/>
                <a:gd name="T113" fmla="*/ 25529 h 518"/>
                <a:gd name="T114" fmla="*/ 1723 w 398"/>
                <a:gd name="T115" fmla="*/ 20840 h 518"/>
                <a:gd name="T116" fmla="*/ 8616 w 398"/>
                <a:gd name="T117" fmla="*/ 9899 h 518"/>
                <a:gd name="T118" fmla="*/ 1292 w 398"/>
                <a:gd name="T119" fmla="*/ 4689 h 5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2" name="Freeform 13">
              <a:extLst>
                <a:ext uri="{FF2B5EF4-FFF2-40B4-BE49-F238E27FC236}">
                  <a16:creationId xmlns:a16="http://schemas.microsoft.com/office/drawing/2014/main" id="{D1ED9225-4816-43A0-9723-0518F5E35EF6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5751513" y="2117725"/>
              <a:ext cx="169862" cy="76200"/>
            </a:xfrm>
            <a:custGeom>
              <a:avLst/>
              <a:gdLst>
                <a:gd name="T0" fmla="*/ 84486 w 382"/>
                <a:gd name="T1" fmla="*/ 10812 h 148"/>
                <a:gd name="T2" fmla="*/ 78706 w 382"/>
                <a:gd name="T3" fmla="*/ 15961 h 148"/>
                <a:gd name="T4" fmla="*/ 77372 w 382"/>
                <a:gd name="T5" fmla="*/ 23169 h 148"/>
                <a:gd name="T6" fmla="*/ 74704 w 382"/>
                <a:gd name="T7" fmla="*/ 27288 h 148"/>
                <a:gd name="T8" fmla="*/ 73814 w 382"/>
                <a:gd name="T9" fmla="*/ 31407 h 148"/>
                <a:gd name="T10" fmla="*/ 78706 w 382"/>
                <a:gd name="T11" fmla="*/ 38100 h 148"/>
                <a:gd name="T12" fmla="*/ 68923 w 382"/>
                <a:gd name="T13" fmla="*/ 44278 h 148"/>
                <a:gd name="T14" fmla="*/ 48024 w 382"/>
                <a:gd name="T15" fmla="*/ 49427 h 148"/>
                <a:gd name="T16" fmla="*/ 34239 w 382"/>
                <a:gd name="T17" fmla="*/ 49942 h 148"/>
                <a:gd name="T18" fmla="*/ 23123 w 382"/>
                <a:gd name="T19" fmla="*/ 48912 h 148"/>
                <a:gd name="T20" fmla="*/ 1779 w 382"/>
                <a:gd name="T21" fmla="*/ 57150 h 148"/>
                <a:gd name="T22" fmla="*/ 0 w 382"/>
                <a:gd name="T23" fmla="*/ 66418 h 148"/>
                <a:gd name="T24" fmla="*/ 1779 w 382"/>
                <a:gd name="T25" fmla="*/ 67447 h 148"/>
                <a:gd name="T26" fmla="*/ 5336 w 382"/>
                <a:gd name="T27" fmla="*/ 67447 h 148"/>
                <a:gd name="T28" fmla="*/ 22678 w 382"/>
                <a:gd name="T29" fmla="*/ 66418 h 148"/>
                <a:gd name="T30" fmla="*/ 50692 w 382"/>
                <a:gd name="T31" fmla="*/ 65388 h 148"/>
                <a:gd name="T32" fmla="*/ 54694 w 382"/>
                <a:gd name="T33" fmla="*/ 68992 h 148"/>
                <a:gd name="T34" fmla="*/ 60919 w 382"/>
                <a:gd name="T35" fmla="*/ 72596 h 148"/>
                <a:gd name="T36" fmla="*/ 70702 w 382"/>
                <a:gd name="T37" fmla="*/ 75685 h 148"/>
                <a:gd name="T38" fmla="*/ 82263 w 382"/>
                <a:gd name="T39" fmla="*/ 76200 h 148"/>
                <a:gd name="T40" fmla="*/ 93380 w 382"/>
                <a:gd name="T41" fmla="*/ 76200 h 148"/>
                <a:gd name="T42" fmla="*/ 103607 w 382"/>
                <a:gd name="T43" fmla="*/ 76200 h 148"/>
                <a:gd name="T44" fmla="*/ 113390 w 382"/>
                <a:gd name="T45" fmla="*/ 76200 h 148"/>
                <a:gd name="T46" fmla="*/ 122283 w 382"/>
                <a:gd name="T47" fmla="*/ 73626 h 148"/>
                <a:gd name="T48" fmla="*/ 133844 w 382"/>
                <a:gd name="T49" fmla="*/ 68992 h 148"/>
                <a:gd name="T50" fmla="*/ 148518 w 382"/>
                <a:gd name="T51" fmla="*/ 62299 h 148"/>
                <a:gd name="T52" fmla="*/ 156967 w 382"/>
                <a:gd name="T53" fmla="*/ 53031 h 148"/>
                <a:gd name="T54" fmla="*/ 165415 w 382"/>
                <a:gd name="T55" fmla="*/ 37070 h 148"/>
                <a:gd name="T56" fmla="*/ 167194 w 382"/>
                <a:gd name="T57" fmla="*/ 26773 h 148"/>
                <a:gd name="T58" fmla="*/ 161413 w 382"/>
                <a:gd name="T59" fmla="*/ 22654 h 148"/>
                <a:gd name="T60" fmla="*/ 158745 w 382"/>
                <a:gd name="T61" fmla="*/ 16476 h 148"/>
                <a:gd name="T62" fmla="*/ 154299 w 382"/>
                <a:gd name="T63" fmla="*/ 11327 h 148"/>
                <a:gd name="T64" fmla="*/ 148518 w 382"/>
                <a:gd name="T65" fmla="*/ 8753 h 148"/>
                <a:gd name="T66" fmla="*/ 141848 w 382"/>
                <a:gd name="T67" fmla="*/ 4119 h 148"/>
                <a:gd name="T68" fmla="*/ 90267 w 382"/>
                <a:gd name="T69" fmla="*/ 9268 h 14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2DAEDFCA-4A77-4D74-94FA-1C2A53FAE6FE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7243763" y="1966914"/>
              <a:ext cx="1281112" cy="1038225"/>
            </a:xfrm>
            <a:custGeom>
              <a:avLst/>
              <a:gdLst>
                <a:gd name="T0" fmla="*/ 162757 w 2936"/>
                <a:gd name="T1" fmla="*/ 560736 h 1983"/>
                <a:gd name="T2" fmla="*/ 167993 w 2936"/>
                <a:gd name="T3" fmla="*/ 618851 h 1983"/>
                <a:gd name="T4" fmla="*/ 208573 w 2936"/>
                <a:gd name="T5" fmla="*/ 710998 h 1983"/>
                <a:gd name="T6" fmla="*/ 335114 w 2936"/>
                <a:gd name="T7" fmla="*/ 781156 h 1983"/>
                <a:gd name="T8" fmla="*/ 452055 w 2936"/>
                <a:gd name="T9" fmla="*/ 812569 h 1983"/>
                <a:gd name="T10" fmla="*/ 490453 w 2936"/>
                <a:gd name="T11" fmla="*/ 800527 h 1983"/>
                <a:gd name="T12" fmla="*/ 611321 w 2936"/>
                <a:gd name="T13" fmla="*/ 758119 h 1983"/>
                <a:gd name="T14" fmla="*/ 675027 w 2936"/>
                <a:gd name="T15" fmla="*/ 807334 h 1983"/>
                <a:gd name="T16" fmla="*/ 688118 w 2936"/>
                <a:gd name="T17" fmla="*/ 888486 h 1983"/>
                <a:gd name="T18" fmla="*/ 701208 w 2936"/>
                <a:gd name="T19" fmla="*/ 928277 h 1983"/>
                <a:gd name="T20" fmla="*/ 744406 w 2936"/>
                <a:gd name="T21" fmla="*/ 1001052 h 1983"/>
                <a:gd name="T22" fmla="*/ 803749 w 2936"/>
                <a:gd name="T23" fmla="*/ 973303 h 1983"/>
                <a:gd name="T24" fmla="*/ 904109 w 2936"/>
                <a:gd name="T25" fmla="*/ 970685 h 1983"/>
                <a:gd name="T26" fmla="*/ 988324 w 2936"/>
                <a:gd name="T27" fmla="*/ 1038225 h 1983"/>
                <a:gd name="T28" fmla="*/ 1028468 w 2936"/>
                <a:gd name="T29" fmla="*/ 1000005 h 1983"/>
                <a:gd name="T30" fmla="*/ 1072102 w 2936"/>
                <a:gd name="T31" fmla="*/ 976968 h 1983"/>
                <a:gd name="T32" fmla="*/ 1110937 w 2936"/>
                <a:gd name="T33" fmla="*/ 956026 h 1983"/>
                <a:gd name="T34" fmla="*/ 1170716 w 2936"/>
                <a:gd name="T35" fmla="*/ 906811 h 1983"/>
                <a:gd name="T36" fmla="*/ 1186425 w 2936"/>
                <a:gd name="T37" fmla="*/ 846077 h 1983"/>
                <a:gd name="T38" fmla="*/ 1219151 w 2936"/>
                <a:gd name="T39" fmla="*/ 743459 h 1983"/>
                <a:gd name="T40" fmla="*/ 1180316 w 2936"/>
                <a:gd name="T41" fmla="*/ 719899 h 1983"/>
                <a:gd name="T42" fmla="*/ 1151954 w 2936"/>
                <a:gd name="T43" fmla="*/ 666495 h 1983"/>
                <a:gd name="T44" fmla="*/ 1164608 w 2936"/>
                <a:gd name="T45" fmla="*/ 642412 h 1983"/>
                <a:gd name="T46" fmla="*/ 1104828 w 2936"/>
                <a:gd name="T47" fmla="*/ 555500 h 1983"/>
                <a:gd name="T48" fmla="*/ 1127082 w 2936"/>
                <a:gd name="T49" fmla="*/ 519898 h 1983"/>
                <a:gd name="T50" fmla="*/ 1070357 w 2936"/>
                <a:gd name="T51" fmla="*/ 503667 h 1983"/>
                <a:gd name="T52" fmla="*/ 1017995 w 2936"/>
                <a:gd name="T53" fmla="*/ 464400 h 1983"/>
                <a:gd name="T54" fmla="*/ 1033267 w 2936"/>
                <a:gd name="T55" fmla="*/ 437698 h 1983"/>
                <a:gd name="T56" fmla="*/ 1065993 w 2936"/>
                <a:gd name="T57" fmla="*/ 395813 h 1983"/>
                <a:gd name="T58" fmla="*/ 1089120 w 2936"/>
                <a:gd name="T59" fmla="*/ 408379 h 1983"/>
                <a:gd name="T60" fmla="*/ 1104828 w 2936"/>
                <a:gd name="T61" fmla="*/ 446599 h 1983"/>
                <a:gd name="T62" fmla="*/ 1173335 w 2936"/>
                <a:gd name="T63" fmla="*/ 399478 h 1983"/>
                <a:gd name="T64" fmla="*/ 1233987 w 2936"/>
                <a:gd name="T65" fmla="*/ 352358 h 1983"/>
                <a:gd name="T66" fmla="*/ 1259295 w 2936"/>
                <a:gd name="T67" fmla="*/ 295289 h 1983"/>
                <a:gd name="T68" fmla="*/ 1277621 w 2936"/>
                <a:gd name="T69" fmla="*/ 258640 h 1983"/>
                <a:gd name="T70" fmla="*/ 1262349 w 2936"/>
                <a:gd name="T71" fmla="*/ 160734 h 1983"/>
                <a:gd name="T72" fmla="*/ 1187734 w 2936"/>
                <a:gd name="T73" fmla="*/ 178535 h 1983"/>
                <a:gd name="T74" fmla="*/ 1073848 w 2936"/>
                <a:gd name="T75" fmla="*/ 107330 h 1983"/>
                <a:gd name="T76" fmla="*/ 1003596 w 2936"/>
                <a:gd name="T77" fmla="*/ 46597 h 1983"/>
                <a:gd name="T78" fmla="*/ 863965 w 2936"/>
                <a:gd name="T79" fmla="*/ 27749 h 1983"/>
                <a:gd name="T80" fmla="*/ 875747 w 2936"/>
                <a:gd name="T81" fmla="*/ 81152 h 1983"/>
                <a:gd name="T82" fmla="*/ 851747 w 2936"/>
                <a:gd name="T83" fmla="*/ 118849 h 1983"/>
                <a:gd name="T84" fmla="*/ 883601 w 2936"/>
                <a:gd name="T85" fmla="*/ 183247 h 1983"/>
                <a:gd name="T86" fmla="*/ 936399 w 2936"/>
                <a:gd name="T87" fmla="*/ 193718 h 1983"/>
                <a:gd name="T88" fmla="*/ 890582 w 2936"/>
                <a:gd name="T89" fmla="*/ 238221 h 1983"/>
                <a:gd name="T90" fmla="*/ 825130 w 2936"/>
                <a:gd name="T91" fmla="*/ 298431 h 1983"/>
                <a:gd name="T92" fmla="*/ 711244 w 2936"/>
                <a:gd name="T93" fmla="*/ 373300 h 1983"/>
                <a:gd name="T94" fmla="*/ 535833 w 2936"/>
                <a:gd name="T95" fmla="*/ 345028 h 1983"/>
                <a:gd name="T96" fmla="*/ 452055 w 2936"/>
                <a:gd name="T97" fmla="*/ 293195 h 1983"/>
                <a:gd name="T98" fmla="*/ 328132 w 2936"/>
                <a:gd name="T99" fmla="*/ 259164 h 1983"/>
                <a:gd name="T100" fmla="*/ 299333 w 2936"/>
                <a:gd name="T101" fmla="*/ 198430 h 1983"/>
                <a:gd name="T102" fmla="*/ 223409 w 2936"/>
                <a:gd name="T103" fmla="*/ 156545 h 1983"/>
                <a:gd name="T104" fmla="*/ 187629 w 2936"/>
                <a:gd name="T105" fmla="*/ 162828 h 1983"/>
                <a:gd name="T106" fmla="*/ 184574 w 2936"/>
                <a:gd name="T107" fmla="*/ 203142 h 1983"/>
                <a:gd name="T108" fmla="*/ 133086 w 2936"/>
                <a:gd name="T109" fmla="*/ 200001 h 1983"/>
                <a:gd name="T110" fmla="*/ 99051 w 2936"/>
                <a:gd name="T111" fmla="*/ 265446 h 1983"/>
                <a:gd name="T112" fmla="*/ 113450 w 2936"/>
                <a:gd name="T113" fmla="*/ 311520 h 1983"/>
                <a:gd name="T114" fmla="*/ 109959 w 2936"/>
                <a:gd name="T115" fmla="*/ 374871 h 1983"/>
                <a:gd name="T116" fmla="*/ 51489 w 2936"/>
                <a:gd name="T117" fmla="*/ 408903 h 1983"/>
                <a:gd name="T118" fmla="*/ 17454 w 2936"/>
                <a:gd name="T119" fmla="*/ 468065 h 198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BC61D9AD-CD3B-4626-A6A1-2D39214B0F1D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5935663" y="1508125"/>
              <a:ext cx="220662" cy="273050"/>
            </a:xfrm>
            <a:custGeom>
              <a:avLst/>
              <a:gdLst>
                <a:gd name="T0" fmla="*/ 151048 w 504"/>
                <a:gd name="T1" fmla="*/ 256896 h 524"/>
                <a:gd name="T2" fmla="*/ 112082 w 504"/>
                <a:gd name="T3" fmla="*/ 263149 h 524"/>
                <a:gd name="T4" fmla="*/ 102888 w 504"/>
                <a:gd name="T5" fmla="*/ 269402 h 524"/>
                <a:gd name="T6" fmla="*/ 91943 w 504"/>
                <a:gd name="T7" fmla="*/ 272008 h 524"/>
                <a:gd name="T8" fmla="*/ 67862 w 504"/>
                <a:gd name="T9" fmla="*/ 273050 h 524"/>
                <a:gd name="T10" fmla="*/ 46409 w 504"/>
                <a:gd name="T11" fmla="*/ 272008 h 524"/>
                <a:gd name="T12" fmla="*/ 41155 w 504"/>
                <a:gd name="T13" fmla="*/ 268881 h 524"/>
                <a:gd name="T14" fmla="*/ 31085 w 504"/>
                <a:gd name="T15" fmla="*/ 265234 h 524"/>
                <a:gd name="T16" fmla="*/ 15762 w 504"/>
                <a:gd name="T17" fmla="*/ 258460 h 524"/>
                <a:gd name="T18" fmla="*/ 9632 w 504"/>
                <a:gd name="T19" fmla="*/ 253249 h 524"/>
                <a:gd name="T20" fmla="*/ 8756 w 504"/>
                <a:gd name="T21" fmla="*/ 248559 h 524"/>
                <a:gd name="T22" fmla="*/ 11821 w 504"/>
                <a:gd name="T23" fmla="*/ 241264 h 524"/>
                <a:gd name="T24" fmla="*/ 14010 w 504"/>
                <a:gd name="T25" fmla="*/ 231884 h 524"/>
                <a:gd name="T26" fmla="*/ 12259 w 504"/>
                <a:gd name="T27" fmla="*/ 225110 h 524"/>
                <a:gd name="T28" fmla="*/ 4378 w 504"/>
                <a:gd name="T29" fmla="*/ 217294 h 524"/>
                <a:gd name="T30" fmla="*/ 438 w 504"/>
                <a:gd name="T31" fmla="*/ 212083 h 524"/>
                <a:gd name="T32" fmla="*/ 438 w 504"/>
                <a:gd name="T33" fmla="*/ 203745 h 524"/>
                <a:gd name="T34" fmla="*/ 7443 w 504"/>
                <a:gd name="T35" fmla="*/ 187592 h 524"/>
                <a:gd name="T36" fmla="*/ 21015 w 504"/>
                <a:gd name="T37" fmla="*/ 170917 h 524"/>
                <a:gd name="T38" fmla="*/ 37653 w 504"/>
                <a:gd name="T39" fmla="*/ 155805 h 524"/>
                <a:gd name="T40" fmla="*/ 54290 w 504"/>
                <a:gd name="T41" fmla="*/ 145383 h 524"/>
                <a:gd name="T42" fmla="*/ 70051 w 504"/>
                <a:gd name="T43" fmla="*/ 141736 h 524"/>
                <a:gd name="T44" fmla="*/ 67862 w 504"/>
                <a:gd name="T45" fmla="*/ 137567 h 524"/>
                <a:gd name="T46" fmla="*/ 62171 w 504"/>
                <a:gd name="T47" fmla="*/ 134962 h 524"/>
                <a:gd name="T48" fmla="*/ 58230 w 504"/>
                <a:gd name="T49" fmla="*/ 130793 h 524"/>
                <a:gd name="T50" fmla="*/ 55603 w 504"/>
                <a:gd name="T51" fmla="*/ 119329 h 524"/>
                <a:gd name="T52" fmla="*/ 54290 w 504"/>
                <a:gd name="T53" fmla="*/ 101612 h 524"/>
                <a:gd name="T54" fmla="*/ 50349 w 504"/>
                <a:gd name="T55" fmla="*/ 83895 h 524"/>
                <a:gd name="T56" fmla="*/ 43782 w 504"/>
                <a:gd name="T57" fmla="*/ 69826 h 524"/>
                <a:gd name="T58" fmla="*/ 29772 w 504"/>
                <a:gd name="T59" fmla="*/ 46898 h 524"/>
                <a:gd name="T60" fmla="*/ 37653 w 504"/>
                <a:gd name="T61" fmla="*/ 31265 h 524"/>
                <a:gd name="T62" fmla="*/ 46409 w 504"/>
                <a:gd name="T63" fmla="*/ 29181 h 524"/>
                <a:gd name="T64" fmla="*/ 56917 w 504"/>
                <a:gd name="T65" fmla="*/ 30223 h 524"/>
                <a:gd name="T66" fmla="*/ 60857 w 504"/>
                <a:gd name="T67" fmla="*/ 31786 h 524"/>
                <a:gd name="T68" fmla="*/ 70051 w 504"/>
                <a:gd name="T69" fmla="*/ 29181 h 524"/>
                <a:gd name="T70" fmla="*/ 71803 w 504"/>
                <a:gd name="T71" fmla="*/ 17196 h 524"/>
                <a:gd name="T72" fmla="*/ 74867 w 504"/>
                <a:gd name="T73" fmla="*/ 6774 h 524"/>
                <a:gd name="T74" fmla="*/ 81873 w 504"/>
                <a:gd name="T75" fmla="*/ 0 h 524"/>
                <a:gd name="T76" fmla="*/ 98510 w 504"/>
                <a:gd name="T77" fmla="*/ 0 h 524"/>
                <a:gd name="T78" fmla="*/ 111207 w 504"/>
                <a:gd name="T79" fmla="*/ 4169 h 524"/>
                <a:gd name="T80" fmla="*/ 122590 w 504"/>
                <a:gd name="T81" fmla="*/ 10943 h 524"/>
                <a:gd name="T82" fmla="*/ 122152 w 504"/>
                <a:gd name="T83" fmla="*/ 32307 h 524"/>
                <a:gd name="T84" fmla="*/ 127844 w 504"/>
                <a:gd name="T85" fmla="*/ 40124 h 524"/>
                <a:gd name="T86" fmla="*/ 139665 w 504"/>
                <a:gd name="T87" fmla="*/ 48982 h 524"/>
                <a:gd name="T88" fmla="*/ 155864 w 504"/>
                <a:gd name="T89" fmla="*/ 62009 h 524"/>
                <a:gd name="T90" fmla="*/ 151486 w 504"/>
                <a:gd name="T91" fmla="*/ 70347 h 524"/>
                <a:gd name="T92" fmla="*/ 148859 w 504"/>
                <a:gd name="T93" fmla="*/ 79726 h 524"/>
                <a:gd name="T94" fmla="*/ 150611 w 504"/>
                <a:gd name="T95" fmla="*/ 91711 h 524"/>
                <a:gd name="T96" fmla="*/ 158929 w 504"/>
                <a:gd name="T97" fmla="*/ 104218 h 524"/>
                <a:gd name="T98" fmla="*/ 165497 w 504"/>
                <a:gd name="T99" fmla="*/ 109428 h 524"/>
                <a:gd name="T100" fmla="*/ 168999 w 504"/>
                <a:gd name="T101" fmla="*/ 133398 h 524"/>
                <a:gd name="T102" fmla="*/ 176880 w 504"/>
                <a:gd name="T103" fmla="*/ 150594 h 524"/>
                <a:gd name="T104" fmla="*/ 189139 w 504"/>
                <a:gd name="T105" fmla="*/ 164143 h 524"/>
                <a:gd name="T106" fmla="*/ 202711 w 504"/>
                <a:gd name="T107" fmla="*/ 174564 h 524"/>
                <a:gd name="T108" fmla="*/ 204025 w 504"/>
                <a:gd name="T109" fmla="*/ 203224 h 524"/>
                <a:gd name="T110" fmla="*/ 173815 w 504"/>
                <a:gd name="T111" fmla="*/ 238137 h 5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5E82B705-1F7D-4C52-A193-A3C2DE267042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5672138" y="1925639"/>
              <a:ext cx="182562" cy="238125"/>
            </a:xfrm>
            <a:custGeom>
              <a:avLst/>
              <a:gdLst>
                <a:gd name="T0" fmla="*/ 177560 w 438"/>
                <a:gd name="T1" fmla="*/ 100319 h 451"/>
                <a:gd name="T2" fmla="*/ 170058 w 438"/>
                <a:gd name="T3" fmla="*/ 67583 h 451"/>
                <a:gd name="T4" fmla="*/ 161305 w 438"/>
                <a:gd name="T5" fmla="*/ 44879 h 451"/>
                <a:gd name="T6" fmla="*/ 152969 w 438"/>
                <a:gd name="T7" fmla="*/ 32736 h 451"/>
                <a:gd name="T8" fmla="*/ 148384 w 438"/>
                <a:gd name="T9" fmla="*/ 30624 h 451"/>
                <a:gd name="T10" fmla="*/ 139631 w 438"/>
                <a:gd name="T11" fmla="*/ 23760 h 451"/>
                <a:gd name="T12" fmla="*/ 130878 w 438"/>
                <a:gd name="T13" fmla="*/ 20064 h 451"/>
                <a:gd name="T14" fmla="*/ 122125 w 438"/>
                <a:gd name="T15" fmla="*/ 20064 h 451"/>
                <a:gd name="T16" fmla="*/ 115039 w 438"/>
                <a:gd name="T17" fmla="*/ 22176 h 451"/>
                <a:gd name="T18" fmla="*/ 104619 w 438"/>
                <a:gd name="T19" fmla="*/ 30624 h 451"/>
                <a:gd name="T20" fmla="*/ 97950 w 438"/>
                <a:gd name="T21" fmla="*/ 35376 h 451"/>
                <a:gd name="T22" fmla="*/ 90447 w 438"/>
                <a:gd name="T23" fmla="*/ 34848 h 451"/>
                <a:gd name="T24" fmla="*/ 72525 w 438"/>
                <a:gd name="T25" fmla="*/ 19536 h 451"/>
                <a:gd name="T26" fmla="*/ 47099 w 438"/>
                <a:gd name="T27" fmla="*/ 0 h 451"/>
                <a:gd name="T28" fmla="*/ 39597 w 438"/>
                <a:gd name="T29" fmla="*/ 12144 h 451"/>
                <a:gd name="T30" fmla="*/ 38763 w 438"/>
                <a:gd name="T31" fmla="*/ 22704 h 451"/>
                <a:gd name="T32" fmla="*/ 40847 w 438"/>
                <a:gd name="T33" fmla="*/ 27456 h 451"/>
                <a:gd name="T34" fmla="*/ 49600 w 438"/>
                <a:gd name="T35" fmla="*/ 36432 h 451"/>
                <a:gd name="T36" fmla="*/ 41264 w 438"/>
                <a:gd name="T37" fmla="*/ 38544 h 451"/>
                <a:gd name="T38" fmla="*/ 27509 w 438"/>
                <a:gd name="T39" fmla="*/ 49103 h 451"/>
                <a:gd name="T40" fmla="*/ 24175 w 438"/>
                <a:gd name="T41" fmla="*/ 62831 h 451"/>
                <a:gd name="T42" fmla="*/ 18756 w 438"/>
                <a:gd name="T43" fmla="*/ 72863 h 451"/>
                <a:gd name="T44" fmla="*/ 14588 w 438"/>
                <a:gd name="T45" fmla="*/ 82367 h 451"/>
                <a:gd name="T46" fmla="*/ 13755 w 438"/>
                <a:gd name="T47" fmla="*/ 94511 h 451"/>
                <a:gd name="T48" fmla="*/ 2918 w 438"/>
                <a:gd name="T49" fmla="*/ 125662 h 451"/>
                <a:gd name="T50" fmla="*/ 6252 w 438"/>
                <a:gd name="T51" fmla="*/ 129886 h 451"/>
                <a:gd name="T52" fmla="*/ 10837 w 438"/>
                <a:gd name="T53" fmla="*/ 130414 h 451"/>
                <a:gd name="T54" fmla="*/ 13755 w 438"/>
                <a:gd name="T55" fmla="*/ 182686 h 451"/>
                <a:gd name="T56" fmla="*/ 38763 w 438"/>
                <a:gd name="T57" fmla="*/ 186382 h 451"/>
                <a:gd name="T58" fmla="*/ 43348 w 438"/>
                <a:gd name="T59" fmla="*/ 198525 h 451"/>
                <a:gd name="T60" fmla="*/ 37096 w 438"/>
                <a:gd name="T61" fmla="*/ 224397 h 451"/>
                <a:gd name="T62" fmla="*/ 45432 w 438"/>
                <a:gd name="T63" fmla="*/ 236013 h 451"/>
                <a:gd name="T64" fmla="*/ 63355 w 438"/>
                <a:gd name="T65" fmla="*/ 236013 h 451"/>
                <a:gd name="T66" fmla="*/ 85446 w 438"/>
                <a:gd name="T67" fmla="*/ 234429 h 451"/>
                <a:gd name="T68" fmla="*/ 115039 w 438"/>
                <a:gd name="T69" fmla="*/ 235485 h 451"/>
                <a:gd name="T70" fmla="*/ 142965 w 438"/>
                <a:gd name="T71" fmla="*/ 233373 h 451"/>
                <a:gd name="T72" fmla="*/ 155053 w 438"/>
                <a:gd name="T73" fmla="*/ 228093 h 451"/>
                <a:gd name="T74" fmla="*/ 149634 w 438"/>
                <a:gd name="T75" fmla="*/ 218061 h 451"/>
                <a:gd name="T76" fmla="*/ 153802 w 438"/>
                <a:gd name="T77" fmla="*/ 212781 h 451"/>
                <a:gd name="T78" fmla="*/ 155053 w 438"/>
                <a:gd name="T79" fmla="*/ 201693 h 451"/>
                <a:gd name="T80" fmla="*/ 158387 w 438"/>
                <a:gd name="T81" fmla="*/ 193774 h 451"/>
                <a:gd name="T82" fmla="*/ 142965 w 438"/>
                <a:gd name="T83" fmla="*/ 181630 h 451"/>
                <a:gd name="T84" fmla="*/ 135463 w 438"/>
                <a:gd name="T85" fmla="*/ 170542 h 451"/>
                <a:gd name="T86" fmla="*/ 129627 w 438"/>
                <a:gd name="T87" fmla="*/ 155230 h 451"/>
                <a:gd name="T88" fmla="*/ 122542 w 438"/>
                <a:gd name="T89" fmla="*/ 146254 h 451"/>
                <a:gd name="T90" fmla="*/ 130878 w 438"/>
                <a:gd name="T91" fmla="*/ 145198 h 451"/>
                <a:gd name="T92" fmla="*/ 144216 w 438"/>
                <a:gd name="T93" fmla="*/ 143086 h 451"/>
                <a:gd name="T94" fmla="*/ 153802 w 438"/>
                <a:gd name="T95" fmla="*/ 137278 h 451"/>
                <a:gd name="T96" fmla="*/ 169641 w 438"/>
                <a:gd name="T97" fmla="*/ 126718 h 451"/>
                <a:gd name="T98" fmla="*/ 182562 w 438"/>
                <a:gd name="T99" fmla="*/ 124078 h 45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C384211C-902B-4FB8-8772-9F0D6D021E58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5697539" y="2182814"/>
              <a:ext cx="250825" cy="274637"/>
            </a:xfrm>
            <a:custGeom>
              <a:avLst/>
              <a:gdLst>
                <a:gd name="T0" fmla="*/ 141903 w 578"/>
                <a:gd name="T1" fmla="*/ 46122 h 524"/>
                <a:gd name="T2" fmla="*/ 135393 w 578"/>
                <a:gd name="T3" fmla="*/ 44550 h 524"/>
                <a:gd name="T4" fmla="*/ 130620 w 578"/>
                <a:gd name="T5" fmla="*/ 41405 h 524"/>
                <a:gd name="T6" fmla="*/ 119337 w 578"/>
                <a:gd name="T7" fmla="*/ 34592 h 524"/>
                <a:gd name="T8" fmla="*/ 108922 w 578"/>
                <a:gd name="T9" fmla="*/ 40881 h 524"/>
                <a:gd name="T10" fmla="*/ 106753 w 578"/>
                <a:gd name="T11" fmla="*/ 55032 h 524"/>
                <a:gd name="T12" fmla="*/ 109790 w 578"/>
                <a:gd name="T13" fmla="*/ 80190 h 524"/>
                <a:gd name="T14" fmla="*/ 117167 w 578"/>
                <a:gd name="T15" fmla="*/ 90148 h 524"/>
                <a:gd name="T16" fmla="*/ 124545 w 578"/>
                <a:gd name="T17" fmla="*/ 93293 h 524"/>
                <a:gd name="T18" fmla="*/ 129318 w 578"/>
                <a:gd name="T19" fmla="*/ 100106 h 524"/>
                <a:gd name="T20" fmla="*/ 152318 w 578"/>
                <a:gd name="T21" fmla="*/ 117926 h 524"/>
                <a:gd name="T22" fmla="*/ 194845 w 578"/>
                <a:gd name="T23" fmla="*/ 161952 h 524"/>
                <a:gd name="T24" fmla="*/ 206996 w 578"/>
                <a:gd name="T25" fmla="*/ 168765 h 524"/>
                <a:gd name="T26" fmla="*/ 218712 w 578"/>
                <a:gd name="T27" fmla="*/ 171910 h 524"/>
                <a:gd name="T28" fmla="*/ 232599 w 578"/>
                <a:gd name="T29" fmla="*/ 186585 h 524"/>
                <a:gd name="T30" fmla="*/ 250825 w 578"/>
                <a:gd name="T31" fmla="*/ 197068 h 524"/>
                <a:gd name="T32" fmla="*/ 245184 w 578"/>
                <a:gd name="T33" fmla="*/ 213315 h 524"/>
                <a:gd name="T34" fmla="*/ 228259 w 578"/>
                <a:gd name="T35" fmla="*/ 200737 h 524"/>
                <a:gd name="T36" fmla="*/ 220448 w 578"/>
                <a:gd name="T37" fmla="*/ 197068 h 524"/>
                <a:gd name="T38" fmla="*/ 216109 w 578"/>
                <a:gd name="T39" fmla="*/ 208074 h 524"/>
                <a:gd name="T40" fmla="*/ 219580 w 578"/>
                <a:gd name="T41" fmla="*/ 223274 h 524"/>
                <a:gd name="T42" fmla="*/ 223052 w 578"/>
                <a:gd name="T43" fmla="*/ 231659 h 524"/>
                <a:gd name="T44" fmla="*/ 216977 w 578"/>
                <a:gd name="T45" fmla="*/ 245286 h 524"/>
                <a:gd name="T46" fmla="*/ 209599 w 578"/>
                <a:gd name="T47" fmla="*/ 264679 h 524"/>
                <a:gd name="T48" fmla="*/ 201788 w 578"/>
                <a:gd name="T49" fmla="*/ 273589 h 524"/>
                <a:gd name="T50" fmla="*/ 189204 w 578"/>
                <a:gd name="T51" fmla="*/ 264679 h 524"/>
                <a:gd name="T52" fmla="*/ 197883 w 578"/>
                <a:gd name="T53" fmla="*/ 253672 h 524"/>
                <a:gd name="T54" fmla="*/ 201788 w 578"/>
                <a:gd name="T55" fmla="*/ 244762 h 524"/>
                <a:gd name="T56" fmla="*/ 200052 w 578"/>
                <a:gd name="T57" fmla="*/ 231135 h 524"/>
                <a:gd name="T58" fmla="*/ 185298 w 578"/>
                <a:gd name="T59" fmla="*/ 207026 h 524"/>
                <a:gd name="T60" fmla="*/ 167072 w 578"/>
                <a:gd name="T61" fmla="*/ 193399 h 524"/>
                <a:gd name="T62" fmla="*/ 154053 w 578"/>
                <a:gd name="T63" fmla="*/ 186585 h 524"/>
                <a:gd name="T64" fmla="*/ 137997 w 578"/>
                <a:gd name="T65" fmla="*/ 172958 h 524"/>
                <a:gd name="T66" fmla="*/ 116299 w 578"/>
                <a:gd name="T67" fmla="*/ 165097 h 524"/>
                <a:gd name="T68" fmla="*/ 94602 w 578"/>
                <a:gd name="T69" fmla="*/ 149373 h 524"/>
                <a:gd name="T70" fmla="*/ 70300 w 578"/>
                <a:gd name="T71" fmla="*/ 120023 h 524"/>
                <a:gd name="T72" fmla="*/ 54678 w 578"/>
                <a:gd name="T73" fmla="*/ 88052 h 524"/>
                <a:gd name="T74" fmla="*/ 33414 w 578"/>
                <a:gd name="T75" fmla="*/ 80714 h 524"/>
                <a:gd name="T76" fmla="*/ 22132 w 578"/>
                <a:gd name="T77" fmla="*/ 82286 h 524"/>
                <a:gd name="T78" fmla="*/ 6509 w 578"/>
                <a:gd name="T79" fmla="*/ 86479 h 524"/>
                <a:gd name="T80" fmla="*/ 1302 w 578"/>
                <a:gd name="T81" fmla="*/ 69707 h 524"/>
                <a:gd name="T82" fmla="*/ 434 w 578"/>
                <a:gd name="T83" fmla="*/ 48743 h 524"/>
                <a:gd name="T84" fmla="*/ 2604 w 578"/>
                <a:gd name="T85" fmla="*/ 25682 h 524"/>
                <a:gd name="T86" fmla="*/ 19528 w 578"/>
                <a:gd name="T87" fmla="*/ 21489 h 524"/>
                <a:gd name="T88" fmla="*/ 29509 w 578"/>
                <a:gd name="T89" fmla="*/ 17296 h 524"/>
                <a:gd name="T90" fmla="*/ 36018 w 578"/>
                <a:gd name="T91" fmla="*/ 25158 h 524"/>
                <a:gd name="T92" fmla="*/ 45131 w 578"/>
                <a:gd name="T93" fmla="*/ 23061 h 524"/>
                <a:gd name="T94" fmla="*/ 64659 w 578"/>
                <a:gd name="T95" fmla="*/ 8386 h 524"/>
                <a:gd name="T96" fmla="*/ 103715 w 578"/>
                <a:gd name="T97" fmla="*/ 0 h 524"/>
                <a:gd name="T98" fmla="*/ 111526 w 578"/>
                <a:gd name="T99" fmla="*/ 6814 h 524"/>
                <a:gd name="T100" fmla="*/ 144072 w 578"/>
                <a:gd name="T101" fmla="*/ 9958 h 524"/>
                <a:gd name="T102" fmla="*/ 139733 w 578"/>
                <a:gd name="T103" fmla="*/ 34068 h 524"/>
                <a:gd name="T104" fmla="*/ 141035 w 578"/>
                <a:gd name="T105" fmla="*/ 47170 h 52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16AEE5E9-92F3-42C6-8666-F3B45FC9DCA2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5715000" y="2351088"/>
              <a:ext cx="33338" cy="82550"/>
            </a:xfrm>
            <a:custGeom>
              <a:avLst/>
              <a:gdLst>
                <a:gd name="T0" fmla="*/ 0 w 79"/>
                <a:gd name="T1" fmla="*/ 19090 h 160"/>
                <a:gd name="T2" fmla="*/ 2532 w 79"/>
                <a:gd name="T3" fmla="*/ 19090 h 160"/>
                <a:gd name="T4" fmla="*/ 4642 w 79"/>
                <a:gd name="T5" fmla="*/ 18574 h 160"/>
                <a:gd name="T6" fmla="*/ 6752 w 79"/>
                <a:gd name="T7" fmla="*/ 18058 h 160"/>
                <a:gd name="T8" fmla="*/ 8018 w 79"/>
                <a:gd name="T9" fmla="*/ 17026 h 160"/>
                <a:gd name="T10" fmla="*/ 10972 w 79"/>
                <a:gd name="T11" fmla="*/ 14446 h 160"/>
                <a:gd name="T12" fmla="*/ 13082 w 79"/>
                <a:gd name="T13" fmla="*/ 11351 h 160"/>
                <a:gd name="T14" fmla="*/ 15614 w 79"/>
                <a:gd name="T15" fmla="*/ 8255 h 160"/>
                <a:gd name="T16" fmla="*/ 17302 w 79"/>
                <a:gd name="T17" fmla="*/ 5159 h 160"/>
                <a:gd name="T18" fmla="*/ 19412 w 79"/>
                <a:gd name="T19" fmla="*/ 2580 h 160"/>
                <a:gd name="T20" fmla="*/ 22366 w 79"/>
                <a:gd name="T21" fmla="*/ 0 h 160"/>
                <a:gd name="T22" fmla="*/ 24054 w 79"/>
                <a:gd name="T23" fmla="*/ 1548 h 160"/>
                <a:gd name="T24" fmla="*/ 26164 w 79"/>
                <a:gd name="T25" fmla="*/ 3612 h 160"/>
                <a:gd name="T26" fmla="*/ 27008 w 79"/>
                <a:gd name="T27" fmla="*/ 5159 h 160"/>
                <a:gd name="T28" fmla="*/ 27852 w 79"/>
                <a:gd name="T29" fmla="*/ 7223 h 160"/>
                <a:gd name="T30" fmla="*/ 29118 w 79"/>
                <a:gd name="T31" fmla="*/ 11351 h 160"/>
                <a:gd name="T32" fmla="*/ 30384 w 79"/>
                <a:gd name="T33" fmla="*/ 16510 h 160"/>
                <a:gd name="T34" fmla="*/ 30806 w 79"/>
                <a:gd name="T35" fmla="*/ 20638 h 160"/>
                <a:gd name="T36" fmla="*/ 31228 w 79"/>
                <a:gd name="T37" fmla="*/ 25281 h 160"/>
                <a:gd name="T38" fmla="*/ 32072 w 79"/>
                <a:gd name="T39" fmla="*/ 29924 h 160"/>
                <a:gd name="T40" fmla="*/ 33338 w 79"/>
                <a:gd name="T41" fmla="*/ 34568 h 160"/>
                <a:gd name="T42" fmla="*/ 33338 w 79"/>
                <a:gd name="T43" fmla="*/ 50562 h 160"/>
                <a:gd name="T44" fmla="*/ 28696 w 79"/>
                <a:gd name="T45" fmla="*/ 59333 h 160"/>
                <a:gd name="T46" fmla="*/ 24898 w 79"/>
                <a:gd name="T47" fmla="*/ 66556 h 160"/>
                <a:gd name="T48" fmla="*/ 22366 w 79"/>
                <a:gd name="T49" fmla="*/ 70168 h 160"/>
                <a:gd name="T50" fmla="*/ 21100 w 79"/>
                <a:gd name="T51" fmla="*/ 74295 h 160"/>
                <a:gd name="T52" fmla="*/ 20256 w 79"/>
                <a:gd name="T53" fmla="*/ 77907 h 160"/>
                <a:gd name="T54" fmla="*/ 19412 w 79"/>
                <a:gd name="T55" fmla="*/ 82550 h 160"/>
                <a:gd name="T56" fmla="*/ 16880 w 79"/>
                <a:gd name="T57" fmla="*/ 79970 h 160"/>
                <a:gd name="T58" fmla="*/ 13926 w 79"/>
                <a:gd name="T59" fmla="*/ 77391 h 160"/>
                <a:gd name="T60" fmla="*/ 11816 w 79"/>
                <a:gd name="T61" fmla="*/ 74295 h 160"/>
                <a:gd name="T62" fmla="*/ 9284 w 79"/>
                <a:gd name="T63" fmla="*/ 70683 h 160"/>
                <a:gd name="T64" fmla="*/ 7596 w 79"/>
                <a:gd name="T65" fmla="*/ 67072 h 160"/>
                <a:gd name="T66" fmla="*/ 6330 w 79"/>
                <a:gd name="T67" fmla="*/ 63460 h 160"/>
                <a:gd name="T68" fmla="*/ 4642 w 79"/>
                <a:gd name="T69" fmla="*/ 59333 h 160"/>
                <a:gd name="T70" fmla="*/ 3376 w 79"/>
                <a:gd name="T71" fmla="*/ 55721 h 160"/>
                <a:gd name="T72" fmla="*/ 1688 w 79"/>
                <a:gd name="T73" fmla="*/ 46950 h 160"/>
                <a:gd name="T74" fmla="*/ 422 w 79"/>
                <a:gd name="T75" fmla="*/ 37663 h 160"/>
                <a:gd name="T76" fmla="*/ 0 w 79"/>
                <a:gd name="T77" fmla="*/ 28377 h 160"/>
                <a:gd name="T78" fmla="*/ 0 w 79"/>
                <a:gd name="T79" fmla="*/ 19090 h 16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28" name="Group 19">
              <a:extLst>
                <a:ext uri="{FF2B5EF4-FFF2-40B4-BE49-F238E27FC236}">
                  <a16:creationId xmlns:a16="http://schemas.microsoft.com/office/drawing/2014/main" id="{20CB9DA0-2A92-4C10-834E-94F9B06E4CED}"/>
                </a:ext>
              </a:extLst>
            </p:cNvPr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8034339" y="3411539"/>
              <a:ext cx="473075" cy="212725"/>
              <a:chOff x="4488" y="2394"/>
              <a:chExt cx="358" cy="124"/>
            </a:xfrm>
          </p:grpSpPr>
          <p:sp>
            <p:nvSpPr>
              <p:cNvPr id="558" name="Freeform 20">
                <a:extLst>
                  <a:ext uri="{FF2B5EF4-FFF2-40B4-BE49-F238E27FC236}">
                    <a16:creationId xmlns:a16="http://schemas.microsoft.com/office/drawing/2014/main" id="{C2C5EF5D-1D6D-4251-83AC-5AA34D51D3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142 w 512"/>
                  <a:gd name="T1" fmla="*/ 60 h 408"/>
                  <a:gd name="T2" fmla="*/ 129 w 512"/>
                  <a:gd name="T3" fmla="*/ 59 h 408"/>
                  <a:gd name="T4" fmla="*/ 123 w 512"/>
                  <a:gd name="T5" fmla="*/ 62 h 408"/>
                  <a:gd name="T6" fmla="*/ 118 w 512"/>
                  <a:gd name="T7" fmla="*/ 66 h 408"/>
                  <a:gd name="T8" fmla="*/ 116 w 512"/>
                  <a:gd name="T9" fmla="*/ 77 h 408"/>
                  <a:gd name="T10" fmla="*/ 109 w 512"/>
                  <a:gd name="T11" fmla="*/ 93 h 408"/>
                  <a:gd name="T12" fmla="*/ 102 w 512"/>
                  <a:gd name="T13" fmla="*/ 102 h 408"/>
                  <a:gd name="T14" fmla="*/ 97 w 512"/>
                  <a:gd name="T15" fmla="*/ 106 h 408"/>
                  <a:gd name="T16" fmla="*/ 91 w 512"/>
                  <a:gd name="T17" fmla="*/ 109 h 408"/>
                  <a:gd name="T18" fmla="*/ 86 w 512"/>
                  <a:gd name="T19" fmla="*/ 112 h 408"/>
                  <a:gd name="T20" fmla="*/ 84 w 512"/>
                  <a:gd name="T21" fmla="*/ 114 h 408"/>
                  <a:gd name="T22" fmla="*/ 72 w 512"/>
                  <a:gd name="T23" fmla="*/ 112 h 408"/>
                  <a:gd name="T24" fmla="*/ 61 w 512"/>
                  <a:gd name="T25" fmla="*/ 112 h 408"/>
                  <a:gd name="T26" fmla="*/ 52 w 512"/>
                  <a:gd name="T27" fmla="*/ 113 h 408"/>
                  <a:gd name="T28" fmla="*/ 46 w 512"/>
                  <a:gd name="T29" fmla="*/ 118 h 408"/>
                  <a:gd name="T30" fmla="*/ 32 w 512"/>
                  <a:gd name="T31" fmla="*/ 123 h 408"/>
                  <a:gd name="T32" fmla="*/ 21 w 512"/>
                  <a:gd name="T33" fmla="*/ 124 h 408"/>
                  <a:gd name="T34" fmla="*/ 15 w 512"/>
                  <a:gd name="T35" fmla="*/ 122 h 408"/>
                  <a:gd name="T36" fmla="*/ 5 w 512"/>
                  <a:gd name="T37" fmla="*/ 112 h 408"/>
                  <a:gd name="T38" fmla="*/ 1 w 512"/>
                  <a:gd name="T39" fmla="*/ 105 h 408"/>
                  <a:gd name="T40" fmla="*/ 3 w 512"/>
                  <a:gd name="T41" fmla="*/ 102 h 408"/>
                  <a:gd name="T42" fmla="*/ 11 w 512"/>
                  <a:gd name="T43" fmla="*/ 105 h 408"/>
                  <a:gd name="T44" fmla="*/ 18 w 512"/>
                  <a:gd name="T45" fmla="*/ 102 h 408"/>
                  <a:gd name="T46" fmla="*/ 19 w 512"/>
                  <a:gd name="T47" fmla="*/ 95 h 408"/>
                  <a:gd name="T48" fmla="*/ 24 w 512"/>
                  <a:gd name="T49" fmla="*/ 91 h 408"/>
                  <a:gd name="T50" fmla="*/ 27 w 512"/>
                  <a:gd name="T51" fmla="*/ 87 h 408"/>
                  <a:gd name="T52" fmla="*/ 30 w 512"/>
                  <a:gd name="T53" fmla="*/ 83 h 408"/>
                  <a:gd name="T54" fmla="*/ 34 w 512"/>
                  <a:gd name="T55" fmla="*/ 80 h 408"/>
                  <a:gd name="T56" fmla="*/ 46 w 512"/>
                  <a:gd name="T57" fmla="*/ 75 h 408"/>
                  <a:gd name="T58" fmla="*/ 58 w 512"/>
                  <a:gd name="T59" fmla="*/ 71 h 408"/>
                  <a:gd name="T60" fmla="*/ 67 w 512"/>
                  <a:gd name="T61" fmla="*/ 66 h 408"/>
                  <a:gd name="T62" fmla="*/ 71 w 512"/>
                  <a:gd name="T63" fmla="*/ 62 h 408"/>
                  <a:gd name="T64" fmla="*/ 73 w 512"/>
                  <a:gd name="T65" fmla="*/ 58 h 408"/>
                  <a:gd name="T66" fmla="*/ 76 w 512"/>
                  <a:gd name="T67" fmla="*/ 49 h 408"/>
                  <a:gd name="T68" fmla="*/ 76 w 512"/>
                  <a:gd name="T69" fmla="*/ 45 h 408"/>
                  <a:gd name="T70" fmla="*/ 77 w 512"/>
                  <a:gd name="T71" fmla="*/ 46 h 408"/>
                  <a:gd name="T72" fmla="*/ 80 w 512"/>
                  <a:gd name="T73" fmla="*/ 43 h 408"/>
                  <a:gd name="T74" fmla="*/ 79 w 512"/>
                  <a:gd name="T75" fmla="*/ 47 h 408"/>
                  <a:gd name="T76" fmla="*/ 80 w 512"/>
                  <a:gd name="T77" fmla="*/ 53 h 408"/>
                  <a:gd name="T78" fmla="*/ 84 w 512"/>
                  <a:gd name="T79" fmla="*/ 59 h 408"/>
                  <a:gd name="T80" fmla="*/ 91 w 512"/>
                  <a:gd name="T81" fmla="*/ 62 h 408"/>
                  <a:gd name="T82" fmla="*/ 102 w 512"/>
                  <a:gd name="T83" fmla="*/ 62 h 408"/>
                  <a:gd name="T84" fmla="*/ 107 w 512"/>
                  <a:gd name="T85" fmla="*/ 62 h 408"/>
                  <a:gd name="T86" fmla="*/ 109 w 512"/>
                  <a:gd name="T87" fmla="*/ 60 h 408"/>
                  <a:gd name="T88" fmla="*/ 108 w 512"/>
                  <a:gd name="T89" fmla="*/ 53 h 408"/>
                  <a:gd name="T90" fmla="*/ 100 w 512"/>
                  <a:gd name="T91" fmla="*/ 40 h 408"/>
                  <a:gd name="T92" fmla="*/ 107 w 512"/>
                  <a:gd name="T93" fmla="*/ 33 h 408"/>
                  <a:gd name="T94" fmla="*/ 115 w 512"/>
                  <a:gd name="T95" fmla="*/ 20 h 408"/>
                  <a:gd name="T96" fmla="*/ 125 w 512"/>
                  <a:gd name="T97" fmla="*/ 7 h 408"/>
                  <a:gd name="T98" fmla="*/ 133 w 512"/>
                  <a:gd name="T99" fmla="*/ 0 h 408"/>
                  <a:gd name="T100" fmla="*/ 134 w 512"/>
                  <a:gd name="T101" fmla="*/ 7 h 408"/>
                  <a:gd name="T102" fmla="*/ 138 w 512"/>
                  <a:gd name="T103" fmla="*/ 15 h 408"/>
                  <a:gd name="T104" fmla="*/ 147 w 512"/>
                  <a:gd name="T105" fmla="*/ 23 h 408"/>
                  <a:gd name="T106" fmla="*/ 162 w 512"/>
                  <a:gd name="T107" fmla="*/ 32 h 408"/>
                  <a:gd name="T108" fmla="*/ 170 w 512"/>
                  <a:gd name="T109" fmla="*/ 40 h 408"/>
                  <a:gd name="T110" fmla="*/ 167 w 512"/>
                  <a:gd name="T111" fmla="*/ 45 h 408"/>
                  <a:gd name="T112" fmla="*/ 160 w 512"/>
                  <a:gd name="T113" fmla="*/ 46 h 408"/>
                  <a:gd name="T114" fmla="*/ 153 w 512"/>
                  <a:gd name="T115" fmla="*/ 55 h 40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59" name="Freeform 21">
                <a:extLst>
                  <a:ext uri="{FF2B5EF4-FFF2-40B4-BE49-F238E27FC236}">
                    <a16:creationId xmlns:a16="http://schemas.microsoft.com/office/drawing/2014/main" id="{C0707FB0-25F6-45B4-B356-057880953E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50 w 232"/>
                  <a:gd name="T1" fmla="*/ 7 h 289"/>
                  <a:gd name="T2" fmla="*/ 55 w 232"/>
                  <a:gd name="T3" fmla="*/ 15 h 289"/>
                  <a:gd name="T4" fmla="*/ 58 w 232"/>
                  <a:gd name="T5" fmla="*/ 17 h 289"/>
                  <a:gd name="T6" fmla="*/ 60 w 232"/>
                  <a:gd name="T7" fmla="*/ 18 h 289"/>
                  <a:gd name="T8" fmla="*/ 62 w 232"/>
                  <a:gd name="T9" fmla="*/ 51 h 289"/>
                  <a:gd name="T10" fmla="*/ 63 w 232"/>
                  <a:gd name="T11" fmla="*/ 60 h 289"/>
                  <a:gd name="T12" fmla="*/ 64 w 232"/>
                  <a:gd name="T13" fmla="*/ 64 h 289"/>
                  <a:gd name="T14" fmla="*/ 66 w 232"/>
                  <a:gd name="T15" fmla="*/ 67 h 289"/>
                  <a:gd name="T16" fmla="*/ 77 w 232"/>
                  <a:gd name="T17" fmla="*/ 76 h 289"/>
                  <a:gd name="T18" fmla="*/ 73 w 232"/>
                  <a:gd name="T19" fmla="*/ 89 h 289"/>
                  <a:gd name="T20" fmla="*/ 62 w 232"/>
                  <a:gd name="T21" fmla="*/ 87 h 289"/>
                  <a:gd name="T22" fmla="*/ 50 w 232"/>
                  <a:gd name="T23" fmla="*/ 81 h 289"/>
                  <a:gd name="T24" fmla="*/ 38 w 232"/>
                  <a:gd name="T25" fmla="*/ 72 h 289"/>
                  <a:gd name="T26" fmla="*/ 27 w 232"/>
                  <a:gd name="T27" fmla="*/ 64 h 289"/>
                  <a:gd name="T28" fmla="*/ 19 w 232"/>
                  <a:gd name="T29" fmla="*/ 54 h 289"/>
                  <a:gd name="T30" fmla="*/ 10 w 232"/>
                  <a:gd name="T31" fmla="*/ 45 h 289"/>
                  <a:gd name="T32" fmla="*/ 3 w 232"/>
                  <a:gd name="T33" fmla="*/ 39 h 289"/>
                  <a:gd name="T34" fmla="*/ 1 w 232"/>
                  <a:gd name="T35" fmla="*/ 36 h 289"/>
                  <a:gd name="T36" fmla="*/ 0 w 232"/>
                  <a:gd name="T37" fmla="*/ 34 h 289"/>
                  <a:gd name="T38" fmla="*/ 0 w 232"/>
                  <a:gd name="T39" fmla="*/ 31 h 289"/>
                  <a:gd name="T40" fmla="*/ 1 w 232"/>
                  <a:gd name="T41" fmla="*/ 28 h 289"/>
                  <a:gd name="T42" fmla="*/ 4 w 232"/>
                  <a:gd name="T43" fmla="*/ 24 h 289"/>
                  <a:gd name="T44" fmla="*/ 4 w 232"/>
                  <a:gd name="T45" fmla="*/ 16 h 289"/>
                  <a:gd name="T46" fmla="*/ 2 w 232"/>
                  <a:gd name="T47" fmla="*/ 5 h 289"/>
                  <a:gd name="T48" fmla="*/ 4 w 232"/>
                  <a:gd name="T49" fmla="*/ 0 h 289"/>
                  <a:gd name="T50" fmla="*/ 9 w 232"/>
                  <a:gd name="T51" fmla="*/ 1 h 289"/>
                  <a:gd name="T52" fmla="*/ 14 w 232"/>
                  <a:gd name="T53" fmla="*/ 3 h 289"/>
                  <a:gd name="T54" fmla="*/ 20 w 232"/>
                  <a:gd name="T55" fmla="*/ 6 h 289"/>
                  <a:gd name="T56" fmla="*/ 24 w 232"/>
                  <a:gd name="T57" fmla="*/ 9 h 289"/>
                  <a:gd name="T58" fmla="*/ 27 w 232"/>
                  <a:gd name="T59" fmla="*/ 10 h 289"/>
                  <a:gd name="T60" fmla="*/ 30 w 232"/>
                  <a:gd name="T61" fmla="*/ 10 h 289"/>
                  <a:gd name="T62" fmla="*/ 35 w 232"/>
                  <a:gd name="T63" fmla="*/ 8 h 289"/>
                  <a:gd name="T64" fmla="*/ 40 w 232"/>
                  <a:gd name="T65" fmla="*/ 6 h 289"/>
                  <a:gd name="T66" fmla="*/ 44 w 232"/>
                  <a:gd name="T67" fmla="*/ 3 h 28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29" name="Freeform 22">
              <a:extLst>
                <a:ext uri="{FF2B5EF4-FFF2-40B4-BE49-F238E27FC236}">
                  <a16:creationId xmlns:a16="http://schemas.microsoft.com/office/drawing/2014/main" id="{BE3002C8-1379-4CFB-B97C-8510152B4A08}"/>
                </a:ext>
              </a:extLst>
            </p:cNvPr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6056313" y="1287464"/>
              <a:ext cx="3065462" cy="1074737"/>
            </a:xfrm>
            <a:custGeom>
              <a:avLst/>
              <a:gdLst>
                <a:gd name="T0" fmla="*/ 315287 w 7049"/>
                <a:gd name="T1" fmla="*/ 909433 h 2048"/>
                <a:gd name="T2" fmla="*/ 465321 w 7049"/>
                <a:gd name="T3" fmla="*/ 1016487 h 2048"/>
                <a:gd name="T4" fmla="*/ 527073 w 7049"/>
                <a:gd name="T5" fmla="*/ 951940 h 2048"/>
                <a:gd name="T6" fmla="*/ 727987 w 7049"/>
                <a:gd name="T7" fmla="*/ 770893 h 2048"/>
                <a:gd name="T8" fmla="*/ 1138513 w 7049"/>
                <a:gd name="T9" fmla="*/ 690078 h 2048"/>
                <a:gd name="T10" fmla="*/ 1456845 w 7049"/>
                <a:gd name="T11" fmla="*/ 784012 h 2048"/>
                <a:gd name="T12" fmla="*/ 1598615 w 7049"/>
                <a:gd name="T13" fmla="*/ 754625 h 2048"/>
                <a:gd name="T14" fmla="*/ 1798660 w 7049"/>
                <a:gd name="T15" fmla="*/ 782963 h 2048"/>
                <a:gd name="T16" fmla="*/ 1990441 w 7049"/>
                <a:gd name="T17" fmla="*/ 791884 h 2048"/>
                <a:gd name="T18" fmla="*/ 2069589 w 7049"/>
                <a:gd name="T19" fmla="*/ 719990 h 2048"/>
                <a:gd name="T20" fmla="*/ 2242236 w 7049"/>
                <a:gd name="T21" fmla="*/ 774566 h 2048"/>
                <a:gd name="T22" fmla="*/ 2441411 w 7049"/>
                <a:gd name="T23" fmla="*/ 838589 h 2048"/>
                <a:gd name="T24" fmla="*/ 2437062 w 7049"/>
                <a:gd name="T25" fmla="*/ 967683 h 2048"/>
                <a:gd name="T26" fmla="*/ 2545347 w 7049"/>
                <a:gd name="T27" fmla="*/ 845936 h 2048"/>
                <a:gd name="T28" fmla="*/ 2422276 w 7049"/>
                <a:gd name="T29" fmla="*/ 659116 h 2048"/>
                <a:gd name="T30" fmla="*/ 2318340 w 7049"/>
                <a:gd name="T31" fmla="*/ 601916 h 2048"/>
                <a:gd name="T32" fmla="*/ 2547086 w 7049"/>
                <a:gd name="T33" fmla="*/ 515328 h 2048"/>
                <a:gd name="T34" fmla="*/ 2597967 w 7049"/>
                <a:gd name="T35" fmla="*/ 431364 h 2048"/>
                <a:gd name="T36" fmla="*/ 2666678 w 7049"/>
                <a:gd name="T37" fmla="*/ 399353 h 2048"/>
                <a:gd name="T38" fmla="*/ 2694075 w 7049"/>
                <a:gd name="T39" fmla="*/ 511130 h 2048"/>
                <a:gd name="T40" fmla="*/ 2762351 w 7049"/>
                <a:gd name="T41" fmla="*/ 656492 h 2048"/>
                <a:gd name="T42" fmla="*/ 2859329 w 7049"/>
                <a:gd name="T43" fmla="*/ 739931 h 2048"/>
                <a:gd name="T44" fmla="*/ 2855415 w 7049"/>
                <a:gd name="T45" fmla="*/ 637076 h 2048"/>
                <a:gd name="T46" fmla="*/ 2771484 w 7049"/>
                <a:gd name="T47" fmla="*/ 544191 h 2048"/>
                <a:gd name="T48" fmla="*/ 2847153 w 7049"/>
                <a:gd name="T49" fmla="*/ 464425 h 2048"/>
                <a:gd name="T50" fmla="*/ 2957612 w 7049"/>
                <a:gd name="T51" fmla="*/ 411423 h 2048"/>
                <a:gd name="T52" fmla="*/ 2882378 w 7049"/>
                <a:gd name="T53" fmla="*/ 324310 h 2048"/>
                <a:gd name="T54" fmla="*/ 2956742 w 7049"/>
                <a:gd name="T55" fmla="*/ 333756 h 2048"/>
                <a:gd name="T56" fmla="*/ 2983705 w 7049"/>
                <a:gd name="T57" fmla="*/ 284952 h 2048"/>
                <a:gd name="T58" fmla="*/ 2826713 w 7049"/>
                <a:gd name="T59" fmla="*/ 242446 h 2048"/>
                <a:gd name="T60" fmla="*/ 2540998 w 7049"/>
                <a:gd name="T61" fmla="*/ 215157 h 2048"/>
                <a:gd name="T62" fmla="*/ 2475766 w 7049"/>
                <a:gd name="T63" fmla="*/ 217781 h 2048"/>
                <a:gd name="T64" fmla="*/ 2170481 w 7049"/>
                <a:gd name="T65" fmla="*/ 184196 h 2048"/>
                <a:gd name="T66" fmla="*/ 2056108 w 7049"/>
                <a:gd name="T67" fmla="*/ 152184 h 2048"/>
                <a:gd name="T68" fmla="*/ 1918686 w 7049"/>
                <a:gd name="T69" fmla="*/ 152184 h 2048"/>
                <a:gd name="T70" fmla="*/ 1743430 w 7049"/>
                <a:gd name="T71" fmla="*/ 166878 h 2048"/>
                <a:gd name="T72" fmla="*/ 1554258 w 7049"/>
                <a:gd name="T73" fmla="*/ 136966 h 2048"/>
                <a:gd name="T74" fmla="*/ 1430752 w 7049"/>
                <a:gd name="T75" fmla="*/ 128045 h 2048"/>
                <a:gd name="T76" fmla="*/ 1308116 w 7049"/>
                <a:gd name="T77" fmla="*/ 123322 h 2048"/>
                <a:gd name="T78" fmla="*/ 1184610 w 7049"/>
                <a:gd name="T79" fmla="*/ 30437 h 2048"/>
                <a:gd name="T80" fmla="*/ 1138078 w 7049"/>
                <a:gd name="T81" fmla="*/ 73468 h 2048"/>
                <a:gd name="T82" fmla="*/ 928032 w 7049"/>
                <a:gd name="T83" fmla="*/ 87637 h 2048"/>
                <a:gd name="T84" fmla="*/ 938904 w 7049"/>
                <a:gd name="T85" fmla="*/ 104955 h 2048"/>
                <a:gd name="T86" fmla="*/ 955864 w 7049"/>
                <a:gd name="T87" fmla="*/ 179473 h 2048"/>
                <a:gd name="T88" fmla="*/ 840621 w 7049"/>
                <a:gd name="T89" fmla="*/ 134342 h 2048"/>
                <a:gd name="T90" fmla="*/ 777129 w 7049"/>
                <a:gd name="T91" fmla="*/ 143263 h 2048"/>
                <a:gd name="T92" fmla="*/ 833663 w 7049"/>
                <a:gd name="T93" fmla="*/ 234049 h 2048"/>
                <a:gd name="T94" fmla="*/ 902809 w 7049"/>
                <a:gd name="T95" fmla="*/ 277605 h 2048"/>
                <a:gd name="T96" fmla="*/ 818877 w 7049"/>
                <a:gd name="T97" fmla="*/ 311191 h 2048"/>
                <a:gd name="T98" fmla="*/ 796698 w 7049"/>
                <a:gd name="T99" fmla="*/ 243495 h 2048"/>
                <a:gd name="T100" fmla="*/ 704939 w 7049"/>
                <a:gd name="T101" fmla="*/ 121223 h 2048"/>
                <a:gd name="T102" fmla="*/ 705809 w 7049"/>
                <a:gd name="T103" fmla="*/ 236673 h 2048"/>
                <a:gd name="T104" fmla="*/ 538380 w 7049"/>
                <a:gd name="T105" fmla="*/ 208335 h 2048"/>
                <a:gd name="T106" fmla="*/ 520985 w 7049"/>
                <a:gd name="T107" fmla="*/ 250317 h 2048"/>
                <a:gd name="T108" fmla="*/ 394870 w 7049"/>
                <a:gd name="T109" fmla="*/ 262387 h 2048"/>
                <a:gd name="T110" fmla="*/ 300936 w 7049"/>
                <a:gd name="T111" fmla="*/ 253466 h 2048"/>
                <a:gd name="T112" fmla="*/ 261797 w 7049"/>
                <a:gd name="T113" fmla="*/ 306993 h 2048"/>
                <a:gd name="T114" fmla="*/ 176996 w 7049"/>
                <a:gd name="T115" fmla="*/ 387808 h 2048"/>
                <a:gd name="T116" fmla="*/ 169603 w 7049"/>
                <a:gd name="T117" fmla="*/ 321162 h 2048"/>
                <a:gd name="T118" fmla="*/ 65232 w 7049"/>
                <a:gd name="T119" fmla="*/ 230901 h 2048"/>
                <a:gd name="T120" fmla="*/ 30876 w 7049"/>
                <a:gd name="T121" fmla="*/ 317488 h 2048"/>
                <a:gd name="T122" fmla="*/ 48706 w 7049"/>
                <a:gd name="T123" fmla="*/ 502733 h 204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30" name="Freeform 23">
              <a:extLst>
                <a:ext uri="{FF2B5EF4-FFF2-40B4-BE49-F238E27FC236}">
                  <a16:creationId xmlns:a16="http://schemas.microsoft.com/office/drawing/2014/main" id="{D540F59F-5659-4A51-AA1D-B6DAD48C8229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5319714" y="2274888"/>
              <a:ext cx="280987" cy="247650"/>
            </a:xfrm>
            <a:custGeom>
              <a:avLst/>
              <a:gdLst>
                <a:gd name="T0" fmla="*/ 176323 w 647"/>
                <a:gd name="T1" fmla="*/ 14227 h 470"/>
                <a:gd name="T2" fmla="*/ 185877 w 647"/>
                <a:gd name="T3" fmla="*/ 23711 h 470"/>
                <a:gd name="T4" fmla="*/ 198906 w 647"/>
                <a:gd name="T5" fmla="*/ 31615 h 470"/>
                <a:gd name="T6" fmla="*/ 222358 w 647"/>
                <a:gd name="T7" fmla="*/ 41099 h 470"/>
                <a:gd name="T8" fmla="*/ 233649 w 647"/>
                <a:gd name="T9" fmla="*/ 42680 h 470"/>
                <a:gd name="T10" fmla="*/ 244072 w 647"/>
                <a:gd name="T11" fmla="*/ 52165 h 470"/>
                <a:gd name="T12" fmla="*/ 246244 w 647"/>
                <a:gd name="T13" fmla="*/ 51111 h 470"/>
                <a:gd name="T14" fmla="*/ 249718 w 647"/>
                <a:gd name="T15" fmla="*/ 44788 h 470"/>
                <a:gd name="T16" fmla="*/ 253192 w 647"/>
                <a:gd name="T17" fmla="*/ 41099 h 470"/>
                <a:gd name="T18" fmla="*/ 261878 w 647"/>
                <a:gd name="T19" fmla="*/ 42153 h 470"/>
                <a:gd name="T20" fmla="*/ 270998 w 647"/>
                <a:gd name="T21" fmla="*/ 41626 h 470"/>
                <a:gd name="T22" fmla="*/ 277947 w 647"/>
                <a:gd name="T23" fmla="*/ 44261 h 470"/>
                <a:gd name="T24" fmla="*/ 280553 w 647"/>
                <a:gd name="T25" fmla="*/ 54272 h 470"/>
                <a:gd name="T26" fmla="*/ 280553 w 647"/>
                <a:gd name="T27" fmla="*/ 64811 h 470"/>
                <a:gd name="T28" fmla="*/ 268393 w 647"/>
                <a:gd name="T29" fmla="*/ 69026 h 470"/>
                <a:gd name="T30" fmla="*/ 254495 w 647"/>
                <a:gd name="T31" fmla="*/ 76930 h 470"/>
                <a:gd name="T32" fmla="*/ 243204 w 647"/>
                <a:gd name="T33" fmla="*/ 86941 h 470"/>
                <a:gd name="T34" fmla="*/ 218883 w 647"/>
                <a:gd name="T35" fmla="*/ 112760 h 470"/>
                <a:gd name="T36" fmla="*/ 212369 w 647"/>
                <a:gd name="T37" fmla="*/ 119610 h 470"/>
                <a:gd name="T38" fmla="*/ 205854 w 647"/>
                <a:gd name="T39" fmla="*/ 133836 h 470"/>
                <a:gd name="T40" fmla="*/ 205420 w 647"/>
                <a:gd name="T41" fmla="*/ 148590 h 470"/>
                <a:gd name="T42" fmla="*/ 205420 w 647"/>
                <a:gd name="T43" fmla="*/ 163871 h 470"/>
                <a:gd name="T44" fmla="*/ 201077 w 647"/>
                <a:gd name="T45" fmla="*/ 179151 h 470"/>
                <a:gd name="T46" fmla="*/ 195431 w 647"/>
                <a:gd name="T47" fmla="*/ 186528 h 470"/>
                <a:gd name="T48" fmla="*/ 178494 w 647"/>
                <a:gd name="T49" fmla="*/ 202335 h 470"/>
                <a:gd name="T50" fmla="*/ 166334 w 647"/>
                <a:gd name="T51" fmla="*/ 216562 h 470"/>
                <a:gd name="T52" fmla="*/ 162425 w 647"/>
                <a:gd name="T53" fmla="*/ 223939 h 470"/>
                <a:gd name="T54" fmla="*/ 160254 w 647"/>
                <a:gd name="T55" fmla="*/ 227627 h 470"/>
                <a:gd name="T56" fmla="*/ 134631 w 647"/>
                <a:gd name="T57" fmla="*/ 226046 h 470"/>
                <a:gd name="T58" fmla="*/ 111613 w 647"/>
                <a:gd name="T59" fmla="*/ 228681 h 470"/>
                <a:gd name="T60" fmla="*/ 97281 w 647"/>
                <a:gd name="T61" fmla="*/ 235004 h 470"/>
                <a:gd name="T62" fmla="*/ 83818 w 647"/>
                <a:gd name="T63" fmla="*/ 246069 h 470"/>
                <a:gd name="T64" fmla="*/ 77738 w 647"/>
                <a:gd name="T65" fmla="*/ 247123 h 470"/>
                <a:gd name="T66" fmla="*/ 73395 w 647"/>
                <a:gd name="T67" fmla="*/ 242908 h 470"/>
                <a:gd name="T68" fmla="*/ 66447 w 647"/>
                <a:gd name="T69" fmla="*/ 227627 h 470"/>
                <a:gd name="T70" fmla="*/ 60801 w 647"/>
                <a:gd name="T71" fmla="*/ 218143 h 470"/>
                <a:gd name="T72" fmla="*/ 52984 w 647"/>
                <a:gd name="T73" fmla="*/ 210766 h 470"/>
                <a:gd name="T74" fmla="*/ 49509 w 647"/>
                <a:gd name="T75" fmla="*/ 199701 h 470"/>
                <a:gd name="T76" fmla="*/ 54721 w 647"/>
                <a:gd name="T77" fmla="*/ 177043 h 470"/>
                <a:gd name="T78" fmla="*/ 55155 w 647"/>
                <a:gd name="T79" fmla="*/ 140686 h 470"/>
                <a:gd name="T80" fmla="*/ 63841 w 647"/>
                <a:gd name="T81" fmla="*/ 108544 h 470"/>
                <a:gd name="T82" fmla="*/ 72961 w 647"/>
                <a:gd name="T83" fmla="*/ 78510 h 470"/>
                <a:gd name="T84" fmla="*/ 74698 w 647"/>
                <a:gd name="T85" fmla="*/ 69026 h 470"/>
                <a:gd name="T86" fmla="*/ 50378 w 647"/>
                <a:gd name="T87" fmla="*/ 64811 h 470"/>
                <a:gd name="T88" fmla="*/ 26926 w 647"/>
                <a:gd name="T89" fmla="*/ 57434 h 470"/>
                <a:gd name="T90" fmla="*/ 7383 w 647"/>
                <a:gd name="T91" fmla="*/ 49003 h 470"/>
                <a:gd name="T92" fmla="*/ 0 w 647"/>
                <a:gd name="T93" fmla="*/ 20023 h 470"/>
                <a:gd name="T94" fmla="*/ 9989 w 647"/>
                <a:gd name="T95" fmla="*/ 17915 h 470"/>
                <a:gd name="T96" fmla="*/ 22149 w 647"/>
                <a:gd name="T97" fmla="*/ 10538 h 470"/>
                <a:gd name="T98" fmla="*/ 31703 w 647"/>
                <a:gd name="T99" fmla="*/ 2108 h 470"/>
                <a:gd name="T100" fmla="*/ 37349 w 647"/>
                <a:gd name="T101" fmla="*/ 0 h 470"/>
                <a:gd name="T102" fmla="*/ 57327 w 647"/>
                <a:gd name="T103" fmla="*/ 3688 h 470"/>
                <a:gd name="T104" fmla="*/ 74264 w 647"/>
                <a:gd name="T105" fmla="*/ 8958 h 470"/>
                <a:gd name="T106" fmla="*/ 90767 w 647"/>
                <a:gd name="T107" fmla="*/ 10538 h 470"/>
                <a:gd name="T108" fmla="*/ 102059 w 647"/>
                <a:gd name="T109" fmla="*/ 15281 h 470"/>
                <a:gd name="T110" fmla="*/ 112047 w 647"/>
                <a:gd name="T111" fmla="*/ 19496 h 470"/>
                <a:gd name="T112" fmla="*/ 167202 w 647"/>
                <a:gd name="T113" fmla="*/ 13700 h 4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31" name="Freeform 24">
              <a:extLst>
                <a:ext uri="{FF2B5EF4-FFF2-40B4-BE49-F238E27FC236}">
                  <a16:creationId xmlns:a16="http://schemas.microsoft.com/office/drawing/2014/main" id="{CF44F756-8377-4F3D-AF6F-8A2AC59D2C26}"/>
                </a:ext>
              </a:extLst>
            </p:cNvPr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7951788" y="3013076"/>
              <a:ext cx="207962" cy="455613"/>
            </a:xfrm>
            <a:custGeom>
              <a:avLst/>
              <a:gdLst>
                <a:gd name="T0" fmla="*/ 164546 w 479"/>
                <a:gd name="T1" fmla="*/ 187389 h 868"/>
                <a:gd name="T2" fmla="*/ 144575 w 479"/>
                <a:gd name="T3" fmla="*/ 194213 h 868"/>
                <a:gd name="T4" fmla="*/ 136326 w 479"/>
                <a:gd name="T5" fmla="*/ 204711 h 868"/>
                <a:gd name="T6" fmla="*/ 137194 w 479"/>
                <a:gd name="T7" fmla="*/ 224657 h 868"/>
                <a:gd name="T8" fmla="*/ 152824 w 479"/>
                <a:gd name="T9" fmla="*/ 258251 h 868"/>
                <a:gd name="T10" fmla="*/ 155863 w 479"/>
                <a:gd name="T11" fmla="*/ 278197 h 868"/>
                <a:gd name="T12" fmla="*/ 158902 w 479"/>
                <a:gd name="T13" fmla="*/ 291319 h 868"/>
                <a:gd name="T14" fmla="*/ 140233 w 479"/>
                <a:gd name="T15" fmla="*/ 276097 h 868"/>
                <a:gd name="T16" fmla="*/ 134155 w 479"/>
                <a:gd name="T17" fmla="*/ 258251 h 868"/>
                <a:gd name="T18" fmla="*/ 116789 w 479"/>
                <a:gd name="T19" fmla="*/ 245128 h 868"/>
                <a:gd name="T20" fmla="*/ 91173 w 479"/>
                <a:gd name="T21" fmla="*/ 230431 h 868"/>
                <a:gd name="T22" fmla="*/ 83793 w 479"/>
                <a:gd name="T23" fmla="*/ 213109 h 868"/>
                <a:gd name="T24" fmla="*/ 67729 w 479"/>
                <a:gd name="T25" fmla="*/ 250377 h 868"/>
                <a:gd name="T26" fmla="*/ 67729 w 479"/>
                <a:gd name="T27" fmla="*/ 275047 h 868"/>
                <a:gd name="T28" fmla="*/ 57309 w 479"/>
                <a:gd name="T29" fmla="*/ 301817 h 868"/>
                <a:gd name="T30" fmla="*/ 55572 w 479"/>
                <a:gd name="T31" fmla="*/ 325963 h 868"/>
                <a:gd name="T32" fmla="*/ 66860 w 479"/>
                <a:gd name="T33" fmla="*/ 341185 h 868"/>
                <a:gd name="T34" fmla="*/ 75978 w 479"/>
                <a:gd name="T35" fmla="*/ 359556 h 868"/>
                <a:gd name="T36" fmla="*/ 80319 w 479"/>
                <a:gd name="T37" fmla="*/ 383177 h 868"/>
                <a:gd name="T38" fmla="*/ 98120 w 479"/>
                <a:gd name="T39" fmla="*/ 409422 h 868"/>
                <a:gd name="T40" fmla="*/ 121999 w 479"/>
                <a:gd name="T41" fmla="*/ 433042 h 868"/>
                <a:gd name="T42" fmla="*/ 147614 w 479"/>
                <a:gd name="T43" fmla="*/ 446165 h 868"/>
                <a:gd name="T44" fmla="*/ 129379 w 479"/>
                <a:gd name="T45" fmla="*/ 455088 h 868"/>
                <a:gd name="T46" fmla="*/ 116789 w 479"/>
                <a:gd name="T47" fmla="*/ 453513 h 868"/>
                <a:gd name="T48" fmla="*/ 99422 w 479"/>
                <a:gd name="T49" fmla="*/ 441441 h 868"/>
                <a:gd name="T50" fmla="*/ 86832 w 479"/>
                <a:gd name="T51" fmla="*/ 431993 h 868"/>
                <a:gd name="T52" fmla="*/ 59480 w 479"/>
                <a:gd name="T53" fmla="*/ 398399 h 868"/>
                <a:gd name="T54" fmla="*/ 36035 w 479"/>
                <a:gd name="T55" fmla="*/ 383177 h 868"/>
                <a:gd name="T56" fmla="*/ 32128 w 479"/>
                <a:gd name="T57" fmla="*/ 361131 h 868"/>
                <a:gd name="T58" fmla="*/ 34733 w 479"/>
                <a:gd name="T59" fmla="*/ 342760 h 868"/>
                <a:gd name="T60" fmla="*/ 38206 w 479"/>
                <a:gd name="T61" fmla="*/ 323863 h 868"/>
                <a:gd name="T62" fmla="*/ 52099 w 479"/>
                <a:gd name="T63" fmla="*/ 261400 h 868"/>
                <a:gd name="T64" fmla="*/ 46889 w 479"/>
                <a:gd name="T65" fmla="*/ 212060 h 868"/>
                <a:gd name="T66" fmla="*/ 26918 w 479"/>
                <a:gd name="T67" fmla="*/ 167443 h 868"/>
                <a:gd name="T68" fmla="*/ 27786 w 479"/>
                <a:gd name="T69" fmla="*/ 149596 h 868"/>
                <a:gd name="T70" fmla="*/ 32128 w 479"/>
                <a:gd name="T71" fmla="*/ 139098 h 868"/>
                <a:gd name="T72" fmla="*/ 24313 w 479"/>
                <a:gd name="T73" fmla="*/ 106030 h 868"/>
                <a:gd name="T74" fmla="*/ 9986 w 479"/>
                <a:gd name="T75" fmla="*/ 82934 h 868"/>
                <a:gd name="T76" fmla="*/ 434 w 479"/>
                <a:gd name="T77" fmla="*/ 53540 h 868"/>
                <a:gd name="T78" fmla="*/ 4776 w 479"/>
                <a:gd name="T79" fmla="*/ 23096 h 868"/>
                <a:gd name="T80" fmla="*/ 21274 w 479"/>
                <a:gd name="T81" fmla="*/ 8398 h 868"/>
                <a:gd name="T82" fmla="*/ 52099 w 479"/>
                <a:gd name="T83" fmla="*/ 0 h 868"/>
                <a:gd name="T84" fmla="*/ 67729 w 479"/>
                <a:gd name="T85" fmla="*/ 14697 h 868"/>
                <a:gd name="T86" fmla="*/ 77714 w 479"/>
                <a:gd name="T87" fmla="*/ 18896 h 868"/>
                <a:gd name="T88" fmla="*/ 85529 w 479"/>
                <a:gd name="T89" fmla="*/ 71386 h 868"/>
                <a:gd name="T90" fmla="*/ 92476 w 479"/>
                <a:gd name="T91" fmla="*/ 87133 h 868"/>
                <a:gd name="T92" fmla="*/ 100291 w 479"/>
                <a:gd name="T93" fmla="*/ 81359 h 868"/>
                <a:gd name="T94" fmla="*/ 112013 w 479"/>
                <a:gd name="T95" fmla="*/ 66137 h 868"/>
                <a:gd name="T96" fmla="*/ 121999 w 479"/>
                <a:gd name="T97" fmla="*/ 74011 h 868"/>
                <a:gd name="T98" fmla="*/ 129379 w 479"/>
                <a:gd name="T99" fmla="*/ 71386 h 868"/>
                <a:gd name="T100" fmla="*/ 137194 w 479"/>
                <a:gd name="T101" fmla="*/ 56689 h 868"/>
                <a:gd name="T102" fmla="*/ 150219 w 479"/>
                <a:gd name="T103" fmla="*/ 56689 h 868"/>
                <a:gd name="T104" fmla="*/ 168019 w 479"/>
                <a:gd name="T105" fmla="*/ 82409 h 868"/>
                <a:gd name="T106" fmla="*/ 197108 w 479"/>
                <a:gd name="T107" fmla="*/ 129125 h 868"/>
                <a:gd name="T108" fmla="*/ 207528 w 479"/>
                <a:gd name="T109" fmla="*/ 161144 h 868"/>
                <a:gd name="T110" fmla="*/ 203186 w 479"/>
                <a:gd name="T111" fmla="*/ 177416 h 8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" name="Freeform 25">
              <a:extLst>
                <a:ext uri="{FF2B5EF4-FFF2-40B4-BE49-F238E27FC236}">
                  <a16:creationId xmlns:a16="http://schemas.microsoft.com/office/drawing/2014/main" id="{A13EA8CA-FB04-4F1D-888E-89C180785866}"/>
                </a:ext>
              </a:extLst>
            </p:cNvPr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4060826" y="5400675"/>
              <a:ext cx="23813" cy="57150"/>
            </a:xfrm>
            <a:custGeom>
              <a:avLst/>
              <a:gdLst>
                <a:gd name="T0" fmla="*/ 0 w 53"/>
                <a:gd name="T1" fmla="*/ 24063 h 19"/>
                <a:gd name="T2" fmla="*/ 3145 w 53"/>
                <a:gd name="T3" fmla="*/ 39103 h 19"/>
                <a:gd name="T4" fmla="*/ 6290 w 53"/>
                <a:gd name="T5" fmla="*/ 51134 h 19"/>
                <a:gd name="T6" fmla="*/ 9885 w 53"/>
                <a:gd name="T7" fmla="*/ 57150 h 19"/>
                <a:gd name="T8" fmla="*/ 13030 w 53"/>
                <a:gd name="T9" fmla="*/ 57150 h 19"/>
                <a:gd name="T10" fmla="*/ 15726 w 53"/>
                <a:gd name="T11" fmla="*/ 54142 h 19"/>
                <a:gd name="T12" fmla="*/ 18871 w 53"/>
                <a:gd name="T13" fmla="*/ 45118 h 19"/>
                <a:gd name="T14" fmla="*/ 21117 w 53"/>
                <a:gd name="T15" fmla="*/ 36095 h 19"/>
                <a:gd name="T16" fmla="*/ 23813 w 53"/>
                <a:gd name="T17" fmla="*/ 24063 h 19"/>
                <a:gd name="T18" fmla="*/ 21117 w 53"/>
                <a:gd name="T19" fmla="*/ 15039 h 19"/>
                <a:gd name="T20" fmla="*/ 18871 w 53"/>
                <a:gd name="T21" fmla="*/ 6016 h 19"/>
                <a:gd name="T22" fmla="*/ 15726 w 53"/>
                <a:gd name="T23" fmla="*/ 3008 h 19"/>
                <a:gd name="T24" fmla="*/ 13030 w 53"/>
                <a:gd name="T25" fmla="*/ 0 h 19"/>
                <a:gd name="T26" fmla="*/ 9885 w 53"/>
                <a:gd name="T27" fmla="*/ 0 h 19"/>
                <a:gd name="T28" fmla="*/ 6290 w 53"/>
                <a:gd name="T29" fmla="*/ 3008 h 19"/>
                <a:gd name="T30" fmla="*/ 3145 w 53"/>
                <a:gd name="T31" fmla="*/ 9024 h 19"/>
                <a:gd name="T32" fmla="*/ 0 w 53"/>
                <a:gd name="T33" fmla="*/ 24063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" name="Line 26" descr="Horizontal dunkel">
              <a:extLst>
                <a:ext uri="{FF2B5EF4-FFF2-40B4-BE49-F238E27FC236}">
                  <a16:creationId xmlns:a16="http://schemas.microsoft.com/office/drawing/2014/main" id="{F85F3B6B-F825-42FF-A56B-2392A45401CB}"/>
                </a:ext>
              </a:extLst>
            </p:cNvPr>
            <p:cNvSpPr>
              <a:spLocks noChangeShapeType="1"/>
            </p:cNvSpPr>
            <p:nvPr>
              <p:custDataLst>
                <p:tags r:id="rId21"/>
              </p:custDataLst>
            </p:nvPr>
          </p:nvSpPr>
          <p:spPr bwMode="auto">
            <a:xfrm>
              <a:off x="2522539" y="2322514"/>
              <a:ext cx="3175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" name="Freeform 27">
              <a:extLst>
                <a:ext uri="{FF2B5EF4-FFF2-40B4-BE49-F238E27FC236}">
                  <a16:creationId xmlns:a16="http://schemas.microsoft.com/office/drawing/2014/main" id="{4D9D9BED-8B87-4915-8C64-4134A574539C}"/>
                </a:ext>
              </a:extLst>
            </p:cNvPr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2525714" y="2319338"/>
              <a:ext cx="3175" cy="55562"/>
            </a:xfrm>
            <a:custGeom>
              <a:avLst/>
              <a:gdLst>
                <a:gd name="T0" fmla="*/ 0 w 6"/>
                <a:gd name="T1" fmla="*/ 55562 h 24"/>
                <a:gd name="T2" fmla="*/ 0 w 6"/>
                <a:gd name="T3" fmla="*/ 43987 h 24"/>
                <a:gd name="T4" fmla="*/ 529 w 6"/>
                <a:gd name="T5" fmla="*/ 32411 h 24"/>
                <a:gd name="T6" fmla="*/ 1588 w 6"/>
                <a:gd name="T7" fmla="*/ 18521 h 24"/>
                <a:gd name="T8" fmla="*/ 3175 w 6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5" name="Freeform 28">
              <a:extLst>
                <a:ext uri="{FF2B5EF4-FFF2-40B4-BE49-F238E27FC236}">
                  <a16:creationId xmlns:a16="http://schemas.microsoft.com/office/drawing/2014/main" id="{9A191328-7D04-43A6-89A8-05F25B8C79C9}"/>
                </a:ext>
              </a:extLst>
            </p:cNvPr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2501901" y="2373313"/>
              <a:ext cx="23813" cy="57150"/>
            </a:xfrm>
            <a:custGeom>
              <a:avLst/>
              <a:gdLst>
                <a:gd name="T0" fmla="*/ 0 w 47"/>
                <a:gd name="T1" fmla="*/ 20472 h 67"/>
                <a:gd name="T2" fmla="*/ 0 w 47"/>
                <a:gd name="T3" fmla="*/ 25590 h 67"/>
                <a:gd name="T4" fmla="*/ 1013 w 47"/>
                <a:gd name="T5" fmla="*/ 30707 h 67"/>
                <a:gd name="T6" fmla="*/ 1520 w 47"/>
                <a:gd name="T7" fmla="*/ 35825 h 67"/>
                <a:gd name="T8" fmla="*/ 2533 w 47"/>
                <a:gd name="T9" fmla="*/ 40090 h 67"/>
                <a:gd name="T10" fmla="*/ 4560 w 47"/>
                <a:gd name="T11" fmla="*/ 49473 h 67"/>
                <a:gd name="T12" fmla="*/ 7093 w 47"/>
                <a:gd name="T13" fmla="*/ 57150 h 67"/>
                <a:gd name="T14" fmla="*/ 23813 w 47"/>
                <a:gd name="T15" fmla="*/ 57150 h 67"/>
                <a:gd name="T16" fmla="*/ 23813 w 47"/>
                <a:gd name="T17" fmla="*/ 0 h 67"/>
                <a:gd name="T18" fmla="*/ 18240 w 47"/>
                <a:gd name="T19" fmla="*/ 1706 h 67"/>
                <a:gd name="T20" fmla="*/ 13173 w 47"/>
                <a:gd name="T21" fmla="*/ 3412 h 67"/>
                <a:gd name="T22" fmla="*/ 9120 w 47"/>
                <a:gd name="T23" fmla="*/ 5971 h 67"/>
                <a:gd name="T24" fmla="*/ 5573 w 47"/>
                <a:gd name="T25" fmla="*/ 7677 h 67"/>
                <a:gd name="T26" fmla="*/ 3040 w 47"/>
                <a:gd name="T27" fmla="*/ 10236 h 67"/>
                <a:gd name="T28" fmla="*/ 1520 w 47"/>
                <a:gd name="T29" fmla="*/ 13648 h 67"/>
                <a:gd name="T30" fmla="*/ 0 w 47"/>
                <a:gd name="T31" fmla="*/ 17060 h 67"/>
                <a:gd name="T32" fmla="*/ 0 w 47"/>
                <a:gd name="T33" fmla="*/ 20472 h 6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" name="Freeform 29">
              <a:extLst>
                <a:ext uri="{FF2B5EF4-FFF2-40B4-BE49-F238E27FC236}">
                  <a16:creationId xmlns:a16="http://schemas.microsoft.com/office/drawing/2014/main" id="{8829631C-876B-4923-907F-A6DA26D9A520}"/>
                </a:ext>
              </a:extLst>
            </p:cNvPr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3827463" y="2368550"/>
              <a:ext cx="49212" cy="57150"/>
            </a:xfrm>
            <a:custGeom>
              <a:avLst/>
              <a:gdLst>
                <a:gd name="T0" fmla="*/ 0 w 112"/>
                <a:gd name="T1" fmla="*/ 57150 h 36"/>
                <a:gd name="T2" fmla="*/ 25924 w 112"/>
                <a:gd name="T3" fmla="*/ 57150 h 36"/>
                <a:gd name="T4" fmla="*/ 29439 w 112"/>
                <a:gd name="T5" fmla="*/ 47625 h 36"/>
                <a:gd name="T6" fmla="*/ 32954 w 112"/>
                <a:gd name="T7" fmla="*/ 41275 h 36"/>
                <a:gd name="T8" fmla="*/ 36909 w 112"/>
                <a:gd name="T9" fmla="*/ 36513 h 36"/>
                <a:gd name="T10" fmla="*/ 39985 w 112"/>
                <a:gd name="T11" fmla="*/ 31750 h 36"/>
                <a:gd name="T12" fmla="*/ 43061 w 112"/>
                <a:gd name="T13" fmla="*/ 26988 h 36"/>
                <a:gd name="T14" fmla="*/ 45697 w 112"/>
                <a:gd name="T15" fmla="*/ 20638 h 36"/>
                <a:gd name="T16" fmla="*/ 47015 w 112"/>
                <a:gd name="T17" fmla="*/ 17463 h 36"/>
                <a:gd name="T18" fmla="*/ 47894 w 112"/>
                <a:gd name="T19" fmla="*/ 12700 h 36"/>
                <a:gd name="T20" fmla="*/ 48773 w 112"/>
                <a:gd name="T21" fmla="*/ 6350 h 36"/>
                <a:gd name="T22" fmla="*/ 49212 w 112"/>
                <a:gd name="T23" fmla="*/ 0 h 36"/>
                <a:gd name="T24" fmla="*/ 43939 w 112"/>
                <a:gd name="T25" fmla="*/ 0 h 36"/>
                <a:gd name="T26" fmla="*/ 37348 w 112"/>
                <a:gd name="T27" fmla="*/ 1588 h 36"/>
                <a:gd name="T28" fmla="*/ 29439 w 112"/>
                <a:gd name="T29" fmla="*/ 4763 h 36"/>
                <a:gd name="T30" fmla="*/ 21091 w 112"/>
                <a:gd name="T31" fmla="*/ 11113 h 36"/>
                <a:gd name="T32" fmla="*/ 17576 w 112"/>
                <a:gd name="T33" fmla="*/ 14288 h 36"/>
                <a:gd name="T34" fmla="*/ 13621 w 112"/>
                <a:gd name="T35" fmla="*/ 17463 h 36"/>
                <a:gd name="T36" fmla="*/ 10106 w 112"/>
                <a:gd name="T37" fmla="*/ 22225 h 36"/>
                <a:gd name="T38" fmla="*/ 7470 w 112"/>
                <a:gd name="T39" fmla="*/ 28575 h 36"/>
                <a:gd name="T40" fmla="*/ 4394 w 112"/>
                <a:gd name="T41" fmla="*/ 34925 h 36"/>
                <a:gd name="T42" fmla="*/ 2636 w 112"/>
                <a:gd name="T43" fmla="*/ 41275 h 36"/>
                <a:gd name="T44" fmla="*/ 439 w 112"/>
                <a:gd name="T45" fmla="*/ 49213 h 36"/>
                <a:gd name="T46" fmla="*/ 0 w 112"/>
                <a:gd name="T47" fmla="*/ 57150 h 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" name="Freeform 30">
              <a:extLst>
                <a:ext uri="{FF2B5EF4-FFF2-40B4-BE49-F238E27FC236}">
                  <a16:creationId xmlns:a16="http://schemas.microsoft.com/office/drawing/2014/main" id="{3C43A74C-4236-4C4A-AF3D-4223C0E0F8EC}"/>
                </a:ext>
              </a:extLst>
            </p:cNvPr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6565901" y="1925639"/>
              <a:ext cx="874713" cy="452437"/>
            </a:xfrm>
            <a:custGeom>
              <a:avLst/>
              <a:gdLst>
                <a:gd name="T0" fmla="*/ 188809 w 2006"/>
                <a:gd name="T1" fmla="*/ 401059 h 863"/>
                <a:gd name="T2" fmla="*/ 179652 w 2006"/>
                <a:gd name="T3" fmla="*/ 400535 h 863"/>
                <a:gd name="T4" fmla="*/ 170059 w 2006"/>
                <a:gd name="T5" fmla="*/ 416263 h 863"/>
                <a:gd name="T6" fmla="*/ 163518 w 2006"/>
                <a:gd name="T7" fmla="*/ 415214 h 863"/>
                <a:gd name="T8" fmla="*/ 161338 w 2006"/>
                <a:gd name="T9" fmla="*/ 393720 h 863"/>
                <a:gd name="T10" fmla="*/ 141280 w 2006"/>
                <a:gd name="T11" fmla="*/ 379565 h 863"/>
                <a:gd name="T12" fmla="*/ 136047 w 2006"/>
                <a:gd name="T13" fmla="*/ 371177 h 863"/>
                <a:gd name="T14" fmla="*/ 125582 w 2006"/>
                <a:gd name="T15" fmla="*/ 362788 h 863"/>
                <a:gd name="T16" fmla="*/ 109448 w 2006"/>
                <a:gd name="T17" fmla="*/ 336051 h 863"/>
                <a:gd name="T18" fmla="*/ 101163 w 2006"/>
                <a:gd name="T19" fmla="*/ 319799 h 863"/>
                <a:gd name="T20" fmla="*/ 110320 w 2006"/>
                <a:gd name="T21" fmla="*/ 311411 h 863"/>
                <a:gd name="T22" fmla="*/ 121657 w 2006"/>
                <a:gd name="T23" fmla="*/ 300401 h 863"/>
                <a:gd name="T24" fmla="*/ 147384 w 2006"/>
                <a:gd name="T25" fmla="*/ 285198 h 863"/>
                <a:gd name="T26" fmla="*/ 139099 w 2006"/>
                <a:gd name="T27" fmla="*/ 255315 h 863"/>
                <a:gd name="T28" fmla="*/ 112500 w 2006"/>
                <a:gd name="T29" fmla="*/ 249024 h 863"/>
                <a:gd name="T30" fmla="*/ 91134 w 2006"/>
                <a:gd name="T31" fmla="*/ 246403 h 863"/>
                <a:gd name="T32" fmla="*/ 68460 w 2006"/>
                <a:gd name="T33" fmla="*/ 259509 h 863"/>
                <a:gd name="T34" fmla="*/ 46221 w 2006"/>
                <a:gd name="T35" fmla="*/ 264752 h 863"/>
                <a:gd name="T36" fmla="*/ 11773 w 2006"/>
                <a:gd name="T37" fmla="*/ 216520 h 863"/>
                <a:gd name="T38" fmla="*/ 8721 w 2006"/>
                <a:gd name="T39" fmla="*/ 148366 h 863"/>
                <a:gd name="T40" fmla="*/ 49273 w 2006"/>
                <a:gd name="T41" fmla="*/ 135784 h 863"/>
                <a:gd name="T42" fmla="*/ 127326 w 2006"/>
                <a:gd name="T43" fmla="*/ 116386 h 863"/>
                <a:gd name="T44" fmla="*/ 217152 w 2006"/>
                <a:gd name="T45" fmla="*/ 132638 h 863"/>
                <a:gd name="T46" fmla="*/ 312647 w 2006"/>
                <a:gd name="T47" fmla="*/ 132638 h 863"/>
                <a:gd name="T48" fmla="*/ 286920 w 2006"/>
                <a:gd name="T49" fmla="*/ 96988 h 863"/>
                <a:gd name="T50" fmla="*/ 361920 w 2006"/>
                <a:gd name="T51" fmla="*/ 35650 h 863"/>
                <a:gd name="T52" fmla="*/ 457851 w 2006"/>
                <a:gd name="T53" fmla="*/ 6815 h 863"/>
                <a:gd name="T54" fmla="*/ 512793 w 2006"/>
                <a:gd name="T55" fmla="*/ 31980 h 863"/>
                <a:gd name="T56" fmla="*/ 565119 w 2006"/>
                <a:gd name="T57" fmla="*/ 58193 h 863"/>
                <a:gd name="T58" fmla="*/ 628782 w 2006"/>
                <a:gd name="T59" fmla="*/ 51902 h 863"/>
                <a:gd name="T60" fmla="*/ 718172 w 2006"/>
                <a:gd name="T61" fmla="*/ 142075 h 863"/>
                <a:gd name="T62" fmla="*/ 781835 w 2006"/>
                <a:gd name="T63" fmla="*/ 138929 h 863"/>
                <a:gd name="T64" fmla="*/ 872097 w 2006"/>
                <a:gd name="T65" fmla="*/ 177724 h 863"/>
                <a:gd name="T66" fmla="*/ 872969 w 2006"/>
                <a:gd name="T67" fmla="*/ 199743 h 863"/>
                <a:gd name="T68" fmla="*/ 863812 w 2006"/>
                <a:gd name="T69" fmla="*/ 209180 h 863"/>
                <a:gd name="T70" fmla="*/ 854655 w 2006"/>
                <a:gd name="T71" fmla="*/ 211801 h 863"/>
                <a:gd name="T72" fmla="*/ 855963 w 2006"/>
                <a:gd name="T73" fmla="*/ 222811 h 863"/>
                <a:gd name="T74" fmla="*/ 865556 w 2006"/>
                <a:gd name="T75" fmla="*/ 244305 h 863"/>
                <a:gd name="T76" fmla="*/ 862940 w 2006"/>
                <a:gd name="T77" fmla="*/ 250597 h 863"/>
                <a:gd name="T78" fmla="*/ 845498 w 2006"/>
                <a:gd name="T79" fmla="*/ 252169 h 863"/>
                <a:gd name="T80" fmla="*/ 825440 w 2006"/>
                <a:gd name="T81" fmla="*/ 248500 h 863"/>
                <a:gd name="T82" fmla="*/ 812794 w 2006"/>
                <a:gd name="T83" fmla="*/ 248500 h 863"/>
                <a:gd name="T84" fmla="*/ 818899 w 2006"/>
                <a:gd name="T85" fmla="*/ 287295 h 863"/>
                <a:gd name="T86" fmla="*/ 819771 w 2006"/>
                <a:gd name="T87" fmla="*/ 307217 h 863"/>
                <a:gd name="T88" fmla="*/ 780091 w 2006"/>
                <a:gd name="T89" fmla="*/ 308265 h 863"/>
                <a:gd name="T90" fmla="*/ 770933 w 2006"/>
                <a:gd name="T91" fmla="*/ 316653 h 863"/>
                <a:gd name="T92" fmla="*/ 782707 w 2006"/>
                <a:gd name="T93" fmla="*/ 324517 h 863"/>
                <a:gd name="T94" fmla="*/ 790992 w 2006"/>
                <a:gd name="T95" fmla="*/ 340769 h 863"/>
                <a:gd name="T96" fmla="*/ 799713 w 2006"/>
                <a:gd name="T97" fmla="*/ 361216 h 863"/>
                <a:gd name="T98" fmla="*/ 801021 w 2006"/>
                <a:gd name="T99" fmla="*/ 370128 h 863"/>
                <a:gd name="T100" fmla="*/ 801021 w 2006"/>
                <a:gd name="T101" fmla="*/ 395293 h 863"/>
                <a:gd name="T102" fmla="*/ 759160 w 2006"/>
                <a:gd name="T103" fmla="*/ 387953 h 863"/>
                <a:gd name="T104" fmla="*/ 643171 w 2006"/>
                <a:gd name="T105" fmla="*/ 400535 h 863"/>
                <a:gd name="T106" fmla="*/ 573840 w 2006"/>
                <a:gd name="T107" fmla="*/ 416787 h 863"/>
                <a:gd name="T108" fmla="*/ 497967 w 2006"/>
                <a:gd name="T109" fmla="*/ 439330 h 863"/>
                <a:gd name="T110" fmla="*/ 419915 w 2006"/>
                <a:gd name="T111" fmla="*/ 365410 h 863"/>
                <a:gd name="T112" fmla="*/ 298257 w 2006"/>
                <a:gd name="T113" fmla="*/ 307217 h 863"/>
                <a:gd name="T114" fmla="*/ 254652 w 2006"/>
                <a:gd name="T115" fmla="*/ 436185 h 86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" name="Freeform 31">
              <a:extLst>
                <a:ext uri="{FF2B5EF4-FFF2-40B4-BE49-F238E27FC236}">
                  <a16:creationId xmlns:a16="http://schemas.microsoft.com/office/drawing/2014/main" id="{48075333-0DB2-4718-84F2-B032104C13D4}"/>
                </a:ext>
              </a:extLst>
            </p:cNvPr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6796089" y="2228850"/>
              <a:ext cx="409575" cy="249238"/>
            </a:xfrm>
            <a:custGeom>
              <a:avLst/>
              <a:gdLst>
                <a:gd name="T0" fmla="*/ 275062 w 950"/>
                <a:gd name="T1" fmla="*/ 235924 h 468"/>
                <a:gd name="T2" fmla="*/ 240571 w 950"/>
                <a:gd name="T3" fmla="*/ 222610 h 468"/>
                <a:gd name="T4" fmla="*/ 203063 w 950"/>
                <a:gd name="T5" fmla="*/ 200242 h 468"/>
                <a:gd name="T6" fmla="*/ 169004 w 950"/>
                <a:gd name="T7" fmla="*/ 163496 h 468"/>
                <a:gd name="T8" fmla="*/ 131495 w 950"/>
                <a:gd name="T9" fmla="*/ 137400 h 468"/>
                <a:gd name="T10" fmla="*/ 109076 w 950"/>
                <a:gd name="T11" fmla="*/ 111305 h 468"/>
                <a:gd name="T12" fmla="*/ 80190 w 950"/>
                <a:gd name="T13" fmla="*/ 91600 h 468"/>
                <a:gd name="T14" fmla="*/ 57341 w 950"/>
                <a:gd name="T15" fmla="*/ 101186 h 468"/>
                <a:gd name="T16" fmla="*/ 42682 w 950"/>
                <a:gd name="T17" fmla="*/ 127814 h 468"/>
                <a:gd name="T18" fmla="*/ 17245 w 950"/>
                <a:gd name="T19" fmla="*/ 131010 h 468"/>
                <a:gd name="T20" fmla="*/ 0 w 950"/>
                <a:gd name="T21" fmla="*/ 12781 h 468"/>
                <a:gd name="T22" fmla="*/ 34059 w 950"/>
                <a:gd name="T23" fmla="*/ 3195 h 468"/>
                <a:gd name="T24" fmla="*/ 57341 w 950"/>
                <a:gd name="T25" fmla="*/ 29291 h 468"/>
                <a:gd name="T26" fmla="*/ 67688 w 950"/>
                <a:gd name="T27" fmla="*/ 7988 h 468"/>
                <a:gd name="T28" fmla="*/ 143136 w 950"/>
                <a:gd name="T29" fmla="*/ 62310 h 468"/>
                <a:gd name="T30" fmla="*/ 188836 w 950"/>
                <a:gd name="T31" fmla="*/ 62310 h 468"/>
                <a:gd name="T32" fmla="*/ 226344 w 950"/>
                <a:gd name="T33" fmla="*/ 71896 h 468"/>
                <a:gd name="T34" fmla="*/ 257386 w 950"/>
                <a:gd name="T35" fmla="*/ 121424 h 468"/>
                <a:gd name="T36" fmla="*/ 289289 w 950"/>
                <a:gd name="T37" fmla="*/ 134205 h 468"/>
                <a:gd name="T38" fmla="*/ 314726 w 950"/>
                <a:gd name="T39" fmla="*/ 137400 h 468"/>
                <a:gd name="T40" fmla="*/ 341025 w 950"/>
                <a:gd name="T41" fmla="*/ 114500 h 468"/>
                <a:gd name="T42" fmla="*/ 363444 w 950"/>
                <a:gd name="T43" fmla="*/ 104382 h 468"/>
                <a:gd name="T44" fmla="*/ 355252 w 950"/>
                <a:gd name="T45" fmla="*/ 134205 h 468"/>
                <a:gd name="T46" fmla="*/ 375084 w 950"/>
                <a:gd name="T47" fmla="*/ 127814 h 468"/>
                <a:gd name="T48" fmla="*/ 409575 w 950"/>
                <a:gd name="T49" fmla="*/ 150714 h 468"/>
                <a:gd name="T50" fmla="*/ 380689 w 950"/>
                <a:gd name="T51" fmla="*/ 170419 h 468"/>
                <a:gd name="T52" fmla="*/ 355252 w 950"/>
                <a:gd name="T53" fmla="*/ 150714 h 468"/>
                <a:gd name="T54" fmla="*/ 329385 w 950"/>
                <a:gd name="T55" fmla="*/ 147519 h 468"/>
                <a:gd name="T56" fmla="*/ 317744 w 950"/>
                <a:gd name="T57" fmla="*/ 170419 h 468"/>
                <a:gd name="T58" fmla="*/ 294894 w 950"/>
                <a:gd name="T59" fmla="*/ 190124 h 468"/>
                <a:gd name="T60" fmla="*/ 306103 w 950"/>
                <a:gd name="T61" fmla="*/ 206633 h 468"/>
                <a:gd name="T62" fmla="*/ 320331 w 950"/>
                <a:gd name="T63" fmla="*/ 232729 h 468"/>
                <a:gd name="T64" fmla="*/ 309121 w 950"/>
                <a:gd name="T65" fmla="*/ 249238 h 468"/>
                <a:gd name="T66" fmla="*/ 303086 w 950"/>
                <a:gd name="T67" fmla="*/ 247640 h 468"/>
                <a:gd name="T68" fmla="*/ 294894 w 950"/>
                <a:gd name="T69" fmla="*/ 245510 h 468"/>
                <a:gd name="T70" fmla="*/ 283685 w 950"/>
                <a:gd name="T71" fmla="*/ 245510 h 46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9" name="Freeform 32">
              <a:extLst>
                <a:ext uri="{FF2B5EF4-FFF2-40B4-BE49-F238E27FC236}">
                  <a16:creationId xmlns:a16="http://schemas.microsoft.com/office/drawing/2014/main" id="{E8267191-C1F8-4FF0-9C20-27693B04E92C}"/>
                </a:ext>
              </a:extLst>
            </p:cNvPr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5603876" y="3232151"/>
              <a:ext cx="296863" cy="288925"/>
            </a:xfrm>
            <a:custGeom>
              <a:avLst/>
              <a:gdLst>
                <a:gd name="T0" fmla="*/ 2655 w 671"/>
                <a:gd name="T1" fmla="*/ 201563 h 549"/>
                <a:gd name="T2" fmla="*/ 3539 w 671"/>
                <a:gd name="T3" fmla="*/ 166303 h 549"/>
                <a:gd name="T4" fmla="*/ 7521 w 671"/>
                <a:gd name="T5" fmla="*/ 151041 h 549"/>
                <a:gd name="T6" fmla="*/ 23006 w 671"/>
                <a:gd name="T7" fmla="*/ 125253 h 549"/>
                <a:gd name="T8" fmla="*/ 31412 w 671"/>
                <a:gd name="T9" fmla="*/ 107886 h 549"/>
                <a:gd name="T10" fmla="*/ 32297 w 671"/>
                <a:gd name="T11" fmla="*/ 87888 h 549"/>
                <a:gd name="T12" fmla="*/ 32297 w 671"/>
                <a:gd name="T13" fmla="*/ 72100 h 549"/>
                <a:gd name="T14" fmla="*/ 23891 w 671"/>
                <a:gd name="T15" fmla="*/ 56838 h 549"/>
                <a:gd name="T16" fmla="*/ 26988 w 671"/>
                <a:gd name="T17" fmla="*/ 41576 h 549"/>
                <a:gd name="T18" fmla="*/ 33624 w 671"/>
                <a:gd name="T19" fmla="*/ 26314 h 549"/>
                <a:gd name="T20" fmla="*/ 42472 w 671"/>
                <a:gd name="T21" fmla="*/ 13157 h 549"/>
                <a:gd name="T22" fmla="*/ 53090 w 671"/>
                <a:gd name="T23" fmla="*/ 3684 h 549"/>
                <a:gd name="T24" fmla="*/ 64593 w 671"/>
                <a:gd name="T25" fmla="*/ 0 h 549"/>
                <a:gd name="T26" fmla="*/ 76538 w 671"/>
                <a:gd name="T27" fmla="*/ 2631 h 549"/>
                <a:gd name="T28" fmla="*/ 91138 w 671"/>
                <a:gd name="T29" fmla="*/ 13683 h 549"/>
                <a:gd name="T30" fmla="*/ 104411 w 671"/>
                <a:gd name="T31" fmla="*/ 23682 h 549"/>
                <a:gd name="T32" fmla="*/ 114586 w 671"/>
                <a:gd name="T33" fmla="*/ 26314 h 549"/>
                <a:gd name="T34" fmla="*/ 120338 w 671"/>
                <a:gd name="T35" fmla="*/ 23156 h 549"/>
                <a:gd name="T36" fmla="*/ 125647 w 671"/>
                <a:gd name="T37" fmla="*/ 18420 h 549"/>
                <a:gd name="T38" fmla="*/ 132726 w 671"/>
                <a:gd name="T39" fmla="*/ 16841 h 549"/>
                <a:gd name="T40" fmla="*/ 140689 w 671"/>
                <a:gd name="T41" fmla="*/ 20525 h 549"/>
                <a:gd name="T42" fmla="*/ 149095 w 671"/>
                <a:gd name="T43" fmla="*/ 34208 h 549"/>
                <a:gd name="T44" fmla="*/ 156174 w 671"/>
                <a:gd name="T45" fmla="*/ 41576 h 549"/>
                <a:gd name="T46" fmla="*/ 163695 w 671"/>
                <a:gd name="T47" fmla="*/ 42628 h 549"/>
                <a:gd name="T48" fmla="*/ 168562 w 671"/>
                <a:gd name="T49" fmla="*/ 39471 h 549"/>
                <a:gd name="T50" fmla="*/ 175640 w 671"/>
                <a:gd name="T51" fmla="*/ 29471 h 549"/>
                <a:gd name="T52" fmla="*/ 185373 w 671"/>
                <a:gd name="T53" fmla="*/ 19998 h 549"/>
                <a:gd name="T54" fmla="*/ 202628 w 671"/>
                <a:gd name="T55" fmla="*/ 11578 h 549"/>
                <a:gd name="T56" fmla="*/ 215458 w 671"/>
                <a:gd name="T57" fmla="*/ 13157 h 549"/>
                <a:gd name="T58" fmla="*/ 226076 w 671"/>
                <a:gd name="T59" fmla="*/ 18420 h 549"/>
                <a:gd name="T60" fmla="*/ 237579 w 671"/>
                <a:gd name="T61" fmla="*/ 22630 h 549"/>
                <a:gd name="T62" fmla="*/ 252621 w 671"/>
                <a:gd name="T63" fmla="*/ 20525 h 549"/>
                <a:gd name="T64" fmla="*/ 285803 w 671"/>
                <a:gd name="T65" fmla="*/ 35260 h 549"/>
                <a:gd name="T66" fmla="*/ 294208 w 671"/>
                <a:gd name="T67" fmla="*/ 55259 h 549"/>
                <a:gd name="T68" fmla="*/ 275627 w 671"/>
                <a:gd name="T69" fmla="*/ 96308 h 549"/>
                <a:gd name="T70" fmla="*/ 262354 w 671"/>
                <a:gd name="T71" fmla="*/ 122622 h 549"/>
                <a:gd name="T72" fmla="*/ 252179 w 671"/>
                <a:gd name="T73" fmla="*/ 153146 h 549"/>
                <a:gd name="T74" fmla="*/ 243330 w 671"/>
                <a:gd name="T75" fmla="*/ 180512 h 549"/>
                <a:gd name="T76" fmla="*/ 232270 w 671"/>
                <a:gd name="T77" fmla="*/ 214194 h 549"/>
                <a:gd name="T78" fmla="*/ 228288 w 671"/>
                <a:gd name="T79" fmla="*/ 222088 h 549"/>
                <a:gd name="T80" fmla="*/ 221209 w 671"/>
                <a:gd name="T81" fmla="*/ 231035 h 549"/>
                <a:gd name="T82" fmla="*/ 213246 w 671"/>
                <a:gd name="T83" fmla="*/ 233140 h 549"/>
                <a:gd name="T84" fmla="*/ 203070 w 671"/>
                <a:gd name="T85" fmla="*/ 227351 h 549"/>
                <a:gd name="T86" fmla="*/ 194664 w 671"/>
                <a:gd name="T87" fmla="*/ 221562 h 549"/>
                <a:gd name="T88" fmla="*/ 180507 w 671"/>
                <a:gd name="T89" fmla="*/ 223141 h 549"/>
                <a:gd name="T90" fmla="*/ 168562 w 671"/>
                <a:gd name="T91" fmla="*/ 232087 h 549"/>
                <a:gd name="T92" fmla="*/ 161040 w 671"/>
                <a:gd name="T93" fmla="*/ 246823 h 549"/>
                <a:gd name="T94" fmla="*/ 151307 w 671"/>
                <a:gd name="T95" fmla="*/ 274189 h 549"/>
                <a:gd name="T96" fmla="*/ 143786 w 671"/>
                <a:gd name="T97" fmla="*/ 288925 h 549"/>
                <a:gd name="T98" fmla="*/ 101314 w 671"/>
                <a:gd name="T99" fmla="*/ 287346 h 549"/>
                <a:gd name="T100" fmla="*/ 96005 w 671"/>
                <a:gd name="T101" fmla="*/ 288399 h 549"/>
                <a:gd name="T102" fmla="*/ 79193 w 671"/>
                <a:gd name="T103" fmla="*/ 285767 h 549"/>
                <a:gd name="T104" fmla="*/ 71229 w 671"/>
                <a:gd name="T105" fmla="*/ 284189 h 549"/>
                <a:gd name="T106" fmla="*/ 63708 w 671"/>
                <a:gd name="T107" fmla="*/ 279452 h 549"/>
                <a:gd name="T108" fmla="*/ 57072 w 671"/>
                <a:gd name="T109" fmla="*/ 271032 h 549"/>
                <a:gd name="T110" fmla="*/ 52648 w 671"/>
                <a:gd name="T111" fmla="*/ 261032 h 549"/>
                <a:gd name="T112" fmla="*/ 49993 w 671"/>
                <a:gd name="T113" fmla="*/ 248402 h 549"/>
                <a:gd name="T114" fmla="*/ 44242 w 671"/>
                <a:gd name="T115" fmla="*/ 242087 h 549"/>
                <a:gd name="T116" fmla="*/ 36721 w 671"/>
                <a:gd name="T117" fmla="*/ 235245 h 549"/>
                <a:gd name="T118" fmla="*/ 27872 w 671"/>
                <a:gd name="T119" fmla="*/ 227351 h 549"/>
                <a:gd name="T120" fmla="*/ 17254 w 671"/>
                <a:gd name="T121" fmla="*/ 225772 h 549"/>
                <a:gd name="T122" fmla="*/ 0 w 671"/>
                <a:gd name="T123" fmla="*/ 230508 h 54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0" name="Freeform 33">
              <a:extLst>
                <a:ext uri="{FF2B5EF4-FFF2-40B4-BE49-F238E27FC236}">
                  <a16:creationId xmlns:a16="http://schemas.microsoft.com/office/drawing/2014/main" id="{C2A8F468-A389-48C4-B34A-A8BD35165039}"/>
                </a:ext>
              </a:extLst>
            </p:cNvPr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6446838" y="3097213"/>
              <a:ext cx="152400" cy="169862"/>
            </a:xfrm>
            <a:custGeom>
              <a:avLst/>
              <a:gdLst>
                <a:gd name="T0" fmla="*/ 138778 w 358"/>
                <a:gd name="T1" fmla="*/ 168304 h 327"/>
                <a:gd name="T2" fmla="*/ 140906 w 358"/>
                <a:gd name="T3" fmla="*/ 166745 h 327"/>
                <a:gd name="T4" fmla="*/ 143460 w 358"/>
                <a:gd name="T5" fmla="*/ 165187 h 327"/>
                <a:gd name="T6" fmla="*/ 147292 w 358"/>
                <a:gd name="T7" fmla="*/ 165187 h 327"/>
                <a:gd name="T8" fmla="*/ 151549 w 358"/>
                <a:gd name="T9" fmla="*/ 168304 h 327"/>
                <a:gd name="T10" fmla="*/ 135798 w 358"/>
                <a:gd name="T11" fmla="*/ 148045 h 327"/>
                <a:gd name="T12" fmla="*/ 118344 w 358"/>
                <a:gd name="T13" fmla="*/ 122072 h 327"/>
                <a:gd name="T14" fmla="*/ 107702 w 358"/>
                <a:gd name="T15" fmla="*/ 105969 h 327"/>
                <a:gd name="T16" fmla="*/ 98762 w 358"/>
                <a:gd name="T17" fmla="*/ 96619 h 327"/>
                <a:gd name="T18" fmla="*/ 93228 w 358"/>
                <a:gd name="T19" fmla="*/ 94021 h 327"/>
                <a:gd name="T20" fmla="*/ 88545 w 358"/>
                <a:gd name="T21" fmla="*/ 93502 h 327"/>
                <a:gd name="T22" fmla="*/ 85565 w 358"/>
                <a:gd name="T23" fmla="*/ 92983 h 327"/>
                <a:gd name="T24" fmla="*/ 84714 w 358"/>
                <a:gd name="T25" fmla="*/ 90385 h 327"/>
                <a:gd name="T26" fmla="*/ 84288 w 358"/>
                <a:gd name="T27" fmla="*/ 88307 h 327"/>
                <a:gd name="T28" fmla="*/ 83011 w 358"/>
                <a:gd name="T29" fmla="*/ 87788 h 327"/>
                <a:gd name="T30" fmla="*/ 78328 w 358"/>
                <a:gd name="T31" fmla="*/ 89346 h 327"/>
                <a:gd name="T32" fmla="*/ 72794 w 358"/>
                <a:gd name="T33" fmla="*/ 89346 h 327"/>
                <a:gd name="T34" fmla="*/ 70240 w 358"/>
                <a:gd name="T35" fmla="*/ 87269 h 327"/>
                <a:gd name="T36" fmla="*/ 68112 w 358"/>
                <a:gd name="T37" fmla="*/ 83632 h 327"/>
                <a:gd name="T38" fmla="*/ 64706 w 358"/>
                <a:gd name="T39" fmla="*/ 74802 h 327"/>
                <a:gd name="T40" fmla="*/ 60875 w 358"/>
                <a:gd name="T41" fmla="*/ 68049 h 327"/>
                <a:gd name="T42" fmla="*/ 56618 w 358"/>
                <a:gd name="T43" fmla="*/ 61815 h 327"/>
                <a:gd name="T44" fmla="*/ 54064 w 358"/>
                <a:gd name="T45" fmla="*/ 54543 h 327"/>
                <a:gd name="T46" fmla="*/ 51935 w 358"/>
                <a:gd name="T47" fmla="*/ 43634 h 327"/>
                <a:gd name="T48" fmla="*/ 50658 w 358"/>
                <a:gd name="T49" fmla="*/ 27531 h 327"/>
                <a:gd name="T50" fmla="*/ 49807 w 358"/>
                <a:gd name="T51" fmla="*/ 11947 h 327"/>
                <a:gd name="T52" fmla="*/ 47678 w 358"/>
                <a:gd name="T53" fmla="*/ 0 h 327"/>
                <a:gd name="T54" fmla="*/ 31076 w 358"/>
                <a:gd name="T55" fmla="*/ 13506 h 327"/>
                <a:gd name="T56" fmla="*/ 25968 w 358"/>
                <a:gd name="T57" fmla="*/ 17142 h 327"/>
                <a:gd name="T58" fmla="*/ 14048 w 358"/>
                <a:gd name="T59" fmla="*/ 25973 h 327"/>
                <a:gd name="T60" fmla="*/ 8940 w 358"/>
                <a:gd name="T61" fmla="*/ 31687 h 327"/>
                <a:gd name="T62" fmla="*/ 7237 w 358"/>
                <a:gd name="T63" fmla="*/ 37401 h 327"/>
                <a:gd name="T64" fmla="*/ 6811 w 358"/>
                <a:gd name="T65" fmla="*/ 43115 h 327"/>
                <a:gd name="T66" fmla="*/ 8514 w 358"/>
                <a:gd name="T67" fmla="*/ 48309 h 327"/>
                <a:gd name="T68" fmla="*/ 9365 w 358"/>
                <a:gd name="T69" fmla="*/ 51946 h 327"/>
                <a:gd name="T70" fmla="*/ 8514 w 358"/>
                <a:gd name="T71" fmla="*/ 57140 h 327"/>
                <a:gd name="T72" fmla="*/ 6385 w 358"/>
                <a:gd name="T73" fmla="*/ 63893 h 327"/>
                <a:gd name="T74" fmla="*/ 2980 w 358"/>
                <a:gd name="T75" fmla="*/ 70646 h 327"/>
                <a:gd name="T76" fmla="*/ 0 w 358"/>
                <a:gd name="T77" fmla="*/ 80516 h 327"/>
                <a:gd name="T78" fmla="*/ 0 w 358"/>
                <a:gd name="T79" fmla="*/ 90385 h 327"/>
                <a:gd name="T80" fmla="*/ 2128 w 358"/>
                <a:gd name="T81" fmla="*/ 94541 h 327"/>
                <a:gd name="T82" fmla="*/ 4683 w 358"/>
                <a:gd name="T83" fmla="*/ 97138 h 327"/>
                <a:gd name="T84" fmla="*/ 8514 w 358"/>
                <a:gd name="T85" fmla="*/ 96619 h 327"/>
                <a:gd name="T86" fmla="*/ 18731 w 358"/>
                <a:gd name="T87" fmla="*/ 87269 h 327"/>
                <a:gd name="T88" fmla="*/ 25542 w 358"/>
                <a:gd name="T89" fmla="*/ 83632 h 327"/>
                <a:gd name="T90" fmla="*/ 32353 w 358"/>
                <a:gd name="T91" fmla="*/ 77918 h 327"/>
                <a:gd name="T92" fmla="*/ 39590 w 358"/>
                <a:gd name="T93" fmla="*/ 82593 h 327"/>
                <a:gd name="T94" fmla="*/ 46827 w 358"/>
                <a:gd name="T95" fmla="*/ 85191 h 327"/>
                <a:gd name="T96" fmla="*/ 60449 w 358"/>
                <a:gd name="T97" fmla="*/ 93502 h 327"/>
                <a:gd name="T98" fmla="*/ 69389 w 358"/>
                <a:gd name="T99" fmla="*/ 98697 h 327"/>
                <a:gd name="T100" fmla="*/ 83437 w 358"/>
                <a:gd name="T101" fmla="*/ 108566 h 327"/>
                <a:gd name="T102" fmla="*/ 93228 w 358"/>
                <a:gd name="T103" fmla="*/ 116878 h 327"/>
                <a:gd name="T104" fmla="*/ 104296 w 358"/>
                <a:gd name="T105" fmla="*/ 126747 h 327"/>
                <a:gd name="T106" fmla="*/ 108979 w 358"/>
                <a:gd name="T107" fmla="*/ 131942 h 327"/>
                <a:gd name="T108" fmla="*/ 113661 w 358"/>
                <a:gd name="T109" fmla="*/ 140253 h 327"/>
                <a:gd name="T110" fmla="*/ 114513 w 358"/>
                <a:gd name="T111" fmla="*/ 144928 h 327"/>
                <a:gd name="T112" fmla="*/ 114513 w 358"/>
                <a:gd name="T113" fmla="*/ 148564 h 327"/>
                <a:gd name="T114" fmla="*/ 114939 w 358"/>
                <a:gd name="T115" fmla="*/ 150642 h 327"/>
                <a:gd name="T116" fmla="*/ 117493 w 358"/>
                <a:gd name="T117" fmla="*/ 151681 h 327"/>
                <a:gd name="T118" fmla="*/ 124304 w 358"/>
                <a:gd name="T119" fmla="*/ 156876 h 327"/>
                <a:gd name="T120" fmla="*/ 135372 w 358"/>
                <a:gd name="T121" fmla="*/ 166745 h 3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1" name="Freeform 34">
              <a:extLst>
                <a:ext uri="{FF2B5EF4-FFF2-40B4-BE49-F238E27FC236}">
                  <a16:creationId xmlns:a16="http://schemas.microsoft.com/office/drawing/2014/main" id="{9E300F10-7649-4258-9759-90CD2E84C2CE}"/>
                </a:ext>
              </a:extLst>
            </p:cNvPr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5908676" y="2101850"/>
              <a:ext cx="125413" cy="57150"/>
            </a:xfrm>
            <a:custGeom>
              <a:avLst/>
              <a:gdLst>
                <a:gd name="T0" fmla="*/ 54117 w 292"/>
                <a:gd name="T1" fmla="*/ 0 h 99"/>
                <a:gd name="T2" fmla="*/ 65713 w 292"/>
                <a:gd name="T3" fmla="*/ 0 h 99"/>
                <a:gd name="T4" fmla="*/ 85040 w 292"/>
                <a:gd name="T5" fmla="*/ 577 h 99"/>
                <a:gd name="T6" fmla="*/ 107374 w 292"/>
                <a:gd name="T7" fmla="*/ 3464 h 99"/>
                <a:gd name="T8" fmla="*/ 125413 w 292"/>
                <a:gd name="T9" fmla="*/ 4041 h 99"/>
                <a:gd name="T10" fmla="*/ 124554 w 292"/>
                <a:gd name="T11" fmla="*/ 11545 h 99"/>
                <a:gd name="T12" fmla="*/ 122407 w 292"/>
                <a:gd name="T13" fmla="*/ 19050 h 99"/>
                <a:gd name="T14" fmla="*/ 119830 w 292"/>
                <a:gd name="T15" fmla="*/ 31750 h 99"/>
                <a:gd name="T16" fmla="*/ 57982 w 292"/>
                <a:gd name="T17" fmla="*/ 40409 h 99"/>
                <a:gd name="T18" fmla="*/ 42520 w 292"/>
                <a:gd name="T19" fmla="*/ 51377 h 99"/>
                <a:gd name="T20" fmla="*/ 33930 w 292"/>
                <a:gd name="T21" fmla="*/ 55418 h 99"/>
                <a:gd name="T22" fmla="*/ 28347 w 292"/>
                <a:gd name="T23" fmla="*/ 56573 h 99"/>
                <a:gd name="T24" fmla="*/ 23622 w 292"/>
                <a:gd name="T25" fmla="*/ 56573 h 99"/>
                <a:gd name="T26" fmla="*/ 19327 w 292"/>
                <a:gd name="T27" fmla="*/ 54264 h 99"/>
                <a:gd name="T28" fmla="*/ 14173 w 292"/>
                <a:gd name="T29" fmla="*/ 49645 h 99"/>
                <a:gd name="T30" fmla="*/ 8590 w 292"/>
                <a:gd name="T31" fmla="*/ 44450 h 99"/>
                <a:gd name="T32" fmla="*/ 3006 w 292"/>
                <a:gd name="T33" fmla="*/ 39832 h 99"/>
                <a:gd name="T34" fmla="*/ 429 w 292"/>
                <a:gd name="T35" fmla="*/ 32905 h 99"/>
                <a:gd name="T36" fmla="*/ 0 w 292"/>
                <a:gd name="T37" fmla="*/ 24245 h 99"/>
                <a:gd name="T38" fmla="*/ 429 w 292"/>
                <a:gd name="T39" fmla="*/ 14432 h 99"/>
                <a:gd name="T40" fmla="*/ 1288 w 292"/>
                <a:gd name="T41" fmla="*/ 11545 h 99"/>
                <a:gd name="T42" fmla="*/ 3865 w 292"/>
                <a:gd name="T43" fmla="*/ 10391 h 99"/>
                <a:gd name="T44" fmla="*/ 6442 w 292"/>
                <a:gd name="T45" fmla="*/ 12123 h 99"/>
                <a:gd name="T46" fmla="*/ 10737 w 292"/>
                <a:gd name="T47" fmla="*/ 16164 h 99"/>
                <a:gd name="T48" fmla="*/ 15032 w 292"/>
                <a:gd name="T49" fmla="*/ 18473 h 99"/>
                <a:gd name="T50" fmla="*/ 19327 w 292"/>
                <a:gd name="T51" fmla="*/ 19627 h 99"/>
                <a:gd name="T52" fmla="*/ 23193 w 292"/>
                <a:gd name="T53" fmla="*/ 19050 h 99"/>
                <a:gd name="T54" fmla="*/ 28776 w 292"/>
                <a:gd name="T55" fmla="*/ 16741 h 99"/>
                <a:gd name="T56" fmla="*/ 34789 w 292"/>
                <a:gd name="T57" fmla="*/ 10968 h 99"/>
                <a:gd name="T58" fmla="*/ 37796 w 292"/>
                <a:gd name="T59" fmla="*/ 6350 h 99"/>
                <a:gd name="T60" fmla="*/ 40373 w 292"/>
                <a:gd name="T61" fmla="*/ 3464 h 99"/>
                <a:gd name="T62" fmla="*/ 46815 w 292"/>
                <a:gd name="T63" fmla="*/ 577 h 9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2" name="Freeform 35">
              <a:extLst>
                <a:ext uri="{FF2B5EF4-FFF2-40B4-BE49-F238E27FC236}">
                  <a16:creationId xmlns:a16="http://schemas.microsoft.com/office/drawing/2014/main" id="{EDBEAA37-A51C-442B-9209-F16A42290563}"/>
                </a:ext>
              </a:extLst>
            </p:cNvPr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6772275" y="2822575"/>
              <a:ext cx="19050" cy="57150"/>
            </a:xfrm>
            <a:custGeom>
              <a:avLst/>
              <a:gdLst>
                <a:gd name="T0" fmla="*/ 17278 w 43"/>
                <a:gd name="T1" fmla="*/ 57150 h 93"/>
                <a:gd name="T2" fmla="*/ 13734 w 43"/>
                <a:gd name="T3" fmla="*/ 55921 h 93"/>
                <a:gd name="T4" fmla="*/ 11519 w 43"/>
                <a:gd name="T5" fmla="*/ 54692 h 93"/>
                <a:gd name="T6" fmla="*/ 9303 w 43"/>
                <a:gd name="T7" fmla="*/ 53463 h 93"/>
                <a:gd name="T8" fmla="*/ 7974 w 43"/>
                <a:gd name="T9" fmla="*/ 51619 h 93"/>
                <a:gd name="T10" fmla="*/ 6645 w 43"/>
                <a:gd name="T11" fmla="*/ 48547 h 93"/>
                <a:gd name="T12" fmla="*/ 6202 w 43"/>
                <a:gd name="T13" fmla="*/ 44860 h 93"/>
                <a:gd name="T14" fmla="*/ 5759 w 43"/>
                <a:gd name="T15" fmla="*/ 39944 h 93"/>
                <a:gd name="T16" fmla="*/ 4873 w 43"/>
                <a:gd name="T17" fmla="*/ 33798 h 93"/>
                <a:gd name="T18" fmla="*/ 4873 w 43"/>
                <a:gd name="T19" fmla="*/ 29497 h 93"/>
                <a:gd name="T20" fmla="*/ 3987 w 43"/>
                <a:gd name="T21" fmla="*/ 25810 h 93"/>
                <a:gd name="T22" fmla="*/ 2658 w 43"/>
                <a:gd name="T23" fmla="*/ 23352 h 93"/>
                <a:gd name="T24" fmla="*/ 1772 w 43"/>
                <a:gd name="T25" fmla="*/ 22123 h 93"/>
                <a:gd name="T26" fmla="*/ 886 w 43"/>
                <a:gd name="T27" fmla="*/ 20894 h 93"/>
                <a:gd name="T28" fmla="*/ 0 w 43"/>
                <a:gd name="T29" fmla="*/ 19665 h 93"/>
                <a:gd name="T30" fmla="*/ 886 w 43"/>
                <a:gd name="T31" fmla="*/ 17821 h 93"/>
                <a:gd name="T32" fmla="*/ 2215 w 43"/>
                <a:gd name="T33" fmla="*/ 14748 h 93"/>
                <a:gd name="T34" fmla="*/ 2658 w 43"/>
                <a:gd name="T35" fmla="*/ 17206 h 93"/>
                <a:gd name="T36" fmla="*/ 3101 w 43"/>
                <a:gd name="T37" fmla="*/ 17821 h 93"/>
                <a:gd name="T38" fmla="*/ 3544 w 43"/>
                <a:gd name="T39" fmla="*/ 18435 h 93"/>
                <a:gd name="T40" fmla="*/ 3987 w 43"/>
                <a:gd name="T41" fmla="*/ 17821 h 93"/>
                <a:gd name="T42" fmla="*/ 4873 w 43"/>
                <a:gd name="T43" fmla="*/ 15363 h 93"/>
                <a:gd name="T44" fmla="*/ 6202 w 43"/>
                <a:gd name="T45" fmla="*/ 11676 h 93"/>
                <a:gd name="T46" fmla="*/ 7088 w 43"/>
                <a:gd name="T47" fmla="*/ 7374 h 93"/>
                <a:gd name="T48" fmla="*/ 8860 w 43"/>
                <a:gd name="T49" fmla="*/ 3687 h 93"/>
                <a:gd name="T50" fmla="*/ 9747 w 43"/>
                <a:gd name="T51" fmla="*/ 2458 h 93"/>
                <a:gd name="T52" fmla="*/ 11076 w 43"/>
                <a:gd name="T53" fmla="*/ 1229 h 93"/>
                <a:gd name="T54" fmla="*/ 12405 w 43"/>
                <a:gd name="T55" fmla="*/ 0 h 93"/>
                <a:gd name="T56" fmla="*/ 14177 w 43"/>
                <a:gd name="T57" fmla="*/ 0 h 93"/>
                <a:gd name="T58" fmla="*/ 14620 w 43"/>
                <a:gd name="T59" fmla="*/ 6145 h 93"/>
                <a:gd name="T60" fmla="*/ 14620 w 43"/>
                <a:gd name="T61" fmla="*/ 9832 h 93"/>
                <a:gd name="T62" fmla="*/ 14620 w 43"/>
                <a:gd name="T63" fmla="*/ 12290 h 93"/>
                <a:gd name="T64" fmla="*/ 14177 w 43"/>
                <a:gd name="T65" fmla="*/ 14134 h 93"/>
                <a:gd name="T66" fmla="*/ 14177 w 43"/>
                <a:gd name="T67" fmla="*/ 16592 h 93"/>
                <a:gd name="T68" fmla="*/ 14177 w 43"/>
                <a:gd name="T69" fmla="*/ 19050 h 93"/>
                <a:gd name="T70" fmla="*/ 15506 w 43"/>
                <a:gd name="T71" fmla="*/ 22123 h 93"/>
                <a:gd name="T72" fmla="*/ 17278 w 43"/>
                <a:gd name="T73" fmla="*/ 26424 h 93"/>
                <a:gd name="T74" fmla="*/ 16835 w 43"/>
                <a:gd name="T75" fmla="*/ 27039 h 93"/>
                <a:gd name="T76" fmla="*/ 16392 w 43"/>
                <a:gd name="T77" fmla="*/ 27653 h 93"/>
                <a:gd name="T78" fmla="*/ 16392 w 43"/>
                <a:gd name="T79" fmla="*/ 29497 h 93"/>
                <a:gd name="T80" fmla="*/ 16835 w 43"/>
                <a:gd name="T81" fmla="*/ 31340 h 93"/>
                <a:gd name="T82" fmla="*/ 17278 w 43"/>
                <a:gd name="T83" fmla="*/ 36256 h 93"/>
                <a:gd name="T84" fmla="*/ 18164 w 43"/>
                <a:gd name="T85" fmla="*/ 41787 h 93"/>
                <a:gd name="T86" fmla="*/ 18607 w 43"/>
                <a:gd name="T87" fmla="*/ 46703 h 93"/>
                <a:gd name="T88" fmla="*/ 19050 w 43"/>
                <a:gd name="T89" fmla="*/ 52234 h 93"/>
                <a:gd name="T90" fmla="*/ 19050 w 43"/>
                <a:gd name="T91" fmla="*/ 54077 h 93"/>
                <a:gd name="T92" fmla="*/ 18607 w 43"/>
                <a:gd name="T93" fmla="*/ 55921 h 93"/>
                <a:gd name="T94" fmla="*/ 17721 w 43"/>
                <a:gd name="T95" fmla="*/ 56535 h 93"/>
                <a:gd name="T96" fmla="*/ 17278 w 43"/>
                <a:gd name="T97" fmla="*/ 57150 h 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3" name="Freeform 36">
              <a:extLst>
                <a:ext uri="{FF2B5EF4-FFF2-40B4-BE49-F238E27FC236}">
                  <a16:creationId xmlns:a16="http://schemas.microsoft.com/office/drawing/2014/main" id="{F581E4DA-B82E-43AE-861D-9838A43831A5}"/>
                </a:ext>
              </a:extLst>
            </p:cNvPr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6891339" y="2827338"/>
              <a:ext cx="14287" cy="57150"/>
            </a:xfrm>
            <a:custGeom>
              <a:avLst/>
              <a:gdLst>
                <a:gd name="T0" fmla="*/ 14287 w 40"/>
                <a:gd name="T1" fmla="*/ 57150 h 56"/>
                <a:gd name="T2" fmla="*/ 13215 w 40"/>
                <a:gd name="T3" fmla="*/ 46945 h 56"/>
                <a:gd name="T4" fmla="*/ 11787 w 40"/>
                <a:gd name="T5" fmla="*/ 38780 h 56"/>
                <a:gd name="T6" fmla="*/ 10001 w 40"/>
                <a:gd name="T7" fmla="*/ 32657 h 56"/>
                <a:gd name="T8" fmla="*/ 8215 w 40"/>
                <a:gd name="T9" fmla="*/ 28575 h 56"/>
                <a:gd name="T10" fmla="*/ 3929 w 40"/>
                <a:gd name="T11" fmla="*/ 21431 h 56"/>
                <a:gd name="T12" fmla="*/ 0 w 40"/>
                <a:gd name="T13" fmla="*/ 12246 h 56"/>
                <a:gd name="T14" fmla="*/ 4643 w 40"/>
                <a:gd name="T15" fmla="*/ 4082 h 56"/>
                <a:gd name="T16" fmla="*/ 7144 w 40"/>
                <a:gd name="T17" fmla="*/ 0 h 56"/>
                <a:gd name="T18" fmla="*/ 10001 w 40"/>
                <a:gd name="T19" fmla="*/ 12246 h 56"/>
                <a:gd name="T20" fmla="*/ 12501 w 40"/>
                <a:gd name="T21" fmla="*/ 22452 h 56"/>
                <a:gd name="T22" fmla="*/ 13215 w 40"/>
                <a:gd name="T23" fmla="*/ 25513 h 56"/>
                <a:gd name="T24" fmla="*/ 13930 w 40"/>
                <a:gd name="T25" fmla="*/ 29596 h 56"/>
                <a:gd name="T26" fmla="*/ 13930 w 40"/>
                <a:gd name="T27" fmla="*/ 33678 h 56"/>
                <a:gd name="T28" fmla="*/ 14287 w 40"/>
                <a:gd name="T29" fmla="*/ 37760 h 56"/>
                <a:gd name="T30" fmla="*/ 14287 w 40"/>
                <a:gd name="T31" fmla="*/ 44904 h 56"/>
                <a:gd name="T32" fmla="*/ 14287 w 40"/>
                <a:gd name="T33" fmla="*/ 46945 h 56"/>
                <a:gd name="T34" fmla="*/ 14287 w 40"/>
                <a:gd name="T35" fmla="*/ 50006 h 56"/>
                <a:gd name="T36" fmla="*/ 14287 w 40"/>
                <a:gd name="T37" fmla="*/ 57150 h 5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4" name="Freeform 37">
              <a:extLst>
                <a:ext uri="{FF2B5EF4-FFF2-40B4-BE49-F238E27FC236}">
                  <a16:creationId xmlns:a16="http://schemas.microsoft.com/office/drawing/2014/main" id="{11E4F6AF-FD0B-4C89-AE0C-1582CE9ACD67}"/>
                </a:ext>
              </a:extLst>
            </p:cNvPr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8378825" y="3487738"/>
              <a:ext cx="44450" cy="57150"/>
            </a:xfrm>
            <a:custGeom>
              <a:avLst/>
              <a:gdLst>
                <a:gd name="T0" fmla="*/ 0 w 106"/>
                <a:gd name="T1" fmla="*/ 5635 h 71"/>
                <a:gd name="T2" fmla="*/ 5032 w 106"/>
                <a:gd name="T3" fmla="*/ 8049 h 71"/>
                <a:gd name="T4" fmla="*/ 10064 w 106"/>
                <a:gd name="T5" fmla="*/ 9659 h 71"/>
                <a:gd name="T6" fmla="*/ 14677 w 106"/>
                <a:gd name="T7" fmla="*/ 10464 h 71"/>
                <a:gd name="T8" fmla="*/ 18870 w 106"/>
                <a:gd name="T9" fmla="*/ 10464 h 71"/>
                <a:gd name="T10" fmla="*/ 22644 w 106"/>
                <a:gd name="T11" fmla="*/ 8854 h 71"/>
                <a:gd name="T12" fmla="*/ 25580 w 106"/>
                <a:gd name="T13" fmla="*/ 6439 h 71"/>
                <a:gd name="T14" fmla="*/ 28515 w 106"/>
                <a:gd name="T15" fmla="*/ 4025 h 71"/>
                <a:gd name="T16" fmla="*/ 31031 w 106"/>
                <a:gd name="T17" fmla="*/ 0 h 71"/>
                <a:gd name="T18" fmla="*/ 35225 w 106"/>
                <a:gd name="T19" fmla="*/ 12879 h 71"/>
                <a:gd name="T20" fmla="*/ 39418 w 106"/>
                <a:gd name="T21" fmla="*/ 24148 h 71"/>
                <a:gd name="T22" fmla="*/ 42353 w 106"/>
                <a:gd name="T23" fmla="*/ 35417 h 71"/>
                <a:gd name="T24" fmla="*/ 44031 w 106"/>
                <a:gd name="T25" fmla="*/ 44271 h 71"/>
                <a:gd name="T26" fmla="*/ 44450 w 106"/>
                <a:gd name="T27" fmla="*/ 48296 h 71"/>
                <a:gd name="T28" fmla="*/ 44450 w 106"/>
                <a:gd name="T29" fmla="*/ 50711 h 71"/>
                <a:gd name="T30" fmla="*/ 44031 w 106"/>
                <a:gd name="T31" fmla="*/ 53930 h 71"/>
                <a:gd name="T32" fmla="*/ 43192 w 106"/>
                <a:gd name="T33" fmla="*/ 55540 h 71"/>
                <a:gd name="T34" fmla="*/ 42353 w 106"/>
                <a:gd name="T35" fmla="*/ 56345 h 71"/>
                <a:gd name="T36" fmla="*/ 41095 w 106"/>
                <a:gd name="T37" fmla="*/ 56345 h 71"/>
                <a:gd name="T38" fmla="*/ 38579 w 106"/>
                <a:gd name="T39" fmla="*/ 56345 h 71"/>
                <a:gd name="T40" fmla="*/ 36483 w 106"/>
                <a:gd name="T41" fmla="*/ 54735 h 71"/>
                <a:gd name="T42" fmla="*/ 31031 w 106"/>
                <a:gd name="T43" fmla="*/ 56345 h 71"/>
                <a:gd name="T44" fmla="*/ 26418 w 106"/>
                <a:gd name="T45" fmla="*/ 57150 h 71"/>
                <a:gd name="T46" fmla="*/ 22225 w 106"/>
                <a:gd name="T47" fmla="*/ 55540 h 71"/>
                <a:gd name="T48" fmla="*/ 18870 w 106"/>
                <a:gd name="T49" fmla="*/ 53125 h 71"/>
                <a:gd name="T50" fmla="*/ 15516 w 106"/>
                <a:gd name="T51" fmla="*/ 49906 h 71"/>
                <a:gd name="T52" fmla="*/ 13419 w 106"/>
                <a:gd name="T53" fmla="*/ 45881 h 71"/>
                <a:gd name="T54" fmla="*/ 11322 w 106"/>
                <a:gd name="T55" fmla="*/ 41051 h 71"/>
                <a:gd name="T56" fmla="*/ 10064 w 106"/>
                <a:gd name="T57" fmla="*/ 36222 h 71"/>
                <a:gd name="T58" fmla="*/ 8806 w 106"/>
                <a:gd name="T59" fmla="*/ 30587 h 71"/>
                <a:gd name="T60" fmla="*/ 8387 w 106"/>
                <a:gd name="T61" fmla="*/ 24148 h 71"/>
                <a:gd name="T62" fmla="*/ 7967 w 106"/>
                <a:gd name="T63" fmla="*/ 19318 h 71"/>
                <a:gd name="T64" fmla="*/ 7548 w 106"/>
                <a:gd name="T65" fmla="*/ 15294 h 71"/>
                <a:gd name="T66" fmla="*/ 7548 w 106"/>
                <a:gd name="T67" fmla="*/ 11269 h 71"/>
                <a:gd name="T68" fmla="*/ 7967 w 106"/>
                <a:gd name="T69" fmla="*/ 8049 h 71"/>
                <a:gd name="T70" fmla="*/ 8387 w 106"/>
                <a:gd name="T71" fmla="*/ 5635 h 71"/>
                <a:gd name="T72" fmla="*/ 8806 w 106"/>
                <a:gd name="T73" fmla="*/ 5635 h 71"/>
                <a:gd name="T74" fmla="*/ 8387 w 106"/>
                <a:gd name="T75" fmla="*/ 8049 h 71"/>
                <a:gd name="T76" fmla="*/ 7967 w 106"/>
                <a:gd name="T77" fmla="*/ 12879 h 71"/>
                <a:gd name="T78" fmla="*/ 7967 w 106"/>
                <a:gd name="T79" fmla="*/ 13684 h 71"/>
                <a:gd name="T80" fmla="*/ 7967 w 106"/>
                <a:gd name="T81" fmla="*/ 13684 h 71"/>
                <a:gd name="T82" fmla="*/ 8387 w 106"/>
                <a:gd name="T83" fmla="*/ 13684 h 71"/>
                <a:gd name="T84" fmla="*/ 8806 w 106"/>
                <a:gd name="T85" fmla="*/ 13684 h 71"/>
                <a:gd name="T86" fmla="*/ 9645 w 106"/>
                <a:gd name="T87" fmla="*/ 10464 h 71"/>
                <a:gd name="T88" fmla="*/ 11322 w 106"/>
                <a:gd name="T89" fmla="*/ 5635 h 71"/>
                <a:gd name="T90" fmla="*/ 0 w 106"/>
                <a:gd name="T91" fmla="*/ 5635 h 7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4B3A4C6F-00C0-4F93-BBC7-376FFEE73538}"/>
                </a:ext>
              </a:extLst>
            </p:cNvPr>
            <p:cNvGrpSpPr>
              <a:grpSpLocks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4230689" y="5295901"/>
              <a:ext cx="65087" cy="55563"/>
              <a:chOff x="1654" y="3671"/>
              <a:chExt cx="49" cy="17"/>
            </a:xfrm>
          </p:grpSpPr>
          <p:sp>
            <p:nvSpPr>
              <p:cNvPr id="556" name="Freeform 39">
                <a:extLst>
                  <a:ext uri="{FF2B5EF4-FFF2-40B4-BE49-F238E27FC236}">
                    <a16:creationId xmlns:a16="http://schemas.microsoft.com/office/drawing/2014/main" id="{4EC84E54-840C-425C-A4E0-4588B524BC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9 w 59"/>
                  <a:gd name="T1" fmla="*/ 14 h 43"/>
                  <a:gd name="T2" fmla="*/ 20 w 59"/>
                  <a:gd name="T3" fmla="*/ 6 h 43"/>
                  <a:gd name="T4" fmla="*/ 19 w 59"/>
                  <a:gd name="T5" fmla="*/ 5 h 43"/>
                  <a:gd name="T6" fmla="*/ 17 w 59"/>
                  <a:gd name="T7" fmla="*/ 3 h 43"/>
                  <a:gd name="T8" fmla="*/ 16 w 59"/>
                  <a:gd name="T9" fmla="*/ 2 h 43"/>
                  <a:gd name="T10" fmla="*/ 16 w 59"/>
                  <a:gd name="T11" fmla="*/ 0 h 43"/>
                  <a:gd name="T12" fmla="*/ 14 w 59"/>
                  <a:gd name="T13" fmla="*/ 0 h 43"/>
                  <a:gd name="T14" fmla="*/ 12 w 59"/>
                  <a:gd name="T15" fmla="*/ 1 h 43"/>
                  <a:gd name="T16" fmla="*/ 11 w 59"/>
                  <a:gd name="T17" fmla="*/ 2 h 43"/>
                  <a:gd name="T18" fmla="*/ 10 w 59"/>
                  <a:gd name="T19" fmla="*/ 3 h 43"/>
                  <a:gd name="T20" fmla="*/ 9 w 59"/>
                  <a:gd name="T21" fmla="*/ 3 h 43"/>
                  <a:gd name="T22" fmla="*/ 9 w 59"/>
                  <a:gd name="T23" fmla="*/ 4 h 43"/>
                  <a:gd name="T24" fmla="*/ 7 w 59"/>
                  <a:gd name="T25" fmla="*/ 4 h 43"/>
                  <a:gd name="T26" fmla="*/ 4 w 59"/>
                  <a:gd name="T27" fmla="*/ 5 h 43"/>
                  <a:gd name="T28" fmla="*/ 2 w 59"/>
                  <a:gd name="T29" fmla="*/ 7 h 43"/>
                  <a:gd name="T30" fmla="*/ 0 w 59"/>
                  <a:gd name="T31" fmla="*/ 8 h 43"/>
                  <a:gd name="T32" fmla="*/ 2 w 59"/>
                  <a:gd name="T33" fmla="*/ 9 h 43"/>
                  <a:gd name="T34" fmla="*/ 3 w 59"/>
                  <a:gd name="T35" fmla="*/ 11 h 43"/>
                  <a:gd name="T36" fmla="*/ 6 w 59"/>
                  <a:gd name="T37" fmla="*/ 13 h 43"/>
                  <a:gd name="T38" fmla="*/ 9 w 59"/>
                  <a:gd name="T39" fmla="*/ 14 h 4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57" name="Freeform 40">
                <a:extLst>
                  <a:ext uri="{FF2B5EF4-FFF2-40B4-BE49-F238E27FC236}">
                    <a16:creationId xmlns:a16="http://schemas.microsoft.com/office/drawing/2014/main" id="{9480EFA6-A418-4AE1-9DB6-A935A03E37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1 h 51"/>
                  <a:gd name="T2" fmla="*/ 8 w 67"/>
                  <a:gd name="T3" fmla="*/ 0 h 51"/>
                  <a:gd name="T4" fmla="*/ 13 w 67"/>
                  <a:gd name="T5" fmla="*/ 0 h 51"/>
                  <a:gd name="T6" fmla="*/ 15 w 67"/>
                  <a:gd name="T7" fmla="*/ 0 h 51"/>
                  <a:gd name="T8" fmla="*/ 17 w 67"/>
                  <a:gd name="T9" fmla="*/ 1 h 51"/>
                  <a:gd name="T10" fmla="*/ 19 w 67"/>
                  <a:gd name="T11" fmla="*/ 1 h 51"/>
                  <a:gd name="T12" fmla="*/ 22 w 67"/>
                  <a:gd name="T13" fmla="*/ 3 h 51"/>
                  <a:gd name="T14" fmla="*/ 18 w 67"/>
                  <a:gd name="T15" fmla="*/ 4 h 51"/>
                  <a:gd name="T16" fmla="*/ 15 w 67"/>
                  <a:gd name="T17" fmla="*/ 6 h 51"/>
                  <a:gd name="T18" fmla="*/ 14 w 67"/>
                  <a:gd name="T19" fmla="*/ 7 h 51"/>
                  <a:gd name="T20" fmla="*/ 12 w 67"/>
                  <a:gd name="T21" fmla="*/ 8 h 51"/>
                  <a:gd name="T22" fmla="*/ 10 w 67"/>
                  <a:gd name="T23" fmla="*/ 9 h 51"/>
                  <a:gd name="T24" fmla="*/ 7 w 67"/>
                  <a:gd name="T25" fmla="*/ 9 h 51"/>
                  <a:gd name="T26" fmla="*/ 8 w 67"/>
                  <a:gd name="T27" fmla="*/ 9 h 51"/>
                  <a:gd name="T28" fmla="*/ 11 w 67"/>
                  <a:gd name="T29" fmla="*/ 9 h 51"/>
                  <a:gd name="T30" fmla="*/ 10 w 67"/>
                  <a:gd name="T31" fmla="*/ 11 h 51"/>
                  <a:gd name="T32" fmla="*/ 8 w 67"/>
                  <a:gd name="T33" fmla="*/ 13 h 51"/>
                  <a:gd name="T34" fmla="*/ 7 w 67"/>
                  <a:gd name="T35" fmla="*/ 15 h 51"/>
                  <a:gd name="T36" fmla="*/ 7 w 67"/>
                  <a:gd name="T37" fmla="*/ 15 h 51"/>
                  <a:gd name="T38" fmla="*/ 4 w 67"/>
                  <a:gd name="T39" fmla="*/ 16 h 51"/>
                  <a:gd name="T40" fmla="*/ 0 w 67"/>
                  <a:gd name="T41" fmla="*/ 17 h 51"/>
                  <a:gd name="T42" fmla="*/ 0 w 67"/>
                  <a:gd name="T43" fmla="*/ 1 h 5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46" name="Freeform 41">
              <a:extLst>
                <a:ext uri="{FF2B5EF4-FFF2-40B4-BE49-F238E27FC236}">
                  <a16:creationId xmlns:a16="http://schemas.microsoft.com/office/drawing/2014/main" id="{0F12AF64-0B19-4934-90AC-6236B0C91F42}"/>
                </a:ext>
              </a:extLst>
            </p:cNvPr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3878263" y="3090864"/>
              <a:ext cx="31750" cy="58737"/>
            </a:xfrm>
            <a:custGeom>
              <a:avLst/>
              <a:gdLst>
                <a:gd name="T0" fmla="*/ 0 w 80"/>
                <a:gd name="T1" fmla="*/ 25913 h 34"/>
                <a:gd name="T2" fmla="*/ 397 w 80"/>
                <a:gd name="T3" fmla="*/ 32824 h 34"/>
                <a:gd name="T4" fmla="*/ 794 w 80"/>
                <a:gd name="T5" fmla="*/ 36279 h 34"/>
                <a:gd name="T6" fmla="*/ 1588 w 80"/>
                <a:gd name="T7" fmla="*/ 41461 h 34"/>
                <a:gd name="T8" fmla="*/ 2778 w 80"/>
                <a:gd name="T9" fmla="*/ 44917 h 34"/>
                <a:gd name="T10" fmla="*/ 5159 w 80"/>
                <a:gd name="T11" fmla="*/ 50099 h 34"/>
                <a:gd name="T12" fmla="*/ 8731 w 80"/>
                <a:gd name="T13" fmla="*/ 53554 h 34"/>
                <a:gd name="T14" fmla="*/ 15875 w 80"/>
                <a:gd name="T15" fmla="*/ 57009 h 34"/>
                <a:gd name="T16" fmla="*/ 21431 w 80"/>
                <a:gd name="T17" fmla="*/ 58737 h 34"/>
                <a:gd name="T18" fmla="*/ 23019 w 80"/>
                <a:gd name="T19" fmla="*/ 57009 h 34"/>
                <a:gd name="T20" fmla="*/ 24606 w 80"/>
                <a:gd name="T21" fmla="*/ 55282 h 34"/>
                <a:gd name="T22" fmla="*/ 25797 w 80"/>
                <a:gd name="T23" fmla="*/ 50099 h 34"/>
                <a:gd name="T24" fmla="*/ 26591 w 80"/>
                <a:gd name="T25" fmla="*/ 46644 h 34"/>
                <a:gd name="T26" fmla="*/ 28972 w 80"/>
                <a:gd name="T27" fmla="*/ 36279 h 34"/>
                <a:gd name="T28" fmla="*/ 31750 w 80"/>
                <a:gd name="T29" fmla="*/ 25913 h 34"/>
                <a:gd name="T30" fmla="*/ 29766 w 80"/>
                <a:gd name="T31" fmla="*/ 17276 h 34"/>
                <a:gd name="T32" fmla="*/ 27781 w 80"/>
                <a:gd name="T33" fmla="*/ 12093 h 34"/>
                <a:gd name="T34" fmla="*/ 25797 w 80"/>
                <a:gd name="T35" fmla="*/ 6910 h 34"/>
                <a:gd name="T36" fmla="*/ 23813 w 80"/>
                <a:gd name="T37" fmla="*/ 3455 h 34"/>
                <a:gd name="T38" fmla="*/ 21828 w 80"/>
                <a:gd name="T39" fmla="*/ 0 h 34"/>
                <a:gd name="T40" fmla="*/ 20241 w 80"/>
                <a:gd name="T41" fmla="*/ 0 h 34"/>
                <a:gd name="T42" fmla="*/ 17859 w 80"/>
                <a:gd name="T43" fmla="*/ 1728 h 34"/>
                <a:gd name="T44" fmla="*/ 16272 w 80"/>
                <a:gd name="T45" fmla="*/ 3455 h 34"/>
                <a:gd name="T46" fmla="*/ 13494 w 80"/>
                <a:gd name="T47" fmla="*/ 3455 h 34"/>
                <a:gd name="T48" fmla="*/ 8334 w 80"/>
                <a:gd name="T49" fmla="*/ 3455 h 34"/>
                <a:gd name="T50" fmla="*/ 5159 w 80"/>
                <a:gd name="T51" fmla="*/ 5183 h 34"/>
                <a:gd name="T52" fmla="*/ 2778 w 80"/>
                <a:gd name="T53" fmla="*/ 8638 h 34"/>
                <a:gd name="T54" fmla="*/ 1588 w 80"/>
                <a:gd name="T55" fmla="*/ 12093 h 34"/>
                <a:gd name="T56" fmla="*/ 794 w 80"/>
                <a:gd name="T57" fmla="*/ 15548 h 34"/>
                <a:gd name="T58" fmla="*/ 397 w 80"/>
                <a:gd name="T59" fmla="*/ 19003 h 34"/>
                <a:gd name="T60" fmla="*/ 0 w 80"/>
                <a:gd name="T61" fmla="*/ 25913 h 3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" name="Freeform 42">
              <a:extLst>
                <a:ext uri="{FF2B5EF4-FFF2-40B4-BE49-F238E27FC236}">
                  <a16:creationId xmlns:a16="http://schemas.microsoft.com/office/drawing/2014/main" id="{D21AE24F-A23D-463E-BEFB-BF25408989CF}"/>
                </a:ext>
              </a:extLst>
            </p:cNvPr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3933825" y="3097214"/>
              <a:ext cx="1588" cy="58737"/>
            </a:xfrm>
            <a:custGeom>
              <a:avLst/>
              <a:gdLst>
                <a:gd name="T0" fmla="*/ 0 w 7"/>
                <a:gd name="T1" fmla="*/ 0 h 13"/>
                <a:gd name="T2" fmla="*/ 1588 w 7"/>
                <a:gd name="T3" fmla="*/ 58737 h 13"/>
                <a:gd name="T4" fmla="*/ 1588 w 7"/>
                <a:gd name="T5" fmla="*/ 31628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" name="Freeform 43">
              <a:extLst>
                <a:ext uri="{FF2B5EF4-FFF2-40B4-BE49-F238E27FC236}">
                  <a16:creationId xmlns:a16="http://schemas.microsoft.com/office/drawing/2014/main" id="{450BC1CF-4710-448A-802B-06415B016D1E}"/>
                </a:ext>
              </a:extLst>
            </p:cNvPr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3946525" y="3098800"/>
              <a:ext cx="6350" cy="58738"/>
            </a:xfrm>
            <a:custGeom>
              <a:avLst/>
              <a:gdLst>
                <a:gd name="T0" fmla="*/ 0 w 20"/>
                <a:gd name="T1" fmla="*/ 0 h 6"/>
                <a:gd name="T2" fmla="*/ 2223 w 20"/>
                <a:gd name="T3" fmla="*/ 29369 h 6"/>
                <a:gd name="T4" fmla="*/ 6350 w 20"/>
                <a:gd name="T5" fmla="*/ 58738 h 6"/>
                <a:gd name="T6" fmla="*/ 0 w 20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" name="Freeform 44">
              <a:extLst>
                <a:ext uri="{FF2B5EF4-FFF2-40B4-BE49-F238E27FC236}">
                  <a16:creationId xmlns:a16="http://schemas.microsoft.com/office/drawing/2014/main" id="{8BF74563-344A-44A6-9DD1-D7CFD32E6380}"/>
                </a:ext>
              </a:extLst>
            </p:cNvPr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3960814" y="3089275"/>
              <a:ext cx="7937" cy="57150"/>
            </a:xfrm>
            <a:custGeom>
              <a:avLst/>
              <a:gdLst>
                <a:gd name="T0" fmla="*/ 0 w 14"/>
                <a:gd name="T1" fmla="*/ 57150 h 12"/>
                <a:gd name="T2" fmla="*/ 7937 w 14"/>
                <a:gd name="T3" fmla="*/ 0 h 12"/>
                <a:gd name="T4" fmla="*/ 0 w 14"/>
                <a:gd name="T5" fmla="*/ 57150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0" name="Freeform 45">
              <a:extLst>
                <a:ext uri="{FF2B5EF4-FFF2-40B4-BE49-F238E27FC236}">
                  <a16:creationId xmlns:a16="http://schemas.microsoft.com/office/drawing/2014/main" id="{11F2CF24-2BC7-4AAE-877C-37B5791E5C73}"/>
                </a:ext>
              </a:extLst>
            </p:cNvPr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3940176" y="3081339"/>
              <a:ext cx="11113" cy="58737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33564 h 7"/>
                <a:gd name="T4" fmla="*/ 823 w 27"/>
                <a:gd name="T5" fmla="*/ 50346 h 7"/>
                <a:gd name="T6" fmla="*/ 2881 w 27"/>
                <a:gd name="T7" fmla="*/ 58737 h 7"/>
                <a:gd name="T8" fmla="*/ 4116 w 27"/>
                <a:gd name="T9" fmla="*/ 58737 h 7"/>
                <a:gd name="T10" fmla="*/ 6174 w 27"/>
                <a:gd name="T11" fmla="*/ 50346 h 7"/>
                <a:gd name="T12" fmla="*/ 7820 w 27"/>
                <a:gd name="T13" fmla="*/ 33564 h 7"/>
                <a:gd name="T14" fmla="*/ 9467 w 27"/>
                <a:gd name="T15" fmla="*/ 16782 h 7"/>
                <a:gd name="T16" fmla="*/ 11113 w 27"/>
                <a:gd name="T17" fmla="*/ 0 h 7"/>
                <a:gd name="T18" fmla="*/ 0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" name="Freeform 46">
              <a:extLst>
                <a:ext uri="{FF2B5EF4-FFF2-40B4-BE49-F238E27FC236}">
                  <a16:creationId xmlns:a16="http://schemas.microsoft.com/office/drawing/2014/main" id="{A2744E79-5814-410C-A199-0619D97EE532}"/>
                </a:ext>
              </a:extLst>
            </p:cNvPr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3989389" y="3109914"/>
              <a:ext cx="14287" cy="60325"/>
            </a:xfrm>
            <a:custGeom>
              <a:avLst/>
              <a:gdLst>
                <a:gd name="T0" fmla="*/ 0 w 27"/>
                <a:gd name="T1" fmla="*/ 0 h 6"/>
                <a:gd name="T2" fmla="*/ 5821 w 27"/>
                <a:gd name="T3" fmla="*/ 30163 h 6"/>
                <a:gd name="T4" fmla="*/ 14287 w 27"/>
                <a:gd name="T5" fmla="*/ 60325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2" name="Line 47">
              <a:extLst>
                <a:ext uri="{FF2B5EF4-FFF2-40B4-BE49-F238E27FC236}">
                  <a16:creationId xmlns:a16="http://schemas.microsoft.com/office/drawing/2014/main" id="{8AB4521B-00D4-4CC9-B110-636C8686DCEA}"/>
                </a:ext>
              </a:extLst>
            </p:cNvPr>
            <p:cNvSpPr>
              <a:spLocks noChangeShapeType="1"/>
            </p:cNvSpPr>
            <p:nvPr>
              <p:custDataLst>
                <p:tags r:id="rId40"/>
              </p:custDataLst>
            </p:nvPr>
          </p:nvSpPr>
          <p:spPr bwMode="auto">
            <a:xfrm flipH="1" flipV="1">
              <a:off x="3997325" y="3106739"/>
              <a:ext cx="6350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3" name="Line 48">
              <a:extLst>
                <a:ext uri="{FF2B5EF4-FFF2-40B4-BE49-F238E27FC236}">
                  <a16:creationId xmlns:a16="http://schemas.microsoft.com/office/drawing/2014/main" id="{5B434245-10CA-4BDD-8A1E-583C08AAA1A6}"/>
                </a:ext>
              </a:extLst>
            </p:cNvPr>
            <p:cNvSpPr>
              <a:spLocks noChangeShapeType="1"/>
            </p:cNvSpPr>
            <p:nvPr>
              <p:custDataLst>
                <p:tags r:id="rId41"/>
              </p:custDataLst>
            </p:nvPr>
          </p:nvSpPr>
          <p:spPr bwMode="auto">
            <a:xfrm flipH="1">
              <a:off x="3997325" y="3132138"/>
              <a:ext cx="6350" cy="1111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4" name="Freeform 49">
              <a:extLst>
                <a:ext uri="{FF2B5EF4-FFF2-40B4-BE49-F238E27FC236}">
                  <a16:creationId xmlns:a16="http://schemas.microsoft.com/office/drawing/2014/main" id="{C4323303-18B0-4180-B711-D344DAD991E1}"/>
                </a:ext>
              </a:extLst>
            </p:cNvPr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3997326" y="3127375"/>
              <a:ext cx="11113" cy="58738"/>
            </a:xfrm>
            <a:custGeom>
              <a:avLst/>
              <a:gdLst>
                <a:gd name="T0" fmla="*/ 0 w 20"/>
                <a:gd name="T1" fmla="*/ 58738 h 24"/>
                <a:gd name="T2" fmla="*/ 1111 w 20"/>
                <a:gd name="T3" fmla="*/ 58738 h 24"/>
                <a:gd name="T4" fmla="*/ 3334 w 20"/>
                <a:gd name="T5" fmla="*/ 53843 h 24"/>
                <a:gd name="T6" fmla="*/ 5001 w 20"/>
                <a:gd name="T7" fmla="*/ 48948 h 24"/>
                <a:gd name="T8" fmla="*/ 6668 w 20"/>
                <a:gd name="T9" fmla="*/ 39159 h 24"/>
                <a:gd name="T10" fmla="*/ 8335 w 20"/>
                <a:gd name="T11" fmla="*/ 31816 h 24"/>
                <a:gd name="T12" fmla="*/ 10002 w 20"/>
                <a:gd name="T13" fmla="*/ 22027 h 24"/>
                <a:gd name="T14" fmla="*/ 10557 w 20"/>
                <a:gd name="T15" fmla="*/ 9790 h 24"/>
                <a:gd name="T16" fmla="*/ 11113 w 20"/>
                <a:gd name="T17" fmla="*/ 0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5" name="Freeform 50">
              <a:extLst>
                <a:ext uri="{FF2B5EF4-FFF2-40B4-BE49-F238E27FC236}">
                  <a16:creationId xmlns:a16="http://schemas.microsoft.com/office/drawing/2014/main" id="{99A0FA45-7A25-4938-BE8E-214212BE0377}"/>
                </a:ext>
              </a:extLst>
            </p:cNvPr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4003676" y="3155951"/>
              <a:ext cx="17463" cy="55563"/>
            </a:xfrm>
            <a:custGeom>
              <a:avLst/>
              <a:gdLst>
                <a:gd name="T0" fmla="*/ 6879 w 33"/>
                <a:gd name="T1" fmla="*/ 15558 h 25"/>
                <a:gd name="T2" fmla="*/ 0 w 33"/>
                <a:gd name="T3" fmla="*/ 42228 h 25"/>
                <a:gd name="T4" fmla="*/ 5292 w 33"/>
                <a:gd name="T5" fmla="*/ 44450 h 25"/>
                <a:gd name="T6" fmla="*/ 10054 w 33"/>
                <a:gd name="T7" fmla="*/ 48895 h 25"/>
                <a:gd name="T8" fmla="*/ 14288 w 33"/>
                <a:gd name="T9" fmla="*/ 55563 h 25"/>
                <a:gd name="T10" fmla="*/ 17463 w 33"/>
                <a:gd name="T11" fmla="*/ 55563 h 25"/>
                <a:gd name="T12" fmla="*/ 17463 w 33"/>
                <a:gd name="T13" fmla="*/ 0 h 25"/>
                <a:gd name="T14" fmla="*/ 14288 w 33"/>
                <a:gd name="T15" fmla="*/ 0 h 25"/>
                <a:gd name="T16" fmla="*/ 6879 w 33"/>
                <a:gd name="T17" fmla="*/ 15558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6" name="Freeform 51">
              <a:extLst>
                <a:ext uri="{FF2B5EF4-FFF2-40B4-BE49-F238E27FC236}">
                  <a16:creationId xmlns:a16="http://schemas.microsoft.com/office/drawing/2014/main" id="{28B4DD56-19D9-41DC-9E38-0775AB798A1B}"/>
                </a:ext>
              </a:extLst>
            </p:cNvPr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4010026" y="3203575"/>
              <a:ext cx="15875" cy="57150"/>
            </a:xfrm>
            <a:custGeom>
              <a:avLst/>
              <a:gdLst>
                <a:gd name="T0" fmla="*/ 0 w 40"/>
                <a:gd name="T1" fmla="*/ 0 h 18"/>
                <a:gd name="T2" fmla="*/ 1191 w 40"/>
                <a:gd name="T3" fmla="*/ 19050 h 18"/>
                <a:gd name="T4" fmla="*/ 2381 w 40"/>
                <a:gd name="T5" fmla="*/ 34925 h 18"/>
                <a:gd name="T6" fmla="*/ 3969 w 40"/>
                <a:gd name="T7" fmla="*/ 44450 h 18"/>
                <a:gd name="T8" fmla="*/ 5953 w 40"/>
                <a:gd name="T9" fmla="*/ 50800 h 18"/>
                <a:gd name="T10" fmla="*/ 10716 w 40"/>
                <a:gd name="T11" fmla="*/ 57150 h 18"/>
                <a:gd name="T12" fmla="*/ 15875 w 40"/>
                <a:gd name="T13" fmla="*/ 57150 h 18"/>
                <a:gd name="T14" fmla="*/ 15875 w 40"/>
                <a:gd name="T15" fmla="*/ 0 h 18"/>
                <a:gd name="T16" fmla="*/ 11906 w 40"/>
                <a:gd name="T17" fmla="*/ 0 h 18"/>
                <a:gd name="T18" fmla="*/ 7938 w 40"/>
                <a:gd name="T19" fmla="*/ 0 h 18"/>
                <a:gd name="T20" fmla="*/ 3969 w 40"/>
                <a:gd name="T21" fmla="*/ 0 h 18"/>
                <a:gd name="T22" fmla="*/ 0 w 4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7" name="Freeform 52">
              <a:extLst>
                <a:ext uri="{FF2B5EF4-FFF2-40B4-BE49-F238E27FC236}">
                  <a16:creationId xmlns:a16="http://schemas.microsoft.com/office/drawing/2014/main" id="{899587B3-9997-4B85-8211-FE0CA7B1D1E4}"/>
                </a:ext>
              </a:extLst>
            </p:cNvPr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4019551" y="3228975"/>
              <a:ext cx="3175" cy="57150"/>
            </a:xfrm>
            <a:custGeom>
              <a:avLst/>
              <a:gdLst>
                <a:gd name="T0" fmla="*/ 1155 w 11"/>
                <a:gd name="T1" fmla="*/ 57150 h 32"/>
                <a:gd name="T2" fmla="*/ 1732 w 11"/>
                <a:gd name="T3" fmla="*/ 50006 h 32"/>
                <a:gd name="T4" fmla="*/ 2309 w 11"/>
                <a:gd name="T5" fmla="*/ 44648 h 32"/>
                <a:gd name="T6" fmla="*/ 2598 w 11"/>
                <a:gd name="T7" fmla="*/ 39291 h 32"/>
                <a:gd name="T8" fmla="*/ 2886 w 11"/>
                <a:gd name="T9" fmla="*/ 32147 h 32"/>
                <a:gd name="T10" fmla="*/ 3175 w 11"/>
                <a:gd name="T11" fmla="*/ 16073 h 32"/>
                <a:gd name="T12" fmla="*/ 3175 w 11"/>
                <a:gd name="T13" fmla="*/ 0 h 32"/>
                <a:gd name="T14" fmla="*/ 1732 w 11"/>
                <a:gd name="T15" fmla="*/ 5358 h 32"/>
                <a:gd name="T16" fmla="*/ 866 w 11"/>
                <a:gd name="T17" fmla="*/ 12502 h 32"/>
                <a:gd name="T18" fmla="*/ 289 w 11"/>
                <a:gd name="T19" fmla="*/ 19645 h 32"/>
                <a:gd name="T20" fmla="*/ 0 w 11"/>
                <a:gd name="T21" fmla="*/ 28575 h 32"/>
                <a:gd name="T22" fmla="*/ 0 w 11"/>
                <a:gd name="T23" fmla="*/ 35719 h 32"/>
                <a:gd name="T24" fmla="*/ 289 w 11"/>
                <a:gd name="T25" fmla="*/ 42863 h 32"/>
                <a:gd name="T26" fmla="*/ 577 w 11"/>
                <a:gd name="T27" fmla="*/ 50006 h 32"/>
                <a:gd name="T28" fmla="*/ 1155 w 11"/>
                <a:gd name="T29" fmla="*/ 57150 h 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" name="Freeform 53">
              <a:extLst>
                <a:ext uri="{FF2B5EF4-FFF2-40B4-BE49-F238E27FC236}">
                  <a16:creationId xmlns:a16="http://schemas.microsoft.com/office/drawing/2014/main" id="{C1309BE2-14DB-4D6D-9A84-1A4525601943}"/>
                </a:ext>
              </a:extLst>
            </p:cNvPr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4041775" y="3259138"/>
              <a:ext cx="1588" cy="55562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55562 h 24"/>
                <a:gd name="T4" fmla="*/ 1588 w 14"/>
                <a:gd name="T5" fmla="*/ 27781 h 24"/>
                <a:gd name="T6" fmla="*/ 0 w 14"/>
                <a:gd name="T7" fmla="*/ 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" name="Freeform 54">
              <a:extLst>
                <a:ext uri="{FF2B5EF4-FFF2-40B4-BE49-F238E27FC236}">
                  <a16:creationId xmlns:a16="http://schemas.microsoft.com/office/drawing/2014/main" id="{762AC9D2-2365-4B63-BFCE-EBBF50D5BE6A}"/>
                </a:ext>
              </a:extLst>
            </p:cNvPr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4003676" y="3271839"/>
              <a:ext cx="15875" cy="58737"/>
            </a:xfrm>
            <a:custGeom>
              <a:avLst/>
              <a:gdLst>
                <a:gd name="T0" fmla="*/ 0 w 27"/>
                <a:gd name="T1" fmla="*/ 39158 h 18"/>
                <a:gd name="T2" fmla="*/ 4116 w 27"/>
                <a:gd name="T3" fmla="*/ 48948 h 18"/>
                <a:gd name="T4" fmla="*/ 7644 w 27"/>
                <a:gd name="T5" fmla="*/ 58737 h 18"/>
                <a:gd name="T6" fmla="*/ 12935 w 27"/>
                <a:gd name="T7" fmla="*/ 22842 h 18"/>
                <a:gd name="T8" fmla="*/ 15875 w 27"/>
                <a:gd name="T9" fmla="*/ 0 h 18"/>
                <a:gd name="T10" fmla="*/ 12935 w 27"/>
                <a:gd name="T11" fmla="*/ 0 h 18"/>
                <a:gd name="T12" fmla="*/ 10583 w 27"/>
                <a:gd name="T13" fmla="*/ 3263 h 18"/>
                <a:gd name="T14" fmla="*/ 7644 w 27"/>
                <a:gd name="T15" fmla="*/ 6526 h 18"/>
                <a:gd name="T16" fmla="*/ 5880 w 27"/>
                <a:gd name="T17" fmla="*/ 13053 h 18"/>
                <a:gd name="T18" fmla="*/ 2940 w 27"/>
                <a:gd name="T19" fmla="*/ 26105 h 18"/>
                <a:gd name="T20" fmla="*/ 0 w 27"/>
                <a:gd name="T21" fmla="*/ 39158 h 1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" name="Freeform 55">
              <a:extLst>
                <a:ext uri="{FF2B5EF4-FFF2-40B4-BE49-F238E27FC236}">
                  <a16:creationId xmlns:a16="http://schemas.microsoft.com/office/drawing/2014/main" id="{223D87DC-FB97-4D79-9399-864CDCDD79B2}"/>
                </a:ext>
              </a:extLst>
            </p:cNvPr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3989388" y="3336925"/>
              <a:ext cx="23812" cy="57150"/>
            </a:xfrm>
            <a:custGeom>
              <a:avLst/>
              <a:gdLst>
                <a:gd name="T0" fmla="*/ 0 w 47"/>
                <a:gd name="T1" fmla="*/ 41988 h 49"/>
                <a:gd name="T2" fmla="*/ 507 w 47"/>
                <a:gd name="T3" fmla="*/ 45487 h 49"/>
                <a:gd name="T4" fmla="*/ 1013 w 47"/>
                <a:gd name="T5" fmla="*/ 47819 h 49"/>
                <a:gd name="T6" fmla="*/ 2027 w 47"/>
                <a:gd name="T7" fmla="*/ 50152 h 49"/>
                <a:gd name="T8" fmla="*/ 3040 w 47"/>
                <a:gd name="T9" fmla="*/ 52485 h 49"/>
                <a:gd name="T10" fmla="*/ 6080 w 47"/>
                <a:gd name="T11" fmla="*/ 55984 h 49"/>
                <a:gd name="T12" fmla="*/ 7093 w 47"/>
                <a:gd name="T13" fmla="*/ 57150 h 49"/>
                <a:gd name="T14" fmla="*/ 9119 w 47"/>
                <a:gd name="T15" fmla="*/ 57150 h 49"/>
                <a:gd name="T16" fmla="*/ 12159 w 47"/>
                <a:gd name="T17" fmla="*/ 53651 h 49"/>
                <a:gd name="T18" fmla="*/ 14693 w 47"/>
                <a:gd name="T19" fmla="*/ 48986 h 49"/>
                <a:gd name="T20" fmla="*/ 17732 w 47"/>
                <a:gd name="T21" fmla="*/ 45487 h 49"/>
                <a:gd name="T22" fmla="*/ 19759 w 47"/>
                <a:gd name="T23" fmla="*/ 40821 h 49"/>
                <a:gd name="T24" fmla="*/ 22292 w 47"/>
                <a:gd name="T25" fmla="*/ 36156 h 49"/>
                <a:gd name="T26" fmla="*/ 23305 w 47"/>
                <a:gd name="T27" fmla="*/ 31491 h 49"/>
                <a:gd name="T28" fmla="*/ 23812 w 47"/>
                <a:gd name="T29" fmla="*/ 27992 h 49"/>
                <a:gd name="T30" fmla="*/ 23812 w 47"/>
                <a:gd name="T31" fmla="*/ 13996 h 49"/>
                <a:gd name="T32" fmla="*/ 23812 w 47"/>
                <a:gd name="T33" fmla="*/ 0 h 49"/>
                <a:gd name="T34" fmla="*/ 13679 w 47"/>
                <a:gd name="T35" fmla="*/ 0 h 49"/>
                <a:gd name="T36" fmla="*/ 8613 w 47"/>
                <a:gd name="T37" fmla="*/ 9331 h 49"/>
                <a:gd name="T38" fmla="*/ 4560 w 47"/>
                <a:gd name="T39" fmla="*/ 18661 h 49"/>
                <a:gd name="T40" fmla="*/ 2533 w 47"/>
                <a:gd name="T41" fmla="*/ 23327 h 49"/>
                <a:gd name="T42" fmla="*/ 1013 w 47"/>
                <a:gd name="T43" fmla="*/ 29158 h 49"/>
                <a:gd name="T44" fmla="*/ 507 w 47"/>
                <a:gd name="T45" fmla="*/ 34990 h 49"/>
                <a:gd name="T46" fmla="*/ 0 w 47"/>
                <a:gd name="T47" fmla="*/ 41988 h 4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" name="Freeform 56">
              <a:extLst>
                <a:ext uri="{FF2B5EF4-FFF2-40B4-BE49-F238E27FC236}">
                  <a16:creationId xmlns:a16="http://schemas.microsoft.com/office/drawing/2014/main" id="{AF42DD51-2876-43C3-96F8-336219D44223}"/>
                </a:ext>
              </a:extLst>
            </p:cNvPr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4008438" y="3313113"/>
              <a:ext cx="12700" cy="57150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25400 h 9"/>
                <a:gd name="T4" fmla="*/ 1465 w 26"/>
                <a:gd name="T5" fmla="*/ 44450 h 9"/>
                <a:gd name="T6" fmla="*/ 2931 w 26"/>
                <a:gd name="T7" fmla="*/ 50800 h 9"/>
                <a:gd name="T8" fmla="*/ 5373 w 26"/>
                <a:gd name="T9" fmla="*/ 57150 h 9"/>
                <a:gd name="T10" fmla="*/ 7327 w 26"/>
                <a:gd name="T11" fmla="*/ 50800 h 9"/>
                <a:gd name="T12" fmla="*/ 9769 w 26"/>
                <a:gd name="T13" fmla="*/ 44450 h 9"/>
                <a:gd name="T14" fmla="*/ 11235 w 26"/>
                <a:gd name="T15" fmla="*/ 25400 h 9"/>
                <a:gd name="T16" fmla="*/ 12700 w 26"/>
                <a:gd name="T17" fmla="*/ 0 h 9"/>
                <a:gd name="T18" fmla="*/ 0 w 26"/>
                <a:gd name="T19" fmla="*/ 0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2" name="Freeform 57">
              <a:extLst>
                <a:ext uri="{FF2B5EF4-FFF2-40B4-BE49-F238E27FC236}">
                  <a16:creationId xmlns:a16="http://schemas.microsoft.com/office/drawing/2014/main" id="{28F196C5-F966-4602-8C95-5B7644F3865A}"/>
                </a:ext>
              </a:extLst>
            </p:cNvPr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3490914" y="2984500"/>
              <a:ext cx="15875" cy="57150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57150 h 18"/>
                <a:gd name="T4" fmla="*/ 2442 w 39"/>
                <a:gd name="T5" fmla="*/ 57150 h 18"/>
                <a:gd name="T6" fmla="*/ 5292 w 39"/>
                <a:gd name="T7" fmla="*/ 57150 h 18"/>
                <a:gd name="T8" fmla="*/ 9362 w 39"/>
                <a:gd name="T9" fmla="*/ 53975 h 18"/>
                <a:gd name="T10" fmla="*/ 12212 w 39"/>
                <a:gd name="T11" fmla="*/ 44450 h 18"/>
                <a:gd name="T12" fmla="*/ 13840 w 39"/>
                <a:gd name="T13" fmla="*/ 38100 h 18"/>
                <a:gd name="T14" fmla="*/ 15061 w 39"/>
                <a:gd name="T15" fmla="*/ 31750 h 18"/>
                <a:gd name="T16" fmla="*/ 15468 w 39"/>
                <a:gd name="T17" fmla="*/ 25400 h 18"/>
                <a:gd name="T18" fmla="*/ 15875 w 39"/>
                <a:gd name="T19" fmla="*/ 19050 h 18"/>
                <a:gd name="T20" fmla="*/ 11804 w 39"/>
                <a:gd name="T21" fmla="*/ 15875 h 18"/>
                <a:gd name="T22" fmla="*/ 7734 w 39"/>
                <a:gd name="T23" fmla="*/ 9525 h 18"/>
                <a:gd name="T24" fmla="*/ 4071 w 39"/>
                <a:gd name="T25" fmla="*/ 0 h 18"/>
                <a:gd name="T26" fmla="*/ 0 w 39"/>
                <a:gd name="T27" fmla="*/ 0 h 1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63" name="Group 58">
              <a:extLst>
                <a:ext uri="{FF2B5EF4-FFF2-40B4-BE49-F238E27FC236}">
                  <a16:creationId xmlns:a16="http://schemas.microsoft.com/office/drawing/2014/main" id="{91EF6539-37C6-47B1-88A1-0AEACE233DFB}"/>
                </a:ext>
              </a:extLst>
            </p:cNvPr>
            <p:cNvGrpSpPr>
              <a:grpSpLocks/>
            </p:cNvGrpSpPr>
            <p:nvPr>
              <p:custDataLst>
                <p:tags r:id="rId51"/>
              </p:custDataLst>
            </p:nvPr>
          </p:nvGrpSpPr>
          <p:grpSpPr bwMode="auto">
            <a:xfrm>
              <a:off x="3616326" y="2817813"/>
              <a:ext cx="131763" cy="195262"/>
              <a:chOff x="1199" y="2121"/>
              <a:chExt cx="97" cy="123"/>
            </a:xfrm>
          </p:grpSpPr>
          <p:sp>
            <p:nvSpPr>
              <p:cNvPr id="546" name="Freeform 59">
                <a:extLst>
                  <a:ext uri="{FF2B5EF4-FFF2-40B4-BE49-F238E27FC236}">
                    <a16:creationId xmlns:a16="http://schemas.microsoft.com/office/drawing/2014/main" id="{A825F35A-09E1-48F4-B8CF-8421D0DFBB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8 h 25"/>
                  <a:gd name="T2" fmla="*/ 2 w 52"/>
                  <a:gd name="T3" fmla="*/ 8 h 25"/>
                  <a:gd name="T4" fmla="*/ 5 w 52"/>
                  <a:gd name="T5" fmla="*/ 8 h 25"/>
                  <a:gd name="T6" fmla="*/ 7 w 52"/>
                  <a:gd name="T7" fmla="*/ 7 h 25"/>
                  <a:gd name="T8" fmla="*/ 9 w 52"/>
                  <a:gd name="T9" fmla="*/ 6 h 25"/>
                  <a:gd name="T10" fmla="*/ 12 w 52"/>
                  <a:gd name="T11" fmla="*/ 5 h 25"/>
                  <a:gd name="T12" fmla="*/ 13 w 52"/>
                  <a:gd name="T13" fmla="*/ 4 h 25"/>
                  <a:gd name="T14" fmla="*/ 15 w 52"/>
                  <a:gd name="T15" fmla="*/ 2 h 25"/>
                  <a:gd name="T16" fmla="*/ 16 w 52"/>
                  <a:gd name="T17" fmla="*/ 0 h 25"/>
                  <a:gd name="T18" fmla="*/ 12 w 52"/>
                  <a:gd name="T19" fmla="*/ 0 h 25"/>
                  <a:gd name="T20" fmla="*/ 10 w 52"/>
                  <a:gd name="T21" fmla="*/ 0 h 25"/>
                  <a:gd name="T22" fmla="*/ 7 w 52"/>
                  <a:gd name="T23" fmla="*/ 0 h 25"/>
                  <a:gd name="T24" fmla="*/ 5 w 52"/>
                  <a:gd name="T25" fmla="*/ 1 h 25"/>
                  <a:gd name="T26" fmla="*/ 3 w 52"/>
                  <a:gd name="T27" fmla="*/ 2 h 25"/>
                  <a:gd name="T28" fmla="*/ 2 w 52"/>
                  <a:gd name="T29" fmla="*/ 3 h 25"/>
                  <a:gd name="T30" fmla="*/ 1 w 52"/>
                  <a:gd name="T31" fmla="*/ 5 h 25"/>
                  <a:gd name="T32" fmla="*/ 0 w 52"/>
                  <a:gd name="T33" fmla="*/ 8 h 2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7" name="Freeform 60">
                <a:extLst>
                  <a:ext uri="{FF2B5EF4-FFF2-40B4-BE49-F238E27FC236}">
                    <a16:creationId xmlns:a16="http://schemas.microsoft.com/office/drawing/2014/main" id="{6CB97BE7-FB52-4E3E-8A3D-C57E6CC197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2 h 13"/>
                  <a:gd name="T4" fmla="*/ 0 w 33"/>
                  <a:gd name="T5" fmla="*/ 4 h 13"/>
                  <a:gd name="T6" fmla="*/ 3 w 33"/>
                  <a:gd name="T7" fmla="*/ 4 h 13"/>
                  <a:gd name="T8" fmla="*/ 5 w 33"/>
                  <a:gd name="T9" fmla="*/ 4 h 13"/>
                  <a:gd name="T10" fmla="*/ 8 w 33"/>
                  <a:gd name="T11" fmla="*/ 3 h 13"/>
                  <a:gd name="T12" fmla="*/ 11 w 33"/>
                  <a:gd name="T13" fmla="*/ 2 h 13"/>
                  <a:gd name="T14" fmla="*/ 8 w 33"/>
                  <a:gd name="T15" fmla="*/ 1 h 13"/>
                  <a:gd name="T16" fmla="*/ 5 w 33"/>
                  <a:gd name="T17" fmla="*/ 0 h 13"/>
                  <a:gd name="T18" fmla="*/ 3 w 33"/>
                  <a:gd name="T19" fmla="*/ 0 h 13"/>
                  <a:gd name="T20" fmla="*/ 0 w 33"/>
                  <a:gd name="T21" fmla="*/ 0 h 1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8" name="Freeform 61">
                <a:extLst>
                  <a:ext uri="{FF2B5EF4-FFF2-40B4-BE49-F238E27FC236}">
                    <a16:creationId xmlns:a16="http://schemas.microsoft.com/office/drawing/2014/main" id="{3B1685B9-799F-4F23-A1E6-C509DEBB2E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8 w 67"/>
                  <a:gd name="T1" fmla="*/ 6 h 86"/>
                  <a:gd name="T2" fmla="*/ 0 w 67"/>
                  <a:gd name="T3" fmla="*/ 0 h 86"/>
                  <a:gd name="T4" fmla="*/ 8 w 67"/>
                  <a:gd name="T5" fmla="*/ 0 h 86"/>
                  <a:gd name="T6" fmla="*/ 9 w 67"/>
                  <a:gd name="T7" fmla="*/ 1 h 86"/>
                  <a:gd name="T8" fmla="*/ 10 w 67"/>
                  <a:gd name="T9" fmla="*/ 3 h 86"/>
                  <a:gd name="T10" fmla="*/ 11 w 67"/>
                  <a:gd name="T11" fmla="*/ 4 h 86"/>
                  <a:gd name="T12" fmla="*/ 12 w 67"/>
                  <a:gd name="T13" fmla="*/ 5 h 86"/>
                  <a:gd name="T14" fmla="*/ 14 w 67"/>
                  <a:gd name="T15" fmla="*/ 6 h 86"/>
                  <a:gd name="T16" fmla="*/ 16 w 67"/>
                  <a:gd name="T17" fmla="*/ 6 h 86"/>
                  <a:gd name="T18" fmla="*/ 17 w 67"/>
                  <a:gd name="T19" fmla="*/ 10 h 86"/>
                  <a:gd name="T20" fmla="*/ 19 w 67"/>
                  <a:gd name="T21" fmla="*/ 13 h 86"/>
                  <a:gd name="T22" fmla="*/ 19 w 67"/>
                  <a:gd name="T23" fmla="*/ 15 h 86"/>
                  <a:gd name="T24" fmla="*/ 20 w 67"/>
                  <a:gd name="T25" fmla="*/ 16 h 86"/>
                  <a:gd name="T26" fmla="*/ 20 w 67"/>
                  <a:gd name="T27" fmla="*/ 18 h 86"/>
                  <a:gd name="T28" fmla="*/ 20 w 67"/>
                  <a:gd name="T29" fmla="*/ 20 h 86"/>
                  <a:gd name="T30" fmla="*/ 19 w 67"/>
                  <a:gd name="T31" fmla="*/ 24 h 86"/>
                  <a:gd name="T32" fmla="*/ 18 w 67"/>
                  <a:gd name="T33" fmla="*/ 28 h 86"/>
                  <a:gd name="T34" fmla="*/ 16 w 67"/>
                  <a:gd name="T35" fmla="*/ 22 h 86"/>
                  <a:gd name="T36" fmla="*/ 15 w 67"/>
                  <a:gd name="T37" fmla="*/ 18 h 86"/>
                  <a:gd name="T38" fmla="*/ 15 w 67"/>
                  <a:gd name="T39" fmla="*/ 15 h 86"/>
                  <a:gd name="T40" fmla="*/ 15 w 67"/>
                  <a:gd name="T41" fmla="*/ 13 h 86"/>
                  <a:gd name="T42" fmla="*/ 15 w 67"/>
                  <a:gd name="T43" fmla="*/ 11 h 86"/>
                  <a:gd name="T44" fmla="*/ 16 w 67"/>
                  <a:gd name="T45" fmla="*/ 10 h 86"/>
                  <a:gd name="T46" fmla="*/ 13 w 67"/>
                  <a:gd name="T47" fmla="*/ 10 h 86"/>
                  <a:gd name="T48" fmla="*/ 10 w 67"/>
                  <a:gd name="T49" fmla="*/ 9 h 86"/>
                  <a:gd name="T50" fmla="*/ 10 w 67"/>
                  <a:gd name="T51" fmla="*/ 9 h 86"/>
                  <a:gd name="T52" fmla="*/ 8 w 67"/>
                  <a:gd name="T53" fmla="*/ 8 h 86"/>
                  <a:gd name="T54" fmla="*/ 8 w 67"/>
                  <a:gd name="T55" fmla="*/ 7 h 86"/>
                  <a:gd name="T56" fmla="*/ 8 w 67"/>
                  <a:gd name="T57" fmla="*/ 6 h 8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9" name="Freeform 62">
                <a:extLst>
                  <a:ext uri="{FF2B5EF4-FFF2-40B4-BE49-F238E27FC236}">
                    <a16:creationId xmlns:a16="http://schemas.microsoft.com/office/drawing/2014/main" id="{A0E17BA7-20A1-443B-A705-41B9236462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9 w 49"/>
                  <a:gd name="T1" fmla="*/ 4 h 86"/>
                  <a:gd name="T2" fmla="*/ 7 w 49"/>
                  <a:gd name="T3" fmla="*/ 2 h 86"/>
                  <a:gd name="T4" fmla="*/ 5 w 49"/>
                  <a:gd name="T5" fmla="*/ 0 h 86"/>
                  <a:gd name="T6" fmla="*/ 3 w 49"/>
                  <a:gd name="T7" fmla="*/ 2 h 86"/>
                  <a:gd name="T8" fmla="*/ 2 w 49"/>
                  <a:gd name="T9" fmla="*/ 4 h 86"/>
                  <a:gd name="T10" fmla="*/ 0 w 49"/>
                  <a:gd name="T11" fmla="*/ 7 h 86"/>
                  <a:gd name="T12" fmla="*/ 0 w 49"/>
                  <a:gd name="T13" fmla="*/ 10 h 86"/>
                  <a:gd name="T14" fmla="*/ 0 w 49"/>
                  <a:gd name="T15" fmla="*/ 12 h 86"/>
                  <a:gd name="T16" fmla="*/ 1 w 49"/>
                  <a:gd name="T17" fmla="*/ 14 h 86"/>
                  <a:gd name="T18" fmla="*/ 2 w 49"/>
                  <a:gd name="T19" fmla="*/ 16 h 86"/>
                  <a:gd name="T20" fmla="*/ 3 w 49"/>
                  <a:gd name="T21" fmla="*/ 19 h 86"/>
                  <a:gd name="T22" fmla="*/ 4 w 49"/>
                  <a:gd name="T23" fmla="*/ 21 h 86"/>
                  <a:gd name="T24" fmla="*/ 6 w 49"/>
                  <a:gd name="T25" fmla="*/ 24 h 86"/>
                  <a:gd name="T26" fmla="*/ 7 w 49"/>
                  <a:gd name="T27" fmla="*/ 26 h 86"/>
                  <a:gd name="T28" fmla="*/ 9 w 49"/>
                  <a:gd name="T29" fmla="*/ 28 h 86"/>
                  <a:gd name="T30" fmla="*/ 10 w 49"/>
                  <a:gd name="T31" fmla="*/ 26 h 86"/>
                  <a:gd name="T32" fmla="*/ 12 w 49"/>
                  <a:gd name="T33" fmla="*/ 22 h 86"/>
                  <a:gd name="T34" fmla="*/ 14 w 49"/>
                  <a:gd name="T35" fmla="*/ 19 h 86"/>
                  <a:gd name="T36" fmla="*/ 15 w 49"/>
                  <a:gd name="T37" fmla="*/ 15 h 86"/>
                  <a:gd name="T38" fmla="*/ 16 w 49"/>
                  <a:gd name="T39" fmla="*/ 13 h 86"/>
                  <a:gd name="T40" fmla="*/ 16 w 49"/>
                  <a:gd name="T41" fmla="*/ 11 h 86"/>
                  <a:gd name="T42" fmla="*/ 16 w 49"/>
                  <a:gd name="T43" fmla="*/ 8 h 86"/>
                  <a:gd name="T44" fmla="*/ 16 w 49"/>
                  <a:gd name="T45" fmla="*/ 7 h 86"/>
                  <a:gd name="T46" fmla="*/ 14 w 49"/>
                  <a:gd name="T47" fmla="*/ 6 h 86"/>
                  <a:gd name="T48" fmla="*/ 13 w 49"/>
                  <a:gd name="T49" fmla="*/ 5 h 86"/>
                  <a:gd name="T50" fmla="*/ 11 w 49"/>
                  <a:gd name="T51" fmla="*/ 4 h 86"/>
                  <a:gd name="T52" fmla="*/ 9 w 49"/>
                  <a:gd name="T53" fmla="*/ 4 h 8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50" name="Freeform 63">
                <a:extLst>
                  <a:ext uri="{FF2B5EF4-FFF2-40B4-BE49-F238E27FC236}">
                    <a16:creationId xmlns:a16="http://schemas.microsoft.com/office/drawing/2014/main" id="{9EA6B7F0-B39B-44FF-80B2-3C560020CE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4 h 12"/>
                  <a:gd name="T2" fmla="*/ 2 w 6"/>
                  <a:gd name="T3" fmla="*/ 0 h 12"/>
                  <a:gd name="T4" fmla="*/ 1 w 6"/>
                  <a:gd name="T5" fmla="*/ 0 h 12"/>
                  <a:gd name="T6" fmla="*/ 1 w 6"/>
                  <a:gd name="T7" fmla="*/ 1 h 12"/>
                  <a:gd name="T8" fmla="*/ 0 w 6"/>
                  <a:gd name="T9" fmla="*/ 1 h 12"/>
                  <a:gd name="T10" fmla="*/ 0 w 6"/>
                  <a:gd name="T11" fmla="*/ 2 h 12"/>
                  <a:gd name="T12" fmla="*/ 0 w 6"/>
                  <a:gd name="T13" fmla="*/ 3 h 12"/>
                  <a:gd name="T14" fmla="*/ 0 w 6"/>
                  <a:gd name="T15" fmla="*/ 4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51" name="Freeform 64">
                <a:extLst>
                  <a:ext uri="{FF2B5EF4-FFF2-40B4-BE49-F238E27FC236}">
                    <a16:creationId xmlns:a16="http://schemas.microsoft.com/office/drawing/2014/main" id="{F800388F-3903-420B-A27F-90AF7FB4DD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4 w 39"/>
                  <a:gd name="T3" fmla="*/ 3 h 48"/>
                  <a:gd name="T4" fmla="*/ 7 w 39"/>
                  <a:gd name="T5" fmla="*/ 5 h 48"/>
                  <a:gd name="T6" fmla="*/ 11 w 39"/>
                  <a:gd name="T7" fmla="*/ 8 h 48"/>
                  <a:gd name="T8" fmla="*/ 13 w 39"/>
                  <a:gd name="T9" fmla="*/ 9 h 48"/>
                  <a:gd name="T10" fmla="*/ 12 w 39"/>
                  <a:gd name="T11" fmla="*/ 12 h 48"/>
                  <a:gd name="T12" fmla="*/ 11 w 39"/>
                  <a:gd name="T13" fmla="*/ 15 h 48"/>
                  <a:gd name="T14" fmla="*/ 6 w 39"/>
                  <a:gd name="T15" fmla="*/ 11 h 48"/>
                  <a:gd name="T16" fmla="*/ 3 w 39"/>
                  <a:gd name="T17" fmla="*/ 8 h 48"/>
                  <a:gd name="T18" fmla="*/ 1 w 39"/>
                  <a:gd name="T19" fmla="*/ 7 h 48"/>
                  <a:gd name="T20" fmla="*/ 1 w 39"/>
                  <a:gd name="T21" fmla="*/ 5 h 48"/>
                  <a:gd name="T22" fmla="*/ 0 w 39"/>
                  <a:gd name="T23" fmla="*/ 3 h 48"/>
                  <a:gd name="T24" fmla="*/ 0 w 39"/>
                  <a:gd name="T25" fmla="*/ 0 h 4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52" name="Freeform 65">
                <a:extLst>
                  <a:ext uri="{FF2B5EF4-FFF2-40B4-BE49-F238E27FC236}">
                    <a16:creationId xmlns:a16="http://schemas.microsoft.com/office/drawing/2014/main" id="{ADF78889-4B1C-4BCE-8E7E-CB0683BACF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3 w 16"/>
                  <a:gd name="T1" fmla="*/ 0 h 43"/>
                  <a:gd name="T2" fmla="*/ 4 w 16"/>
                  <a:gd name="T3" fmla="*/ 3 h 43"/>
                  <a:gd name="T4" fmla="*/ 6 w 16"/>
                  <a:gd name="T5" fmla="*/ 5 h 43"/>
                  <a:gd name="T6" fmla="*/ 6 w 16"/>
                  <a:gd name="T7" fmla="*/ 7 h 43"/>
                  <a:gd name="T8" fmla="*/ 6 w 16"/>
                  <a:gd name="T9" fmla="*/ 9 h 43"/>
                  <a:gd name="T10" fmla="*/ 6 w 16"/>
                  <a:gd name="T11" fmla="*/ 10 h 43"/>
                  <a:gd name="T12" fmla="*/ 4 w 16"/>
                  <a:gd name="T13" fmla="*/ 11 h 43"/>
                  <a:gd name="T14" fmla="*/ 3 w 16"/>
                  <a:gd name="T15" fmla="*/ 13 h 43"/>
                  <a:gd name="T16" fmla="*/ 0 w 16"/>
                  <a:gd name="T17" fmla="*/ 14 h 43"/>
                  <a:gd name="T18" fmla="*/ 1 w 16"/>
                  <a:gd name="T19" fmla="*/ 9 h 43"/>
                  <a:gd name="T20" fmla="*/ 2 w 16"/>
                  <a:gd name="T21" fmla="*/ 6 h 43"/>
                  <a:gd name="T22" fmla="*/ 2 w 16"/>
                  <a:gd name="T23" fmla="*/ 3 h 43"/>
                  <a:gd name="T24" fmla="*/ 3 w 16"/>
                  <a:gd name="T25" fmla="*/ 0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53" name="Freeform 66">
                <a:extLst>
                  <a:ext uri="{FF2B5EF4-FFF2-40B4-BE49-F238E27FC236}">
                    <a16:creationId xmlns:a16="http://schemas.microsoft.com/office/drawing/2014/main" id="{9ACECB62-F65F-4292-AE3F-F64686D6B5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8 w 24"/>
                  <a:gd name="T1" fmla="*/ 12 h 37"/>
                  <a:gd name="T2" fmla="*/ 6 w 24"/>
                  <a:gd name="T3" fmla="*/ 9 h 37"/>
                  <a:gd name="T4" fmla="*/ 5 w 24"/>
                  <a:gd name="T5" fmla="*/ 6 h 37"/>
                  <a:gd name="T6" fmla="*/ 4 w 24"/>
                  <a:gd name="T7" fmla="*/ 3 h 37"/>
                  <a:gd name="T8" fmla="*/ 4 w 24"/>
                  <a:gd name="T9" fmla="*/ 0 h 37"/>
                  <a:gd name="T10" fmla="*/ 2 w 24"/>
                  <a:gd name="T11" fmla="*/ 3 h 37"/>
                  <a:gd name="T12" fmla="*/ 1 w 24"/>
                  <a:gd name="T13" fmla="*/ 6 h 37"/>
                  <a:gd name="T14" fmla="*/ 0 w 24"/>
                  <a:gd name="T15" fmla="*/ 8 h 37"/>
                  <a:gd name="T16" fmla="*/ 0 w 24"/>
                  <a:gd name="T17" fmla="*/ 10 h 37"/>
                  <a:gd name="T18" fmla="*/ 0 w 24"/>
                  <a:gd name="T19" fmla="*/ 11 h 37"/>
                  <a:gd name="T20" fmla="*/ 1 w 24"/>
                  <a:gd name="T21" fmla="*/ 11 h 37"/>
                  <a:gd name="T22" fmla="*/ 1 w 24"/>
                  <a:gd name="T23" fmla="*/ 12 h 37"/>
                  <a:gd name="T24" fmla="*/ 2 w 24"/>
                  <a:gd name="T25" fmla="*/ 12 h 37"/>
                  <a:gd name="T26" fmla="*/ 5 w 24"/>
                  <a:gd name="T27" fmla="*/ 12 h 37"/>
                  <a:gd name="T28" fmla="*/ 8 w 24"/>
                  <a:gd name="T29" fmla="*/ 12 h 3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54" name="Freeform 67">
                <a:extLst>
                  <a:ext uri="{FF2B5EF4-FFF2-40B4-BE49-F238E27FC236}">
                    <a16:creationId xmlns:a16="http://schemas.microsoft.com/office/drawing/2014/main" id="{4EE342FF-905E-44C3-BDAD-5F287534A0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11 w 34"/>
                  <a:gd name="T1" fmla="*/ 0 h 55"/>
                  <a:gd name="T2" fmla="*/ 11 w 34"/>
                  <a:gd name="T3" fmla="*/ 4 h 55"/>
                  <a:gd name="T4" fmla="*/ 11 w 34"/>
                  <a:gd name="T5" fmla="*/ 8 h 55"/>
                  <a:gd name="T6" fmla="*/ 11 w 34"/>
                  <a:gd name="T7" fmla="*/ 10 h 55"/>
                  <a:gd name="T8" fmla="*/ 10 w 34"/>
                  <a:gd name="T9" fmla="*/ 12 h 55"/>
                  <a:gd name="T10" fmla="*/ 9 w 34"/>
                  <a:gd name="T11" fmla="*/ 13 h 55"/>
                  <a:gd name="T12" fmla="*/ 8 w 34"/>
                  <a:gd name="T13" fmla="*/ 15 h 55"/>
                  <a:gd name="T14" fmla="*/ 6 w 34"/>
                  <a:gd name="T15" fmla="*/ 16 h 55"/>
                  <a:gd name="T16" fmla="*/ 5 w 34"/>
                  <a:gd name="T17" fmla="*/ 16 h 55"/>
                  <a:gd name="T18" fmla="*/ 3 w 34"/>
                  <a:gd name="T19" fmla="*/ 17 h 55"/>
                  <a:gd name="T20" fmla="*/ 0 w 34"/>
                  <a:gd name="T21" fmla="*/ 17 h 55"/>
                  <a:gd name="T22" fmla="*/ 3 w 34"/>
                  <a:gd name="T23" fmla="*/ 11 h 55"/>
                  <a:gd name="T24" fmla="*/ 5 w 34"/>
                  <a:gd name="T25" fmla="*/ 6 h 55"/>
                  <a:gd name="T26" fmla="*/ 6 w 34"/>
                  <a:gd name="T27" fmla="*/ 5 h 55"/>
                  <a:gd name="T28" fmla="*/ 7 w 34"/>
                  <a:gd name="T29" fmla="*/ 3 h 55"/>
                  <a:gd name="T30" fmla="*/ 9 w 34"/>
                  <a:gd name="T31" fmla="*/ 2 h 55"/>
                  <a:gd name="T32" fmla="*/ 11 w 34"/>
                  <a:gd name="T33" fmla="*/ 0 h 5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55" name="Freeform 68">
                <a:extLst>
                  <a:ext uri="{FF2B5EF4-FFF2-40B4-BE49-F238E27FC236}">
                    <a16:creationId xmlns:a16="http://schemas.microsoft.com/office/drawing/2014/main" id="{1E0362D0-0C56-44E2-B343-DD99BC2670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1 w 33"/>
                  <a:gd name="T3" fmla="*/ 1 h 12"/>
                  <a:gd name="T4" fmla="*/ 2 w 33"/>
                  <a:gd name="T5" fmla="*/ 2 h 12"/>
                  <a:gd name="T6" fmla="*/ 3 w 33"/>
                  <a:gd name="T7" fmla="*/ 3 h 12"/>
                  <a:gd name="T8" fmla="*/ 5 w 33"/>
                  <a:gd name="T9" fmla="*/ 4 h 12"/>
                  <a:gd name="T10" fmla="*/ 8 w 33"/>
                  <a:gd name="T11" fmla="*/ 4 h 12"/>
                  <a:gd name="T12" fmla="*/ 11 w 33"/>
                  <a:gd name="T13" fmla="*/ 4 h 12"/>
                  <a:gd name="T14" fmla="*/ 9 w 33"/>
                  <a:gd name="T15" fmla="*/ 3 h 12"/>
                  <a:gd name="T16" fmla="*/ 6 w 33"/>
                  <a:gd name="T17" fmla="*/ 1 h 12"/>
                  <a:gd name="T18" fmla="*/ 3 w 33"/>
                  <a:gd name="T19" fmla="*/ 0 h 12"/>
                  <a:gd name="T20" fmla="*/ 0 w 33"/>
                  <a:gd name="T21" fmla="*/ 0 h 1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64" name="Freeform 69">
              <a:extLst>
                <a:ext uri="{FF2B5EF4-FFF2-40B4-BE49-F238E27FC236}">
                  <a16:creationId xmlns:a16="http://schemas.microsoft.com/office/drawing/2014/main" id="{3B20F9D4-C3A0-413E-B076-6264338A6429}"/>
                </a:ext>
              </a:extLst>
            </p:cNvPr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9429750" y="4244975"/>
              <a:ext cx="12700" cy="57150"/>
            </a:xfrm>
            <a:custGeom>
              <a:avLst/>
              <a:gdLst>
                <a:gd name="T0" fmla="*/ 0 w 33"/>
                <a:gd name="T1" fmla="*/ 57150 h 62"/>
                <a:gd name="T2" fmla="*/ 0 w 33"/>
                <a:gd name="T3" fmla="*/ 48854 h 62"/>
                <a:gd name="T4" fmla="*/ 0 w 33"/>
                <a:gd name="T5" fmla="*/ 41480 h 62"/>
                <a:gd name="T6" fmla="*/ 0 w 33"/>
                <a:gd name="T7" fmla="*/ 34106 h 62"/>
                <a:gd name="T8" fmla="*/ 0 w 33"/>
                <a:gd name="T9" fmla="*/ 28575 h 62"/>
                <a:gd name="T10" fmla="*/ 0 w 33"/>
                <a:gd name="T11" fmla="*/ 23966 h 62"/>
                <a:gd name="T12" fmla="*/ 770 w 33"/>
                <a:gd name="T13" fmla="*/ 20279 h 62"/>
                <a:gd name="T14" fmla="*/ 1539 w 33"/>
                <a:gd name="T15" fmla="*/ 15670 h 62"/>
                <a:gd name="T16" fmla="*/ 3079 w 33"/>
                <a:gd name="T17" fmla="*/ 11983 h 62"/>
                <a:gd name="T18" fmla="*/ 5388 w 33"/>
                <a:gd name="T19" fmla="*/ 5531 h 62"/>
                <a:gd name="T20" fmla="*/ 7697 w 33"/>
                <a:gd name="T21" fmla="*/ 0 h 62"/>
                <a:gd name="T22" fmla="*/ 10006 w 33"/>
                <a:gd name="T23" fmla="*/ 5531 h 62"/>
                <a:gd name="T24" fmla="*/ 12700 w 33"/>
                <a:gd name="T25" fmla="*/ 11983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" name="Freeform 70">
              <a:extLst>
                <a:ext uri="{FF2B5EF4-FFF2-40B4-BE49-F238E27FC236}">
                  <a16:creationId xmlns:a16="http://schemas.microsoft.com/office/drawing/2014/main" id="{E03D7FA8-D27A-481E-81AF-B3EDF00F58C6}"/>
                </a:ext>
              </a:extLst>
            </p:cNvPr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9439276" y="4335464"/>
              <a:ext cx="9525" cy="58737"/>
            </a:xfrm>
            <a:custGeom>
              <a:avLst/>
              <a:gdLst>
                <a:gd name="T0" fmla="*/ 0 w 26"/>
                <a:gd name="T1" fmla="*/ 58737 h 18"/>
                <a:gd name="T2" fmla="*/ 0 w 26"/>
                <a:gd name="T3" fmla="*/ 0 h 18"/>
                <a:gd name="T4" fmla="*/ 9525 w 26"/>
                <a:gd name="T5" fmla="*/ 0 h 18"/>
                <a:gd name="T6" fmla="*/ 2198 w 26"/>
                <a:gd name="T7" fmla="*/ 39158 h 18"/>
                <a:gd name="T8" fmla="*/ 2198 w 26"/>
                <a:gd name="T9" fmla="*/ 19579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" name="Freeform 71">
              <a:extLst>
                <a:ext uri="{FF2B5EF4-FFF2-40B4-BE49-F238E27FC236}">
                  <a16:creationId xmlns:a16="http://schemas.microsoft.com/office/drawing/2014/main" id="{3E2577B8-459C-41A4-B62C-E20987D62E94}"/>
                </a:ext>
              </a:extLst>
            </p:cNvPr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9553575" y="4244976"/>
              <a:ext cx="77788" cy="130175"/>
            </a:xfrm>
            <a:custGeom>
              <a:avLst/>
              <a:gdLst>
                <a:gd name="T0" fmla="*/ 77788 w 180"/>
                <a:gd name="T1" fmla="*/ 120412 h 240"/>
                <a:gd name="T2" fmla="*/ 75627 w 180"/>
                <a:gd name="T3" fmla="*/ 120954 h 240"/>
                <a:gd name="T4" fmla="*/ 73899 w 180"/>
                <a:gd name="T5" fmla="*/ 120954 h 240"/>
                <a:gd name="T6" fmla="*/ 72170 w 180"/>
                <a:gd name="T7" fmla="*/ 122039 h 240"/>
                <a:gd name="T8" fmla="*/ 70874 w 180"/>
                <a:gd name="T9" fmla="*/ 123124 h 240"/>
                <a:gd name="T10" fmla="*/ 68281 w 180"/>
                <a:gd name="T11" fmla="*/ 125836 h 240"/>
                <a:gd name="T12" fmla="*/ 66120 w 180"/>
                <a:gd name="T13" fmla="*/ 130175 h 240"/>
                <a:gd name="T14" fmla="*/ 60502 w 180"/>
                <a:gd name="T15" fmla="*/ 125836 h 240"/>
                <a:gd name="T16" fmla="*/ 56612 w 180"/>
                <a:gd name="T17" fmla="*/ 120954 h 240"/>
                <a:gd name="T18" fmla="*/ 53155 w 180"/>
                <a:gd name="T19" fmla="*/ 116073 h 240"/>
                <a:gd name="T20" fmla="*/ 50994 w 180"/>
                <a:gd name="T21" fmla="*/ 111734 h 240"/>
                <a:gd name="T22" fmla="*/ 48401 w 180"/>
                <a:gd name="T23" fmla="*/ 105767 h 240"/>
                <a:gd name="T24" fmla="*/ 45808 w 180"/>
                <a:gd name="T25" fmla="*/ 100343 h 240"/>
                <a:gd name="T26" fmla="*/ 42351 w 180"/>
                <a:gd name="T27" fmla="*/ 94377 h 240"/>
                <a:gd name="T28" fmla="*/ 37598 w 180"/>
                <a:gd name="T29" fmla="*/ 87326 h 240"/>
                <a:gd name="T30" fmla="*/ 35437 w 180"/>
                <a:gd name="T31" fmla="*/ 82987 h 240"/>
                <a:gd name="T32" fmla="*/ 32412 w 180"/>
                <a:gd name="T33" fmla="*/ 79190 h 240"/>
                <a:gd name="T34" fmla="*/ 30251 w 180"/>
                <a:gd name="T35" fmla="*/ 75393 h 240"/>
                <a:gd name="T36" fmla="*/ 26794 w 180"/>
                <a:gd name="T37" fmla="*/ 72139 h 240"/>
                <a:gd name="T38" fmla="*/ 20743 w 180"/>
                <a:gd name="T39" fmla="*/ 65630 h 240"/>
                <a:gd name="T40" fmla="*/ 14261 w 180"/>
                <a:gd name="T41" fmla="*/ 59664 h 240"/>
                <a:gd name="T42" fmla="*/ 11668 w 180"/>
                <a:gd name="T43" fmla="*/ 56409 h 240"/>
                <a:gd name="T44" fmla="*/ 9075 w 180"/>
                <a:gd name="T45" fmla="*/ 53155 h 240"/>
                <a:gd name="T46" fmla="*/ 6482 w 180"/>
                <a:gd name="T47" fmla="*/ 49900 h 240"/>
                <a:gd name="T48" fmla="*/ 4322 w 180"/>
                <a:gd name="T49" fmla="*/ 45561 h 240"/>
                <a:gd name="T50" fmla="*/ 2593 w 180"/>
                <a:gd name="T51" fmla="*/ 41764 h 240"/>
                <a:gd name="T52" fmla="*/ 1729 w 180"/>
                <a:gd name="T53" fmla="*/ 36883 h 240"/>
                <a:gd name="T54" fmla="*/ 432 w 180"/>
                <a:gd name="T55" fmla="*/ 32544 h 240"/>
                <a:gd name="T56" fmla="*/ 0 w 180"/>
                <a:gd name="T57" fmla="*/ 27120 h 240"/>
                <a:gd name="T58" fmla="*/ 0 w 180"/>
                <a:gd name="T59" fmla="*/ 18984 h 240"/>
                <a:gd name="T60" fmla="*/ 0 w 180"/>
                <a:gd name="T61" fmla="*/ 13560 h 240"/>
                <a:gd name="T62" fmla="*/ 0 w 180"/>
                <a:gd name="T63" fmla="*/ 8136 h 240"/>
                <a:gd name="T64" fmla="*/ 0 w 180"/>
                <a:gd name="T65" fmla="*/ 0 h 240"/>
                <a:gd name="T66" fmla="*/ 4322 w 180"/>
                <a:gd name="T67" fmla="*/ 4339 h 240"/>
                <a:gd name="T68" fmla="*/ 8211 w 180"/>
                <a:gd name="T69" fmla="*/ 9221 h 240"/>
                <a:gd name="T70" fmla="*/ 11668 w 180"/>
                <a:gd name="T71" fmla="*/ 14645 h 240"/>
                <a:gd name="T72" fmla="*/ 14693 w 180"/>
                <a:gd name="T73" fmla="*/ 20611 h 240"/>
                <a:gd name="T74" fmla="*/ 17718 w 180"/>
                <a:gd name="T75" fmla="*/ 26035 h 240"/>
                <a:gd name="T76" fmla="*/ 19879 w 180"/>
                <a:gd name="T77" fmla="*/ 31459 h 240"/>
                <a:gd name="T78" fmla="*/ 22040 w 180"/>
                <a:gd name="T79" fmla="*/ 35798 h 240"/>
                <a:gd name="T80" fmla="*/ 23336 w 180"/>
                <a:gd name="T81" fmla="*/ 40137 h 240"/>
                <a:gd name="T82" fmla="*/ 25929 w 180"/>
                <a:gd name="T83" fmla="*/ 46646 h 240"/>
                <a:gd name="T84" fmla="*/ 28522 w 180"/>
                <a:gd name="T85" fmla="*/ 53155 h 240"/>
                <a:gd name="T86" fmla="*/ 31980 w 180"/>
                <a:gd name="T87" fmla="*/ 58036 h 240"/>
                <a:gd name="T88" fmla="*/ 35437 w 180"/>
                <a:gd name="T89" fmla="*/ 62918 h 240"/>
                <a:gd name="T90" fmla="*/ 43216 w 180"/>
                <a:gd name="T91" fmla="*/ 72139 h 240"/>
                <a:gd name="T92" fmla="*/ 51427 w 180"/>
                <a:gd name="T93" fmla="*/ 80817 h 240"/>
                <a:gd name="T94" fmla="*/ 60070 w 180"/>
                <a:gd name="T95" fmla="*/ 88953 h 240"/>
                <a:gd name="T96" fmla="*/ 66984 w 180"/>
                <a:gd name="T97" fmla="*/ 97631 h 240"/>
                <a:gd name="T98" fmla="*/ 70441 w 180"/>
                <a:gd name="T99" fmla="*/ 102513 h 240"/>
                <a:gd name="T100" fmla="*/ 73034 w 180"/>
                <a:gd name="T101" fmla="*/ 107937 h 240"/>
                <a:gd name="T102" fmla="*/ 75627 w 180"/>
                <a:gd name="T103" fmla="*/ 113903 h 240"/>
                <a:gd name="T104" fmla="*/ 77788 w 180"/>
                <a:gd name="T105" fmla="*/ 120412 h 2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" name="Freeform 72">
              <a:extLst>
                <a:ext uri="{FF2B5EF4-FFF2-40B4-BE49-F238E27FC236}">
                  <a16:creationId xmlns:a16="http://schemas.microsoft.com/office/drawing/2014/main" id="{775F1888-7B6F-4994-BC3A-666D96758978}"/>
                </a:ext>
              </a:extLst>
            </p:cNvPr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9553575" y="4217988"/>
              <a:ext cx="14288" cy="57150"/>
            </a:xfrm>
            <a:custGeom>
              <a:avLst/>
              <a:gdLst>
                <a:gd name="T0" fmla="*/ 0 w 27"/>
                <a:gd name="T1" fmla="*/ 0 h 30"/>
                <a:gd name="T2" fmla="*/ 529 w 27"/>
                <a:gd name="T3" fmla="*/ 9525 h 30"/>
                <a:gd name="T4" fmla="*/ 1588 w 27"/>
                <a:gd name="T5" fmla="*/ 20955 h 30"/>
                <a:gd name="T6" fmla="*/ 2117 w 27"/>
                <a:gd name="T7" fmla="*/ 26670 h 30"/>
                <a:gd name="T8" fmla="*/ 2117 w 27"/>
                <a:gd name="T9" fmla="*/ 36195 h 30"/>
                <a:gd name="T10" fmla="*/ 1588 w 27"/>
                <a:gd name="T11" fmla="*/ 45720 h 30"/>
                <a:gd name="T12" fmla="*/ 0 w 27"/>
                <a:gd name="T13" fmla="*/ 57150 h 30"/>
                <a:gd name="T14" fmla="*/ 8996 w 27"/>
                <a:gd name="T15" fmla="*/ 51435 h 30"/>
                <a:gd name="T16" fmla="*/ 14288 w 27"/>
                <a:gd name="T17" fmla="*/ 45720 h 30"/>
                <a:gd name="T18" fmla="*/ 12171 w 27"/>
                <a:gd name="T19" fmla="*/ 38100 h 30"/>
                <a:gd name="T20" fmla="*/ 8996 w 27"/>
                <a:gd name="T21" fmla="*/ 22860 h 30"/>
                <a:gd name="T22" fmla="*/ 5821 w 27"/>
                <a:gd name="T23" fmla="*/ 15240 h 30"/>
                <a:gd name="T24" fmla="*/ 3704 w 27"/>
                <a:gd name="T25" fmla="*/ 7620 h 30"/>
                <a:gd name="T26" fmla="*/ 2117 w 27"/>
                <a:gd name="T27" fmla="*/ 1905 h 30"/>
                <a:gd name="T28" fmla="*/ 0 w 27"/>
                <a:gd name="T29" fmla="*/ 0 h 3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68" name="Group 73">
              <a:extLst>
                <a:ext uri="{FF2B5EF4-FFF2-40B4-BE49-F238E27FC236}">
                  <a16:creationId xmlns:a16="http://schemas.microsoft.com/office/drawing/2014/main" id="{418E6926-F214-435E-84AA-04A902B21BB5}"/>
                </a:ext>
              </a:extLst>
            </p:cNvPr>
            <p:cNvGrpSpPr>
              <a:grpSpLocks/>
            </p:cNvGrpSpPr>
            <p:nvPr>
              <p:custDataLst>
                <p:tags r:id="rId56"/>
              </p:custDataLst>
            </p:nvPr>
          </p:nvGrpSpPr>
          <p:grpSpPr bwMode="auto">
            <a:xfrm>
              <a:off x="9244014" y="4738688"/>
              <a:ext cx="458787" cy="404812"/>
              <a:chOff x="5372" y="3323"/>
              <a:chExt cx="341" cy="253"/>
            </a:xfrm>
            <a:solidFill>
              <a:srgbClr val="0070C0"/>
            </a:solidFill>
          </p:grpSpPr>
          <p:sp>
            <p:nvSpPr>
              <p:cNvPr id="543" name="Freeform 74">
                <a:extLst>
                  <a:ext uri="{FF2B5EF4-FFF2-40B4-BE49-F238E27FC236}">
                    <a16:creationId xmlns:a16="http://schemas.microsoft.com/office/drawing/2014/main" id="{DF6E98D0-65AC-4352-BB8E-51CC8E4523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10 h 33"/>
                  <a:gd name="T2" fmla="*/ 1 w 53"/>
                  <a:gd name="T3" fmla="*/ 9 h 33"/>
                  <a:gd name="T4" fmla="*/ 2 w 53"/>
                  <a:gd name="T5" fmla="*/ 7 h 33"/>
                  <a:gd name="T6" fmla="*/ 5 w 53"/>
                  <a:gd name="T7" fmla="*/ 5 h 33"/>
                  <a:gd name="T8" fmla="*/ 6 w 53"/>
                  <a:gd name="T9" fmla="*/ 4 h 33"/>
                  <a:gd name="T10" fmla="*/ 9 w 53"/>
                  <a:gd name="T11" fmla="*/ 2 h 33"/>
                  <a:gd name="T12" fmla="*/ 11 w 53"/>
                  <a:gd name="T13" fmla="*/ 1 h 33"/>
                  <a:gd name="T14" fmla="*/ 14 w 53"/>
                  <a:gd name="T15" fmla="*/ 0 h 33"/>
                  <a:gd name="T16" fmla="*/ 16 w 53"/>
                  <a:gd name="T17" fmla="*/ 0 h 33"/>
                  <a:gd name="T18" fmla="*/ 16 w 53"/>
                  <a:gd name="T19" fmla="*/ 6 h 33"/>
                  <a:gd name="T20" fmla="*/ 11 w 53"/>
                  <a:gd name="T21" fmla="*/ 8 h 33"/>
                  <a:gd name="T22" fmla="*/ 8 w 53"/>
                  <a:gd name="T23" fmla="*/ 10 h 33"/>
                  <a:gd name="T24" fmla="*/ 6 w 53"/>
                  <a:gd name="T25" fmla="*/ 11 h 33"/>
                  <a:gd name="T26" fmla="*/ 5 w 53"/>
                  <a:gd name="T27" fmla="*/ 11 h 33"/>
                  <a:gd name="T28" fmla="*/ 3 w 53"/>
                  <a:gd name="T29" fmla="*/ 11 h 33"/>
                  <a:gd name="T30" fmla="*/ 0 w 53"/>
                  <a:gd name="T31" fmla="*/ 10 h 3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4" name="Freeform 75">
                <a:extLst>
                  <a:ext uri="{FF2B5EF4-FFF2-40B4-BE49-F238E27FC236}">
                    <a16:creationId xmlns:a16="http://schemas.microsoft.com/office/drawing/2014/main" id="{316EBADE-DE72-44A3-86C0-D1C699A2E4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8 w 631"/>
                  <a:gd name="T1" fmla="*/ 97 h 358"/>
                  <a:gd name="T2" fmla="*/ 16 w 631"/>
                  <a:gd name="T3" fmla="*/ 95 h 358"/>
                  <a:gd name="T4" fmla="*/ 21 w 631"/>
                  <a:gd name="T5" fmla="*/ 91 h 358"/>
                  <a:gd name="T6" fmla="*/ 25 w 631"/>
                  <a:gd name="T7" fmla="*/ 83 h 358"/>
                  <a:gd name="T8" fmla="*/ 32 w 631"/>
                  <a:gd name="T9" fmla="*/ 84 h 358"/>
                  <a:gd name="T10" fmla="*/ 40 w 631"/>
                  <a:gd name="T11" fmla="*/ 83 h 358"/>
                  <a:gd name="T12" fmla="*/ 45 w 631"/>
                  <a:gd name="T13" fmla="*/ 81 h 358"/>
                  <a:gd name="T14" fmla="*/ 52 w 631"/>
                  <a:gd name="T15" fmla="*/ 75 h 358"/>
                  <a:gd name="T16" fmla="*/ 58 w 631"/>
                  <a:gd name="T17" fmla="*/ 68 h 358"/>
                  <a:gd name="T18" fmla="*/ 68 w 631"/>
                  <a:gd name="T19" fmla="*/ 63 h 358"/>
                  <a:gd name="T20" fmla="*/ 83 w 631"/>
                  <a:gd name="T21" fmla="*/ 57 h 358"/>
                  <a:gd name="T22" fmla="*/ 105 w 631"/>
                  <a:gd name="T23" fmla="*/ 50 h 358"/>
                  <a:gd name="T24" fmla="*/ 116 w 631"/>
                  <a:gd name="T25" fmla="*/ 45 h 358"/>
                  <a:gd name="T26" fmla="*/ 125 w 631"/>
                  <a:gd name="T27" fmla="*/ 42 h 358"/>
                  <a:gd name="T28" fmla="*/ 130 w 631"/>
                  <a:gd name="T29" fmla="*/ 42 h 358"/>
                  <a:gd name="T30" fmla="*/ 141 w 631"/>
                  <a:gd name="T31" fmla="*/ 35 h 358"/>
                  <a:gd name="T32" fmla="*/ 150 w 631"/>
                  <a:gd name="T33" fmla="*/ 26 h 358"/>
                  <a:gd name="T34" fmla="*/ 153 w 631"/>
                  <a:gd name="T35" fmla="*/ 21 h 358"/>
                  <a:gd name="T36" fmla="*/ 161 w 631"/>
                  <a:gd name="T37" fmla="*/ 19 h 358"/>
                  <a:gd name="T38" fmla="*/ 172 w 631"/>
                  <a:gd name="T39" fmla="*/ 12 h 358"/>
                  <a:gd name="T40" fmla="*/ 182 w 631"/>
                  <a:gd name="T41" fmla="*/ 4 h 358"/>
                  <a:gd name="T42" fmla="*/ 189 w 631"/>
                  <a:gd name="T43" fmla="*/ 0 h 358"/>
                  <a:gd name="T44" fmla="*/ 193 w 631"/>
                  <a:gd name="T45" fmla="*/ 7 h 358"/>
                  <a:gd name="T46" fmla="*/ 198 w 631"/>
                  <a:gd name="T47" fmla="*/ 10 h 358"/>
                  <a:gd name="T48" fmla="*/ 200 w 631"/>
                  <a:gd name="T49" fmla="*/ 15 h 358"/>
                  <a:gd name="T50" fmla="*/ 192 w 631"/>
                  <a:gd name="T51" fmla="*/ 29 h 358"/>
                  <a:gd name="T52" fmla="*/ 182 w 631"/>
                  <a:gd name="T53" fmla="*/ 41 h 358"/>
                  <a:gd name="T54" fmla="*/ 169 w 631"/>
                  <a:gd name="T55" fmla="*/ 50 h 358"/>
                  <a:gd name="T56" fmla="*/ 156 w 631"/>
                  <a:gd name="T57" fmla="*/ 57 h 358"/>
                  <a:gd name="T58" fmla="*/ 142 w 631"/>
                  <a:gd name="T59" fmla="*/ 59 h 358"/>
                  <a:gd name="T60" fmla="*/ 140 w 631"/>
                  <a:gd name="T61" fmla="*/ 64 h 358"/>
                  <a:gd name="T62" fmla="*/ 139 w 631"/>
                  <a:gd name="T63" fmla="*/ 65 h 358"/>
                  <a:gd name="T64" fmla="*/ 126 w 631"/>
                  <a:gd name="T65" fmla="*/ 65 h 358"/>
                  <a:gd name="T66" fmla="*/ 117 w 631"/>
                  <a:gd name="T67" fmla="*/ 69 h 358"/>
                  <a:gd name="T68" fmla="*/ 111 w 631"/>
                  <a:gd name="T69" fmla="*/ 69 h 358"/>
                  <a:gd name="T70" fmla="*/ 108 w 631"/>
                  <a:gd name="T71" fmla="*/ 67 h 358"/>
                  <a:gd name="T72" fmla="*/ 100 w 631"/>
                  <a:gd name="T73" fmla="*/ 79 h 358"/>
                  <a:gd name="T74" fmla="*/ 87 w 631"/>
                  <a:gd name="T75" fmla="*/ 92 h 358"/>
                  <a:gd name="T76" fmla="*/ 70 w 631"/>
                  <a:gd name="T77" fmla="*/ 103 h 358"/>
                  <a:gd name="T78" fmla="*/ 53 w 631"/>
                  <a:gd name="T79" fmla="*/ 112 h 358"/>
                  <a:gd name="T80" fmla="*/ 35 w 631"/>
                  <a:gd name="T81" fmla="*/ 117 h 358"/>
                  <a:gd name="T82" fmla="*/ 23 w 631"/>
                  <a:gd name="T83" fmla="*/ 116 h 358"/>
                  <a:gd name="T84" fmla="*/ 18 w 631"/>
                  <a:gd name="T85" fmla="*/ 114 h 358"/>
                  <a:gd name="T86" fmla="*/ 11 w 631"/>
                  <a:gd name="T87" fmla="*/ 111 h 35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5" name="Freeform 76">
                <a:extLst>
                  <a:ext uri="{FF2B5EF4-FFF2-40B4-BE49-F238E27FC236}">
                    <a16:creationId xmlns:a16="http://schemas.microsoft.com/office/drawing/2014/main" id="{DD6C582F-BB5A-4DA9-AD31-8148A9D0D2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19 w 359"/>
                  <a:gd name="T1" fmla="*/ 94 h 431"/>
                  <a:gd name="T2" fmla="*/ 31 w 359"/>
                  <a:gd name="T3" fmla="*/ 88 h 431"/>
                  <a:gd name="T4" fmla="*/ 53 w 359"/>
                  <a:gd name="T5" fmla="*/ 68 h 431"/>
                  <a:gd name="T6" fmla="*/ 56 w 359"/>
                  <a:gd name="T7" fmla="*/ 55 h 431"/>
                  <a:gd name="T8" fmla="*/ 58 w 359"/>
                  <a:gd name="T9" fmla="*/ 49 h 431"/>
                  <a:gd name="T10" fmla="*/ 62 w 359"/>
                  <a:gd name="T11" fmla="*/ 45 h 431"/>
                  <a:gd name="T12" fmla="*/ 61 w 359"/>
                  <a:gd name="T13" fmla="*/ 41 h 431"/>
                  <a:gd name="T14" fmla="*/ 58 w 359"/>
                  <a:gd name="T15" fmla="*/ 31 h 431"/>
                  <a:gd name="T16" fmla="*/ 56 w 359"/>
                  <a:gd name="T17" fmla="*/ 11 h 431"/>
                  <a:gd name="T18" fmla="*/ 59 w 359"/>
                  <a:gd name="T19" fmla="*/ 0 h 431"/>
                  <a:gd name="T20" fmla="*/ 63 w 359"/>
                  <a:gd name="T21" fmla="*/ 4 h 431"/>
                  <a:gd name="T22" fmla="*/ 67 w 359"/>
                  <a:gd name="T23" fmla="*/ 9 h 431"/>
                  <a:gd name="T24" fmla="*/ 75 w 359"/>
                  <a:gd name="T25" fmla="*/ 18 h 431"/>
                  <a:gd name="T26" fmla="*/ 77 w 359"/>
                  <a:gd name="T27" fmla="*/ 24 h 431"/>
                  <a:gd name="T28" fmla="*/ 77 w 359"/>
                  <a:gd name="T29" fmla="*/ 29 h 431"/>
                  <a:gd name="T30" fmla="*/ 73 w 359"/>
                  <a:gd name="T31" fmla="*/ 33 h 431"/>
                  <a:gd name="T32" fmla="*/ 66 w 359"/>
                  <a:gd name="T33" fmla="*/ 39 h 431"/>
                  <a:gd name="T34" fmla="*/ 64 w 359"/>
                  <a:gd name="T35" fmla="*/ 43 h 431"/>
                  <a:gd name="T36" fmla="*/ 64 w 359"/>
                  <a:gd name="T37" fmla="*/ 49 h 431"/>
                  <a:gd name="T38" fmla="*/ 66 w 359"/>
                  <a:gd name="T39" fmla="*/ 52 h 431"/>
                  <a:gd name="T40" fmla="*/ 73 w 359"/>
                  <a:gd name="T41" fmla="*/ 52 h 431"/>
                  <a:gd name="T42" fmla="*/ 75 w 359"/>
                  <a:gd name="T43" fmla="*/ 50 h 431"/>
                  <a:gd name="T44" fmla="*/ 75 w 359"/>
                  <a:gd name="T45" fmla="*/ 44 h 431"/>
                  <a:gd name="T46" fmla="*/ 84 w 359"/>
                  <a:gd name="T47" fmla="*/ 63 h 431"/>
                  <a:gd name="T48" fmla="*/ 88 w 359"/>
                  <a:gd name="T49" fmla="*/ 68 h 431"/>
                  <a:gd name="T50" fmla="*/ 94 w 359"/>
                  <a:gd name="T51" fmla="*/ 72 h 431"/>
                  <a:gd name="T52" fmla="*/ 97 w 359"/>
                  <a:gd name="T53" fmla="*/ 71 h 431"/>
                  <a:gd name="T54" fmla="*/ 101 w 359"/>
                  <a:gd name="T55" fmla="*/ 67 h 431"/>
                  <a:gd name="T56" fmla="*/ 110 w 359"/>
                  <a:gd name="T57" fmla="*/ 63 h 431"/>
                  <a:gd name="T58" fmla="*/ 115 w 359"/>
                  <a:gd name="T59" fmla="*/ 67 h 431"/>
                  <a:gd name="T60" fmla="*/ 111 w 359"/>
                  <a:gd name="T61" fmla="*/ 79 h 431"/>
                  <a:gd name="T62" fmla="*/ 104 w 359"/>
                  <a:gd name="T63" fmla="*/ 85 h 431"/>
                  <a:gd name="T64" fmla="*/ 95 w 359"/>
                  <a:gd name="T65" fmla="*/ 90 h 431"/>
                  <a:gd name="T66" fmla="*/ 80 w 359"/>
                  <a:gd name="T67" fmla="*/ 94 h 431"/>
                  <a:gd name="T68" fmla="*/ 67 w 359"/>
                  <a:gd name="T69" fmla="*/ 98 h 431"/>
                  <a:gd name="T70" fmla="*/ 62 w 359"/>
                  <a:gd name="T71" fmla="*/ 101 h 431"/>
                  <a:gd name="T72" fmla="*/ 58 w 359"/>
                  <a:gd name="T73" fmla="*/ 111 h 431"/>
                  <a:gd name="T74" fmla="*/ 53 w 359"/>
                  <a:gd name="T75" fmla="*/ 116 h 431"/>
                  <a:gd name="T76" fmla="*/ 35 w 359"/>
                  <a:gd name="T77" fmla="*/ 129 h 431"/>
                  <a:gd name="T78" fmla="*/ 16 w 359"/>
                  <a:gd name="T79" fmla="*/ 139 h 431"/>
                  <a:gd name="T80" fmla="*/ 6 w 359"/>
                  <a:gd name="T81" fmla="*/ 141 h 431"/>
                  <a:gd name="T82" fmla="*/ 2 w 359"/>
                  <a:gd name="T83" fmla="*/ 139 h 431"/>
                  <a:gd name="T84" fmla="*/ 0 w 359"/>
                  <a:gd name="T85" fmla="*/ 136 h 431"/>
                  <a:gd name="T86" fmla="*/ 0 w 359"/>
                  <a:gd name="T87" fmla="*/ 132 h 431"/>
                  <a:gd name="T88" fmla="*/ 3 w 359"/>
                  <a:gd name="T89" fmla="*/ 128 h 431"/>
                  <a:gd name="T90" fmla="*/ 18 w 359"/>
                  <a:gd name="T91" fmla="*/ 122 h 431"/>
                  <a:gd name="T92" fmla="*/ 24 w 359"/>
                  <a:gd name="T93" fmla="*/ 115 h 431"/>
                  <a:gd name="T94" fmla="*/ 23 w 359"/>
                  <a:gd name="T95" fmla="*/ 110 h 431"/>
                  <a:gd name="T96" fmla="*/ 21 w 359"/>
                  <a:gd name="T97" fmla="*/ 107 h 431"/>
                  <a:gd name="T98" fmla="*/ 16 w 359"/>
                  <a:gd name="T99" fmla="*/ 105 h 431"/>
                  <a:gd name="T100" fmla="*/ 6 w 359"/>
                  <a:gd name="T101" fmla="*/ 105 h 43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69" name="Freeform 77">
              <a:extLst>
                <a:ext uri="{FF2B5EF4-FFF2-40B4-BE49-F238E27FC236}">
                  <a16:creationId xmlns:a16="http://schemas.microsoft.com/office/drawing/2014/main" id="{7D6FBC73-64E3-4C92-9848-9D560EE2E70F}"/>
                </a:ext>
              </a:extLst>
            </p:cNvPr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8886826" y="3395663"/>
              <a:ext cx="9525" cy="57150"/>
            </a:xfrm>
            <a:custGeom>
              <a:avLst/>
              <a:gdLst>
                <a:gd name="T0" fmla="*/ 0 w 21"/>
                <a:gd name="T1" fmla="*/ 39636 h 62"/>
                <a:gd name="T2" fmla="*/ 454 w 21"/>
                <a:gd name="T3" fmla="*/ 26731 h 62"/>
                <a:gd name="T4" fmla="*/ 1361 w 21"/>
                <a:gd name="T5" fmla="*/ 15670 h 62"/>
                <a:gd name="T6" fmla="*/ 1814 w 21"/>
                <a:gd name="T7" fmla="*/ 10140 h 62"/>
                <a:gd name="T8" fmla="*/ 2721 w 21"/>
                <a:gd name="T9" fmla="*/ 6452 h 62"/>
                <a:gd name="T10" fmla="*/ 4082 w 21"/>
                <a:gd name="T11" fmla="*/ 2765 h 62"/>
                <a:gd name="T12" fmla="*/ 6804 w 21"/>
                <a:gd name="T13" fmla="*/ 0 h 62"/>
                <a:gd name="T14" fmla="*/ 6804 w 21"/>
                <a:gd name="T15" fmla="*/ 13827 h 62"/>
                <a:gd name="T16" fmla="*/ 8164 w 21"/>
                <a:gd name="T17" fmla="*/ 28575 h 62"/>
                <a:gd name="T18" fmla="*/ 9071 w 21"/>
                <a:gd name="T19" fmla="*/ 40558 h 62"/>
                <a:gd name="T20" fmla="*/ 9525 w 21"/>
                <a:gd name="T21" fmla="*/ 45167 h 62"/>
                <a:gd name="T22" fmla="*/ 4536 w 21"/>
                <a:gd name="T23" fmla="*/ 50698 h 62"/>
                <a:gd name="T24" fmla="*/ 0 w 21"/>
                <a:gd name="T25" fmla="*/ 57150 h 62"/>
                <a:gd name="T26" fmla="*/ 0 w 21"/>
                <a:gd name="T27" fmla="*/ 39636 h 6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0" name="Freeform 78">
              <a:extLst>
                <a:ext uri="{FF2B5EF4-FFF2-40B4-BE49-F238E27FC236}">
                  <a16:creationId xmlns:a16="http://schemas.microsoft.com/office/drawing/2014/main" id="{206CF8BE-62E8-4D06-AE8B-17358CFEE9F3}"/>
                </a:ext>
              </a:extLst>
            </p:cNvPr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9613900" y="4297363"/>
              <a:ext cx="14288" cy="57150"/>
            </a:xfrm>
            <a:custGeom>
              <a:avLst/>
              <a:gdLst>
                <a:gd name="T0" fmla="*/ 0 w 33"/>
                <a:gd name="T1" fmla="*/ 0 h 24"/>
                <a:gd name="T2" fmla="*/ 2165 w 33"/>
                <a:gd name="T3" fmla="*/ 11906 h 24"/>
                <a:gd name="T4" fmla="*/ 4330 w 33"/>
                <a:gd name="T5" fmla="*/ 23813 h 24"/>
                <a:gd name="T6" fmla="*/ 4763 w 33"/>
                <a:gd name="T7" fmla="*/ 30956 h 24"/>
                <a:gd name="T8" fmla="*/ 5196 w 33"/>
                <a:gd name="T9" fmla="*/ 38100 h 24"/>
                <a:gd name="T10" fmla="*/ 5629 w 33"/>
                <a:gd name="T11" fmla="*/ 47625 h 24"/>
                <a:gd name="T12" fmla="*/ 5629 w 33"/>
                <a:gd name="T13" fmla="*/ 57150 h 24"/>
                <a:gd name="T14" fmla="*/ 14288 w 33"/>
                <a:gd name="T15" fmla="*/ 0 h 24"/>
                <a:gd name="T16" fmla="*/ 10391 w 33"/>
                <a:gd name="T17" fmla="*/ 0 h 24"/>
                <a:gd name="T18" fmla="*/ 6928 w 33"/>
                <a:gd name="T19" fmla="*/ 0 h 24"/>
                <a:gd name="T20" fmla="*/ 3897 w 33"/>
                <a:gd name="T21" fmla="*/ 0 h 24"/>
                <a:gd name="T22" fmla="*/ 0 w 33"/>
                <a:gd name="T23" fmla="*/ 0 h 2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" name="Freeform 79">
              <a:extLst>
                <a:ext uri="{FF2B5EF4-FFF2-40B4-BE49-F238E27FC236}">
                  <a16:creationId xmlns:a16="http://schemas.microsoft.com/office/drawing/2014/main" id="{FF4D8150-A82E-4C2B-B650-91748B71E5DA}"/>
                </a:ext>
              </a:extLst>
            </p:cNvPr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9636126" y="4306889"/>
              <a:ext cx="17463" cy="58737"/>
            </a:xfrm>
            <a:custGeom>
              <a:avLst/>
              <a:gdLst>
                <a:gd name="T0" fmla="*/ 13759 w 33"/>
                <a:gd name="T1" fmla="*/ 58737 h 25"/>
                <a:gd name="T2" fmla="*/ 15346 w 33"/>
                <a:gd name="T3" fmla="*/ 51689 h 25"/>
                <a:gd name="T4" fmla="*/ 17463 w 33"/>
                <a:gd name="T5" fmla="*/ 42291 h 25"/>
                <a:gd name="T6" fmla="*/ 17463 w 33"/>
                <a:gd name="T7" fmla="*/ 0 h 25"/>
                <a:gd name="T8" fmla="*/ 13230 w 33"/>
                <a:gd name="T9" fmla="*/ 0 h 25"/>
                <a:gd name="T10" fmla="*/ 8467 w 33"/>
                <a:gd name="T11" fmla="*/ 0 h 25"/>
                <a:gd name="T12" fmla="*/ 3175 w 33"/>
                <a:gd name="T13" fmla="*/ 0 h 25"/>
                <a:gd name="T14" fmla="*/ 0 w 33"/>
                <a:gd name="T15" fmla="*/ 0 h 25"/>
                <a:gd name="T16" fmla="*/ 13759 w 33"/>
                <a:gd name="T17" fmla="*/ 58737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" name="Freeform 80">
              <a:extLst>
                <a:ext uri="{FF2B5EF4-FFF2-40B4-BE49-F238E27FC236}">
                  <a16:creationId xmlns:a16="http://schemas.microsoft.com/office/drawing/2014/main" id="{9B374DF9-3ACA-4FCA-A204-9DD324B58BEC}"/>
                </a:ext>
              </a:extLst>
            </p:cNvPr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8950325" y="3384551"/>
              <a:ext cx="1588" cy="55563"/>
            </a:xfrm>
            <a:custGeom>
              <a:avLst/>
              <a:gdLst>
                <a:gd name="T0" fmla="*/ 0 w 7"/>
                <a:gd name="T1" fmla="*/ 0 h 55563"/>
                <a:gd name="T2" fmla="*/ 1588 w 7"/>
                <a:gd name="T3" fmla="*/ 0 h 55563"/>
                <a:gd name="T4" fmla="*/ 0 w 7"/>
                <a:gd name="T5" fmla="*/ 0 h 5556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55563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" name="Freeform 81">
              <a:extLst>
                <a:ext uri="{FF2B5EF4-FFF2-40B4-BE49-F238E27FC236}">
                  <a16:creationId xmlns:a16="http://schemas.microsoft.com/office/drawing/2014/main" id="{7093C809-86DA-4FA1-830C-4BEC695C7BE7}"/>
                </a:ext>
              </a:extLst>
            </p:cNvPr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9009063" y="3328988"/>
              <a:ext cx="6350" cy="57150"/>
            </a:xfrm>
            <a:custGeom>
              <a:avLst/>
              <a:gdLst>
                <a:gd name="T0" fmla="*/ 6350 w 16"/>
                <a:gd name="T1" fmla="*/ 0 h 25"/>
                <a:gd name="T2" fmla="*/ 6350 w 16"/>
                <a:gd name="T3" fmla="*/ 13716 h 25"/>
                <a:gd name="T4" fmla="*/ 5556 w 16"/>
                <a:gd name="T5" fmla="*/ 29718 h 25"/>
                <a:gd name="T6" fmla="*/ 5159 w 16"/>
                <a:gd name="T7" fmla="*/ 36576 h 25"/>
                <a:gd name="T8" fmla="*/ 4366 w 16"/>
                <a:gd name="T9" fmla="*/ 45720 h 25"/>
                <a:gd name="T10" fmla="*/ 2778 w 16"/>
                <a:gd name="T11" fmla="*/ 52578 h 25"/>
                <a:gd name="T12" fmla="*/ 1191 w 16"/>
                <a:gd name="T13" fmla="*/ 57150 h 25"/>
                <a:gd name="T14" fmla="*/ 397 w 16"/>
                <a:gd name="T15" fmla="*/ 54864 h 25"/>
                <a:gd name="T16" fmla="*/ 0 w 16"/>
                <a:gd name="T17" fmla="*/ 48006 h 25"/>
                <a:gd name="T18" fmla="*/ 397 w 16"/>
                <a:gd name="T19" fmla="*/ 41148 h 25"/>
                <a:gd name="T20" fmla="*/ 794 w 16"/>
                <a:gd name="T21" fmla="*/ 29718 h 25"/>
                <a:gd name="T22" fmla="*/ 1588 w 16"/>
                <a:gd name="T23" fmla="*/ 20574 h 25"/>
                <a:gd name="T24" fmla="*/ 2778 w 16"/>
                <a:gd name="T25" fmla="*/ 9144 h 25"/>
                <a:gd name="T26" fmla="*/ 4366 w 16"/>
                <a:gd name="T27" fmla="*/ 2286 h 25"/>
                <a:gd name="T28" fmla="*/ 6350 w 16"/>
                <a:gd name="T29" fmla="*/ 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" name="Freeform 82">
              <a:extLst>
                <a:ext uri="{FF2B5EF4-FFF2-40B4-BE49-F238E27FC236}">
                  <a16:creationId xmlns:a16="http://schemas.microsoft.com/office/drawing/2014/main" id="{494557B7-D498-4637-A0C3-47D8492108F1}"/>
                </a:ext>
              </a:extLst>
            </p:cNvPr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9121776" y="3217863"/>
              <a:ext cx="4763" cy="57150"/>
            </a:xfrm>
            <a:custGeom>
              <a:avLst/>
              <a:gdLst>
                <a:gd name="T0" fmla="*/ 0 w 14"/>
                <a:gd name="T1" fmla="*/ 0 h 18"/>
                <a:gd name="T2" fmla="*/ 1021 w 14"/>
                <a:gd name="T3" fmla="*/ 3175 h 18"/>
                <a:gd name="T4" fmla="*/ 1701 w 14"/>
                <a:gd name="T5" fmla="*/ 6350 h 18"/>
                <a:gd name="T6" fmla="*/ 2382 w 14"/>
                <a:gd name="T7" fmla="*/ 12700 h 18"/>
                <a:gd name="T8" fmla="*/ 3062 w 14"/>
                <a:gd name="T9" fmla="*/ 22225 h 18"/>
                <a:gd name="T10" fmla="*/ 4423 w 14"/>
                <a:gd name="T11" fmla="*/ 41275 h 18"/>
                <a:gd name="T12" fmla="*/ 4763 w 14"/>
                <a:gd name="T13" fmla="*/ 57150 h 18"/>
                <a:gd name="T14" fmla="*/ 0 w 14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" name="Freeform 83">
              <a:extLst>
                <a:ext uri="{FF2B5EF4-FFF2-40B4-BE49-F238E27FC236}">
                  <a16:creationId xmlns:a16="http://schemas.microsoft.com/office/drawing/2014/main" id="{BBA03DCF-AC25-40BB-B6C7-3FE151375658}"/>
                </a:ext>
              </a:extLst>
            </p:cNvPr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9274175" y="3916364"/>
              <a:ext cx="26988" cy="58737"/>
            </a:xfrm>
            <a:custGeom>
              <a:avLst/>
              <a:gdLst>
                <a:gd name="T0" fmla="*/ 0 w 67"/>
                <a:gd name="T1" fmla="*/ 0 h 74"/>
                <a:gd name="T2" fmla="*/ 403 w 67"/>
                <a:gd name="T3" fmla="*/ 13494 h 74"/>
                <a:gd name="T4" fmla="*/ 1208 w 67"/>
                <a:gd name="T5" fmla="*/ 23812 h 74"/>
                <a:gd name="T6" fmla="*/ 2820 w 67"/>
                <a:gd name="T7" fmla="*/ 32543 h 74"/>
                <a:gd name="T8" fmla="*/ 4834 w 67"/>
                <a:gd name="T9" fmla="*/ 39687 h 74"/>
                <a:gd name="T10" fmla="*/ 6848 w 67"/>
                <a:gd name="T11" fmla="*/ 46037 h 74"/>
                <a:gd name="T12" fmla="*/ 9265 w 67"/>
                <a:gd name="T13" fmla="*/ 50800 h 74"/>
                <a:gd name="T14" fmla="*/ 11279 w 67"/>
                <a:gd name="T15" fmla="*/ 54768 h 74"/>
                <a:gd name="T16" fmla="*/ 13293 w 67"/>
                <a:gd name="T17" fmla="*/ 58737 h 74"/>
                <a:gd name="T18" fmla="*/ 17723 w 67"/>
                <a:gd name="T19" fmla="*/ 51593 h 74"/>
                <a:gd name="T20" fmla="*/ 22154 w 67"/>
                <a:gd name="T21" fmla="*/ 43656 h 74"/>
                <a:gd name="T22" fmla="*/ 23766 w 67"/>
                <a:gd name="T23" fmla="*/ 38893 h 74"/>
                <a:gd name="T24" fmla="*/ 25377 w 67"/>
                <a:gd name="T25" fmla="*/ 34131 h 74"/>
                <a:gd name="T26" fmla="*/ 26585 w 67"/>
                <a:gd name="T27" fmla="*/ 29369 h 74"/>
                <a:gd name="T28" fmla="*/ 26988 w 67"/>
                <a:gd name="T29" fmla="*/ 23812 h 74"/>
                <a:gd name="T30" fmla="*/ 26988 w 67"/>
                <a:gd name="T31" fmla="*/ 19844 h 74"/>
                <a:gd name="T32" fmla="*/ 26988 w 67"/>
                <a:gd name="T33" fmla="*/ 14287 h 74"/>
                <a:gd name="T34" fmla="*/ 26988 w 67"/>
                <a:gd name="T35" fmla="*/ 7144 h 74"/>
                <a:gd name="T36" fmla="*/ 26988 w 67"/>
                <a:gd name="T37" fmla="*/ 0 h 74"/>
                <a:gd name="T38" fmla="*/ 19335 w 67"/>
                <a:gd name="T39" fmla="*/ 0 h 74"/>
                <a:gd name="T40" fmla="*/ 13293 w 67"/>
                <a:gd name="T41" fmla="*/ 0 h 74"/>
                <a:gd name="T42" fmla="*/ 6848 w 67"/>
                <a:gd name="T43" fmla="*/ 0 h 74"/>
                <a:gd name="T44" fmla="*/ 0 w 67"/>
                <a:gd name="T45" fmla="*/ 0 h 7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6" name="Freeform 84">
              <a:extLst>
                <a:ext uri="{FF2B5EF4-FFF2-40B4-BE49-F238E27FC236}">
                  <a16:creationId xmlns:a16="http://schemas.microsoft.com/office/drawing/2014/main" id="{24D68CFE-7E80-4E8E-923D-12023BAFE1D0}"/>
                </a:ext>
              </a:extLst>
            </p:cNvPr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9337675" y="3930650"/>
              <a:ext cx="12700" cy="57150"/>
            </a:xfrm>
            <a:custGeom>
              <a:avLst/>
              <a:gdLst>
                <a:gd name="T0" fmla="*/ 0 w 34"/>
                <a:gd name="T1" fmla="*/ 0 h 38"/>
                <a:gd name="T2" fmla="*/ 747 w 34"/>
                <a:gd name="T3" fmla="*/ 4512 h 38"/>
                <a:gd name="T4" fmla="*/ 1494 w 34"/>
                <a:gd name="T5" fmla="*/ 10528 h 38"/>
                <a:gd name="T6" fmla="*/ 1868 w 34"/>
                <a:gd name="T7" fmla="*/ 16543 h 38"/>
                <a:gd name="T8" fmla="*/ 2241 w 34"/>
                <a:gd name="T9" fmla="*/ 24063 h 38"/>
                <a:gd name="T10" fmla="*/ 3735 w 34"/>
                <a:gd name="T11" fmla="*/ 42111 h 38"/>
                <a:gd name="T12" fmla="*/ 4856 w 34"/>
                <a:gd name="T13" fmla="*/ 57150 h 38"/>
                <a:gd name="T14" fmla="*/ 5976 w 34"/>
                <a:gd name="T15" fmla="*/ 55646 h 38"/>
                <a:gd name="T16" fmla="*/ 7471 w 34"/>
                <a:gd name="T17" fmla="*/ 54142 h 38"/>
                <a:gd name="T18" fmla="*/ 8591 w 34"/>
                <a:gd name="T19" fmla="*/ 51134 h 38"/>
                <a:gd name="T20" fmla="*/ 9712 w 34"/>
                <a:gd name="T21" fmla="*/ 46622 h 38"/>
                <a:gd name="T22" fmla="*/ 10459 w 34"/>
                <a:gd name="T23" fmla="*/ 42111 h 38"/>
                <a:gd name="T24" fmla="*/ 11953 w 34"/>
                <a:gd name="T25" fmla="*/ 36095 h 38"/>
                <a:gd name="T26" fmla="*/ 12326 w 34"/>
                <a:gd name="T27" fmla="*/ 31583 h 38"/>
                <a:gd name="T28" fmla="*/ 12700 w 34"/>
                <a:gd name="T29" fmla="*/ 28575 h 38"/>
                <a:gd name="T30" fmla="*/ 11579 w 34"/>
                <a:gd name="T31" fmla="*/ 27071 h 38"/>
                <a:gd name="T32" fmla="*/ 10459 w 34"/>
                <a:gd name="T33" fmla="*/ 25567 h 38"/>
                <a:gd name="T34" fmla="*/ 9712 w 34"/>
                <a:gd name="T35" fmla="*/ 21055 h 38"/>
                <a:gd name="T36" fmla="*/ 8965 w 34"/>
                <a:gd name="T37" fmla="*/ 18047 h 38"/>
                <a:gd name="T38" fmla="*/ 7097 w 34"/>
                <a:gd name="T39" fmla="*/ 9024 h 38"/>
                <a:gd name="T40" fmla="*/ 4856 w 34"/>
                <a:gd name="T41" fmla="*/ 0 h 38"/>
                <a:gd name="T42" fmla="*/ 2241 w 34"/>
                <a:gd name="T43" fmla="*/ 0 h 38"/>
                <a:gd name="T44" fmla="*/ 0 w 34"/>
                <a:gd name="T45" fmla="*/ 0 h 3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7" name="Freeform 85">
              <a:extLst>
                <a:ext uri="{FF2B5EF4-FFF2-40B4-BE49-F238E27FC236}">
                  <a16:creationId xmlns:a16="http://schemas.microsoft.com/office/drawing/2014/main" id="{66F31D4F-7971-4FBE-9B04-C5BFAF28D9FD}"/>
                </a:ext>
              </a:extLst>
            </p:cNvPr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9194800" y="3706813"/>
              <a:ext cx="25400" cy="55562"/>
            </a:xfrm>
            <a:custGeom>
              <a:avLst/>
              <a:gdLst>
                <a:gd name="T0" fmla="*/ 25400 w 53"/>
                <a:gd name="T1" fmla="*/ 55562 h 23"/>
                <a:gd name="T2" fmla="*/ 25400 w 53"/>
                <a:gd name="T3" fmla="*/ 9663 h 23"/>
                <a:gd name="T4" fmla="*/ 23483 w 53"/>
                <a:gd name="T5" fmla="*/ 4831 h 23"/>
                <a:gd name="T6" fmla="*/ 21566 w 53"/>
                <a:gd name="T7" fmla="*/ 2416 h 23"/>
                <a:gd name="T8" fmla="*/ 20128 w 53"/>
                <a:gd name="T9" fmla="*/ 0 h 23"/>
                <a:gd name="T10" fmla="*/ 18211 w 53"/>
                <a:gd name="T11" fmla="*/ 0 h 23"/>
                <a:gd name="T12" fmla="*/ 14857 w 53"/>
                <a:gd name="T13" fmla="*/ 2416 h 23"/>
                <a:gd name="T14" fmla="*/ 11502 w 53"/>
                <a:gd name="T15" fmla="*/ 9663 h 23"/>
                <a:gd name="T16" fmla="*/ 5272 w 53"/>
                <a:gd name="T17" fmla="*/ 31405 h 23"/>
                <a:gd name="T18" fmla="*/ 0 w 53"/>
                <a:gd name="T19" fmla="*/ 55562 h 23"/>
                <a:gd name="T20" fmla="*/ 25400 w 53"/>
                <a:gd name="T21" fmla="*/ 55562 h 2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8" name="Freeform 86">
              <a:extLst>
                <a:ext uri="{FF2B5EF4-FFF2-40B4-BE49-F238E27FC236}">
                  <a16:creationId xmlns:a16="http://schemas.microsoft.com/office/drawing/2014/main" id="{8DC31CA2-4C64-4546-984F-F53E83597E40}"/>
                </a:ext>
              </a:extLst>
            </p:cNvPr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9137651" y="3681413"/>
              <a:ext cx="11113" cy="57150"/>
            </a:xfrm>
            <a:custGeom>
              <a:avLst/>
              <a:gdLst>
                <a:gd name="T0" fmla="*/ 0 w 26"/>
                <a:gd name="T1" fmla="*/ 0 h 12"/>
                <a:gd name="T2" fmla="*/ 1710 w 26"/>
                <a:gd name="T3" fmla="*/ 19050 h 12"/>
                <a:gd name="T4" fmla="*/ 4702 w 26"/>
                <a:gd name="T5" fmla="*/ 38100 h 12"/>
                <a:gd name="T6" fmla="*/ 5984 w 26"/>
                <a:gd name="T7" fmla="*/ 42863 h 12"/>
                <a:gd name="T8" fmla="*/ 7694 w 26"/>
                <a:gd name="T9" fmla="*/ 52388 h 12"/>
                <a:gd name="T10" fmla="*/ 9403 w 26"/>
                <a:gd name="T11" fmla="*/ 52388 h 12"/>
                <a:gd name="T12" fmla="*/ 11113 w 26"/>
                <a:gd name="T13" fmla="*/ 57150 h 12"/>
                <a:gd name="T14" fmla="*/ 8976 w 26"/>
                <a:gd name="T15" fmla="*/ 33338 h 12"/>
                <a:gd name="T16" fmla="*/ 5557 w 26"/>
                <a:gd name="T17" fmla="*/ 14288 h 12"/>
                <a:gd name="T18" fmla="*/ 2137 w 26"/>
                <a:gd name="T19" fmla="*/ 4763 h 12"/>
                <a:gd name="T20" fmla="*/ 0 w 26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9" name="Freeform 87">
              <a:extLst>
                <a:ext uri="{FF2B5EF4-FFF2-40B4-BE49-F238E27FC236}">
                  <a16:creationId xmlns:a16="http://schemas.microsoft.com/office/drawing/2014/main" id="{F0CA3FD6-F61A-4697-AC70-895F472282CA}"/>
                </a:ext>
              </a:extLst>
            </p:cNvPr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9337675" y="4013200"/>
              <a:ext cx="31750" cy="57150"/>
            </a:xfrm>
            <a:custGeom>
              <a:avLst/>
              <a:gdLst>
                <a:gd name="T0" fmla="*/ 0 w 73"/>
                <a:gd name="T1" fmla="*/ 0 h 57150"/>
                <a:gd name="T2" fmla="*/ 8699 w 73"/>
                <a:gd name="T3" fmla="*/ 0 h 57150"/>
                <a:gd name="T4" fmla="*/ 16092 w 73"/>
                <a:gd name="T5" fmla="*/ 0 h 57150"/>
                <a:gd name="T6" fmla="*/ 23921 w 73"/>
                <a:gd name="T7" fmla="*/ 0 h 57150"/>
                <a:gd name="T8" fmla="*/ 31750 w 73"/>
                <a:gd name="T9" fmla="*/ 0 h 571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3" h="57150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0" name="Freeform 88">
              <a:extLst>
                <a:ext uri="{FF2B5EF4-FFF2-40B4-BE49-F238E27FC236}">
                  <a16:creationId xmlns:a16="http://schemas.microsoft.com/office/drawing/2014/main" id="{6F1F16A3-A251-4A6B-BCF3-9A11D7D0F821}"/>
                </a:ext>
              </a:extLst>
            </p:cNvPr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9293226" y="4002088"/>
              <a:ext cx="22225" cy="57150"/>
            </a:xfrm>
            <a:custGeom>
              <a:avLst/>
              <a:gdLst>
                <a:gd name="T0" fmla="*/ 0 w 53"/>
                <a:gd name="T1" fmla="*/ 0 h 3"/>
                <a:gd name="T2" fmla="*/ 5871 w 53"/>
                <a:gd name="T3" fmla="*/ 0 h 3"/>
                <a:gd name="T4" fmla="*/ 11322 w 53"/>
                <a:gd name="T5" fmla="*/ 57150 h 3"/>
                <a:gd name="T6" fmla="*/ 13419 w 53"/>
                <a:gd name="T7" fmla="*/ 57150 h 3"/>
                <a:gd name="T8" fmla="*/ 16354 w 53"/>
                <a:gd name="T9" fmla="*/ 57150 h 3"/>
                <a:gd name="T10" fmla="*/ 18870 w 53"/>
                <a:gd name="T11" fmla="*/ 19050 h 3"/>
                <a:gd name="T12" fmla="*/ 22225 w 53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" name="Line 89">
              <a:extLst>
                <a:ext uri="{FF2B5EF4-FFF2-40B4-BE49-F238E27FC236}">
                  <a16:creationId xmlns:a16="http://schemas.microsoft.com/office/drawing/2014/main" id="{046D5185-C5FE-4D92-824E-4D43FDC557DD}"/>
                </a:ext>
              </a:extLst>
            </p:cNvPr>
            <p:cNvSpPr>
              <a:spLocks noChangeShapeType="1"/>
            </p:cNvSpPr>
            <p:nvPr>
              <p:custDataLst>
                <p:tags r:id="rId69"/>
              </p:custDataLst>
            </p:nvPr>
          </p:nvSpPr>
          <p:spPr bwMode="auto">
            <a:xfrm>
              <a:off x="9326564" y="3987800"/>
              <a:ext cx="20637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2" name="Freeform 90">
              <a:extLst>
                <a:ext uri="{FF2B5EF4-FFF2-40B4-BE49-F238E27FC236}">
                  <a16:creationId xmlns:a16="http://schemas.microsoft.com/office/drawing/2014/main" id="{06801AC4-AC6E-4D20-B006-5E002C3D3270}"/>
                </a:ext>
              </a:extLst>
            </p:cNvPr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9347200" y="3994150"/>
              <a:ext cx="1588" cy="57150"/>
            </a:xfrm>
            <a:custGeom>
              <a:avLst/>
              <a:gdLst>
                <a:gd name="T0" fmla="*/ 0 w 1588"/>
                <a:gd name="T1" fmla="*/ 0 h 13"/>
                <a:gd name="T2" fmla="*/ 0 w 1588"/>
                <a:gd name="T3" fmla="*/ 26377 h 13"/>
                <a:gd name="T4" fmla="*/ 0 w 1588"/>
                <a:gd name="T5" fmla="*/ 57150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3" name="Freeform 91">
              <a:extLst>
                <a:ext uri="{FF2B5EF4-FFF2-40B4-BE49-F238E27FC236}">
                  <a16:creationId xmlns:a16="http://schemas.microsoft.com/office/drawing/2014/main" id="{2B357CBA-3FAA-4517-9FEE-DC24FF36FE9C}"/>
                </a:ext>
              </a:extLst>
            </p:cNvPr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9301164" y="3987800"/>
              <a:ext cx="14287" cy="58738"/>
            </a:xfrm>
            <a:custGeom>
              <a:avLst/>
              <a:gdLst>
                <a:gd name="T0" fmla="*/ 0 w 26"/>
                <a:gd name="T1" fmla="*/ 0 h 58738"/>
                <a:gd name="T2" fmla="*/ 8243 w 26"/>
                <a:gd name="T3" fmla="*/ 0 h 58738"/>
                <a:gd name="T4" fmla="*/ 14287 w 26"/>
                <a:gd name="T5" fmla="*/ 0 h 5873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6" h="58738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4" name="Freeform 92">
              <a:extLst>
                <a:ext uri="{FF2B5EF4-FFF2-40B4-BE49-F238E27FC236}">
                  <a16:creationId xmlns:a16="http://schemas.microsoft.com/office/drawing/2014/main" id="{E4AF8AF5-C88D-4ADC-931B-D2B489E8B3C6}"/>
                </a:ext>
              </a:extLst>
            </p:cNvPr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9294813" y="3968751"/>
              <a:ext cx="6350" cy="60325"/>
            </a:xfrm>
            <a:custGeom>
              <a:avLst/>
              <a:gdLst>
                <a:gd name="T0" fmla="*/ 6350 w 20"/>
                <a:gd name="T1" fmla="*/ 0 h 25"/>
                <a:gd name="T2" fmla="*/ 0 w 20"/>
                <a:gd name="T3" fmla="*/ 31369 h 25"/>
                <a:gd name="T4" fmla="*/ 1270 w 20"/>
                <a:gd name="T5" fmla="*/ 43434 h 25"/>
                <a:gd name="T6" fmla="*/ 3175 w 20"/>
                <a:gd name="T7" fmla="*/ 50673 h 25"/>
                <a:gd name="T8" fmla="*/ 4445 w 20"/>
                <a:gd name="T9" fmla="*/ 57912 h 25"/>
                <a:gd name="T10" fmla="*/ 6350 w 20"/>
                <a:gd name="T11" fmla="*/ 60325 h 25"/>
                <a:gd name="T12" fmla="*/ 6350 w 20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5" name="Freeform 93">
              <a:extLst>
                <a:ext uri="{FF2B5EF4-FFF2-40B4-BE49-F238E27FC236}">
                  <a16:creationId xmlns:a16="http://schemas.microsoft.com/office/drawing/2014/main" id="{7433AF68-EE13-446C-84E8-37307A23F107}"/>
                </a:ext>
              </a:extLst>
            </p:cNvPr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9375775" y="3695700"/>
              <a:ext cx="1588" cy="57150"/>
            </a:xfrm>
            <a:custGeom>
              <a:avLst/>
              <a:gdLst>
                <a:gd name="T0" fmla="*/ 0 w 6"/>
                <a:gd name="T1" fmla="*/ 57150 h 24"/>
                <a:gd name="T2" fmla="*/ 0 w 6"/>
                <a:gd name="T3" fmla="*/ 0 h 24"/>
                <a:gd name="T4" fmla="*/ 1588 w 6"/>
                <a:gd name="T5" fmla="*/ 28575 h 24"/>
                <a:gd name="T6" fmla="*/ 0 w 6"/>
                <a:gd name="T7" fmla="*/ 5715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86" name="Group 94">
              <a:extLst>
                <a:ext uri="{FF2B5EF4-FFF2-40B4-BE49-F238E27FC236}">
                  <a16:creationId xmlns:a16="http://schemas.microsoft.com/office/drawing/2014/main" id="{115B7C39-E5DC-44C9-BA45-B782C1F05B2E}"/>
                </a:ext>
              </a:extLst>
            </p:cNvPr>
            <p:cNvGrpSpPr>
              <a:grpSpLocks/>
            </p:cNvGrpSpPr>
            <p:nvPr>
              <p:custDataLst>
                <p:tags r:id="rId74"/>
              </p:custDataLst>
            </p:nvPr>
          </p:nvGrpSpPr>
          <p:grpSpPr bwMode="auto">
            <a:xfrm>
              <a:off x="9250363" y="3367088"/>
              <a:ext cx="163512" cy="114300"/>
              <a:chOff x="5379" y="2466"/>
              <a:chExt cx="122" cy="71"/>
            </a:xfrm>
          </p:grpSpPr>
          <p:sp>
            <p:nvSpPr>
              <p:cNvPr id="534" name="Freeform 95">
                <a:extLst>
                  <a:ext uri="{FF2B5EF4-FFF2-40B4-BE49-F238E27FC236}">
                    <a16:creationId xmlns:a16="http://schemas.microsoft.com/office/drawing/2014/main" id="{E700E20B-2968-4BD8-98EE-01D5BE30A1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6 w 19"/>
                  <a:gd name="T1" fmla="*/ 9 h 25"/>
                  <a:gd name="T2" fmla="*/ 6 w 19"/>
                  <a:gd name="T3" fmla="*/ 7 h 25"/>
                  <a:gd name="T4" fmla="*/ 5 w 19"/>
                  <a:gd name="T5" fmla="*/ 4 h 25"/>
                  <a:gd name="T6" fmla="*/ 5 w 19"/>
                  <a:gd name="T7" fmla="*/ 3 h 25"/>
                  <a:gd name="T8" fmla="*/ 5 w 19"/>
                  <a:gd name="T9" fmla="*/ 2 h 25"/>
                  <a:gd name="T10" fmla="*/ 5 w 19"/>
                  <a:gd name="T11" fmla="*/ 1 h 25"/>
                  <a:gd name="T12" fmla="*/ 6 w 19"/>
                  <a:gd name="T13" fmla="*/ 0 h 25"/>
                  <a:gd name="T14" fmla="*/ 0 w 19"/>
                  <a:gd name="T15" fmla="*/ 0 h 25"/>
                  <a:gd name="T16" fmla="*/ 0 w 19"/>
                  <a:gd name="T17" fmla="*/ 3 h 25"/>
                  <a:gd name="T18" fmla="*/ 2 w 19"/>
                  <a:gd name="T19" fmla="*/ 5 h 25"/>
                  <a:gd name="T20" fmla="*/ 2 w 19"/>
                  <a:gd name="T21" fmla="*/ 7 h 25"/>
                  <a:gd name="T22" fmla="*/ 3 w 19"/>
                  <a:gd name="T23" fmla="*/ 8 h 25"/>
                  <a:gd name="T24" fmla="*/ 5 w 19"/>
                  <a:gd name="T25" fmla="*/ 9 h 25"/>
                  <a:gd name="T26" fmla="*/ 6 w 19"/>
                  <a:gd name="T27" fmla="*/ 9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5" name="Freeform 96">
                <a:extLst>
                  <a:ext uri="{FF2B5EF4-FFF2-40B4-BE49-F238E27FC236}">
                    <a16:creationId xmlns:a16="http://schemas.microsoft.com/office/drawing/2014/main" id="{00F22491-E53E-471F-AAAA-3427F26425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7 w 26"/>
                  <a:gd name="T1" fmla="*/ 6 h 18"/>
                  <a:gd name="T2" fmla="*/ 2 w 26"/>
                  <a:gd name="T3" fmla="*/ 6 h 18"/>
                  <a:gd name="T4" fmla="*/ 1 w 26"/>
                  <a:gd name="T5" fmla="*/ 3 h 18"/>
                  <a:gd name="T6" fmla="*/ 0 w 26"/>
                  <a:gd name="T7" fmla="*/ 0 h 18"/>
                  <a:gd name="T8" fmla="*/ 2 w 26"/>
                  <a:gd name="T9" fmla="*/ 1 h 18"/>
                  <a:gd name="T10" fmla="*/ 4 w 26"/>
                  <a:gd name="T11" fmla="*/ 2 h 18"/>
                  <a:gd name="T12" fmla="*/ 5 w 26"/>
                  <a:gd name="T13" fmla="*/ 4 h 18"/>
                  <a:gd name="T14" fmla="*/ 7 w 26"/>
                  <a:gd name="T15" fmla="*/ 6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6" name="Freeform 97">
                <a:extLst>
                  <a:ext uri="{FF2B5EF4-FFF2-40B4-BE49-F238E27FC236}">
                    <a16:creationId xmlns:a16="http://schemas.microsoft.com/office/drawing/2014/main" id="{C0D5A134-2D80-4054-9821-A621D467A3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6 h 18"/>
                  <a:gd name="T2" fmla="*/ 5 w 13"/>
                  <a:gd name="T3" fmla="*/ 0 h 18"/>
                  <a:gd name="T4" fmla="*/ 0 w 13"/>
                  <a:gd name="T5" fmla="*/ 6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7" name="Freeform 98">
                <a:extLst>
                  <a:ext uri="{FF2B5EF4-FFF2-40B4-BE49-F238E27FC236}">
                    <a16:creationId xmlns:a16="http://schemas.microsoft.com/office/drawing/2014/main" id="{587B5EC7-E178-4F5C-9077-37041D0F37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8 h 24"/>
                  <a:gd name="T2" fmla="*/ 1 w 26"/>
                  <a:gd name="T3" fmla="*/ 8 h 24"/>
                  <a:gd name="T4" fmla="*/ 2 w 26"/>
                  <a:gd name="T5" fmla="*/ 7 h 24"/>
                  <a:gd name="T6" fmla="*/ 3 w 26"/>
                  <a:gd name="T7" fmla="*/ 6 h 24"/>
                  <a:gd name="T8" fmla="*/ 5 w 26"/>
                  <a:gd name="T9" fmla="*/ 5 h 24"/>
                  <a:gd name="T10" fmla="*/ 6 w 26"/>
                  <a:gd name="T11" fmla="*/ 4 h 24"/>
                  <a:gd name="T12" fmla="*/ 7 w 26"/>
                  <a:gd name="T13" fmla="*/ 3 h 24"/>
                  <a:gd name="T14" fmla="*/ 8 w 26"/>
                  <a:gd name="T15" fmla="*/ 1 h 24"/>
                  <a:gd name="T16" fmla="*/ 8 w 26"/>
                  <a:gd name="T17" fmla="*/ 0 h 24"/>
                  <a:gd name="T18" fmla="*/ 0 w 26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8" name="Freeform 99">
                <a:extLst>
                  <a:ext uri="{FF2B5EF4-FFF2-40B4-BE49-F238E27FC236}">
                    <a16:creationId xmlns:a16="http://schemas.microsoft.com/office/drawing/2014/main" id="{1B62BC69-4697-4372-AF2D-607F485FBA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2 h 6"/>
                  <a:gd name="T2" fmla="*/ 3 w 34"/>
                  <a:gd name="T3" fmla="*/ 2 h 6"/>
                  <a:gd name="T4" fmla="*/ 6 w 34"/>
                  <a:gd name="T5" fmla="*/ 2 h 6"/>
                  <a:gd name="T6" fmla="*/ 8 w 34"/>
                  <a:gd name="T7" fmla="*/ 1 h 6"/>
                  <a:gd name="T8" fmla="*/ 11 w 34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9" name="Line 100">
                <a:extLst>
                  <a:ext uri="{FF2B5EF4-FFF2-40B4-BE49-F238E27FC236}">
                    <a16:creationId xmlns:a16="http://schemas.microsoft.com/office/drawing/2014/main" id="{D5C3DE95-5D0B-4B8D-8C5A-50190118BC0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0" name="Freeform 101">
                <a:extLst>
                  <a:ext uri="{FF2B5EF4-FFF2-40B4-BE49-F238E27FC236}">
                    <a16:creationId xmlns:a16="http://schemas.microsoft.com/office/drawing/2014/main" id="{4DA37E61-53EE-4DEE-8AAB-9CB767AF51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0 w 1"/>
                  <a:gd name="T1" fmla="*/ 7 h 19"/>
                  <a:gd name="T2" fmla="*/ 0 w 1"/>
                  <a:gd name="T3" fmla="*/ 3 h 19"/>
                  <a:gd name="T4" fmla="*/ 0 w 1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1" name="Line 102">
                <a:extLst>
                  <a:ext uri="{FF2B5EF4-FFF2-40B4-BE49-F238E27FC236}">
                    <a16:creationId xmlns:a16="http://schemas.microsoft.com/office/drawing/2014/main" id="{19C5DF49-3A2B-4CB7-AAD2-D5E78A004A0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2" name="Freeform 103">
                <a:extLst>
                  <a:ext uri="{FF2B5EF4-FFF2-40B4-BE49-F238E27FC236}">
                    <a16:creationId xmlns:a16="http://schemas.microsoft.com/office/drawing/2014/main" id="{494EB1B6-0DB7-414D-AC7E-435325C520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4 w 14"/>
                  <a:gd name="T1" fmla="*/ 0 h 6"/>
                  <a:gd name="T2" fmla="*/ 2 w 14"/>
                  <a:gd name="T3" fmla="*/ 1 h 6"/>
                  <a:gd name="T4" fmla="*/ 0 w 14"/>
                  <a:gd name="T5" fmla="*/ 2 h 6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87" name="Freeform 104">
              <a:extLst>
                <a:ext uri="{FF2B5EF4-FFF2-40B4-BE49-F238E27FC236}">
                  <a16:creationId xmlns:a16="http://schemas.microsoft.com/office/drawing/2014/main" id="{3D5B03C2-D454-4BB1-829B-7608C8568B75}"/>
                </a:ext>
              </a:extLst>
            </p:cNvPr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7834313" y="3228975"/>
              <a:ext cx="6350" cy="57150"/>
            </a:xfrm>
            <a:custGeom>
              <a:avLst/>
              <a:gdLst>
                <a:gd name="T0" fmla="*/ 3175 w 26"/>
                <a:gd name="T1" fmla="*/ 57150 h 111"/>
                <a:gd name="T2" fmla="*/ 2198 w 26"/>
                <a:gd name="T3" fmla="*/ 53031 h 111"/>
                <a:gd name="T4" fmla="*/ 977 w 26"/>
                <a:gd name="T5" fmla="*/ 48912 h 111"/>
                <a:gd name="T6" fmla="*/ 488 w 26"/>
                <a:gd name="T7" fmla="*/ 46853 h 111"/>
                <a:gd name="T8" fmla="*/ 244 w 26"/>
                <a:gd name="T9" fmla="*/ 44793 h 111"/>
                <a:gd name="T10" fmla="*/ 0 w 26"/>
                <a:gd name="T11" fmla="*/ 41189 h 111"/>
                <a:gd name="T12" fmla="*/ 0 w 26"/>
                <a:gd name="T13" fmla="*/ 38100 h 111"/>
                <a:gd name="T14" fmla="*/ 0 w 26"/>
                <a:gd name="T15" fmla="*/ 31407 h 111"/>
                <a:gd name="T16" fmla="*/ 244 w 26"/>
                <a:gd name="T17" fmla="*/ 26258 h 111"/>
                <a:gd name="T18" fmla="*/ 733 w 26"/>
                <a:gd name="T19" fmla="*/ 21109 h 111"/>
                <a:gd name="T20" fmla="*/ 1221 w 26"/>
                <a:gd name="T21" fmla="*/ 16991 h 111"/>
                <a:gd name="T22" fmla="*/ 2198 w 26"/>
                <a:gd name="T23" fmla="*/ 12357 h 111"/>
                <a:gd name="T24" fmla="*/ 3419 w 26"/>
                <a:gd name="T25" fmla="*/ 8753 h 111"/>
                <a:gd name="T26" fmla="*/ 4885 w 26"/>
                <a:gd name="T27" fmla="*/ 4634 h 111"/>
                <a:gd name="T28" fmla="*/ 6350 w 26"/>
                <a:gd name="T29" fmla="*/ 0 h 111"/>
                <a:gd name="T30" fmla="*/ 6350 w 26"/>
                <a:gd name="T31" fmla="*/ 3089 h 111"/>
                <a:gd name="T32" fmla="*/ 6350 w 26"/>
                <a:gd name="T33" fmla="*/ 6693 h 111"/>
                <a:gd name="T34" fmla="*/ 6350 w 26"/>
                <a:gd name="T35" fmla="*/ 11327 h 111"/>
                <a:gd name="T36" fmla="*/ 6350 w 26"/>
                <a:gd name="T37" fmla="*/ 16476 h 111"/>
                <a:gd name="T38" fmla="*/ 6106 w 26"/>
                <a:gd name="T39" fmla="*/ 22654 h 111"/>
                <a:gd name="T40" fmla="*/ 5373 w 26"/>
                <a:gd name="T41" fmla="*/ 28832 h 111"/>
                <a:gd name="T42" fmla="*/ 4396 w 26"/>
                <a:gd name="T43" fmla="*/ 34496 h 111"/>
                <a:gd name="T44" fmla="*/ 3175 w 26"/>
                <a:gd name="T45" fmla="*/ 41189 h 111"/>
                <a:gd name="T46" fmla="*/ 3175 w 26"/>
                <a:gd name="T47" fmla="*/ 57150 h 11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8" name="Freeform 105">
              <a:extLst>
                <a:ext uri="{FF2B5EF4-FFF2-40B4-BE49-F238E27FC236}">
                  <a16:creationId xmlns:a16="http://schemas.microsoft.com/office/drawing/2014/main" id="{EA66E671-561B-4164-AC1D-23B24CD1F3AC}"/>
                </a:ext>
              </a:extLst>
            </p:cNvPr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4733926" y="5368925"/>
              <a:ext cx="53975" cy="58738"/>
            </a:xfrm>
            <a:custGeom>
              <a:avLst/>
              <a:gdLst>
                <a:gd name="T0" fmla="*/ 0 w 126"/>
                <a:gd name="T1" fmla="*/ 18000 h 62"/>
                <a:gd name="T2" fmla="*/ 4712 w 126"/>
                <a:gd name="T3" fmla="*/ 18948 h 62"/>
                <a:gd name="T4" fmla="*/ 8996 w 126"/>
                <a:gd name="T5" fmla="*/ 19895 h 62"/>
                <a:gd name="T6" fmla="*/ 12423 w 126"/>
                <a:gd name="T7" fmla="*/ 21790 h 62"/>
                <a:gd name="T8" fmla="*/ 15421 w 126"/>
                <a:gd name="T9" fmla="*/ 24632 h 62"/>
                <a:gd name="T10" fmla="*/ 21419 w 126"/>
                <a:gd name="T11" fmla="*/ 31264 h 62"/>
                <a:gd name="T12" fmla="*/ 26131 w 126"/>
                <a:gd name="T13" fmla="*/ 37895 h 62"/>
                <a:gd name="T14" fmla="*/ 29986 w 126"/>
                <a:gd name="T15" fmla="*/ 45475 h 62"/>
                <a:gd name="T16" fmla="*/ 33841 w 126"/>
                <a:gd name="T17" fmla="*/ 52106 h 62"/>
                <a:gd name="T18" fmla="*/ 35983 w 126"/>
                <a:gd name="T19" fmla="*/ 54948 h 62"/>
                <a:gd name="T20" fmla="*/ 38125 w 126"/>
                <a:gd name="T21" fmla="*/ 56843 h 62"/>
                <a:gd name="T22" fmla="*/ 40695 w 126"/>
                <a:gd name="T23" fmla="*/ 57791 h 62"/>
                <a:gd name="T24" fmla="*/ 42837 w 126"/>
                <a:gd name="T25" fmla="*/ 58738 h 62"/>
                <a:gd name="T26" fmla="*/ 44979 w 126"/>
                <a:gd name="T27" fmla="*/ 57791 h 62"/>
                <a:gd name="T28" fmla="*/ 46693 w 126"/>
                <a:gd name="T29" fmla="*/ 56843 h 62"/>
                <a:gd name="T30" fmla="*/ 48406 w 126"/>
                <a:gd name="T31" fmla="*/ 54948 h 62"/>
                <a:gd name="T32" fmla="*/ 50120 w 126"/>
                <a:gd name="T33" fmla="*/ 53054 h 62"/>
                <a:gd name="T34" fmla="*/ 52262 w 126"/>
                <a:gd name="T35" fmla="*/ 48317 h 62"/>
                <a:gd name="T36" fmla="*/ 53975 w 126"/>
                <a:gd name="T37" fmla="*/ 46422 h 62"/>
                <a:gd name="T38" fmla="*/ 47121 w 126"/>
                <a:gd name="T39" fmla="*/ 31264 h 62"/>
                <a:gd name="T40" fmla="*/ 41124 w 126"/>
                <a:gd name="T41" fmla="*/ 19895 h 62"/>
                <a:gd name="T42" fmla="*/ 38125 w 126"/>
                <a:gd name="T43" fmla="*/ 14211 h 62"/>
                <a:gd name="T44" fmla="*/ 34698 w 126"/>
                <a:gd name="T45" fmla="*/ 8526 h 62"/>
                <a:gd name="T46" fmla="*/ 30843 w 126"/>
                <a:gd name="T47" fmla="*/ 4737 h 62"/>
                <a:gd name="T48" fmla="*/ 26131 w 126"/>
                <a:gd name="T49" fmla="*/ 0 h 62"/>
                <a:gd name="T50" fmla="*/ 0 w 126"/>
                <a:gd name="T51" fmla="*/ 0 h 62"/>
                <a:gd name="T52" fmla="*/ 0 w 126"/>
                <a:gd name="T53" fmla="*/ 8526 h 62"/>
                <a:gd name="T54" fmla="*/ 0 w 126"/>
                <a:gd name="T55" fmla="*/ 18000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9" name="Freeform 106">
              <a:extLst>
                <a:ext uri="{FF2B5EF4-FFF2-40B4-BE49-F238E27FC236}">
                  <a16:creationId xmlns:a16="http://schemas.microsoft.com/office/drawing/2014/main" id="{552B7552-7A9A-4F53-9630-F5ADC6DBF518}"/>
                </a:ext>
              </a:extLst>
            </p:cNvPr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7035801" y="5207001"/>
              <a:ext cx="30163" cy="55563"/>
            </a:xfrm>
            <a:custGeom>
              <a:avLst/>
              <a:gdLst>
                <a:gd name="T0" fmla="*/ 0 w 66"/>
                <a:gd name="T1" fmla="*/ 0 h 44"/>
                <a:gd name="T2" fmla="*/ 5941 w 66"/>
                <a:gd name="T3" fmla="*/ 1263 h 44"/>
                <a:gd name="T4" fmla="*/ 10511 w 66"/>
                <a:gd name="T5" fmla="*/ 2526 h 44"/>
                <a:gd name="T6" fmla="*/ 14624 w 66"/>
                <a:gd name="T7" fmla="*/ 5051 h 44"/>
                <a:gd name="T8" fmla="*/ 17367 w 66"/>
                <a:gd name="T9" fmla="*/ 8840 h 44"/>
                <a:gd name="T10" fmla="*/ 20109 w 66"/>
                <a:gd name="T11" fmla="*/ 11365 h 44"/>
                <a:gd name="T12" fmla="*/ 22851 w 66"/>
                <a:gd name="T13" fmla="*/ 13891 h 44"/>
                <a:gd name="T14" fmla="*/ 26050 w 66"/>
                <a:gd name="T15" fmla="*/ 15154 h 44"/>
                <a:gd name="T16" fmla="*/ 30163 w 66"/>
                <a:gd name="T17" fmla="*/ 16416 h 44"/>
                <a:gd name="T18" fmla="*/ 29706 w 66"/>
                <a:gd name="T19" fmla="*/ 21468 h 44"/>
                <a:gd name="T20" fmla="*/ 28335 w 66"/>
                <a:gd name="T21" fmla="*/ 26519 h 44"/>
                <a:gd name="T22" fmla="*/ 27421 w 66"/>
                <a:gd name="T23" fmla="*/ 31570 h 44"/>
                <a:gd name="T24" fmla="*/ 26050 w 66"/>
                <a:gd name="T25" fmla="*/ 35358 h 44"/>
                <a:gd name="T26" fmla="*/ 22394 w 66"/>
                <a:gd name="T27" fmla="*/ 42935 h 44"/>
                <a:gd name="T28" fmla="*/ 18281 w 66"/>
                <a:gd name="T29" fmla="*/ 49249 h 44"/>
                <a:gd name="T30" fmla="*/ 14167 w 66"/>
                <a:gd name="T31" fmla="*/ 53037 h 44"/>
                <a:gd name="T32" fmla="*/ 9597 w 66"/>
                <a:gd name="T33" fmla="*/ 55563 h 44"/>
                <a:gd name="T34" fmla="*/ 4570 w 66"/>
                <a:gd name="T35" fmla="*/ 55563 h 44"/>
                <a:gd name="T36" fmla="*/ 0 w 66"/>
                <a:gd name="T37" fmla="*/ 54300 h 44"/>
                <a:gd name="T38" fmla="*/ 0 w 66"/>
                <a:gd name="T39" fmla="*/ 39147 h 44"/>
                <a:gd name="T40" fmla="*/ 0 w 66"/>
                <a:gd name="T41" fmla="*/ 27782 h 44"/>
                <a:gd name="T42" fmla="*/ 0 w 66"/>
                <a:gd name="T43" fmla="*/ 15154 h 44"/>
                <a:gd name="T44" fmla="*/ 0 w 66"/>
                <a:gd name="T45" fmla="*/ 0 h 4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0" name="Freeform 107">
              <a:extLst>
                <a:ext uri="{FF2B5EF4-FFF2-40B4-BE49-F238E27FC236}">
                  <a16:creationId xmlns:a16="http://schemas.microsoft.com/office/drawing/2014/main" id="{81DB79B0-7860-4D53-B679-956D04B2DFE7}"/>
                </a:ext>
              </a:extLst>
            </p:cNvPr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9190039" y="1978025"/>
              <a:ext cx="20637" cy="57150"/>
            </a:xfrm>
            <a:custGeom>
              <a:avLst/>
              <a:gdLst>
                <a:gd name="T0" fmla="*/ 20637 w 46"/>
                <a:gd name="T1" fmla="*/ 0 h 16"/>
                <a:gd name="T2" fmla="*/ 17945 w 46"/>
                <a:gd name="T3" fmla="*/ 25003 h 16"/>
                <a:gd name="T4" fmla="*/ 15702 w 46"/>
                <a:gd name="T5" fmla="*/ 46434 h 16"/>
                <a:gd name="T6" fmla="*/ 13908 w 46"/>
                <a:gd name="T7" fmla="*/ 50006 h 16"/>
                <a:gd name="T8" fmla="*/ 13010 w 46"/>
                <a:gd name="T9" fmla="*/ 53578 h 16"/>
                <a:gd name="T10" fmla="*/ 11664 w 46"/>
                <a:gd name="T11" fmla="*/ 57150 h 16"/>
                <a:gd name="T12" fmla="*/ 10319 w 46"/>
                <a:gd name="T13" fmla="*/ 57150 h 16"/>
                <a:gd name="T14" fmla="*/ 7178 w 46"/>
                <a:gd name="T15" fmla="*/ 50006 h 16"/>
                <a:gd name="T16" fmla="*/ 4935 w 46"/>
                <a:gd name="T17" fmla="*/ 39291 h 16"/>
                <a:gd name="T18" fmla="*/ 2243 w 46"/>
                <a:gd name="T19" fmla="*/ 21431 h 16"/>
                <a:gd name="T20" fmla="*/ 0 w 46"/>
                <a:gd name="T21" fmla="*/ 0 h 16"/>
                <a:gd name="T22" fmla="*/ 20637 w 46"/>
                <a:gd name="T23" fmla="*/ 0 h 1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1" name="Freeform 108">
              <a:extLst>
                <a:ext uri="{FF2B5EF4-FFF2-40B4-BE49-F238E27FC236}">
                  <a16:creationId xmlns:a16="http://schemas.microsoft.com/office/drawing/2014/main" id="{50336AA1-87F2-4789-9FDD-0E6B90757628}"/>
                </a:ext>
              </a:extLst>
            </p:cNvPr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9366251" y="2011363"/>
              <a:ext cx="15875" cy="57150"/>
            </a:xfrm>
            <a:custGeom>
              <a:avLst/>
              <a:gdLst>
                <a:gd name="T0" fmla="*/ 15875 w 39"/>
                <a:gd name="T1" fmla="*/ 54952 h 26"/>
                <a:gd name="T2" fmla="*/ 14654 w 39"/>
                <a:gd name="T3" fmla="*/ 57150 h 26"/>
                <a:gd name="T4" fmla="*/ 13026 w 39"/>
                <a:gd name="T5" fmla="*/ 57150 h 26"/>
                <a:gd name="T6" fmla="*/ 11397 w 39"/>
                <a:gd name="T7" fmla="*/ 57150 h 26"/>
                <a:gd name="T8" fmla="*/ 10176 w 39"/>
                <a:gd name="T9" fmla="*/ 54952 h 26"/>
                <a:gd name="T10" fmla="*/ 7327 w 39"/>
                <a:gd name="T11" fmla="*/ 48358 h 26"/>
                <a:gd name="T12" fmla="*/ 4885 w 39"/>
                <a:gd name="T13" fmla="*/ 39565 h 26"/>
                <a:gd name="T14" fmla="*/ 2849 w 39"/>
                <a:gd name="T15" fmla="*/ 28575 h 26"/>
                <a:gd name="T16" fmla="*/ 1221 w 39"/>
                <a:gd name="T17" fmla="*/ 15387 h 26"/>
                <a:gd name="T18" fmla="*/ 407 w 39"/>
                <a:gd name="T19" fmla="*/ 6594 h 26"/>
                <a:gd name="T20" fmla="*/ 0 w 39"/>
                <a:gd name="T21" fmla="*/ 0 h 26"/>
                <a:gd name="T22" fmla="*/ 4478 w 39"/>
                <a:gd name="T23" fmla="*/ 13188 h 26"/>
                <a:gd name="T24" fmla="*/ 8955 w 39"/>
                <a:gd name="T25" fmla="*/ 28575 h 26"/>
                <a:gd name="T26" fmla="*/ 13433 w 39"/>
                <a:gd name="T27" fmla="*/ 43962 h 26"/>
                <a:gd name="T28" fmla="*/ 15875 w 39"/>
                <a:gd name="T29" fmla="*/ 54952 h 2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2" name="Freeform 109">
              <a:extLst>
                <a:ext uri="{FF2B5EF4-FFF2-40B4-BE49-F238E27FC236}">
                  <a16:creationId xmlns:a16="http://schemas.microsoft.com/office/drawing/2014/main" id="{D6F09D08-3291-4C12-A82A-A36AFFFBA929}"/>
                </a:ext>
              </a:extLst>
            </p:cNvPr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8815388" y="2241550"/>
              <a:ext cx="4762" cy="58738"/>
            </a:xfrm>
            <a:custGeom>
              <a:avLst/>
              <a:gdLst>
                <a:gd name="T0" fmla="*/ 4762 w 11"/>
                <a:gd name="T1" fmla="*/ 0 h 25"/>
                <a:gd name="T2" fmla="*/ 4762 w 11"/>
                <a:gd name="T3" fmla="*/ 11748 h 25"/>
                <a:gd name="T4" fmla="*/ 4329 w 11"/>
                <a:gd name="T5" fmla="*/ 28194 h 25"/>
                <a:gd name="T6" fmla="*/ 3896 w 11"/>
                <a:gd name="T7" fmla="*/ 46990 h 25"/>
                <a:gd name="T8" fmla="*/ 1732 w 11"/>
                <a:gd name="T9" fmla="*/ 58738 h 25"/>
                <a:gd name="T10" fmla="*/ 866 w 11"/>
                <a:gd name="T11" fmla="*/ 54039 h 25"/>
                <a:gd name="T12" fmla="*/ 433 w 11"/>
                <a:gd name="T13" fmla="*/ 46990 h 25"/>
                <a:gd name="T14" fmla="*/ 0 w 11"/>
                <a:gd name="T15" fmla="*/ 35243 h 25"/>
                <a:gd name="T16" fmla="*/ 0 w 11"/>
                <a:gd name="T17" fmla="*/ 28194 h 25"/>
                <a:gd name="T18" fmla="*/ 433 w 11"/>
                <a:gd name="T19" fmla="*/ 21146 h 25"/>
                <a:gd name="T20" fmla="*/ 1299 w 11"/>
                <a:gd name="T21" fmla="*/ 11748 h 25"/>
                <a:gd name="T22" fmla="*/ 2597 w 11"/>
                <a:gd name="T23" fmla="*/ 4699 h 25"/>
                <a:gd name="T24" fmla="*/ 4762 w 11"/>
                <a:gd name="T25" fmla="*/ 0 h 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3" name="Freeform 110">
              <a:extLst>
                <a:ext uri="{FF2B5EF4-FFF2-40B4-BE49-F238E27FC236}">
                  <a16:creationId xmlns:a16="http://schemas.microsoft.com/office/drawing/2014/main" id="{FEF7F94D-E50A-4B22-A86F-D9D17C5740CB}"/>
                </a:ext>
              </a:extLst>
            </p:cNvPr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8629650" y="2803525"/>
              <a:ext cx="14288" cy="58738"/>
            </a:xfrm>
            <a:custGeom>
              <a:avLst/>
              <a:gdLst>
                <a:gd name="T0" fmla="*/ 14288 w 20"/>
                <a:gd name="T1" fmla="*/ 0 h 31"/>
                <a:gd name="T2" fmla="*/ 11430 w 20"/>
                <a:gd name="T3" fmla="*/ 22737 h 31"/>
                <a:gd name="T4" fmla="*/ 7144 w 20"/>
                <a:gd name="T5" fmla="*/ 37895 h 31"/>
                <a:gd name="T6" fmla="*/ 3572 w 20"/>
                <a:gd name="T7" fmla="*/ 49264 h 31"/>
                <a:gd name="T8" fmla="*/ 0 w 20"/>
                <a:gd name="T9" fmla="*/ 58738 h 31"/>
                <a:gd name="T10" fmla="*/ 0 w 20"/>
                <a:gd name="T11" fmla="*/ 47369 h 31"/>
                <a:gd name="T12" fmla="*/ 714 w 20"/>
                <a:gd name="T13" fmla="*/ 36001 h 31"/>
                <a:gd name="T14" fmla="*/ 1429 w 20"/>
                <a:gd name="T15" fmla="*/ 24632 h 31"/>
                <a:gd name="T16" fmla="*/ 3572 w 20"/>
                <a:gd name="T17" fmla="*/ 17053 h 31"/>
                <a:gd name="T18" fmla="*/ 5715 w 20"/>
                <a:gd name="T19" fmla="*/ 11369 h 31"/>
                <a:gd name="T20" fmla="*/ 7858 w 20"/>
                <a:gd name="T21" fmla="*/ 5684 h 31"/>
                <a:gd name="T22" fmla="*/ 11430 w 20"/>
                <a:gd name="T23" fmla="*/ 0 h 31"/>
                <a:gd name="T24" fmla="*/ 14288 w 20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4" name="Freeform 111">
              <a:extLst>
                <a:ext uri="{FF2B5EF4-FFF2-40B4-BE49-F238E27FC236}">
                  <a16:creationId xmlns:a16="http://schemas.microsoft.com/office/drawing/2014/main" id="{7A2D988D-D3A0-4823-BDD5-E233B1C08DF5}"/>
                </a:ext>
              </a:extLst>
            </p:cNvPr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8647114" y="2738438"/>
              <a:ext cx="15875" cy="57150"/>
            </a:xfrm>
            <a:custGeom>
              <a:avLst/>
              <a:gdLst>
                <a:gd name="T0" fmla="*/ 7938 w 26"/>
                <a:gd name="T1" fmla="*/ 57150 h 37"/>
                <a:gd name="T2" fmla="*/ 0 w 26"/>
                <a:gd name="T3" fmla="*/ 18535 h 37"/>
                <a:gd name="T4" fmla="*/ 3663 w 26"/>
                <a:gd name="T5" fmla="*/ 10812 h 37"/>
                <a:gd name="T6" fmla="*/ 7938 w 26"/>
                <a:gd name="T7" fmla="*/ 6178 h 37"/>
                <a:gd name="T8" fmla="*/ 12822 w 26"/>
                <a:gd name="T9" fmla="*/ 1545 h 37"/>
                <a:gd name="T10" fmla="*/ 15875 w 26"/>
                <a:gd name="T11" fmla="*/ 0 h 37"/>
                <a:gd name="T12" fmla="*/ 15875 w 26"/>
                <a:gd name="T13" fmla="*/ 9268 h 37"/>
                <a:gd name="T14" fmla="*/ 15264 w 26"/>
                <a:gd name="T15" fmla="*/ 16991 h 37"/>
                <a:gd name="T16" fmla="*/ 14654 w 26"/>
                <a:gd name="T17" fmla="*/ 26258 h 37"/>
                <a:gd name="T18" fmla="*/ 14043 w 26"/>
                <a:gd name="T19" fmla="*/ 32436 h 37"/>
                <a:gd name="T20" fmla="*/ 10990 w 26"/>
                <a:gd name="T21" fmla="*/ 44793 h 37"/>
                <a:gd name="T22" fmla="*/ 7938 w 26"/>
                <a:gd name="T23" fmla="*/ 57150 h 3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5" name="Freeform 112">
              <a:extLst>
                <a:ext uri="{FF2B5EF4-FFF2-40B4-BE49-F238E27FC236}">
                  <a16:creationId xmlns:a16="http://schemas.microsoft.com/office/drawing/2014/main" id="{713DFCF3-22CE-46B6-9EF3-3634AC0767D2}"/>
                </a:ext>
              </a:extLst>
            </p:cNvPr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8535989" y="2587626"/>
              <a:ext cx="1587" cy="60325"/>
            </a:xfrm>
            <a:custGeom>
              <a:avLst/>
              <a:gdLst>
                <a:gd name="T0" fmla="*/ 0 w 7"/>
                <a:gd name="T1" fmla="*/ 60325 h 18"/>
                <a:gd name="T2" fmla="*/ 0 w 7"/>
                <a:gd name="T3" fmla="*/ 0 h 18"/>
                <a:gd name="T4" fmla="*/ 1587 w 7"/>
                <a:gd name="T5" fmla="*/ 40217 h 18"/>
                <a:gd name="T6" fmla="*/ 0 w 7"/>
                <a:gd name="T7" fmla="*/ 60325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6" name="Freeform 113">
              <a:extLst>
                <a:ext uri="{FF2B5EF4-FFF2-40B4-BE49-F238E27FC236}">
                  <a16:creationId xmlns:a16="http://schemas.microsoft.com/office/drawing/2014/main" id="{9705F74B-61C0-4F2F-BB87-206C304B1D6B}"/>
                </a:ext>
              </a:extLst>
            </p:cNvPr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5387976" y="1714500"/>
              <a:ext cx="9525" cy="57150"/>
            </a:xfrm>
            <a:custGeom>
              <a:avLst/>
              <a:gdLst>
                <a:gd name="T0" fmla="*/ 0 w 33"/>
                <a:gd name="T1" fmla="*/ 22123 h 31"/>
                <a:gd name="T2" fmla="*/ 5484 w 33"/>
                <a:gd name="T3" fmla="*/ 0 h 31"/>
                <a:gd name="T4" fmla="*/ 6927 w 33"/>
                <a:gd name="T5" fmla="*/ 9218 h 31"/>
                <a:gd name="T6" fmla="*/ 8082 w 33"/>
                <a:gd name="T7" fmla="*/ 22123 h 31"/>
                <a:gd name="T8" fmla="*/ 9236 w 33"/>
                <a:gd name="T9" fmla="*/ 40558 h 31"/>
                <a:gd name="T10" fmla="*/ 9525 w 33"/>
                <a:gd name="T11" fmla="*/ 57150 h 31"/>
                <a:gd name="T12" fmla="*/ 7793 w 33"/>
                <a:gd name="T13" fmla="*/ 55306 h 31"/>
                <a:gd name="T14" fmla="*/ 6350 w 33"/>
                <a:gd name="T15" fmla="*/ 51619 h 31"/>
                <a:gd name="T16" fmla="*/ 4618 w 33"/>
                <a:gd name="T17" fmla="*/ 46089 h 31"/>
                <a:gd name="T18" fmla="*/ 3175 w 33"/>
                <a:gd name="T19" fmla="*/ 40558 h 31"/>
                <a:gd name="T20" fmla="*/ 866 w 33"/>
                <a:gd name="T21" fmla="*/ 27653 h 31"/>
                <a:gd name="T22" fmla="*/ 0 w 33"/>
                <a:gd name="T23" fmla="*/ 22123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7" name="Freeform 114">
              <a:extLst>
                <a:ext uri="{FF2B5EF4-FFF2-40B4-BE49-F238E27FC236}">
                  <a16:creationId xmlns:a16="http://schemas.microsoft.com/office/drawing/2014/main" id="{16CE637F-FE79-42A3-8849-E9236FDCBD9E}"/>
                </a:ext>
              </a:extLst>
            </p:cNvPr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5373689" y="1482725"/>
              <a:ext cx="3175" cy="57150"/>
            </a:xfrm>
            <a:custGeom>
              <a:avLst/>
              <a:gdLst>
                <a:gd name="T0" fmla="*/ 3175 w 14"/>
                <a:gd name="T1" fmla="*/ 0 h 6"/>
                <a:gd name="T2" fmla="*/ 0 w 14"/>
                <a:gd name="T3" fmla="*/ 57150 h 6"/>
                <a:gd name="T4" fmla="*/ 3175 w 14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8" name="Freeform 115">
              <a:extLst>
                <a:ext uri="{FF2B5EF4-FFF2-40B4-BE49-F238E27FC236}">
                  <a16:creationId xmlns:a16="http://schemas.microsoft.com/office/drawing/2014/main" id="{81144F0A-9386-4DF0-BCDF-E1C70E23760B}"/>
                </a:ext>
              </a:extLst>
            </p:cNvPr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6854825" y="3260726"/>
              <a:ext cx="25400" cy="55563"/>
            </a:xfrm>
            <a:custGeom>
              <a:avLst/>
              <a:gdLst>
                <a:gd name="T0" fmla="*/ 25400 w 59"/>
                <a:gd name="T1" fmla="*/ 10754 h 31"/>
                <a:gd name="T2" fmla="*/ 24539 w 59"/>
                <a:gd name="T3" fmla="*/ 19716 h 31"/>
                <a:gd name="T4" fmla="*/ 22817 w 59"/>
                <a:gd name="T5" fmla="*/ 26885 h 31"/>
                <a:gd name="T6" fmla="*/ 21095 w 59"/>
                <a:gd name="T7" fmla="*/ 34055 h 31"/>
                <a:gd name="T8" fmla="*/ 19373 w 59"/>
                <a:gd name="T9" fmla="*/ 43017 h 31"/>
                <a:gd name="T10" fmla="*/ 17220 w 59"/>
                <a:gd name="T11" fmla="*/ 48394 h 31"/>
                <a:gd name="T12" fmla="*/ 15498 w 59"/>
                <a:gd name="T13" fmla="*/ 51978 h 31"/>
                <a:gd name="T14" fmla="*/ 12915 w 59"/>
                <a:gd name="T15" fmla="*/ 55563 h 31"/>
                <a:gd name="T16" fmla="*/ 11193 w 59"/>
                <a:gd name="T17" fmla="*/ 55563 h 31"/>
                <a:gd name="T18" fmla="*/ 9041 w 59"/>
                <a:gd name="T19" fmla="*/ 55563 h 31"/>
                <a:gd name="T20" fmla="*/ 7319 w 59"/>
                <a:gd name="T21" fmla="*/ 53771 h 31"/>
                <a:gd name="T22" fmla="*/ 6027 w 59"/>
                <a:gd name="T23" fmla="*/ 51978 h 31"/>
                <a:gd name="T24" fmla="*/ 4736 w 59"/>
                <a:gd name="T25" fmla="*/ 48394 h 31"/>
                <a:gd name="T26" fmla="*/ 1722 w 59"/>
                <a:gd name="T27" fmla="*/ 35847 h 31"/>
                <a:gd name="T28" fmla="*/ 0 w 59"/>
                <a:gd name="T29" fmla="*/ 21508 h 31"/>
                <a:gd name="T30" fmla="*/ 431 w 59"/>
                <a:gd name="T31" fmla="*/ 16131 h 31"/>
                <a:gd name="T32" fmla="*/ 1292 w 59"/>
                <a:gd name="T33" fmla="*/ 10754 h 31"/>
                <a:gd name="T34" fmla="*/ 2153 w 59"/>
                <a:gd name="T35" fmla="*/ 7169 h 31"/>
                <a:gd name="T36" fmla="*/ 3444 w 59"/>
                <a:gd name="T37" fmla="*/ 5377 h 31"/>
                <a:gd name="T38" fmla="*/ 6888 w 59"/>
                <a:gd name="T39" fmla="*/ 1792 h 31"/>
                <a:gd name="T40" fmla="*/ 10332 w 59"/>
                <a:gd name="T41" fmla="*/ 0 h 31"/>
                <a:gd name="T42" fmla="*/ 14637 w 59"/>
                <a:gd name="T43" fmla="*/ 0 h 31"/>
                <a:gd name="T44" fmla="*/ 18081 w 59"/>
                <a:gd name="T45" fmla="*/ 3585 h 31"/>
                <a:gd name="T46" fmla="*/ 21956 w 59"/>
                <a:gd name="T47" fmla="*/ 7169 h 31"/>
                <a:gd name="T48" fmla="*/ 25400 w 59"/>
                <a:gd name="T49" fmla="*/ 10754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9" name="Freeform 116">
              <a:extLst>
                <a:ext uri="{FF2B5EF4-FFF2-40B4-BE49-F238E27FC236}">
                  <a16:creationId xmlns:a16="http://schemas.microsoft.com/office/drawing/2014/main" id="{E07AA7FB-0C5F-4E1E-BC27-32629AA7A519}"/>
                </a:ext>
              </a:extLst>
            </p:cNvPr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6557963" y="3122614"/>
              <a:ext cx="19050" cy="58737"/>
            </a:xfrm>
            <a:custGeom>
              <a:avLst/>
              <a:gdLst>
                <a:gd name="T0" fmla="*/ 5674 w 47"/>
                <a:gd name="T1" fmla="*/ 0 h 68"/>
                <a:gd name="T2" fmla="*/ 3243 w 47"/>
                <a:gd name="T3" fmla="*/ 8638 h 68"/>
                <a:gd name="T4" fmla="*/ 1621 w 47"/>
                <a:gd name="T5" fmla="*/ 16412 h 68"/>
                <a:gd name="T6" fmla="*/ 811 w 47"/>
                <a:gd name="T7" fmla="*/ 24186 h 68"/>
                <a:gd name="T8" fmla="*/ 0 w 47"/>
                <a:gd name="T9" fmla="*/ 31960 h 68"/>
                <a:gd name="T10" fmla="*/ 0 w 47"/>
                <a:gd name="T11" fmla="*/ 36279 h 68"/>
                <a:gd name="T12" fmla="*/ 811 w 47"/>
                <a:gd name="T13" fmla="*/ 40598 h 68"/>
                <a:gd name="T14" fmla="*/ 1216 w 47"/>
                <a:gd name="T15" fmla="*/ 44053 h 68"/>
                <a:gd name="T16" fmla="*/ 2027 w 47"/>
                <a:gd name="T17" fmla="*/ 47508 h 68"/>
                <a:gd name="T18" fmla="*/ 2837 w 47"/>
                <a:gd name="T19" fmla="*/ 50099 h 68"/>
                <a:gd name="T20" fmla="*/ 3648 w 47"/>
                <a:gd name="T21" fmla="*/ 51827 h 68"/>
                <a:gd name="T22" fmla="*/ 5269 w 47"/>
                <a:gd name="T23" fmla="*/ 53554 h 68"/>
                <a:gd name="T24" fmla="*/ 6485 w 47"/>
                <a:gd name="T25" fmla="*/ 55282 h 68"/>
                <a:gd name="T26" fmla="*/ 8917 w 47"/>
                <a:gd name="T27" fmla="*/ 57873 h 68"/>
                <a:gd name="T28" fmla="*/ 12565 w 47"/>
                <a:gd name="T29" fmla="*/ 58737 h 68"/>
                <a:gd name="T30" fmla="*/ 15807 w 47"/>
                <a:gd name="T31" fmla="*/ 58737 h 68"/>
                <a:gd name="T32" fmla="*/ 19050 w 47"/>
                <a:gd name="T33" fmla="*/ 58737 h 68"/>
                <a:gd name="T34" fmla="*/ 16618 w 47"/>
                <a:gd name="T35" fmla="*/ 50099 h 68"/>
                <a:gd name="T36" fmla="*/ 15402 w 47"/>
                <a:gd name="T37" fmla="*/ 41461 h 68"/>
                <a:gd name="T38" fmla="*/ 14591 w 47"/>
                <a:gd name="T39" fmla="*/ 37143 h 68"/>
                <a:gd name="T40" fmla="*/ 14186 w 47"/>
                <a:gd name="T41" fmla="*/ 32824 h 68"/>
                <a:gd name="T42" fmla="*/ 13376 w 47"/>
                <a:gd name="T43" fmla="*/ 26777 h 68"/>
                <a:gd name="T44" fmla="*/ 13376 w 47"/>
                <a:gd name="T45" fmla="*/ 21594 h 68"/>
                <a:gd name="T46" fmla="*/ 9728 w 47"/>
                <a:gd name="T47" fmla="*/ 11229 h 68"/>
                <a:gd name="T48" fmla="*/ 5674 w 47"/>
                <a:gd name="T49" fmla="*/ 0 h 6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100" name="Group 117">
              <a:extLst>
                <a:ext uri="{FF2B5EF4-FFF2-40B4-BE49-F238E27FC236}">
                  <a16:creationId xmlns:a16="http://schemas.microsoft.com/office/drawing/2014/main" id="{80B2D72D-6E94-4F9E-857D-9895D68885AE}"/>
                </a:ext>
              </a:extLst>
            </p:cNvPr>
            <p:cNvGrpSpPr>
              <a:grpSpLocks/>
            </p:cNvGrpSpPr>
            <p:nvPr>
              <p:custDataLst>
                <p:tags r:id="rId88"/>
              </p:custDataLst>
            </p:nvPr>
          </p:nvGrpSpPr>
          <p:grpSpPr bwMode="auto">
            <a:xfrm>
              <a:off x="7329489" y="3309938"/>
              <a:ext cx="46037" cy="374650"/>
              <a:chOff x="3950" y="2430"/>
              <a:chExt cx="36" cy="234"/>
            </a:xfrm>
          </p:grpSpPr>
          <p:sp>
            <p:nvSpPr>
              <p:cNvPr id="503" name="Freeform 118">
                <a:extLst>
                  <a:ext uri="{FF2B5EF4-FFF2-40B4-BE49-F238E27FC236}">
                    <a16:creationId xmlns:a16="http://schemas.microsoft.com/office/drawing/2014/main" id="{8AB1EF0F-D113-4A76-8245-8C7AFFC58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4" name="Freeform 119">
                <a:extLst>
                  <a:ext uri="{FF2B5EF4-FFF2-40B4-BE49-F238E27FC236}">
                    <a16:creationId xmlns:a16="http://schemas.microsoft.com/office/drawing/2014/main" id="{33B7F94C-79C3-4051-A133-5B1B75FA7B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5" name="Freeform 120">
                <a:extLst>
                  <a:ext uri="{FF2B5EF4-FFF2-40B4-BE49-F238E27FC236}">
                    <a16:creationId xmlns:a16="http://schemas.microsoft.com/office/drawing/2014/main" id="{F01E7869-31AC-44ED-A7DA-0834CAF2C7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6" name="Rectangle 121">
                <a:extLst>
                  <a:ext uri="{FF2B5EF4-FFF2-40B4-BE49-F238E27FC236}">
                    <a16:creationId xmlns:a16="http://schemas.microsoft.com/office/drawing/2014/main" id="{474C4367-735B-4247-A033-A87BBA82CD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507" name="Line 122">
                <a:extLst>
                  <a:ext uri="{FF2B5EF4-FFF2-40B4-BE49-F238E27FC236}">
                    <a16:creationId xmlns:a16="http://schemas.microsoft.com/office/drawing/2014/main" id="{DAB4C884-B03F-4C07-BE37-B1B099C078B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8" name="Freeform 123">
                <a:extLst>
                  <a:ext uri="{FF2B5EF4-FFF2-40B4-BE49-F238E27FC236}">
                    <a16:creationId xmlns:a16="http://schemas.microsoft.com/office/drawing/2014/main" id="{EACBB66D-8E21-46F8-B86C-94821EA5E6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9" name="Freeform 124">
                <a:extLst>
                  <a:ext uri="{FF2B5EF4-FFF2-40B4-BE49-F238E27FC236}">
                    <a16:creationId xmlns:a16="http://schemas.microsoft.com/office/drawing/2014/main" id="{6BAAA524-63C7-4486-931A-65A218B92D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0" name="Line 125">
                <a:extLst>
                  <a:ext uri="{FF2B5EF4-FFF2-40B4-BE49-F238E27FC236}">
                    <a16:creationId xmlns:a16="http://schemas.microsoft.com/office/drawing/2014/main" id="{C9E240B9-B242-4DB5-814A-12F1E4F5356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1" name="Freeform 126">
                <a:extLst>
                  <a:ext uri="{FF2B5EF4-FFF2-40B4-BE49-F238E27FC236}">
                    <a16:creationId xmlns:a16="http://schemas.microsoft.com/office/drawing/2014/main" id="{B780CA16-B6CD-4916-BB60-35A217291E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2" name="Freeform 127">
                <a:extLst>
                  <a:ext uri="{FF2B5EF4-FFF2-40B4-BE49-F238E27FC236}">
                    <a16:creationId xmlns:a16="http://schemas.microsoft.com/office/drawing/2014/main" id="{4F18C42F-5FED-4A05-ABD1-DF2D64F000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3" name="Line 128">
                <a:extLst>
                  <a:ext uri="{FF2B5EF4-FFF2-40B4-BE49-F238E27FC236}">
                    <a16:creationId xmlns:a16="http://schemas.microsoft.com/office/drawing/2014/main" id="{D99FC4AC-4396-476D-B99E-FA530C5603C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4" name="Freeform 129">
                <a:extLst>
                  <a:ext uri="{FF2B5EF4-FFF2-40B4-BE49-F238E27FC236}">
                    <a16:creationId xmlns:a16="http://schemas.microsoft.com/office/drawing/2014/main" id="{66DB1188-3A03-4D00-8DF3-ED554B6375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5" name="Freeform 130">
                <a:extLst>
                  <a:ext uri="{FF2B5EF4-FFF2-40B4-BE49-F238E27FC236}">
                    <a16:creationId xmlns:a16="http://schemas.microsoft.com/office/drawing/2014/main" id="{6A36165A-D6CC-4C5D-A595-0C57056671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6" name="Freeform 131">
                <a:extLst>
                  <a:ext uri="{FF2B5EF4-FFF2-40B4-BE49-F238E27FC236}">
                    <a16:creationId xmlns:a16="http://schemas.microsoft.com/office/drawing/2014/main" id="{FD589734-1F35-44A3-BA8B-DF485B50C2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7" name="Freeform 132">
                <a:extLst>
                  <a:ext uri="{FF2B5EF4-FFF2-40B4-BE49-F238E27FC236}">
                    <a16:creationId xmlns:a16="http://schemas.microsoft.com/office/drawing/2014/main" id="{43186EC7-53A3-4EE3-9FFD-2D1D601AA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8" name="Freeform 133">
                <a:extLst>
                  <a:ext uri="{FF2B5EF4-FFF2-40B4-BE49-F238E27FC236}">
                    <a16:creationId xmlns:a16="http://schemas.microsoft.com/office/drawing/2014/main" id="{567E80B5-EF91-49E1-92A4-CDE1E6FE78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9" name="Freeform 134">
                <a:extLst>
                  <a:ext uri="{FF2B5EF4-FFF2-40B4-BE49-F238E27FC236}">
                    <a16:creationId xmlns:a16="http://schemas.microsoft.com/office/drawing/2014/main" id="{5310B4CF-32B9-4795-A1A8-CBA2849E81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0" name="Freeform 135">
                <a:extLst>
                  <a:ext uri="{FF2B5EF4-FFF2-40B4-BE49-F238E27FC236}">
                    <a16:creationId xmlns:a16="http://schemas.microsoft.com/office/drawing/2014/main" id="{CDBE5008-24B5-459B-9595-D920DB1209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1" name="Rectangle 136">
                <a:extLst>
                  <a:ext uri="{FF2B5EF4-FFF2-40B4-BE49-F238E27FC236}">
                    <a16:creationId xmlns:a16="http://schemas.microsoft.com/office/drawing/2014/main" id="{2311F229-1F30-4EE9-A564-9B3E4AFA44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522" name="Line 137">
                <a:extLst>
                  <a:ext uri="{FF2B5EF4-FFF2-40B4-BE49-F238E27FC236}">
                    <a16:creationId xmlns:a16="http://schemas.microsoft.com/office/drawing/2014/main" id="{979FAA5C-F15F-4D6B-8CE9-C6FA07674C6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3" name="Freeform 138">
                <a:extLst>
                  <a:ext uri="{FF2B5EF4-FFF2-40B4-BE49-F238E27FC236}">
                    <a16:creationId xmlns:a16="http://schemas.microsoft.com/office/drawing/2014/main" id="{D3905EB9-F0B1-41B5-B4C8-B37E1AC279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4" name="Freeform 139">
                <a:extLst>
                  <a:ext uri="{FF2B5EF4-FFF2-40B4-BE49-F238E27FC236}">
                    <a16:creationId xmlns:a16="http://schemas.microsoft.com/office/drawing/2014/main" id="{D8A5FB5F-E6E4-4F66-A172-CA53DD5412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5" name="Line 140">
                <a:extLst>
                  <a:ext uri="{FF2B5EF4-FFF2-40B4-BE49-F238E27FC236}">
                    <a16:creationId xmlns:a16="http://schemas.microsoft.com/office/drawing/2014/main" id="{40D8E2BF-4631-41FE-8844-C8DBD9AC9C0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6" name="Freeform 141">
                <a:extLst>
                  <a:ext uri="{FF2B5EF4-FFF2-40B4-BE49-F238E27FC236}">
                    <a16:creationId xmlns:a16="http://schemas.microsoft.com/office/drawing/2014/main" id="{F1BE5A1F-30A9-4592-AD8C-5DB93B394A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7" name="Freeform 142">
                <a:extLst>
                  <a:ext uri="{FF2B5EF4-FFF2-40B4-BE49-F238E27FC236}">
                    <a16:creationId xmlns:a16="http://schemas.microsoft.com/office/drawing/2014/main" id="{C401DCF8-7F1C-4569-9C1A-284B85C785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8" name="Line 143">
                <a:extLst>
                  <a:ext uri="{FF2B5EF4-FFF2-40B4-BE49-F238E27FC236}">
                    <a16:creationId xmlns:a16="http://schemas.microsoft.com/office/drawing/2014/main" id="{353559FD-FF43-44CD-86AF-4C9823D61AD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9" name="Freeform 144">
                <a:extLst>
                  <a:ext uri="{FF2B5EF4-FFF2-40B4-BE49-F238E27FC236}">
                    <a16:creationId xmlns:a16="http://schemas.microsoft.com/office/drawing/2014/main" id="{256A9CAA-C7F4-4F94-BF59-E5F2D41000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0" name="Freeform 145">
                <a:extLst>
                  <a:ext uri="{FF2B5EF4-FFF2-40B4-BE49-F238E27FC236}">
                    <a16:creationId xmlns:a16="http://schemas.microsoft.com/office/drawing/2014/main" id="{A1A94E57-D8CB-40A0-9D04-A9F76AA4ED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1" name="Freeform 146">
                <a:extLst>
                  <a:ext uri="{FF2B5EF4-FFF2-40B4-BE49-F238E27FC236}">
                    <a16:creationId xmlns:a16="http://schemas.microsoft.com/office/drawing/2014/main" id="{38F68739-B619-4086-9CD3-0808D9AF59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2" name="Freeform 147">
                <a:extLst>
                  <a:ext uri="{FF2B5EF4-FFF2-40B4-BE49-F238E27FC236}">
                    <a16:creationId xmlns:a16="http://schemas.microsoft.com/office/drawing/2014/main" id="{DEB4708D-486A-4808-90F0-FC9050FE9F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3" name="Freeform 148">
                <a:extLst>
                  <a:ext uri="{FF2B5EF4-FFF2-40B4-BE49-F238E27FC236}">
                    <a16:creationId xmlns:a16="http://schemas.microsoft.com/office/drawing/2014/main" id="{F4396BF2-96CF-404E-A977-39ECA79304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5 w 20"/>
                  <a:gd name="T1" fmla="*/ 6 h 18"/>
                  <a:gd name="T2" fmla="*/ 7 w 20"/>
                  <a:gd name="T3" fmla="*/ 0 h 18"/>
                  <a:gd name="T4" fmla="*/ 0 w 20"/>
                  <a:gd name="T5" fmla="*/ 0 h 18"/>
                  <a:gd name="T6" fmla="*/ 5 w 20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101" name="Group 149">
              <a:extLst>
                <a:ext uri="{FF2B5EF4-FFF2-40B4-BE49-F238E27FC236}">
                  <a16:creationId xmlns:a16="http://schemas.microsoft.com/office/drawing/2014/main" id="{F96B539A-12CE-4C7F-ADBA-4B59FDEFEF19}"/>
                </a:ext>
              </a:extLst>
            </p:cNvPr>
            <p:cNvGrpSpPr>
              <a:grpSpLocks/>
            </p:cNvGrpSpPr>
            <p:nvPr>
              <p:custDataLst>
                <p:tags r:id="rId89"/>
              </p:custDataLst>
            </p:nvPr>
          </p:nvGrpSpPr>
          <p:grpSpPr bwMode="auto">
            <a:xfrm>
              <a:off x="9394825" y="3810001"/>
              <a:ext cx="185738" cy="214313"/>
              <a:chOff x="5486" y="2743"/>
              <a:chExt cx="137" cy="132"/>
            </a:xfrm>
          </p:grpSpPr>
          <p:sp>
            <p:nvSpPr>
              <p:cNvPr id="494" name="Freeform 150">
                <a:extLst>
                  <a:ext uri="{FF2B5EF4-FFF2-40B4-BE49-F238E27FC236}">
                    <a16:creationId xmlns:a16="http://schemas.microsoft.com/office/drawing/2014/main" id="{798AFB1D-CFB8-4B35-B94B-EA885B8C5B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10 h 87"/>
                  <a:gd name="T2" fmla="*/ 0 w 40"/>
                  <a:gd name="T3" fmla="*/ 14 h 87"/>
                  <a:gd name="T4" fmla="*/ 1 w 40"/>
                  <a:gd name="T5" fmla="*/ 16 h 87"/>
                  <a:gd name="T6" fmla="*/ 2 w 40"/>
                  <a:gd name="T7" fmla="*/ 19 h 87"/>
                  <a:gd name="T8" fmla="*/ 3 w 40"/>
                  <a:gd name="T9" fmla="*/ 21 h 87"/>
                  <a:gd name="T10" fmla="*/ 5 w 40"/>
                  <a:gd name="T11" fmla="*/ 23 h 87"/>
                  <a:gd name="T12" fmla="*/ 7 w 40"/>
                  <a:gd name="T13" fmla="*/ 25 h 87"/>
                  <a:gd name="T14" fmla="*/ 10 w 40"/>
                  <a:gd name="T15" fmla="*/ 26 h 87"/>
                  <a:gd name="T16" fmla="*/ 13 w 40"/>
                  <a:gd name="T17" fmla="*/ 28 h 87"/>
                  <a:gd name="T18" fmla="*/ 11 w 40"/>
                  <a:gd name="T19" fmla="*/ 26 h 87"/>
                  <a:gd name="T20" fmla="*/ 10 w 40"/>
                  <a:gd name="T21" fmla="*/ 25 h 87"/>
                  <a:gd name="T22" fmla="*/ 9 w 40"/>
                  <a:gd name="T23" fmla="*/ 23 h 87"/>
                  <a:gd name="T24" fmla="*/ 8 w 40"/>
                  <a:gd name="T25" fmla="*/ 21 h 87"/>
                  <a:gd name="T26" fmla="*/ 7 w 40"/>
                  <a:gd name="T27" fmla="*/ 17 h 87"/>
                  <a:gd name="T28" fmla="*/ 7 w 40"/>
                  <a:gd name="T29" fmla="*/ 13 h 87"/>
                  <a:gd name="T30" fmla="*/ 6 w 40"/>
                  <a:gd name="T31" fmla="*/ 9 h 87"/>
                  <a:gd name="T32" fmla="*/ 4 w 40"/>
                  <a:gd name="T33" fmla="*/ 5 h 87"/>
                  <a:gd name="T34" fmla="*/ 4 w 40"/>
                  <a:gd name="T35" fmla="*/ 4 h 87"/>
                  <a:gd name="T36" fmla="*/ 3 w 40"/>
                  <a:gd name="T37" fmla="*/ 2 h 87"/>
                  <a:gd name="T38" fmla="*/ 1 w 40"/>
                  <a:gd name="T39" fmla="*/ 1 h 87"/>
                  <a:gd name="T40" fmla="*/ 0 w 40"/>
                  <a:gd name="T41" fmla="*/ 0 h 87"/>
                  <a:gd name="T42" fmla="*/ 0 w 40"/>
                  <a:gd name="T43" fmla="*/ 3 h 87"/>
                  <a:gd name="T44" fmla="*/ 0 w 40"/>
                  <a:gd name="T45" fmla="*/ 5 h 87"/>
                  <a:gd name="T46" fmla="*/ 0 w 40"/>
                  <a:gd name="T47" fmla="*/ 7 h 87"/>
                  <a:gd name="T48" fmla="*/ 0 w 40"/>
                  <a:gd name="T49" fmla="*/ 10 h 8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5" name="Freeform 151">
                <a:extLst>
                  <a:ext uri="{FF2B5EF4-FFF2-40B4-BE49-F238E27FC236}">
                    <a16:creationId xmlns:a16="http://schemas.microsoft.com/office/drawing/2014/main" id="{46D9E913-DA41-4A7C-98F8-5FDA811285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10 h 37"/>
                  <a:gd name="T2" fmla="*/ 6 w 61"/>
                  <a:gd name="T3" fmla="*/ 10 h 37"/>
                  <a:gd name="T4" fmla="*/ 11 w 61"/>
                  <a:gd name="T5" fmla="*/ 11 h 37"/>
                  <a:gd name="T6" fmla="*/ 16 w 61"/>
                  <a:gd name="T7" fmla="*/ 12 h 37"/>
                  <a:gd name="T8" fmla="*/ 20 w 61"/>
                  <a:gd name="T9" fmla="*/ 12 h 37"/>
                  <a:gd name="T10" fmla="*/ 18 w 61"/>
                  <a:gd name="T11" fmla="*/ 9 h 37"/>
                  <a:gd name="T12" fmla="*/ 16 w 61"/>
                  <a:gd name="T13" fmla="*/ 7 h 37"/>
                  <a:gd name="T14" fmla="*/ 14 w 61"/>
                  <a:gd name="T15" fmla="*/ 6 h 37"/>
                  <a:gd name="T16" fmla="*/ 11 w 61"/>
                  <a:gd name="T17" fmla="*/ 4 h 37"/>
                  <a:gd name="T18" fmla="*/ 9 w 61"/>
                  <a:gd name="T19" fmla="*/ 3 h 37"/>
                  <a:gd name="T20" fmla="*/ 6 w 61"/>
                  <a:gd name="T21" fmla="*/ 2 h 37"/>
                  <a:gd name="T22" fmla="*/ 3 w 61"/>
                  <a:gd name="T23" fmla="*/ 1 h 37"/>
                  <a:gd name="T24" fmla="*/ 0 w 61"/>
                  <a:gd name="T25" fmla="*/ 0 h 37"/>
                  <a:gd name="T26" fmla="*/ 0 w 61"/>
                  <a:gd name="T27" fmla="*/ 10 h 3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6" name="Freeform 152">
                <a:extLst>
                  <a:ext uri="{FF2B5EF4-FFF2-40B4-BE49-F238E27FC236}">
                    <a16:creationId xmlns:a16="http://schemas.microsoft.com/office/drawing/2014/main" id="{2F9F6F75-200C-4682-9680-B31417C35F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13 w 40"/>
                  <a:gd name="T1" fmla="*/ 10 h 30"/>
                  <a:gd name="T2" fmla="*/ 11 w 40"/>
                  <a:gd name="T3" fmla="*/ 9 h 30"/>
                  <a:gd name="T4" fmla="*/ 8 w 40"/>
                  <a:gd name="T5" fmla="*/ 8 h 30"/>
                  <a:gd name="T6" fmla="*/ 7 w 40"/>
                  <a:gd name="T7" fmla="*/ 7 h 30"/>
                  <a:gd name="T8" fmla="*/ 5 w 40"/>
                  <a:gd name="T9" fmla="*/ 6 h 30"/>
                  <a:gd name="T10" fmla="*/ 4 w 40"/>
                  <a:gd name="T11" fmla="*/ 5 h 30"/>
                  <a:gd name="T12" fmla="*/ 2 w 40"/>
                  <a:gd name="T13" fmla="*/ 4 h 30"/>
                  <a:gd name="T14" fmla="*/ 1 w 40"/>
                  <a:gd name="T15" fmla="*/ 2 h 30"/>
                  <a:gd name="T16" fmla="*/ 0 w 40"/>
                  <a:gd name="T17" fmla="*/ 0 h 30"/>
                  <a:gd name="T18" fmla="*/ 3 w 40"/>
                  <a:gd name="T19" fmla="*/ 1 h 30"/>
                  <a:gd name="T20" fmla="*/ 5 w 40"/>
                  <a:gd name="T21" fmla="*/ 2 h 30"/>
                  <a:gd name="T22" fmla="*/ 7 w 40"/>
                  <a:gd name="T23" fmla="*/ 3 h 30"/>
                  <a:gd name="T24" fmla="*/ 9 w 40"/>
                  <a:gd name="T25" fmla="*/ 5 h 30"/>
                  <a:gd name="T26" fmla="*/ 11 w 40"/>
                  <a:gd name="T27" fmla="*/ 6 h 30"/>
                  <a:gd name="T28" fmla="*/ 12 w 40"/>
                  <a:gd name="T29" fmla="*/ 8 h 30"/>
                  <a:gd name="T30" fmla="*/ 13 w 40"/>
                  <a:gd name="T31" fmla="*/ 9 h 30"/>
                  <a:gd name="T32" fmla="*/ 13 w 40"/>
                  <a:gd name="T33" fmla="*/ 10 h 3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7" name="Freeform 153">
                <a:extLst>
                  <a:ext uri="{FF2B5EF4-FFF2-40B4-BE49-F238E27FC236}">
                    <a16:creationId xmlns:a16="http://schemas.microsoft.com/office/drawing/2014/main" id="{FD26DC1A-89ED-417E-8D20-3EE1259590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24 w 74"/>
                  <a:gd name="T1" fmla="*/ 26 h 80"/>
                  <a:gd name="T2" fmla="*/ 23 w 74"/>
                  <a:gd name="T3" fmla="*/ 24 h 80"/>
                  <a:gd name="T4" fmla="*/ 23 w 74"/>
                  <a:gd name="T5" fmla="*/ 21 h 80"/>
                  <a:gd name="T6" fmla="*/ 22 w 74"/>
                  <a:gd name="T7" fmla="*/ 20 h 80"/>
                  <a:gd name="T8" fmla="*/ 21 w 74"/>
                  <a:gd name="T9" fmla="*/ 17 h 80"/>
                  <a:gd name="T10" fmla="*/ 19 w 74"/>
                  <a:gd name="T11" fmla="*/ 14 h 80"/>
                  <a:gd name="T12" fmla="*/ 16 w 74"/>
                  <a:gd name="T13" fmla="*/ 11 h 80"/>
                  <a:gd name="T14" fmla="*/ 12 w 74"/>
                  <a:gd name="T15" fmla="*/ 8 h 80"/>
                  <a:gd name="T16" fmla="*/ 9 w 74"/>
                  <a:gd name="T17" fmla="*/ 6 h 80"/>
                  <a:gd name="T18" fmla="*/ 6 w 74"/>
                  <a:gd name="T19" fmla="*/ 3 h 80"/>
                  <a:gd name="T20" fmla="*/ 4 w 74"/>
                  <a:gd name="T21" fmla="*/ 0 h 80"/>
                  <a:gd name="T22" fmla="*/ 3 w 74"/>
                  <a:gd name="T23" fmla="*/ 2 h 80"/>
                  <a:gd name="T24" fmla="*/ 1 w 74"/>
                  <a:gd name="T25" fmla="*/ 3 h 80"/>
                  <a:gd name="T26" fmla="*/ 0 w 74"/>
                  <a:gd name="T27" fmla="*/ 5 h 80"/>
                  <a:gd name="T28" fmla="*/ 0 w 74"/>
                  <a:gd name="T29" fmla="*/ 6 h 80"/>
                  <a:gd name="T30" fmla="*/ 0 w 74"/>
                  <a:gd name="T31" fmla="*/ 8 h 80"/>
                  <a:gd name="T32" fmla="*/ 1 w 74"/>
                  <a:gd name="T33" fmla="*/ 10 h 80"/>
                  <a:gd name="T34" fmla="*/ 1 w 74"/>
                  <a:gd name="T35" fmla="*/ 12 h 80"/>
                  <a:gd name="T36" fmla="*/ 2 w 74"/>
                  <a:gd name="T37" fmla="*/ 13 h 80"/>
                  <a:gd name="T38" fmla="*/ 3 w 74"/>
                  <a:gd name="T39" fmla="*/ 15 h 80"/>
                  <a:gd name="T40" fmla="*/ 5 w 74"/>
                  <a:gd name="T41" fmla="*/ 17 h 80"/>
                  <a:gd name="T42" fmla="*/ 6 w 74"/>
                  <a:gd name="T43" fmla="*/ 18 h 80"/>
                  <a:gd name="T44" fmla="*/ 8 w 74"/>
                  <a:gd name="T45" fmla="*/ 20 h 80"/>
                  <a:gd name="T46" fmla="*/ 10 w 74"/>
                  <a:gd name="T47" fmla="*/ 21 h 80"/>
                  <a:gd name="T48" fmla="*/ 11 w 74"/>
                  <a:gd name="T49" fmla="*/ 22 h 80"/>
                  <a:gd name="T50" fmla="*/ 14 w 74"/>
                  <a:gd name="T51" fmla="*/ 23 h 80"/>
                  <a:gd name="T52" fmla="*/ 15 w 74"/>
                  <a:gd name="T53" fmla="*/ 24 h 80"/>
                  <a:gd name="T54" fmla="*/ 18 w 74"/>
                  <a:gd name="T55" fmla="*/ 25 h 80"/>
                  <a:gd name="T56" fmla="*/ 19 w 74"/>
                  <a:gd name="T57" fmla="*/ 26 h 80"/>
                  <a:gd name="T58" fmla="*/ 22 w 74"/>
                  <a:gd name="T59" fmla="*/ 26 h 80"/>
                  <a:gd name="T60" fmla="*/ 24 w 74"/>
                  <a:gd name="T61" fmla="*/ 26 h 8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8" name="Freeform 154">
                <a:extLst>
                  <a:ext uri="{FF2B5EF4-FFF2-40B4-BE49-F238E27FC236}">
                    <a16:creationId xmlns:a16="http://schemas.microsoft.com/office/drawing/2014/main" id="{0B09FBDD-D5A6-4B9E-BA8A-FD511F2BA8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16 w 86"/>
                  <a:gd name="T1" fmla="*/ 27 h 80"/>
                  <a:gd name="T2" fmla="*/ 26 w 86"/>
                  <a:gd name="T3" fmla="*/ 27 h 80"/>
                  <a:gd name="T4" fmla="*/ 26 w 86"/>
                  <a:gd name="T5" fmla="*/ 21 h 80"/>
                  <a:gd name="T6" fmla="*/ 24 w 86"/>
                  <a:gd name="T7" fmla="*/ 20 h 80"/>
                  <a:gd name="T8" fmla="*/ 22 w 86"/>
                  <a:gd name="T9" fmla="*/ 19 h 80"/>
                  <a:gd name="T10" fmla="*/ 20 w 86"/>
                  <a:gd name="T11" fmla="*/ 18 h 80"/>
                  <a:gd name="T12" fmla="*/ 18 w 86"/>
                  <a:gd name="T13" fmla="*/ 17 h 80"/>
                  <a:gd name="T14" fmla="*/ 15 w 86"/>
                  <a:gd name="T15" fmla="*/ 14 h 80"/>
                  <a:gd name="T16" fmla="*/ 13 w 86"/>
                  <a:gd name="T17" fmla="*/ 11 h 80"/>
                  <a:gd name="T18" fmla="*/ 10 w 86"/>
                  <a:gd name="T19" fmla="*/ 8 h 80"/>
                  <a:gd name="T20" fmla="*/ 7 w 86"/>
                  <a:gd name="T21" fmla="*/ 5 h 80"/>
                  <a:gd name="T22" fmla="*/ 4 w 86"/>
                  <a:gd name="T23" fmla="*/ 2 h 80"/>
                  <a:gd name="T24" fmla="*/ 0 w 86"/>
                  <a:gd name="T25" fmla="*/ 0 h 80"/>
                  <a:gd name="T26" fmla="*/ 0 w 86"/>
                  <a:gd name="T27" fmla="*/ 3 h 80"/>
                  <a:gd name="T28" fmla="*/ 2 w 86"/>
                  <a:gd name="T29" fmla="*/ 7 h 80"/>
                  <a:gd name="T30" fmla="*/ 3 w 86"/>
                  <a:gd name="T31" fmla="*/ 11 h 80"/>
                  <a:gd name="T32" fmla="*/ 5 w 86"/>
                  <a:gd name="T33" fmla="*/ 15 h 80"/>
                  <a:gd name="T34" fmla="*/ 8 w 86"/>
                  <a:gd name="T35" fmla="*/ 19 h 80"/>
                  <a:gd name="T36" fmla="*/ 11 w 86"/>
                  <a:gd name="T37" fmla="*/ 23 h 80"/>
                  <a:gd name="T38" fmla="*/ 12 w 86"/>
                  <a:gd name="T39" fmla="*/ 24 h 80"/>
                  <a:gd name="T40" fmla="*/ 14 w 86"/>
                  <a:gd name="T41" fmla="*/ 26 h 80"/>
                  <a:gd name="T42" fmla="*/ 15 w 86"/>
                  <a:gd name="T43" fmla="*/ 27 h 80"/>
                  <a:gd name="T44" fmla="*/ 16 w 86"/>
                  <a:gd name="T45" fmla="*/ 27 h 8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9" name="Freeform 155">
                <a:extLst>
                  <a:ext uri="{FF2B5EF4-FFF2-40B4-BE49-F238E27FC236}">
                    <a16:creationId xmlns:a16="http://schemas.microsoft.com/office/drawing/2014/main" id="{6B59DF3A-668A-4EA7-B810-8DFEC27547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2 h 31"/>
                  <a:gd name="T2" fmla="*/ 1 w 74"/>
                  <a:gd name="T3" fmla="*/ 4 h 31"/>
                  <a:gd name="T4" fmla="*/ 2 w 74"/>
                  <a:gd name="T5" fmla="*/ 5 h 31"/>
                  <a:gd name="T6" fmla="*/ 3 w 74"/>
                  <a:gd name="T7" fmla="*/ 6 h 31"/>
                  <a:gd name="T8" fmla="*/ 5 w 74"/>
                  <a:gd name="T9" fmla="*/ 7 h 31"/>
                  <a:gd name="T10" fmla="*/ 6 w 74"/>
                  <a:gd name="T11" fmla="*/ 9 h 31"/>
                  <a:gd name="T12" fmla="*/ 8 w 74"/>
                  <a:gd name="T13" fmla="*/ 9 h 31"/>
                  <a:gd name="T14" fmla="*/ 10 w 74"/>
                  <a:gd name="T15" fmla="*/ 10 h 31"/>
                  <a:gd name="T16" fmla="*/ 11 w 74"/>
                  <a:gd name="T17" fmla="*/ 10 h 31"/>
                  <a:gd name="T18" fmla="*/ 16 w 74"/>
                  <a:gd name="T19" fmla="*/ 11 h 31"/>
                  <a:gd name="T20" fmla="*/ 20 w 74"/>
                  <a:gd name="T21" fmla="*/ 11 h 31"/>
                  <a:gd name="T22" fmla="*/ 21 w 74"/>
                  <a:gd name="T23" fmla="*/ 11 h 31"/>
                  <a:gd name="T24" fmla="*/ 23 w 74"/>
                  <a:gd name="T25" fmla="*/ 10 h 31"/>
                  <a:gd name="T26" fmla="*/ 24 w 74"/>
                  <a:gd name="T27" fmla="*/ 10 h 31"/>
                  <a:gd name="T28" fmla="*/ 25 w 74"/>
                  <a:gd name="T29" fmla="*/ 9 h 31"/>
                  <a:gd name="T30" fmla="*/ 22 w 74"/>
                  <a:gd name="T31" fmla="*/ 6 h 31"/>
                  <a:gd name="T32" fmla="*/ 19 w 74"/>
                  <a:gd name="T33" fmla="*/ 5 h 31"/>
                  <a:gd name="T34" fmla="*/ 17 w 74"/>
                  <a:gd name="T35" fmla="*/ 4 h 31"/>
                  <a:gd name="T36" fmla="*/ 16 w 74"/>
                  <a:gd name="T37" fmla="*/ 3 h 31"/>
                  <a:gd name="T38" fmla="*/ 15 w 74"/>
                  <a:gd name="T39" fmla="*/ 2 h 31"/>
                  <a:gd name="T40" fmla="*/ 14 w 74"/>
                  <a:gd name="T41" fmla="*/ 0 h 31"/>
                  <a:gd name="T42" fmla="*/ 11 w 74"/>
                  <a:gd name="T43" fmla="*/ 0 h 31"/>
                  <a:gd name="T44" fmla="*/ 9 w 74"/>
                  <a:gd name="T45" fmla="*/ 0 h 31"/>
                  <a:gd name="T46" fmla="*/ 7 w 74"/>
                  <a:gd name="T47" fmla="*/ 0 h 31"/>
                  <a:gd name="T48" fmla="*/ 6 w 74"/>
                  <a:gd name="T49" fmla="*/ 0 h 31"/>
                  <a:gd name="T50" fmla="*/ 5 w 74"/>
                  <a:gd name="T51" fmla="*/ 0 h 31"/>
                  <a:gd name="T52" fmla="*/ 3 w 74"/>
                  <a:gd name="T53" fmla="*/ 0 h 31"/>
                  <a:gd name="T54" fmla="*/ 2 w 74"/>
                  <a:gd name="T55" fmla="*/ 1 h 31"/>
                  <a:gd name="T56" fmla="*/ 0 w 74"/>
                  <a:gd name="T57" fmla="*/ 2 h 31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0" name="Freeform 156">
                <a:extLst>
                  <a:ext uri="{FF2B5EF4-FFF2-40B4-BE49-F238E27FC236}">
                    <a16:creationId xmlns:a16="http://schemas.microsoft.com/office/drawing/2014/main" id="{D29F0BBD-2F92-4089-B089-325BD11CD5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6 w 20"/>
                  <a:gd name="T1" fmla="*/ 0 h 1"/>
                  <a:gd name="T2" fmla="*/ 0 w 20"/>
                  <a:gd name="T3" fmla="*/ 0 h 1"/>
                  <a:gd name="T4" fmla="*/ 3 w 20"/>
                  <a:gd name="T5" fmla="*/ 0 h 1"/>
                  <a:gd name="T6" fmla="*/ 6 w 20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1" name="Freeform 157">
                <a:extLst>
                  <a:ext uri="{FF2B5EF4-FFF2-40B4-BE49-F238E27FC236}">
                    <a16:creationId xmlns:a16="http://schemas.microsoft.com/office/drawing/2014/main" id="{E6C9CE6A-144D-4A43-A6AA-FD1F08DACD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2 w 100"/>
                  <a:gd name="T1" fmla="*/ 8 h 65"/>
                  <a:gd name="T2" fmla="*/ 11 w 100"/>
                  <a:gd name="T3" fmla="*/ 13 h 65"/>
                  <a:gd name="T4" fmla="*/ 20 w 100"/>
                  <a:gd name="T5" fmla="*/ 18 h 65"/>
                  <a:gd name="T6" fmla="*/ 23 w 100"/>
                  <a:gd name="T7" fmla="*/ 19 h 65"/>
                  <a:gd name="T8" fmla="*/ 27 w 100"/>
                  <a:gd name="T9" fmla="*/ 21 h 65"/>
                  <a:gd name="T10" fmla="*/ 28 w 100"/>
                  <a:gd name="T11" fmla="*/ 21 h 65"/>
                  <a:gd name="T12" fmla="*/ 29 w 100"/>
                  <a:gd name="T13" fmla="*/ 21 h 65"/>
                  <a:gd name="T14" fmla="*/ 31 w 100"/>
                  <a:gd name="T15" fmla="*/ 21 h 65"/>
                  <a:gd name="T16" fmla="*/ 32 w 100"/>
                  <a:gd name="T17" fmla="*/ 20 h 65"/>
                  <a:gd name="T18" fmla="*/ 30 w 100"/>
                  <a:gd name="T19" fmla="*/ 19 h 65"/>
                  <a:gd name="T20" fmla="*/ 28 w 100"/>
                  <a:gd name="T21" fmla="*/ 18 h 65"/>
                  <a:gd name="T22" fmla="*/ 27 w 100"/>
                  <a:gd name="T23" fmla="*/ 17 h 65"/>
                  <a:gd name="T24" fmla="*/ 25 w 100"/>
                  <a:gd name="T25" fmla="*/ 15 h 65"/>
                  <a:gd name="T26" fmla="*/ 21 w 100"/>
                  <a:gd name="T27" fmla="*/ 11 h 65"/>
                  <a:gd name="T28" fmla="*/ 18 w 100"/>
                  <a:gd name="T29" fmla="*/ 7 h 65"/>
                  <a:gd name="T30" fmla="*/ 17 w 100"/>
                  <a:gd name="T31" fmla="*/ 5 h 65"/>
                  <a:gd name="T32" fmla="*/ 15 w 100"/>
                  <a:gd name="T33" fmla="*/ 3 h 65"/>
                  <a:gd name="T34" fmla="*/ 13 w 100"/>
                  <a:gd name="T35" fmla="*/ 1 h 65"/>
                  <a:gd name="T36" fmla="*/ 11 w 100"/>
                  <a:gd name="T37" fmla="*/ 0 h 65"/>
                  <a:gd name="T38" fmla="*/ 9 w 100"/>
                  <a:gd name="T39" fmla="*/ 0 h 65"/>
                  <a:gd name="T40" fmla="*/ 6 w 100"/>
                  <a:gd name="T41" fmla="*/ 0 h 65"/>
                  <a:gd name="T42" fmla="*/ 3 w 100"/>
                  <a:gd name="T43" fmla="*/ 1 h 65"/>
                  <a:gd name="T44" fmla="*/ 0 w 100"/>
                  <a:gd name="T45" fmla="*/ 2 h 65"/>
                  <a:gd name="T46" fmla="*/ 2 w 100"/>
                  <a:gd name="T47" fmla="*/ 8 h 6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2" name="Freeform 158">
                <a:extLst>
                  <a:ext uri="{FF2B5EF4-FFF2-40B4-BE49-F238E27FC236}">
                    <a16:creationId xmlns:a16="http://schemas.microsoft.com/office/drawing/2014/main" id="{B4F07314-2CD7-4E4C-BC62-4A4C1C4A4E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22 w 79"/>
                  <a:gd name="T1" fmla="*/ 28 h 104"/>
                  <a:gd name="T2" fmla="*/ 17 w 79"/>
                  <a:gd name="T3" fmla="*/ 20 h 104"/>
                  <a:gd name="T4" fmla="*/ 13 w 79"/>
                  <a:gd name="T5" fmla="*/ 13 h 104"/>
                  <a:gd name="T6" fmla="*/ 9 w 79"/>
                  <a:gd name="T7" fmla="*/ 7 h 104"/>
                  <a:gd name="T8" fmla="*/ 4 w 79"/>
                  <a:gd name="T9" fmla="*/ 0 h 104"/>
                  <a:gd name="T10" fmla="*/ 2 w 79"/>
                  <a:gd name="T11" fmla="*/ 5 h 104"/>
                  <a:gd name="T12" fmla="*/ 1 w 79"/>
                  <a:gd name="T13" fmla="*/ 11 h 104"/>
                  <a:gd name="T14" fmla="*/ 0 w 79"/>
                  <a:gd name="T15" fmla="*/ 13 h 104"/>
                  <a:gd name="T16" fmla="*/ 0 w 79"/>
                  <a:gd name="T17" fmla="*/ 16 h 104"/>
                  <a:gd name="T18" fmla="*/ 0 w 79"/>
                  <a:gd name="T19" fmla="*/ 18 h 104"/>
                  <a:gd name="T20" fmla="*/ 0 w 79"/>
                  <a:gd name="T21" fmla="*/ 20 h 104"/>
                  <a:gd name="T22" fmla="*/ 0 w 79"/>
                  <a:gd name="T23" fmla="*/ 22 h 104"/>
                  <a:gd name="T24" fmla="*/ 1 w 79"/>
                  <a:gd name="T25" fmla="*/ 24 h 104"/>
                  <a:gd name="T26" fmla="*/ 2 w 79"/>
                  <a:gd name="T27" fmla="*/ 26 h 104"/>
                  <a:gd name="T28" fmla="*/ 3 w 79"/>
                  <a:gd name="T29" fmla="*/ 27 h 104"/>
                  <a:gd name="T30" fmla="*/ 4 w 79"/>
                  <a:gd name="T31" fmla="*/ 29 h 104"/>
                  <a:gd name="T32" fmla="*/ 6 w 79"/>
                  <a:gd name="T33" fmla="*/ 29 h 104"/>
                  <a:gd name="T34" fmla="*/ 8 w 79"/>
                  <a:gd name="T35" fmla="*/ 30 h 104"/>
                  <a:gd name="T36" fmla="*/ 10 w 79"/>
                  <a:gd name="T37" fmla="*/ 30 h 104"/>
                  <a:gd name="T38" fmla="*/ 13 w 79"/>
                  <a:gd name="T39" fmla="*/ 30 h 104"/>
                  <a:gd name="T40" fmla="*/ 16 w 79"/>
                  <a:gd name="T41" fmla="*/ 31 h 104"/>
                  <a:gd name="T42" fmla="*/ 20 w 79"/>
                  <a:gd name="T43" fmla="*/ 33 h 104"/>
                  <a:gd name="T44" fmla="*/ 24 w 79"/>
                  <a:gd name="T45" fmla="*/ 34 h 104"/>
                  <a:gd name="T46" fmla="*/ 22 w 79"/>
                  <a:gd name="T47" fmla="*/ 28 h 10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02" name="Freeform 159">
              <a:extLst>
                <a:ext uri="{FF2B5EF4-FFF2-40B4-BE49-F238E27FC236}">
                  <a16:creationId xmlns:a16="http://schemas.microsoft.com/office/drawing/2014/main" id="{0843DD62-FB90-4DFB-8DF2-822A5B75C9E6}"/>
                </a:ext>
              </a:extLst>
            </p:cNvPr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5740401" y="3548063"/>
              <a:ext cx="11113" cy="55562"/>
            </a:xfrm>
            <a:custGeom>
              <a:avLst/>
              <a:gdLst>
                <a:gd name="T0" fmla="*/ 11113 w 27"/>
                <a:gd name="T1" fmla="*/ 0 h 19"/>
                <a:gd name="T2" fmla="*/ 11113 w 27"/>
                <a:gd name="T3" fmla="*/ 35092 h 19"/>
                <a:gd name="T4" fmla="*/ 11113 w 27"/>
                <a:gd name="T5" fmla="*/ 55562 h 19"/>
                <a:gd name="T6" fmla="*/ 3704 w 27"/>
                <a:gd name="T7" fmla="*/ 55562 h 19"/>
                <a:gd name="T8" fmla="*/ 0 w 27"/>
                <a:gd name="T9" fmla="*/ 55562 h 19"/>
                <a:gd name="T10" fmla="*/ 3704 w 27"/>
                <a:gd name="T11" fmla="*/ 35092 h 19"/>
                <a:gd name="T12" fmla="*/ 11113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" name="Freeform 160">
              <a:extLst>
                <a:ext uri="{FF2B5EF4-FFF2-40B4-BE49-F238E27FC236}">
                  <a16:creationId xmlns:a16="http://schemas.microsoft.com/office/drawing/2014/main" id="{BC09D749-F8E5-4088-8E51-A994CBDE9A95}"/>
                </a:ext>
              </a:extLst>
            </p:cNvPr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5664200" y="3687763"/>
              <a:ext cx="14288" cy="57150"/>
            </a:xfrm>
            <a:custGeom>
              <a:avLst/>
              <a:gdLst>
                <a:gd name="T0" fmla="*/ 0 w 39"/>
                <a:gd name="T1" fmla="*/ 0 h 35"/>
                <a:gd name="T2" fmla="*/ 14288 w 39"/>
                <a:gd name="T3" fmla="*/ 0 h 35"/>
                <a:gd name="T4" fmla="*/ 13189 w 39"/>
                <a:gd name="T5" fmla="*/ 14696 h 35"/>
                <a:gd name="T6" fmla="*/ 12090 w 39"/>
                <a:gd name="T7" fmla="*/ 31024 h 35"/>
                <a:gd name="T8" fmla="*/ 9892 w 39"/>
                <a:gd name="T9" fmla="*/ 45720 h 35"/>
                <a:gd name="T10" fmla="*/ 8060 w 39"/>
                <a:gd name="T11" fmla="*/ 55517 h 35"/>
                <a:gd name="T12" fmla="*/ 6961 w 39"/>
                <a:gd name="T13" fmla="*/ 57150 h 35"/>
                <a:gd name="T14" fmla="*/ 5862 w 39"/>
                <a:gd name="T15" fmla="*/ 57150 h 35"/>
                <a:gd name="T16" fmla="*/ 4763 w 39"/>
                <a:gd name="T17" fmla="*/ 55517 h 35"/>
                <a:gd name="T18" fmla="*/ 4030 w 39"/>
                <a:gd name="T19" fmla="*/ 50619 h 35"/>
                <a:gd name="T20" fmla="*/ 2565 w 39"/>
                <a:gd name="T21" fmla="*/ 42454 h 35"/>
                <a:gd name="T22" fmla="*/ 1832 w 39"/>
                <a:gd name="T23" fmla="*/ 32657 h 35"/>
                <a:gd name="T24" fmla="*/ 733 w 39"/>
                <a:gd name="T25" fmla="*/ 17961 h 35"/>
                <a:gd name="T26" fmla="*/ 0 w 39"/>
                <a:gd name="T27" fmla="*/ 0 h 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" name="Freeform 161">
              <a:extLst>
                <a:ext uri="{FF2B5EF4-FFF2-40B4-BE49-F238E27FC236}">
                  <a16:creationId xmlns:a16="http://schemas.microsoft.com/office/drawing/2014/main" id="{5832B190-D3E5-49A0-8D63-8AD542CCD603}"/>
                </a:ext>
              </a:extLst>
            </p:cNvPr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7462838" y="2014539"/>
              <a:ext cx="728662" cy="331787"/>
            </a:xfrm>
            <a:custGeom>
              <a:avLst/>
              <a:gdLst>
                <a:gd name="T0" fmla="*/ 13813 w 1688"/>
                <a:gd name="T1" fmla="*/ 113756 h 630"/>
                <a:gd name="T2" fmla="*/ 37124 w 1688"/>
                <a:gd name="T3" fmla="*/ 131135 h 630"/>
                <a:gd name="T4" fmla="*/ 66909 w 1688"/>
                <a:gd name="T5" fmla="*/ 139035 h 630"/>
                <a:gd name="T6" fmla="*/ 82449 w 1688"/>
                <a:gd name="T7" fmla="*/ 147988 h 630"/>
                <a:gd name="T8" fmla="*/ 102738 w 1688"/>
                <a:gd name="T9" fmla="*/ 174320 h 630"/>
                <a:gd name="T10" fmla="*/ 109213 w 1688"/>
                <a:gd name="T11" fmla="*/ 183799 h 630"/>
                <a:gd name="T12" fmla="*/ 109645 w 1688"/>
                <a:gd name="T13" fmla="*/ 203285 h 630"/>
                <a:gd name="T14" fmla="*/ 117846 w 1688"/>
                <a:gd name="T15" fmla="*/ 214872 h 630"/>
                <a:gd name="T16" fmla="*/ 147200 w 1688"/>
                <a:gd name="T17" fmla="*/ 219085 h 630"/>
                <a:gd name="T18" fmla="*/ 199864 w 1688"/>
                <a:gd name="T19" fmla="*/ 238044 h 630"/>
                <a:gd name="T20" fmla="*/ 235693 w 1688"/>
                <a:gd name="T21" fmla="*/ 246997 h 630"/>
                <a:gd name="T22" fmla="*/ 248211 w 1688"/>
                <a:gd name="T23" fmla="*/ 268589 h 630"/>
                <a:gd name="T24" fmla="*/ 268500 w 1688"/>
                <a:gd name="T25" fmla="*/ 285442 h 630"/>
                <a:gd name="T26" fmla="*/ 289220 w 1688"/>
                <a:gd name="T27" fmla="*/ 292289 h 630"/>
                <a:gd name="T28" fmla="*/ 395843 w 1688"/>
                <a:gd name="T29" fmla="*/ 303348 h 630"/>
                <a:gd name="T30" fmla="*/ 447644 w 1688"/>
                <a:gd name="T31" fmla="*/ 323361 h 630"/>
                <a:gd name="T32" fmla="*/ 482177 w 1688"/>
                <a:gd name="T33" fmla="*/ 331787 h 630"/>
                <a:gd name="T34" fmla="*/ 499444 w 1688"/>
                <a:gd name="T35" fmla="*/ 322834 h 630"/>
                <a:gd name="T36" fmla="*/ 580167 w 1688"/>
                <a:gd name="T37" fmla="*/ 297028 h 630"/>
                <a:gd name="T38" fmla="*/ 602182 w 1688"/>
                <a:gd name="T39" fmla="*/ 268589 h 630"/>
                <a:gd name="T40" fmla="*/ 605636 w 1688"/>
                <a:gd name="T41" fmla="*/ 254370 h 630"/>
                <a:gd name="T42" fmla="*/ 598297 w 1688"/>
                <a:gd name="T43" fmla="*/ 239624 h 630"/>
                <a:gd name="T44" fmla="*/ 591390 w 1688"/>
                <a:gd name="T45" fmla="*/ 218558 h 630"/>
                <a:gd name="T46" fmla="*/ 647076 w 1688"/>
                <a:gd name="T47" fmla="*/ 207499 h 630"/>
                <a:gd name="T48" fmla="*/ 688085 w 1688"/>
                <a:gd name="T49" fmla="*/ 180640 h 630"/>
                <a:gd name="T50" fmla="*/ 712690 w 1688"/>
                <a:gd name="T51" fmla="*/ 171160 h 630"/>
                <a:gd name="T52" fmla="*/ 728662 w 1688"/>
                <a:gd name="T53" fmla="*/ 156414 h 630"/>
                <a:gd name="T54" fmla="*/ 714849 w 1688"/>
                <a:gd name="T55" fmla="*/ 146934 h 630"/>
                <a:gd name="T56" fmla="*/ 698877 w 1688"/>
                <a:gd name="T57" fmla="*/ 132715 h 630"/>
                <a:gd name="T58" fmla="*/ 683336 w 1688"/>
                <a:gd name="T59" fmla="*/ 130608 h 630"/>
                <a:gd name="T60" fmla="*/ 670386 w 1688"/>
                <a:gd name="T61" fmla="*/ 135875 h 630"/>
                <a:gd name="T62" fmla="*/ 646213 w 1688"/>
                <a:gd name="T63" fmla="*/ 134821 h 630"/>
                <a:gd name="T64" fmla="*/ 628946 w 1688"/>
                <a:gd name="T65" fmla="*/ 123762 h 630"/>
                <a:gd name="T66" fmla="*/ 619017 w 1688"/>
                <a:gd name="T67" fmla="*/ 98483 h 630"/>
                <a:gd name="T68" fmla="*/ 590095 w 1688"/>
                <a:gd name="T69" fmla="*/ 65304 h 630"/>
                <a:gd name="T70" fmla="*/ 555130 w 1688"/>
                <a:gd name="T71" fmla="*/ 63198 h 630"/>
                <a:gd name="T72" fmla="*/ 543906 w 1688"/>
                <a:gd name="T73" fmla="*/ 77417 h 630"/>
                <a:gd name="T74" fmla="*/ 533546 w 1688"/>
                <a:gd name="T75" fmla="*/ 86897 h 630"/>
                <a:gd name="T76" fmla="*/ 504193 w 1688"/>
                <a:gd name="T77" fmla="*/ 87950 h 630"/>
                <a:gd name="T78" fmla="*/ 450665 w 1688"/>
                <a:gd name="T79" fmla="*/ 87950 h 630"/>
                <a:gd name="T80" fmla="*/ 425628 w 1688"/>
                <a:gd name="T81" fmla="*/ 73730 h 630"/>
                <a:gd name="T82" fmla="*/ 398001 w 1688"/>
                <a:gd name="T83" fmla="*/ 56878 h 630"/>
                <a:gd name="T84" fmla="*/ 367784 w 1688"/>
                <a:gd name="T85" fmla="*/ 52665 h 630"/>
                <a:gd name="T86" fmla="*/ 345769 w 1688"/>
                <a:gd name="T87" fmla="*/ 60038 h 630"/>
                <a:gd name="T88" fmla="*/ 319437 w 1688"/>
                <a:gd name="T89" fmla="*/ 61091 h 630"/>
                <a:gd name="T90" fmla="*/ 298717 w 1688"/>
                <a:gd name="T91" fmla="*/ 53191 h 630"/>
                <a:gd name="T92" fmla="*/ 285767 w 1688"/>
                <a:gd name="T93" fmla="*/ 35812 h 630"/>
                <a:gd name="T94" fmla="*/ 192526 w 1688"/>
                <a:gd name="T95" fmla="*/ 3687 h 630"/>
                <a:gd name="T96" fmla="*/ 192526 w 1688"/>
                <a:gd name="T97" fmla="*/ 23172 h 630"/>
                <a:gd name="T98" fmla="*/ 203317 w 1688"/>
                <a:gd name="T99" fmla="*/ 41605 h 630"/>
                <a:gd name="T100" fmla="*/ 211519 w 1688"/>
                <a:gd name="T101" fmla="*/ 55824 h 630"/>
                <a:gd name="T102" fmla="*/ 132523 w 1688"/>
                <a:gd name="T103" fmla="*/ 64251 h 630"/>
                <a:gd name="T104" fmla="*/ 126912 w 1688"/>
                <a:gd name="T105" fmla="*/ 45818 h 630"/>
                <a:gd name="T106" fmla="*/ 97126 w 1688"/>
                <a:gd name="T107" fmla="*/ 51085 h 630"/>
                <a:gd name="T108" fmla="*/ 79859 w 1688"/>
                <a:gd name="T109" fmla="*/ 46345 h 630"/>
                <a:gd name="T110" fmla="*/ 59571 w 1688"/>
                <a:gd name="T111" fmla="*/ 51085 h 630"/>
                <a:gd name="T112" fmla="*/ 29354 w 1688"/>
                <a:gd name="T113" fmla="*/ 75310 h 630"/>
                <a:gd name="T114" fmla="*/ 13382 w 1688"/>
                <a:gd name="T115" fmla="*/ 79524 h 630"/>
                <a:gd name="T116" fmla="*/ 1727 w 1688"/>
                <a:gd name="T117" fmla="*/ 89003 h 6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5" name="Freeform 162">
              <a:extLst>
                <a:ext uri="{FF2B5EF4-FFF2-40B4-BE49-F238E27FC236}">
                  <a16:creationId xmlns:a16="http://schemas.microsoft.com/office/drawing/2014/main" id="{0A6F4F5A-34AE-4054-9494-78785DA72A18}"/>
                </a:ext>
              </a:extLst>
            </p:cNvPr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3789363" y="3981451"/>
              <a:ext cx="328612" cy="415925"/>
            </a:xfrm>
            <a:custGeom>
              <a:avLst/>
              <a:gdLst>
                <a:gd name="T0" fmla="*/ 11272 w 758"/>
                <a:gd name="T1" fmla="*/ 41854 h 795"/>
                <a:gd name="T2" fmla="*/ 21243 w 758"/>
                <a:gd name="T3" fmla="*/ 46039 h 795"/>
                <a:gd name="T4" fmla="*/ 31214 w 758"/>
                <a:gd name="T5" fmla="*/ 56503 h 795"/>
                <a:gd name="T6" fmla="*/ 38150 w 758"/>
                <a:gd name="T7" fmla="*/ 70106 h 795"/>
                <a:gd name="T8" fmla="*/ 40318 w 758"/>
                <a:gd name="T9" fmla="*/ 88417 h 795"/>
                <a:gd name="T10" fmla="*/ 36416 w 758"/>
                <a:gd name="T11" fmla="*/ 97311 h 795"/>
                <a:gd name="T12" fmla="*/ 35116 w 758"/>
                <a:gd name="T13" fmla="*/ 107251 h 795"/>
                <a:gd name="T14" fmla="*/ 38150 w 758"/>
                <a:gd name="T15" fmla="*/ 125562 h 795"/>
                <a:gd name="T16" fmla="*/ 41185 w 758"/>
                <a:gd name="T17" fmla="*/ 145443 h 795"/>
                <a:gd name="T18" fmla="*/ 35983 w 758"/>
                <a:gd name="T19" fmla="*/ 161138 h 795"/>
                <a:gd name="T20" fmla="*/ 35116 w 758"/>
                <a:gd name="T21" fmla="*/ 184158 h 795"/>
                <a:gd name="T22" fmla="*/ 40318 w 758"/>
                <a:gd name="T23" fmla="*/ 204039 h 795"/>
                <a:gd name="T24" fmla="*/ 42919 w 758"/>
                <a:gd name="T25" fmla="*/ 217118 h 795"/>
                <a:gd name="T26" fmla="*/ 33815 w 758"/>
                <a:gd name="T27" fmla="*/ 239091 h 795"/>
                <a:gd name="T28" fmla="*/ 48988 w 758"/>
                <a:gd name="T29" fmla="*/ 276760 h 795"/>
                <a:gd name="T30" fmla="*/ 59826 w 758"/>
                <a:gd name="T31" fmla="*/ 301873 h 795"/>
                <a:gd name="T32" fmla="*/ 63295 w 758"/>
                <a:gd name="T33" fmla="*/ 325416 h 795"/>
                <a:gd name="T34" fmla="*/ 65896 w 758"/>
                <a:gd name="T35" fmla="*/ 344773 h 795"/>
                <a:gd name="T36" fmla="*/ 81069 w 758"/>
                <a:gd name="T37" fmla="*/ 386104 h 795"/>
                <a:gd name="T38" fmla="*/ 92774 w 758"/>
                <a:gd name="T39" fmla="*/ 409124 h 795"/>
                <a:gd name="T40" fmla="*/ 99711 w 758"/>
                <a:gd name="T41" fmla="*/ 415402 h 795"/>
                <a:gd name="T42" fmla="*/ 108815 w 758"/>
                <a:gd name="T43" fmla="*/ 413309 h 795"/>
                <a:gd name="T44" fmla="*/ 125289 w 758"/>
                <a:gd name="T45" fmla="*/ 398137 h 795"/>
                <a:gd name="T46" fmla="*/ 140462 w 758"/>
                <a:gd name="T47" fmla="*/ 390289 h 795"/>
                <a:gd name="T48" fmla="*/ 153901 w 758"/>
                <a:gd name="T49" fmla="*/ 391336 h 795"/>
                <a:gd name="T50" fmla="*/ 168208 w 758"/>
                <a:gd name="T51" fmla="*/ 402846 h 795"/>
                <a:gd name="T52" fmla="*/ 181213 w 758"/>
                <a:gd name="T53" fmla="*/ 408077 h 795"/>
                <a:gd name="T54" fmla="*/ 189450 w 758"/>
                <a:gd name="T55" fmla="*/ 396567 h 795"/>
                <a:gd name="T56" fmla="*/ 207225 w 758"/>
                <a:gd name="T57" fmla="*/ 389766 h 795"/>
                <a:gd name="T58" fmla="*/ 227601 w 758"/>
                <a:gd name="T59" fmla="*/ 325416 h 795"/>
                <a:gd name="T60" fmla="*/ 233670 w 758"/>
                <a:gd name="T61" fmla="*/ 313906 h 795"/>
                <a:gd name="T62" fmla="*/ 249277 w 758"/>
                <a:gd name="T63" fmla="*/ 305535 h 795"/>
                <a:gd name="T64" fmla="*/ 288294 w 758"/>
                <a:gd name="T65" fmla="*/ 299780 h 795"/>
                <a:gd name="T66" fmla="*/ 297832 w 758"/>
                <a:gd name="T67" fmla="*/ 302919 h 795"/>
                <a:gd name="T68" fmla="*/ 305202 w 758"/>
                <a:gd name="T69" fmla="*/ 306058 h 795"/>
                <a:gd name="T70" fmla="*/ 322543 w 758"/>
                <a:gd name="T71" fmla="*/ 299780 h 795"/>
                <a:gd name="T72" fmla="*/ 328178 w 758"/>
                <a:gd name="T73" fmla="*/ 283038 h 795"/>
                <a:gd name="T74" fmla="*/ 326011 w 758"/>
                <a:gd name="T75" fmla="*/ 261065 h 795"/>
                <a:gd name="T76" fmla="*/ 314739 w 758"/>
                <a:gd name="T77" fmla="*/ 241707 h 795"/>
                <a:gd name="T78" fmla="*/ 307803 w 758"/>
                <a:gd name="T79" fmla="*/ 227582 h 795"/>
                <a:gd name="T80" fmla="*/ 290895 w 758"/>
                <a:gd name="T81" fmla="*/ 209794 h 795"/>
                <a:gd name="T82" fmla="*/ 274421 w 758"/>
                <a:gd name="T83" fmla="*/ 208747 h 795"/>
                <a:gd name="T84" fmla="*/ 262283 w 758"/>
                <a:gd name="T85" fmla="*/ 197761 h 795"/>
                <a:gd name="T86" fmla="*/ 255780 w 758"/>
                <a:gd name="T87" fmla="*/ 182588 h 795"/>
                <a:gd name="T88" fmla="*/ 253612 w 758"/>
                <a:gd name="T89" fmla="*/ 162708 h 795"/>
                <a:gd name="T90" fmla="*/ 252745 w 758"/>
                <a:gd name="T91" fmla="*/ 140734 h 795"/>
                <a:gd name="T92" fmla="*/ 242774 w 758"/>
                <a:gd name="T93" fmla="*/ 126609 h 795"/>
                <a:gd name="T94" fmla="*/ 218063 w 758"/>
                <a:gd name="T95" fmla="*/ 107251 h 795"/>
                <a:gd name="T96" fmla="*/ 190751 w 758"/>
                <a:gd name="T97" fmla="*/ 93125 h 795"/>
                <a:gd name="T98" fmla="*/ 169942 w 758"/>
                <a:gd name="T99" fmla="*/ 87370 h 795"/>
                <a:gd name="T100" fmla="*/ 155635 w 758"/>
                <a:gd name="T101" fmla="*/ 84231 h 795"/>
                <a:gd name="T102" fmla="*/ 143063 w 758"/>
                <a:gd name="T103" fmla="*/ 75861 h 795"/>
                <a:gd name="T104" fmla="*/ 133092 w 758"/>
                <a:gd name="T105" fmla="*/ 63827 h 795"/>
                <a:gd name="T106" fmla="*/ 126589 w 758"/>
                <a:gd name="T107" fmla="*/ 48132 h 795"/>
                <a:gd name="T108" fmla="*/ 120953 w 758"/>
                <a:gd name="T109" fmla="*/ 9940 h 795"/>
                <a:gd name="T110" fmla="*/ 113150 w 758"/>
                <a:gd name="T111" fmla="*/ 1570 h 795"/>
                <a:gd name="T112" fmla="*/ 98410 w 758"/>
                <a:gd name="T113" fmla="*/ 1570 h 795"/>
                <a:gd name="T114" fmla="*/ 75000 w 758"/>
                <a:gd name="T115" fmla="*/ 15695 h 795"/>
                <a:gd name="T116" fmla="*/ 51589 w 758"/>
                <a:gd name="T117" fmla="*/ 34530 h 795"/>
                <a:gd name="T118" fmla="*/ 0 w 758"/>
                <a:gd name="T119" fmla="*/ 41854 h 7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6" name="Freeform 163">
              <a:extLst>
                <a:ext uri="{FF2B5EF4-FFF2-40B4-BE49-F238E27FC236}">
                  <a16:creationId xmlns:a16="http://schemas.microsoft.com/office/drawing/2014/main" id="{04A15A98-DD73-4BD5-9C9C-7617ADE11A20}"/>
                </a:ext>
              </a:extLst>
            </p:cNvPr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4003676" y="3411538"/>
              <a:ext cx="119063" cy="215900"/>
            </a:xfrm>
            <a:custGeom>
              <a:avLst/>
              <a:gdLst>
                <a:gd name="T0" fmla="*/ 98129 w 273"/>
                <a:gd name="T1" fmla="*/ 73010 h 414"/>
                <a:gd name="T2" fmla="*/ 92895 w 273"/>
                <a:gd name="T3" fmla="*/ 69359 h 414"/>
                <a:gd name="T4" fmla="*/ 87662 w 273"/>
                <a:gd name="T5" fmla="*/ 63101 h 414"/>
                <a:gd name="T6" fmla="*/ 82864 w 273"/>
                <a:gd name="T7" fmla="*/ 54757 h 414"/>
                <a:gd name="T8" fmla="*/ 79811 w 273"/>
                <a:gd name="T9" fmla="*/ 50064 h 414"/>
                <a:gd name="T10" fmla="*/ 76759 w 273"/>
                <a:gd name="T11" fmla="*/ 48499 h 414"/>
                <a:gd name="T12" fmla="*/ 72833 w 273"/>
                <a:gd name="T13" fmla="*/ 49021 h 414"/>
                <a:gd name="T14" fmla="*/ 70217 w 273"/>
                <a:gd name="T15" fmla="*/ 52671 h 414"/>
                <a:gd name="T16" fmla="*/ 66728 w 273"/>
                <a:gd name="T17" fmla="*/ 44849 h 414"/>
                <a:gd name="T18" fmla="*/ 61930 w 273"/>
                <a:gd name="T19" fmla="*/ 28161 h 414"/>
                <a:gd name="T20" fmla="*/ 57569 w 273"/>
                <a:gd name="T21" fmla="*/ 18774 h 414"/>
                <a:gd name="T22" fmla="*/ 53644 w 273"/>
                <a:gd name="T23" fmla="*/ 13037 h 414"/>
                <a:gd name="T24" fmla="*/ 48410 w 273"/>
                <a:gd name="T25" fmla="*/ 7301 h 414"/>
                <a:gd name="T26" fmla="*/ 41868 w 273"/>
                <a:gd name="T27" fmla="*/ 2607 h 414"/>
                <a:gd name="T28" fmla="*/ 34890 w 273"/>
                <a:gd name="T29" fmla="*/ 3650 h 414"/>
                <a:gd name="T30" fmla="*/ 30093 w 273"/>
                <a:gd name="T31" fmla="*/ 9908 h 414"/>
                <a:gd name="T32" fmla="*/ 27476 w 273"/>
                <a:gd name="T33" fmla="*/ 13037 h 414"/>
                <a:gd name="T34" fmla="*/ 24859 w 273"/>
                <a:gd name="T35" fmla="*/ 16688 h 414"/>
                <a:gd name="T36" fmla="*/ 24423 w 273"/>
                <a:gd name="T37" fmla="*/ 21903 h 414"/>
                <a:gd name="T38" fmla="*/ 25295 w 273"/>
                <a:gd name="T39" fmla="*/ 30768 h 414"/>
                <a:gd name="T40" fmla="*/ 22679 w 273"/>
                <a:gd name="T41" fmla="*/ 40677 h 414"/>
                <a:gd name="T42" fmla="*/ 14392 w 273"/>
                <a:gd name="T43" fmla="*/ 46935 h 414"/>
                <a:gd name="T44" fmla="*/ 7414 w 273"/>
                <a:gd name="T45" fmla="*/ 54236 h 414"/>
                <a:gd name="T46" fmla="*/ 1745 w 273"/>
                <a:gd name="T47" fmla="*/ 61537 h 414"/>
                <a:gd name="T48" fmla="*/ 17445 w 273"/>
                <a:gd name="T49" fmla="*/ 103257 h 414"/>
                <a:gd name="T50" fmla="*/ 31837 w 273"/>
                <a:gd name="T51" fmla="*/ 106907 h 414"/>
                <a:gd name="T52" fmla="*/ 36635 w 273"/>
                <a:gd name="T53" fmla="*/ 109514 h 414"/>
                <a:gd name="T54" fmla="*/ 40560 w 273"/>
                <a:gd name="T55" fmla="*/ 113686 h 414"/>
                <a:gd name="T56" fmla="*/ 43177 w 273"/>
                <a:gd name="T57" fmla="*/ 117858 h 414"/>
                <a:gd name="T58" fmla="*/ 44921 w 273"/>
                <a:gd name="T59" fmla="*/ 123595 h 414"/>
                <a:gd name="T60" fmla="*/ 46230 w 273"/>
                <a:gd name="T61" fmla="*/ 138197 h 414"/>
                <a:gd name="T62" fmla="*/ 44921 w 273"/>
                <a:gd name="T63" fmla="*/ 145498 h 414"/>
                <a:gd name="T64" fmla="*/ 41868 w 273"/>
                <a:gd name="T65" fmla="*/ 152799 h 414"/>
                <a:gd name="T66" fmla="*/ 38815 w 273"/>
                <a:gd name="T67" fmla="*/ 160100 h 414"/>
                <a:gd name="T68" fmla="*/ 37507 w 273"/>
                <a:gd name="T69" fmla="*/ 167401 h 414"/>
                <a:gd name="T70" fmla="*/ 39688 w 273"/>
                <a:gd name="T71" fmla="*/ 178874 h 414"/>
                <a:gd name="T72" fmla="*/ 46666 w 273"/>
                <a:gd name="T73" fmla="*/ 195040 h 414"/>
                <a:gd name="T74" fmla="*/ 51027 w 273"/>
                <a:gd name="T75" fmla="*/ 202863 h 414"/>
                <a:gd name="T76" fmla="*/ 56261 w 273"/>
                <a:gd name="T77" fmla="*/ 209121 h 414"/>
                <a:gd name="T78" fmla="*/ 61494 w 273"/>
                <a:gd name="T79" fmla="*/ 214336 h 414"/>
                <a:gd name="T80" fmla="*/ 66728 w 273"/>
                <a:gd name="T81" fmla="*/ 215900 h 414"/>
                <a:gd name="T82" fmla="*/ 93768 w 273"/>
                <a:gd name="T83" fmla="*/ 207556 h 414"/>
                <a:gd name="T84" fmla="*/ 111213 w 273"/>
                <a:gd name="T85" fmla="*/ 200777 h 414"/>
                <a:gd name="T86" fmla="*/ 116446 w 273"/>
                <a:gd name="T87" fmla="*/ 196605 h 414"/>
                <a:gd name="T88" fmla="*/ 119063 w 273"/>
                <a:gd name="T89" fmla="*/ 192954 h 414"/>
                <a:gd name="T90" fmla="*/ 117318 w 273"/>
                <a:gd name="T91" fmla="*/ 183567 h 414"/>
                <a:gd name="T92" fmla="*/ 114702 w 273"/>
                <a:gd name="T93" fmla="*/ 174702 h 414"/>
                <a:gd name="T94" fmla="*/ 105543 w 273"/>
                <a:gd name="T95" fmla="*/ 161143 h 414"/>
                <a:gd name="T96" fmla="*/ 96820 w 273"/>
                <a:gd name="T97" fmla="*/ 147062 h 414"/>
                <a:gd name="T98" fmla="*/ 93768 w 273"/>
                <a:gd name="T99" fmla="*/ 138718 h 414"/>
                <a:gd name="T100" fmla="*/ 92459 w 273"/>
                <a:gd name="T101" fmla="*/ 128810 h 414"/>
                <a:gd name="T102" fmla="*/ 93768 w 273"/>
                <a:gd name="T103" fmla="*/ 112122 h 414"/>
                <a:gd name="T104" fmla="*/ 96820 w 273"/>
                <a:gd name="T105" fmla="*/ 99085 h 414"/>
                <a:gd name="T106" fmla="*/ 100309 w 273"/>
                <a:gd name="T107" fmla="*/ 87090 h 414"/>
                <a:gd name="T108" fmla="*/ 101182 w 273"/>
                <a:gd name="T109" fmla="*/ 74053 h 41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107" name="Group 164">
              <a:extLst>
                <a:ext uri="{FF2B5EF4-FFF2-40B4-BE49-F238E27FC236}">
                  <a16:creationId xmlns:a16="http://schemas.microsoft.com/office/drawing/2014/main" id="{36B720B0-F162-44B0-9288-9C2E1B4F933D}"/>
                </a:ext>
              </a:extLst>
            </p:cNvPr>
            <p:cNvGrpSpPr>
              <a:grpSpLocks/>
            </p:cNvGrpSpPr>
            <p:nvPr>
              <p:custDataLst>
                <p:tags r:id="rId95"/>
              </p:custDataLst>
            </p:nvPr>
          </p:nvGrpSpPr>
          <p:grpSpPr bwMode="auto">
            <a:xfrm>
              <a:off x="3717925" y="3246439"/>
              <a:ext cx="323850" cy="401637"/>
              <a:chOff x="1486" y="2412"/>
              <a:chExt cx="244" cy="256"/>
            </a:xfrm>
          </p:grpSpPr>
          <p:sp>
            <p:nvSpPr>
              <p:cNvPr id="490" name="Freeform 165">
                <a:extLst>
                  <a:ext uri="{FF2B5EF4-FFF2-40B4-BE49-F238E27FC236}">
                    <a16:creationId xmlns:a16="http://schemas.microsoft.com/office/drawing/2014/main" id="{8C1A8995-3A76-40E3-AA04-54010035A7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6 h 22"/>
                  <a:gd name="T4" fmla="*/ 2 w 54"/>
                  <a:gd name="T5" fmla="*/ 6 h 22"/>
                  <a:gd name="T6" fmla="*/ 3 w 54"/>
                  <a:gd name="T7" fmla="*/ 7 h 22"/>
                  <a:gd name="T8" fmla="*/ 5 w 54"/>
                  <a:gd name="T9" fmla="*/ 7 h 22"/>
                  <a:gd name="T10" fmla="*/ 7 w 54"/>
                  <a:gd name="T11" fmla="*/ 7 h 22"/>
                  <a:gd name="T12" fmla="*/ 8 w 54"/>
                  <a:gd name="T13" fmla="*/ 7 h 22"/>
                  <a:gd name="T14" fmla="*/ 9 w 54"/>
                  <a:gd name="T15" fmla="*/ 7 h 22"/>
                  <a:gd name="T16" fmla="*/ 10 w 54"/>
                  <a:gd name="T17" fmla="*/ 6 h 22"/>
                  <a:gd name="T18" fmla="*/ 11 w 54"/>
                  <a:gd name="T19" fmla="*/ 6 h 22"/>
                  <a:gd name="T20" fmla="*/ 12 w 54"/>
                  <a:gd name="T21" fmla="*/ 5 h 22"/>
                  <a:gd name="T22" fmla="*/ 14 w 54"/>
                  <a:gd name="T23" fmla="*/ 4 h 22"/>
                  <a:gd name="T24" fmla="*/ 16 w 54"/>
                  <a:gd name="T25" fmla="*/ 3 h 22"/>
                  <a:gd name="T26" fmla="*/ 18 w 54"/>
                  <a:gd name="T27" fmla="*/ 2 h 22"/>
                  <a:gd name="T28" fmla="*/ 12 w 54"/>
                  <a:gd name="T29" fmla="*/ 2 h 22"/>
                  <a:gd name="T30" fmla="*/ 7 w 54"/>
                  <a:gd name="T31" fmla="*/ 1 h 22"/>
                  <a:gd name="T32" fmla="*/ 2 w 54"/>
                  <a:gd name="T33" fmla="*/ 0 h 22"/>
                  <a:gd name="T34" fmla="*/ 0 w 54"/>
                  <a:gd name="T35" fmla="*/ 0 h 2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1" name="Freeform 166">
                <a:extLst>
                  <a:ext uri="{FF2B5EF4-FFF2-40B4-BE49-F238E27FC236}">
                    <a16:creationId xmlns:a16="http://schemas.microsoft.com/office/drawing/2014/main" id="{16442062-BB1C-4132-9497-E842E84720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2 w 6"/>
                  <a:gd name="T1" fmla="*/ 8 h 24"/>
                  <a:gd name="T2" fmla="*/ 2 w 6"/>
                  <a:gd name="T3" fmla="*/ 0 h 24"/>
                  <a:gd name="T4" fmla="*/ 1 w 6"/>
                  <a:gd name="T5" fmla="*/ 0 h 24"/>
                  <a:gd name="T6" fmla="*/ 0 w 6"/>
                  <a:gd name="T7" fmla="*/ 1 h 24"/>
                  <a:gd name="T8" fmla="*/ 0 w 6"/>
                  <a:gd name="T9" fmla="*/ 2 h 24"/>
                  <a:gd name="T10" fmla="*/ 0 w 6"/>
                  <a:gd name="T11" fmla="*/ 4 h 24"/>
                  <a:gd name="T12" fmla="*/ 0 w 6"/>
                  <a:gd name="T13" fmla="*/ 5 h 24"/>
                  <a:gd name="T14" fmla="*/ 0 w 6"/>
                  <a:gd name="T15" fmla="*/ 7 h 24"/>
                  <a:gd name="T16" fmla="*/ 1 w 6"/>
                  <a:gd name="T17" fmla="*/ 8 h 24"/>
                  <a:gd name="T18" fmla="*/ 2 w 6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2" name="Freeform 167">
                <a:extLst>
                  <a:ext uri="{FF2B5EF4-FFF2-40B4-BE49-F238E27FC236}">
                    <a16:creationId xmlns:a16="http://schemas.microsoft.com/office/drawing/2014/main" id="{18CA9B7A-1CEF-48CF-A6AA-CB68D3B37B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4 h 12"/>
                  <a:gd name="T2" fmla="*/ 8 w 27"/>
                  <a:gd name="T3" fmla="*/ 4 h 12"/>
                  <a:gd name="T4" fmla="*/ 4 w 27"/>
                  <a:gd name="T5" fmla="*/ 0 h 12"/>
                  <a:gd name="T6" fmla="*/ 0 w 27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3" name="Freeform 168">
                <a:extLst>
                  <a:ext uri="{FF2B5EF4-FFF2-40B4-BE49-F238E27FC236}">
                    <a16:creationId xmlns:a16="http://schemas.microsoft.com/office/drawing/2014/main" id="{09948BD8-C91C-47D2-88E9-55ECC5C407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3 w 743"/>
                  <a:gd name="T1" fmla="*/ 69 h 672"/>
                  <a:gd name="T2" fmla="*/ 16 w 743"/>
                  <a:gd name="T3" fmla="*/ 89 h 672"/>
                  <a:gd name="T4" fmla="*/ 40 w 743"/>
                  <a:gd name="T5" fmla="*/ 98 h 672"/>
                  <a:gd name="T6" fmla="*/ 55 w 743"/>
                  <a:gd name="T7" fmla="*/ 105 h 672"/>
                  <a:gd name="T8" fmla="*/ 65 w 743"/>
                  <a:gd name="T9" fmla="*/ 115 h 672"/>
                  <a:gd name="T10" fmla="*/ 97 w 743"/>
                  <a:gd name="T11" fmla="*/ 126 h 672"/>
                  <a:gd name="T12" fmla="*/ 94 w 743"/>
                  <a:gd name="T13" fmla="*/ 140 h 672"/>
                  <a:gd name="T14" fmla="*/ 102 w 743"/>
                  <a:gd name="T15" fmla="*/ 171 h 672"/>
                  <a:gd name="T16" fmla="*/ 100 w 743"/>
                  <a:gd name="T17" fmla="*/ 178 h 672"/>
                  <a:gd name="T18" fmla="*/ 99 w 743"/>
                  <a:gd name="T19" fmla="*/ 189 h 672"/>
                  <a:gd name="T20" fmla="*/ 108 w 743"/>
                  <a:gd name="T21" fmla="*/ 206 h 672"/>
                  <a:gd name="T22" fmla="*/ 122 w 743"/>
                  <a:gd name="T23" fmla="*/ 220 h 672"/>
                  <a:gd name="T24" fmla="*/ 136 w 743"/>
                  <a:gd name="T25" fmla="*/ 224 h 672"/>
                  <a:gd name="T26" fmla="*/ 153 w 743"/>
                  <a:gd name="T27" fmla="*/ 218 h 672"/>
                  <a:gd name="T28" fmla="*/ 166 w 743"/>
                  <a:gd name="T29" fmla="*/ 206 h 672"/>
                  <a:gd name="T30" fmla="*/ 172 w 743"/>
                  <a:gd name="T31" fmla="*/ 195 h 672"/>
                  <a:gd name="T32" fmla="*/ 157 w 743"/>
                  <a:gd name="T33" fmla="*/ 156 h 672"/>
                  <a:gd name="T34" fmla="*/ 189 w 743"/>
                  <a:gd name="T35" fmla="*/ 167 h 672"/>
                  <a:gd name="T36" fmla="*/ 197 w 743"/>
                  <a:gd name="T37" fmla="*/ 159 h 672"/>
                  <a:gd name="T38" fmla="*/ 214 w 743"/>
                  <a:gd name="T39" fmla="*/ 148 h 672"/>
                  <a:gd name="T40" fmla="*/ 220 w 743"/>
                  <a:gd name="T41" fmla="*/ 147 h 672"/>
                  <a:gd name="T42" fmla="*/ 225 w 743"/>
                  <a:gd name="T43" fmla="*/ 145 h 672"/>
                  <a:gd name="T44" fmla="*/ 219 w 743"/>
                  <a:gd name="T45" fmla="*/ 109 h 672"/>
                  <a:gd name="T46" fmla="*/ 233 w 743"/>
                  <a:gd name="T47" fmla="*/ 98 h 672"/>
                  <a:gd name="T48" fmla="*/ 234 w 743"/>
                  <a:gd name="T49" fmla="*/ 84 h 672"/>
                  <a:gd name="T50" fmla="*/ 238 w 743"/>
                  <a:gd name="T51" fmla="*/ 78 h 672"/>
                  <a:gd name="T52" fmla="*/ 239 w 743"/>
                  <a:gd name="T53" fmla="*/ 71 h 672"/>
                  <a:gd name="T54" fmla="*/ 230 w 743"/>
                  <a:gd name="T55" fmla="*/ 65 h 672"/>
                  <a:gd name="T56" fmla="*/ 225 w 743"/>
                  <a:gd name="T57" fmla="*/ 56 h 672"/>
                  <a:gd name="T58" fmla="*/ 220 w 743"/>
                  <a:gd name="T59" fmla="*/ 48 h 672"/>
                  <a:gd name="T60" fmla="*/ 210 w 743"/>
                  <a:gd name="T61" fmla="*/ 51 h 672"/>
                  <a:gd name="T62" fmla="*/ 207 w 743"/>
                  <a:gd name="T63" fmla="*/ 45 h 672"/>
                  <a:gd name="T64" fmla="*/ 198 w 743"/>
                  <a:gd name="T65" fmla="*/ 38 h 672"/>
                  <a:gd name="T66" fmla="*/ 192 w 743"/>
                  <a:gd name="T67" fmla="*/ 32 h 672"/>
                  <a:gd name="T68" fmla="*/ 176 w 743"/>
                  <a:gd name="T69" fmla="*/ 25 h 672"/>
                  <a:gd name="T70" fmla="*/ 161 w 743"/>
                  <a:gd name="T71" fmla="*/ 29 h 672"/>
                  <a:gd name="T72" fmla="*/ 155 w 743"/>
                  <a:gd name="T73" fmla="*/ 34 h 672"/>
                  <a:gd name="T74" fmla="*/ 143 w 743"/>
                  <a:gd name="T75" fmla="*/ 39 h 672"/>
                  <a:gd name="T76" fmla="*/ 137 w 743"/>
                  <a:gd name="T77" fmla="*/ 35 h 672"/>
                  <a:gd name="T78" fmla="*/ 129 w 743"/>
                  <a:gd name="T79" fmla="*/ 34 h 672"/>
                  <a:gd name="T80" fmla="*/ 118 w 743"/>
                  <a:gd name="T81" fmla="*/ 28 h 672"/>
                  <a:gd name="T82" fmla="*/ 104 w 743"/>
                  <a:gd name="T83" fmla="*/ 28 h 672"/>
                  <a:gd name="T84" fmla="*/ 96 w 743"/>
                  <a:gd name="T85" fmla="*/ 31 h 672"/>
                  <a:gd name="T86" fmla="*/ 83 w 743"/>
                  <a:gd name="T87" fmla="*/ 31 h 672"/>
                  <a:gd name="T88" fmla="*/ 77 w 743"/>
                  <a:gd name="T89" fmla="*/ 17 h 672"/>
                  <a:gd name="T90" fmla="*/ 59 w 743"/>
                  <a:gd name="T91" fmla="*/ 7 h 672"/>
                  <a:gd name="T92" fmla="*/ 49 w 743"/>
                  <a:gd name="T93" fmla="*/ 3 h 672"/>
                  <a:gd name="T94" fmla="*/ 45 w 743"/>
                  <a:gd name="T95" fmla="*/ 15 h 672"/>
                  <a:gd name="T96" fmla="*/ 39 w 743"/>
                  <a:gd name="T97" fmla="*/ 23 h 672"/>
                  <a:gd name="T98" fmla="*/ 39 w 743"/>
                  <a:gd name="T99" fmla="*/ 46 h 672"/>
                  <a:gd name="T100" fmla="*/ 34 w 743"/>
                  <a:gd name="T101" fmla="*/ 65 h 672"/>
                  <a:gd name="T102" fmla="*/ 29 w 743"/>
                  <a:gd name="T103" fmla="*/ 63 h 672"/>
                  <a:gd name="T104" fmla="*/ 23 w 743"/>
                  <a:gd name="T105" fmla="*/ 61 h 672"/>
                  <a:gd name="T106" fmla="*/ 19 w 743"/>
                  <a:gd name="T107" fmla="*/ 56 h 672"/>
                  <a:gd name="T108" fmla="*/ 17 w 743"/>
                  <a:gd name="T109" fmla="*/ 40 h 672"/>
                  <a:gd name="T110" fmla="*/ 24 w 743"/>
                  <a:gd name="T111" fmla="*/ 20 h 672"/>
                  <a:gd name="T112" fmla="*/ 32 w 743"/>
                  <a:gd name="T113" fmla="*/ 5 h 672"/>
                  <a:gd name="T114" fmla="*/ 17 w 743"/>
                  <a:gd name="T115" fmla="*/ 10 h 672"/>
                  <a:gd name="T116" fmla="*/ 5 w 743"/>
                  <a:gd name="T117" fmla="*/ 23 h 672"/>
                  <a:gd name="T118" fmla="*/ 0 w 743"/>
                  <a:gd name="T119" fmla="*/ 40 h 67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08" name="Freeform 169">
              <a:extLst>
                <a:ext uri="{FF2B5EF4-FFF2-40B4-BE49-F238E27FC236}">
                  <a16:creationId xmlns:a16="http://schemas.microsoft.com/office/drawing/2014/main" id="{D6E1F475-B126-4DF9-953F-C7D7638C9A6D}"/>
                </a:ext>
              </a:extLst>
            </p:cNvPr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8739188" y="4786313"/>
              <a:ext cx="31750" cy="11112"/>
            </a:xfrm>
            <a:custGeom>
              <a:avLst/>
              <a:gdLst>
                <a:gd name="T0" fmla="*/ 0 w 79"/>
                <a:gd name="T1" fmla="*/ 11112 h 23"/>
                <a:gd name="T2" fmla="*/ 8842 w 79"/>
                <a:gd name="T3" fmla="*/ 6281 h 23"/>
                <a:gd name="T4" fmla="*/ 18085 w 79"/>
                <a:gd name="T5" fmla="*/ 1933 h 23"/>
                <a:gd name="T6" fmla="*/ 22506 w 79"/>
                <a:gd name="T7" fmla="*/ 483 h 23"/>
                <a:gd name="T8" fmla="*/ 26123 w 79"/>
                <a:gd name="T9" fmla="*/ 0 h 23"/>
                <a:gd name="T10" fmla="*/ 27731 w 79"/>
                <a:gd name="T11" fmla="*/ 0 h 23"/>
                <a:gd name="T12" fmla="*/ 29741 w 79"/>
                <a:gd name="T13" fmla="*/ 483 h 23"/>
                <a:gd name="T14" fmla="*/ 30946 w 79"/>
                <a:gd name="T15" fmla="*/ 966 h 23"/>
                <a:gd name="T16" fmla="*/ 31750 w 79"/>
                <a:gd name="T17" fmla="*/ 1933 h 23"/>
                <a:gd name="T18" fmla="*/ 30946 w 79"/>
                <a:gd name="T19" fmla="*/ 3865 h 23"/>
                <a:gd name="T20" fmla="*/ 30142 w 79"/>
                <a:gd name="T21" fmla="*/ 6281 h 23"/>
                <a:gd name="T22" fmla="*/ 28937 w 79"/>
                <a:gd name="T23" fmla="*/ 7730 h 23"/>
                <a:gd name="T24" fmla="*/ 27329 w 79"/>
                <a:gd name="T25" fmla="*/ 9179 h 23"/>
                <a:gd name="T26" fmla="*/ 25722 w 79"/>
                <a:gd name="T27" fmla="*/ 10146 h 23"/>
                <a:gd name="T28" fmla="*/ 23712 w 79"/>
                <a:gd name="T29" fmla="*/ 10629 h 23"/>
                <a:gd name="T30" fmla="*/ 21301 w 79"/>
                <a:gd name="T31" fmla="*/ 11112 h 23"/>
                <a:gd name="T32" fmla="*/ 18487 w 79"/>
                <a:gd name="T33" fmla="*/ 11112 h 23"/>
                <a:gd name="T34" fmla="*/ 14870 w 79"/>
                <a:gd name="T35" fmla="*/ 11112 h 23"/>
                <a:gd name="T36" fmla="*/ 12861 w 79"/>
                <a:gd name="T37" fmla="*/ 10146 h 23"/>
                <a:gd name="T38" fmla="*/ 10449 w 79"/>
                <a:gd name="T39" fmla="*/ 9663 h 23"/>
                <a:gd name="T40" fmla="*/ 9244 w 79"/>
                <a:gd name="T41" fmla="*/ 9179 h 23"/>
                <a:gd name="T42" fmla="*/ 7636 w 79"/>
                <a:gd name="T43" fmla="*/ 8696 h 23"/>
                <a:gd name="T44" fmla="*/ 5627 w 79"/>
                <a:gd name="T45" fmla="*/ 8696 h 23"/>
                <a:gd name="T46" fmla="*/ 3617 w 79"/>
                <a:gd name="T47" fmla="*/ 9663 h 23"/>
                <a:gd name="T48" fmla="*/ 0 w 79"/>
                <a:gd name="T49" fmla="*/ 11112 h 2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9" name="Freeform 170">
              <a:extLst>
                <a:ext uri="{FF2B5EF4-FFF2-40B4-BE49-F238E27FC236}">
                  <a16:creationId xmlns:a16="http://schemas.microsoft.com/office/drawing/2014/main" id="{99DC0499-16A4-4494-9824-854FE3B69119}"/>
                </a:ext>
              </a:extLst>
            </p:cNvPr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8855075" y="4919663"/>
              <a:ext cx="1588" cy="4762"/>
            </a:xfrm>
            <a:custGeom>
              <a:avLst/>
              <a:gdLst>
                <a:gd name="T0" fmla="*/ 0 w 1588"/>
                <a:gd name="T1" fmla="*/ 0 h 6"/>
                <a:gd name="T2" fmla="*/ 0 w 1588"/>
                <a:gd name="T3" fmla="*/ 4762 h 6"/>
                <a:gd name="T4" fmla="*/ 0 w 1588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0" name="Line 171">
              <a:extLst>
                <a:ext uri="{FF2B5EF4-FFF2-40B4-BE49-F238E27FC236}">
                  <a16:creationId xmlns:a16="http://schemas.microsoft.com/office/drawing/2014/main" id="{182A797B-C406-4F17-BB61-AC07A5F69379}"/>
                </a:ext>
              </a:extLst>
            </p:cNvPr>
            <p:cNvSpPr>
              <a:spLocks noChangeShapeType="1"/>
            </p:cNvSpPr>
            <p:nvPr>
              <p:custDataLst>
                <p:tags r:id="rId98"/>
              </p:custDataLst>
            </p:nvPr>
          </p:nvSpPr>
          <p:spPr bwMode="auto">
            <a:xfrm flipV="1">
              <a:off x="8945564" y="4918075"/>
              <a:ext cx="1587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1" name="Freeform 172">
              <a:extLst>
                <a:ext uri="{FF2B5EF4-FFF2-40B4-BE49-F238E27FC236}">
                  <a16:creationId xmlns:a16="http://schemas.microsoft.com/office/drawing/2014/main" id="{F5A8EA6A-5C9D-4DFB-9A10-5AC372039DF1}"/>
                </a:ext>
              </a:extLst>
            </p:cNvPr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8945564" y="4918076"/>
              <a:ext cx="3175" cy="15875"/>
            </a:xfrm>
            <a:custGeom>
              <a:avLst/>
              <a:gdLst>
                <a:gd name="T0" fmla="*/ 0 w 5"/>
                <a:gd name="T1" fmla="*/ 0 h 30"/>
                <a:gd name="T2" fmla="*/ 1270 w 5"/>
                <a:gd name="T3" fmla="*/ 529 h 30"/>
                <a:gd name="T4" fmla="*/ 2540 w 5"/>
                <a:gd name="T5" fmla="*/ 2117 h 30"/>
                <a:gd name="T6" fmla="*/ 3175 w 5"/>
                <a:gd name="T7" fmla="*/ 4233 h 30"/>
                <a:gd name="T8" fmla="*/ 3175 w 5"/>
                <a:gd name="T9" fmla="*/ 6879 h 30"/>
                <a:gd name="T10" fmla="*/ 3175 w 5"/>
                <a:gd name="T11" fmla="*/ 9525 h 30"/>
                <a:gd name="T12" fmla="*/ 2540 w 5"/>
                <a:gd name="T13" fmla="*/ 12171 h 30"/>
                <a:gd name="T14" fmla="*/ 1270 w 5"/>
                <a:gd name="T15" fmla="*/ 14287 h 30"/>
                <a:gd name="T16" fmla="*/ 0 w 5"/>
                <a:gd name="T17" fmla="*/ 15875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2" name="Freeform 173">
              <a:extLst>
                <a:ext uri="{FF2B5EF4-FFF2-40B4-BE49-F238E27FC236}">
                  <a16:creationId xmlns:a16="http://schemas.microsoft.com/office/drawing/2014/main" id="{0CDC4951-024F-45D5-A8A4-F090314BAC33}"/>
                </a:ext>
              </a:extLst>
            </p:cNvPr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9244014" y="4387851"/>
              <a:ext cx="22225" cy="28575"/>
            </a:xfrm>
            <a:custGeom>
              <a:avLst/>
              <a:gdLst>
                <a:gd name="T0" fmla="*/ 0 w 53"/>
                <a:gd name="T1" fmla="*/ 6235 h 55"/>
                <a:gd name="T2" fmla="*/ 419 w 53"/>
                <a:gd name="T3" fmla="*/ 8832 h 55"/>
                <a:gd name="T4" fmla="*/ 2097 w 53"/>
                <a:gd name="T5" fmla="*/ 11430 h 55"/>
                <a:gd name="T6" fmla="*/ 3774 w 53"/>
                <a:gd name="T7" fmla="*/ 14028 h 55"/>
                <a:gd name="T8" fmla="*/ 6290 w 53"/>
                <a:gd name="T9" fmla="*/ 17145 h 55"/>
                <a:gd name="T10" fmla="*/ 10903 w 53"/>
                <a:gd name="T11" fmla="*/ 22860 h 55"/>
                <a:gd name="T12" fmla="*/ 13838 w 53"/>
                <a:gd name="T13" fmla="*/ 28575 h 55"/>
                <a:gd name="T14" fmla="*/ 22225 w 53"/>
                <a:gd name="T15" fmla="*/ 28575 h 55"/>
                <a:gd name="T16" fmla="*/ 16774 w 53"/>
                <a:gd name="T17" fmla="*/ 21301 h 55"/>
                <a:gd name="T18" fmla="*/ 11742 w 53"/>
                <a:gd name="T19" fmla="*/ 15067 h 55"/>
                <a:gd name="T20" fmla="*/ 9645 w 53"/>
                <a:gd name="T21" fmla="*/ 11950 h 55"/>
                <a:gd name="T22" fmla="*/ 7967 w 53"/>
                <a:gd name="T23" fmla="*/ 8313 h 55"/>
                <a:gd name="T24" fmla="*/ 6709 w 53"/>
                <a:gd name="T25" fmla="*/ 4156 h 55"/>
                <a:gd name="T26" fmla="*/ 5871 w 53"/>
                <a:gd name="T27" fmla="*/ 0 h 55"/>
                <a:gd name="T28" fmla="*/ 2935 w 53"/>
                <a:gd name="T29" fmla="*/ 3117 h 55"/>
                <a:gd name="T30" fmla="*/ 0 w 53"/>
                <a:gd name="T31" fmla="*/ 6235 h 5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" name="Freeform 174">
              <a:extLst>
                <a:ext uri="{FF2B5EF4-FFF2-40B4-BE49-F238E27FC236}">
                  <a16:creationId xmlns:a16="http://schemas.microsoft.com/office/drawing/2014/main" id="{E950CA7E-4301-48E7-886E-492E792DE235}"/>
                </a:ext>
              </a:extLst>
            </p:cNvPr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9250364" y="4314825"/>
              <a:ext cx="26987" cy="39688"/>
            </a:xfrm>
            <a:custGeom>
              <a:avLst/>
              <a:gdLst>
                <a:gd name="T0" fmla="*/ 0 w 65"/>
                <a:gd name="T1" fmla="*/ 16934 h 75"/>
                <a:gd name="T2" fmla="*/ 3737 w 65"/>
                <a:gd name="T3" fmla="*/ 22754 h 75"/>
                <a:gd name="T4" fmla="*/ 8304 w 65"/>
                <a:gd name="T5" fmla="*/ 29105 h 75"/>
                <a:gd name="T6" fmla="*/ 10795 w 65"/>
                <a:gd name="T7" fmla="*/ 32280 h 75"/>
                <a:gd name="T8" fmla="*/ 13286 w 65"/>
                <a:gd name="T9" fmla="*/ 35455 h 75"/>
                <a:gd name="T10" fmla="*/ 16192 w 65"/>
                <a:gd name="T11" fmla="*/ 37571 h 75"/>
                <a:gd name="T12" fmla="*/ 19098 w 65"/>
                <a:gd name="T13" fmla="*/ 39688 h 75"/>
                <a:gd name="T14" fmla="*/ 21174 w 65"/>
                <a:gd name="T15" fmla="*/ 32280 h 75"/>
                <a:gd name="T16" fmla="*/ 24081 w 65"/>
                <a:gd name="T17" fmla="*/ 25400 h 75"/>
                <a:gd name="T18" fmla="*/ 25326 w 65"/>
                <a:gd name="T19" fmla="*/ 22225 h 75"/>
                <a:gd name="T20" fmla="*/ 26157 w 65"/>
                <a:gd name="T21" fmla="*/ 19050 h 75"/>
                <a:gd name="T22" fmla="*/ 26987 w 65"/>
                <a:gd name="T23" fmla="*/ 16404 h 75"/>
                <a:gd name="T24" fmla="*/ 26987 w 65"/>
                <a:gd name="T25" fmla="*/ 13759 h 75"/>
                <a:gd name="T26" fmla="*/ 26987 w 65"/>
                <a:gd name="T27" fmla="*/ 11113 h 75"/>
                <a:gd name="T28" fmla="*/ 26157 w 65"/>
                <a:gd name="T29" fmla="*/ 9525 h 75"/>
                <a:gd name="T30" fmla="*/ 25326 w 65"/>
                <a:gd name="T31" fmla="*/ 6879 h 75"/>
                <a:gd name="T32" fmla="*/ 24081 w 65"/>
                <a:gd name="T33" fmla="*/ 5292 h 75"/>
                <a:gd name="T34" fmla="*/ 21174 w 65"/>
                <a:gd name="T35" fmla="*/ 2646 h 75"/>
                <a:gd name="T36" fmla="*/ 19098 w 65"/>
                <a:gd name="T37" fmla="*/ 0 h 75"/>
                <a:gd name="T38" fmla="*/ 14116 w 65"/>
                <a:gd name="T39" fmla="*/ 0 h 75"/>
                <a:gd name="T40" fmla="*/ 10795 w 65"/>
                <a:gd name="T41" fmla="*/ 0 h 75"/>
                <a:gd name="T42" fmla="*/ 10380 w 65"/>
                <a:gd name="T43" fmla="*/ 1058 h 75"/>
                <a:gd name="T44" fmla="*/ 9964 w 65"/>
                <a:gd name="T45" fmla="*/ 3704 h 75"/>
                <a:gd name="T46" fmla="*/ 9549 w 65"/>
                <a:gd name="T47" fmla="*/ 4763 h 75"/>
                <a:gd name="T48" fmla="*/ 9549 w 65"/>
                <a:gd name="T49" fmla="*/ 5821 h 75"/>
                <a:gd name="T50" fmla="*/ 9964 w 65"/>
                <a:gd name="T51" fmla="*/ 6350 h 75"/>
                <a:gd name="T52" fmla="*/ 10795 w 65"/>
                <a:gd name="T53" fmla="*/ 6879 h 7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4" name="Freeform 175">
              <a:extLst>
                <a:ext uri="{FF2B5EF4-FFF2-40B4-BE49-F238E27FC236}">
                  <a16:creationId xmlns:a16="http://schemas.microsoft.com/office/drawing/2014/main" id="{F48D9FD9-0ABE-49DE-86EB-F7665B9E6D79}"/>
                </a:ext>
              </a:extLst>
            </p:cNvPr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9226551" y="4291013"/>
              <a:ext cx="17463" cy="30162"/>
            </a:xfrm>
            <a:custGeom>
              <a:avLst/>
              <a:gdLst>
                <a:gd name="T0" fmla="*/ 0 w 40"/>
                <a:gd name="T1" fmla="*/ 30162 h 62"/>
                <a:gd name="T2" fmla="*/ 1310 w 40"/>
                <a:gd name="T3" fmla="*/ 25297 h 62"/>
                <a:gd name="T4" fmla="*/ 3056 w 40"/>
                <a:gd name="T5" fmla="*/ 20919 h 62"/>
                <a:gd name="T6" fmla="*/ 5239 w 40"/>
                <a:gd name="T7" fmla="*/ 16054 h 62"/>
                <a:gd name="T8" fmla="*/ 7422 w 40"/>
                <a:gd name="T9" fmla="*/ 12162 h 62"/>
                <a:gd name="T10" fmla="*/ 10041 w 40"/>
                <a:gd name="T11" fmla="*/ 8270 h 62"/>
                <a:gd name="T12" fmla="*/ 12661 w 40"/>
                <a:gd name="T13" fmla="*/ 4378 h 62"/>
                <a:gd name="T14" fmla="*/ 15280 w 40"/>
                <a:gd name="T15" fmla="*/ 1459 h 62"/>
                <a:gd name="T16" fmla="*/ 17463 w 40"/>
                <a:gd name="T17" fmla="*/ 0 h 6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5" name="Freeform 176">
              <a:extLst>
                <a:ext uri="{FF2B5EF4-FFF2-40B4-BE49-F238E27FC236}">
                  <a16:creationId xmlns:a16="http://schemas.microsoft.com/office/drawing/2014/main" id="{4CFC8537-FEC6-4C35-9362-7CFC7B2AD75E}"/>
                </a:ext>
              </a:extLst>
            </p:cNvPr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9145588" y="4168776"/>
              <a:ext cx="68262" cy="138113"/>
            </a:xfrm>
            <a:custGeom>
              <a:avLst/>
              <a:gdLst>
                <a:gd name="T0" fmla="*/ 68262 w 159"/>
                <a:gd name="T1" fmla="*/ 138113 h 259"/>
                <a:gd name="T2" fmla="*/ 68262 w 159"/>
                <a:gd name="T3" fmla="*/ 133847 h 259"/>
                <a:gd name="T4" fmla="*/ 68262 w 159"/>
                <a:gd name="T5" fmla="*/ 130114 h 259"/>
                <a:gd name="T6" fmla="*/ 68262 w 159"/>
                <a:gd name="T7" fmla="*/ 125848 h 259"/>
                <a:gd name="T8" fmla="*/ 68262 w 159"/>
                <a:gd name="T9" fmla="*/ 121582 h 259"/>
                <a:gd name="T10" fmla="*/ 68262 w 159"/>
                <a:gd name="T11" fmla="*/ 119449 h 259"/>
                <a:gd name="T12" fmla="*/ 67833 w 159"/>
                <a:gd name="T13" fmla="*/ 116783 h 259"/>
                <a:gd name="T14" fmla="*/ 66974 w 159"/>
                <a:gd name="T15" fmla="*/ 114650 h 259"/>
                <a:gd name="T16" fmla="*/ 65686 w 159"/>
                <a:gd name="T17" fmla="*/ 111984 h 259"/>
                <a:gd name="T18" fmla="*/ 62252 w 159"/>
                <a:gd name="T19" fmla="*/ 107717 h 259"/>
                <a:gd name="T20" fmla="*/ 57958 w 159"/>
                <a:gd name="T21" fmla="*/ 103985 h 259"/>
                <a:gd name="T22" fmla="*/ 53236 w 159"/>
                <a:gd name="T23" fmla="*/ 100785 h 259"/>
                <a:gd name="T24" fmla="*/ 48084 w 159"/>
                <a:gd name="T25" fmla="*/ 98119 h 259"/>
                <a:gd name="T26" fmla="*/ 42503 w 159"/>
                <a:gd name="T27" fmla="*/ 95986 h 259"/>
                <a:gd name="T28" fmla="*/ 37351 w 159"/>
                <a:gd name="T29" fmla="*/ 95453 h 259"/>
                <a:gd name="T30" fmla="*/ 36492 w 159"/>
                <a:gd name="T31" fmla="*/ 94919 h 259"/>
                <a:gd name="T32" fmla="*/ 35204 w 159"/>
                <a:gd name="T33" fmla="*/ 94386 h 259"/>
                <a:gd name="T34" fmla="*/ 34775 w 159"/>
                <a:gd name="T35" fmla="*/ 93320 h 259"/>
                <a:gd name="T36" fmla="*/ 34346 w 159"/>
                <a:gd name="T37" fmla="*/ 92253 h 259"/>
                <a:gd name="T38" fmla="*/ 34346 w 159"/>
                <a:gd name="T39" fmla="*/ 89054 h 259"/>
                <a:gd name="T40" fmla="*/ 34775 w 159"/>
                <a:gd name="T41" fmla="*/ 85854 h 259"/>
                <a:gd name="T42" fmla="*/ 36492 w 159"/>
                <a:gd name="T43" fmla="*/ 78922 h 259"/>
                <a:gd name="T44" fmla="*/ 37351 w 159"/>
                <a:gd name="T45" fmla="*/ 75722 h 259"/>
                <a:gd name="T46" fmla="*/ 31340 w 159"/>
                <a:gd name="T47" fmla="*/ 75189 h 259"/>
                <a:gd name="T48" fmla="*/ 25330 w 159"/>
                <a:gd name="T49" fmla="*/ 74122 h 259"/>
                <a:gd name="T50" fmla="*/ 20607 w 159"/>
                <a:gd name="T51" fmla="*/ 71989 h 259"/>
                <a:gd name="T52" fmla="*/ 17173 w 159"/>
                <a:gd name="T53" fmla="*/ 68790 h 259"/>
                <a:gd name="T54" fmla="*/ 13309 w 159"/>
                <a:gd name="T55" fmla="*/ 64524 h 259"/>
                <a:gd name="T56" fmla="*/ 10304 w 159"/>
                <a:gd name="T57" fmla="*/ 60258 h 259"/>
                <a:gd name="T58" fmla="*/ 7728 w 159"/>
                <a:gd name="T59" fmla="*/ 55459 h 259"/>
                <a:gd name="T60" fmla="*/ 5581 w 159"/>
                <a:gd name="T61" fmla="*/ 50126 h 259"/>
                <a:gd name="T62" fmla="*/ 3864 w 159"/>
                <a:gd name="T63" fmla="*/ 44793 h 259"/>
                <a:gd name="T64" fmla="*/ 3005 w 159"/>
                <a:gd name="T65" fmla="*/ 38928 h 259"/>
                <a:gd name="T66" fmla="*/ 2147 w 159"/>
                <a:gd name="T67" fmla="*/ 31995 h 259"/>
                <a:gd name="T68" fmla="*/ 859 w 159"/>
                <a:gd name="T69" fmla="*/ 25596 h 259"/>
                <a:gd name="T70" fmla="*/ 0 w 159"/>
                <a:gd name="T71" fmla="*/ 13331 h 259"/>
                <a:gd name="T72" fmla="*/ 0 w 159"/>
                <a:gd name="T73" fmla="*/ 0 h 25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6" name="Line 177">
              <a:extLst>
                <a:ext uri="{FF2B5EF4-FFF2-40B4-BE49-F238E27FC236}">
                  <a16:creationId xmlns:a16="http://schemas.microsoft.com/office/drawing/2014/main" id="{FB4EE3CD-AFBD-4A3C-B976-DA9F2B7CF36B}"/>
                </a:ext>
              </a:extLst>
            </p:cNvPr>
            <p:cNvSpPr>
              <a:spLocks noChangeShapeType="1"/>
            </p:cNvSpPr>
            <p:nvPr>
              <p:custDataLst>
                <p:tags r:id="rId104"/>
              </p:custDataLst>
            </p:nvPr>
          </p:nvSpPr>
          <p:spPr bwMode="auto">
            <a:xfrm flipH="1" flipV="1">
              <a:off x="9139238" y="4135439"/>
              <a:ext cx="6350" cy="33337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7" name="Freeform 178">
              <a:extLst>
                <a:ext uri="{FF2B5EF4-FFF2-40B4-BE49-F238E27FC236}">
                  <a16:creationId xmlns:a16="http://schemas.microsoft.com/office/drawing/2014/main" id="{25C06E21-6E32-441F-BB67-EC66AC4E6207}"/>
                </a:ext>
              </a:extLst>
            </p:cNvPr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9139238" y="4119564"/>
              <a:ext cx="6350" cy="15875"/>
            </a:xfrm>
            <a:custGeom>
              <a:avLst/>
              <a:gdLst>
                <a:gd name="T0" fmla="*/ 0 w 13"/>
                <a:gd name="T1" fmla="*/ 15875 h 25"/>
                <a:gd name="T2" fmla="*/ 488 w 13"/>
                <a:gd name="T3" fmla="*/ 12065 h 25"/>
                <a:gd name="T4" fmla="*/ 1954 w 13"/>
                <a:gd name="T5" fmla="*/ 8255 h 25"/>
                <a:gd name="T6" fmla="*/ 3908 w 13"/>
                <a:gd name="T7" fmla="*/ 3810 h 25"/>
                <a:gd name="T8" fmla="*/ 6350 w 13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8" name="Line 179">
              <a:extLst>
                <a:ext uri="{FF2B5EF4-FFF2-40B4-BE49-F238E27FC236}">
                  <a16:creationId xmlns:a16="http://schemas.microsoft.com/office/drawing/2014/main" id="{D91552D1-593D-4AA0-BB03-F6DED18D940B}"/>
                </a:ext>
              </a:extLst>
            </p:cNvPr>
            <p:cNvSpPr>
              <a:spLocks noChangeShapeType="1"/>
            </p:cNvSpPr>
            <p:nvPr>
              <p:custDataLst>
                <p:tags r:id="rId106"/>
              </p:custDataLst>
            </p:nvPr>
          </p:nvSpPr>
          <p:spPr bwMode="auto">
            <a:xfrm flipV="1">
              <a:off x="9145588" y="4106863"/>
              <a:ext cx="0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9" name="Freeform 180">
              <a:extLst>
                <a:ext uri="{FF2B5EF4-FFF2-40B4-BE49-F238E27FC236}">
                  <a16:creationId xmlns:a16="http://schemas.microsoft.com/office/drawing/2014/main" id="{40D69B2A-3649-468C-B08C-2334BF230E2F}"/>
                </a:ext>
              </a:extLst>
            </p:cNvPr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9099550" y="4040189"/>
              <a:ext cx="46038" cy="66675"/>
            </a:xfrm>
            <a:custGeom>
              <a:avLst/>
              <a:gdLst>
                <a:gd name="T0" fmla="*/ 46038 w 100"/>
                <a:gd name="T1" fmla="*/ 66675 h 123"/>
                <a:gd name="T2" fmla="*/ 41434 w 100"/>
                <a:gd name="T3" fmla="*/ 66133 h 123"/>
                <a:gd name="T4" fmla="*/ 34989 w 100"/>
                <a:gd name="T5" fmla="*/ 64507 h 123"/>
                <a:gd name="T6" fmla="*/ 27623 w 100"/>
                <a:gd name="T7" fmla="*/ 61796 h 123"/>
                <a:gd name="T8" fmla="*/ 19796 w 100"/>
                <a:gd name="T9" fmla="*/ 58002 h 123"/>
                <a:gd name="T10" fmla="*/ 15653 w 100"/>
                <a:gd name="T11" fmla="*/ 55834 h 123"/>
                <a:gd name="T12" fmla="*/ 12430 w 100"/>
                <a:gd name="T13" fmla="*/ 53665 h 123"/>
                <a:gd name="T14" fmla="*/ 9208 w 100"/>
                <a:gd name="T15" fmla="*/ 50955 h 123"/>
                <a:gd name="T16" fmla="*/ 5985 w 100"/>
                <a:gd name="T17" fmla="*/ 48245 h 123"/>
                <a:gd name="T18" fmla="*/ 3683 w 100"/>
                <a:gd name="T19" fmla="*/ 45534 h 123"/>
                <a:gd name="T20" fmla="*/ 1842 w 100"/>
                <a:gd name="T21" fmla="*/ 42824 h 123"/>
                <a:gd name="T22" fmla="*/ 460 w 100"/>
                <a:gd name="T23" fmla="*/ 39571 h 123"/>
                <a:gd name="T24" fmla="*/ 0 w 100"/>
                <a:gd name="T25" fmla="*/ 36861 h 123"/>
                <a:gd name="T26" fmla="*/ 921 w 100"/>
                <a:gd name="T27" fmla="*/ 29814 h 123"/>
                <a:gd name="T28" fmla="*/ 3223 w 100"/>
                <a:gd name="T29" fmla="*/ 19515 h 123"/>
                <a:gd name="T30" fmla="*/ 5064 w 100"/>
                <a:gd name="T31" fmla="*/ 9215 h 123"/>
                <a:gd name="T32" fmla="*/ 5985 w 100"/>
                <a:gd name="T33" fmla="*/ 0 h 1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0" name="Freeform 181">
              <a:extLst>
                <a:ext uri="{FF2B5EF4-FFF2-40B4-BE49-F238E27FC236}">
                  <a16:creationId xmlns:a16="http://schemas.microsoft.com/office/drawing/2014/main" id="{C39C7436-AD40-46EF-BE3A-9CB9A8F29B12}"/>
                </a:ext>
              </a:extLst>
            </p:cNvPr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9113839" y="3983038"/>
              <a:ext cx="1587" cy="50800"/>
            </a:xfrm>
            <a:custGeom>
              <a:avLst/>
              <a:gdLst>
                <a:gd name="T0" fmla="*/ 1587 w 5"/>
                <a:gd name="T1" fmla="*/ 0 h 99"/>
                <a:gd name="T2" fmla="*/ 1270 w 5"/>
                <a:gd name="T3" fmla="*/ 17446 h 99"/>
                <a:gd name="T4" fmla="*/ 317 w 5"/>
                <a:gd name="T5" fmla="*/ 30275 h 99"/>
                <a:gd name="T6" fmla="*/ 0 w 5"/>
                <a:gd name="T7" fmla="*/ 35406 h 99"/>
                <a:gd name="T8" fmla="*/ 0 w 5"/>
                <a:gd name="T9" fmla="*/ 40024 h 99"/>
                <a:gd name="T10" fmla="*/ 635 w 5"/>
                <a:gd name="T11" fmla="*/ 44642 h 99"/>
                <a:gd name="T12" fmla="*/ 1587 w 5"/>
                <a:gd name="T13" fmla="*/ 50800 h 9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1" name="Freeform 182">
              <a:extLst>
                <a:ext uri="{FF2B5EF4-FFF2-40B4-BE49-F238E27FC236}">
                  <a16:creationId xmlns:a16="http://schemas.microsoft.com/office/drawing/2014/main" id="{9C9ABF19-8C2E-4B00-BFB7-4A569DD12FB9}"/>
                </a:ext>
              </a:extLst>
            </p:cNvPr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9120189" y="3976688"/>
              <a:ext cx="7937" cy="36512"/>
            </a:xfrm>
            <a:custGeom>
              <a:avLst/>
              <a:gdLst>
                <a:gd name="T0" fmla="*/ 7937 w 14"/>
                <a:gd name="T1" fmla="*/ 0 h 68"/>
                <a:gd name="T2" fmla="*/ 4535 w 14"/>
                <a:gd name="T3" fmla="*/ 8591 h 68"/>
                <a:gd name="T4" fmla="*/ 2268 w 14"/>
                <a:gd name="T5" fmla="*/ 17719 h 68"/>
                <a:gd name="T6" fmla="*/ 1134 w 14"/>
                <a:gd name="T7" fmla="*/ 27921 h 68"/>
                <a:gd name="T8" fmla="*/ 0 w 14"/>
                <a:gd name="T9" fmla="*/ 36512 h 6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2" name="Freeform 183">
              <a:extLst>
                <a:ext uri="{FF2B5EF4-FFF2-40B4-BE49-F238E27FC236}">
                  <a16:creationId xmlns:a16="http://schemas.microsoft.com/office/drawing/2014/main" id="{5C238F66-BDCF-4029-B4A5-6144B95BA6D2}"/>
                </a:ext>
              </a:extLst>
            </p:cNvPr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9136064" y="3957639"/>
              <a:ext cx="1587" cy="22225"/>
            </a:xfrm>
            <a:custGeom>
              <a:avLst/>
              <a:gdLst>
                <a:gd name="T0" fmla="*/ 0 w 1587"/>
                <a:gd name="T1" fmla="*/ 0 h 43"/>
                <a:gd name="T2" fmla="*/ 0 w 1587"/>
                <a:gd name="T3" fmla="*/ 6719 h 43"/>
                <a:gd name="T4" fmla="*/ 0 w 1587"/>
                <a:gd name="T5" fmla="*/ 13438 h 43"/>
                <a:gd name="T6" fmla="*/ 0 w 1587"/>
                <a:gd name="T7" fmla="*/ 19124 h 43"/>
                <a:gd name="T8" fmla="*/ 0 w 1587"/>
                <a:gd name="T9" fmla="*/ 22225 h 4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3" name="Line 184">
              <a:extLst>
                <a:ext uri="{FF2B5EF4-FFF2-40B4-BE49-F238E27FC236}">
                  <a16:creationId xmlns:a16="http://schemas.microsoft.com/office/drawing/2014/main" id="{5F8760E1-281E-43EF-8A13-F38736D610D0}"/>
                </a:ext>
              </a:extLst>
            </p:cNvPr>
            <p:cNvSpPr>
              <a:spLocks noChangeShapeType="1"/>
            </p:cNvSpPr>
            <p:nvPr>
              <p:custDataLst>
                <p:tags r:id="rId111"/>
              </p:custDataLst>
            </p:nvPr>
          </p:nvSpPr>
          <p:spPr bwMode="auto">
            <a:xfrm flipV="1">
              <a:off x="9136064" y="3976689"/>
              <a:ext cx="1587" cy="317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4" name="Freeform 185">
              <a:extLst>
                <a:ext uri="{FF2B5EF4-FFF2-40B4-BE49-F238E27FC236}">
                  <a16:creationId xmlns:a16="http://schemas.microsoft.com/office/drawing/2014/main" id="{6D6372B5-9A62-4290-98B7-BCFFEB8E7700}"/>
                </a:ext>
              </a:extLst>
            </p:cNvPr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9120189" y="3960814"/>
              <a:ext cx="1587" cy="15875"/>
            </a:xfrm>
            <a:custGeom>
              <a:avLst/>
              <a:gdLst>
                <a:gd name="T0" fmla="*/ 0 w 1587"/>
                <a:gd name="T1" fmla="*/ 15875 h 31"/>
                <a:gd name="T2" fmla="*/ 0 w 1587"/>
                <a:gd name="T3" fmla="*/ 11266 h 31"/>
                <a:gd name="T4" fmla="*/ 0 w 1587"/>
                <a:gd name="T5" fmla="*/ 7681 h 31"/>
                <a:gd name="T6" fmla="*/ 0 w 1587"/>
                <a:gd name="T7" fmla="*/ 4097 h 31"/>
                <a:gd name="T8" fmla="*/ 0 w 158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5" name="Freeform 186">
              <a:extLst>
                <a:ext uri="{FF2B5EF4-FFF2-40B4-BE49-F238E27FC236}">
                  <a16:creationId xmlns:a16="http://schemas.microsoft.com/office/drawing/2014/main" id="{A36B019D-C8C4-47E0-AC3A-F552BDC3DAD2}"/>
                </a:ext>
              </a:extLst>
            </p:cNvPr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8840789" y="4949826"/>
              <a:ext cx="96837" cy="87313"/>
            </a:xfrm>
            <a:custGeom>
              <a:avLst/>
              <a:gdLst>
                <a:gd name="T0" fmla="*/ 8177 w 225"/>
                <a:gd name="T1" fmla="*/ 82608 h 167"/>
                <a:gd name="T2" fmla="*/ 3013 w 225"/>
                <a:gd name="T3" fmla="*/ 74242 h 167"/>
                <a:gd name="T4" fmla="*/ 0 w 225"/>
                <a:gd name="T5" fmla="*/ 67968 h 167"/>
                <a:gd name="T6" fmla="*/ 430 w 225"/>
                <a:gd name="T7" fmla="*/ 56466 h 167"/>
                <a:gd name="T8" fmla="*/ 4734 w 225"/>
                <a:gd name="T9" fmla="*/ 35553 h 167"/>
                <a:gd name="T10" fmla="*/ 10329 w 225"/>
                <a:gd name="T11" fmla="*/ 20390 h 167"/>
                <a:gd name="T12" fmla="*/ 14633 w 225"/>
                <a:gd name="T13" fmla="*/ 10979 h 167"/>
                <a:gd name="T14" fmla="*/ 18937 w 225"/>
                <a:gd name="T15" fmla="*/ 4705 h 167"/>
                <a:gd name="T16" fmla="*/ 23241 w 225"/>
                <a:gd name="T17" fmla="*/ 523 h 167"/>
                <a:gd name="T18" fmla="*/ 27975 w 225"/>
                <a:gd name="T19" fmla="*/ 523 h 167"/>
                <a:gd name="T20" fmla="*/ 32709 w 225"/>
                <a:gd name="T21" fmla="*/ 1568 h 167"/>
                <a:gd name="T22" fmla="*/ 37874 w 225"/>
                <a:gd name="T23" fmla="*/ 4183 h 167"/>
                <a:gd name="T24" fmla="*/ 43039 w 225"/>
                <a:gd name="T25" fmla="*/ 8888 h 167"/>
                <a:gd name="T26" fmla="*/ 48203 w 225"/>
                <a:gd name="T27" fmla="*/ 12548 h 167"/>
                <a:gd name="T28" fmla="*/ 55089 w 225"/>
                <a:gd name="T29" fmla="*/ 12548 h 167"/>
                <a:gd name="T30" fmla="*/ 62406 w 225"/>
                <a:gd name="T31" fmla="*/ 9934 h 167"/>
                <a:gd name="T32" fmla="*/ 71014 w 225"/>
                <a:gd name="T33" fmla="*/ 3660 h 167"/>
                <a:gd name="T34" fmla="*/ 96837 w 225"/>
                <a:gd name="T35" fmla="*/ 0 h 167"/>
                <a:gd name="T36" fmla="*/ 92533 w 225"/>
                <a:gd name="T37" fmla="*/ 11502 h 167"/>
                <a:gd name="T38" fmla="*/ 86508 w 225"/>
                <a:gd name="T39" fmla="*/ 21436 h 167"/>
                <a:gd name="T40" fmla="*/ 72305 w 225"/>
                <a:gd name="T41" fmla="*/ 37644 h 167"/>
                <a:gd name="T42" fmla="*/ 59393 w 225"/>
                <a:gd name="T43" fmla="*/ 52283 h 167"/>
                <a:gd name="T44" fmla="*/ 55520 w 225"/>
                <a:gd name="T45" fmla="*/ 59603 h 167"/>
                <a:gd name="T46" fmla="*/ 54229 w 225"/>
                <a:gd name="T47" fmla="*/ 67968 h 167"/>
                <a:gd name="T48" fmla="*/ 52938 w 225"/>
                <a:gd name="T49" fmla="*/ 65877 h 167"/>
                <a:gd name="T50" fmla="*/ 51646 w 225"/>
                <a:gd name="T51" fmla="*/ 61171 h 167"/>
                <a:gd name="T52" fmla="*/ 45621 w 225"/>
                <a:gd name="T53" fmla="*/ 63263 h 167"/>
                <a:gd name="T54" fmla="*/ 41748 w 225"/>
                <a:gd name="T55" fmla="*/ 66923 h 167"/>
                <a:gd name="T56" fmla="*/ 34431 w 225"/>
                <a:gd name="T57" fmla="*/ 75811 h 167"/>
                <a:gd name="T58" fmla="*/ 30557 w 225"/>
                <a:gd name="T59" fmla="*/ 79993 h 167"/>
                <a:gd name="T60" fmla="*/ 25823 w 225"/>
                <a:gd name="T61" fmla="*/ 83653 h 167"/>
                <a:gd name="T62" fmla="*/ 19798 w 225"/>
                <a:gd name="T63" fmla="*/ 86267 h 167"/>
                <a:gd name="T64" fmla="*/ 11190 w 225"/>
                <a:gd name="T65" fmla="*/ 87313 h 1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26" name="Freeform 187">
              <a:extLst>
                <a:ext uri="{FF2B5EF4-FFF2-40B4-BE49-F238E27FC236}">
                  <a16:creationId xmlns:a16="http://schemas.microsoft.com/office/drawing/2014/main" id="{3CE183AF-2397-4853-864E-B893328557AA}"/>
                </a:ext>
              </a:extLst>
            </p:cNvPr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8978901" y="4168776"/>
              <a:ext cx="3175" cy="17463"/>
            </a:xfrm>
            <a:custGeom>
              <a:avLst/>
              <a:gdLst>
                <a:gd name="T0" fmla="*/ 0 w 7"/>
                <a:gd name="T1" fmla="*/ 17463 h 31"/>
                <a:gd name="T2" fmla="*/ 2268 w 7"/>
                <a:gd name="T3" fmla="*/ 12393 h 31"/>
                <a:gd name="T4" fmla="*/ 2721 w 7"/>
                <a:gd name="T5" fmla="*/ 7323 h 31"/>
                <a:gd name="T6" fmla="*/ 3175 w 7"/>
                <a:gd name="T7" fmla="*/ 3380 h 31"/>
                <a:gd name="T8" fmla="*/ 3175 w 7"/>
                <a:gd name="T9" fmla="*/ 0 h 31"/>
                <a:gd name="T10" fmla="*/ 2721 w 7"/>
                <a:gd name="T11" fmla="*/ 3380 h 31"/>
                <a:gd name="T12" fmla="*/ 1814 w 7"/>
                <a:gd name="T13" fmla="*/ 7323 h 31"/>
                <a:gd name="T14" fmla="*/ 454 w 7"/>
                <a:gd name="T15" fmla="*/ 12393 h 31"/>
                <a:gd name="T16" fmla="*/ 0 w 7"/>
                <a:gd name="T17" fmla="*/ 17463 h 3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7" name="Freeform 188">
              <a:extLst>
                <a:ext uri="{FF2B5EF4-FFF2-40B4-BE49-F238E27FC236}">
                  <a16:creationId xmlns:a16="http://schemas.microsoft.com/office/drawing/2014/main" id="{608A381C-A6C9-4821-AEF9-E642659BFB62}"/>
                </a:ext>
              </a:extLst>
            </p:cNvPr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8912226" y="4090989"/>
              <a:ext cx="15875" cy="15875"/>
            </a:xfrm>
            <a:custGeom>
              <a:avLst/>
              <a:gdLst>
                <a:gd name="T0" fmla="*/ 15875 w 33"/>
                <a:gd name="T1" fmla="*/ 15875 h 31"/>
                <a:gd name="T2" fmla="*/ 15875 w 33"/>
                <a:gd name="T3" fmla="*/ 0 h 31"/>
                <a:gd name="T4" fmla="*/ 12989 w 33"/>
                <a:gd name="T5" fmla="*/ 0 h 31"/>
                <a:gd name="T6" fmla="*/ 10583 w 33"/>
                <a:gd name="T7" fmla="*/ 1024 h 31"/>
                <a:gd name="T8" fmla="*/ 7697 w 33"/>
                <a:gd name="T9" fmla="*/ 2560 h 31"/>
                <a:gd name="T10" fmla="*/ 5292 w 33"/>
                <a:gd name="T11" fmla="*/ 4097 h 31"/>
                <a:gd name="T12" fmla="*/ 2886 w 33"/>
                <a:gd name="T13" fmla="*/ 6145 h 31"/>
                <a:gd name="T14" fmla="*/ 1443 w 33"/>
                <a:gd name="T15" fmla="*/ 8194 h 31"/>
                <a:gd name="T16" fmla="*/ 481 w 33"/>
                <a:gd name="T17" fmla="*/ 10754 h 31"/>
                <a:gd name="T18" fmla="*/ 0 w 33"/>
                <a:gd name="T19" fmla="*/ 12802 h 31"/>
                <a:gd name="T20" fmla="*/ 481 w 33"/>
                <a:gd name="T21" fmla="*/ 13827 h 31"/>
                <a:gd name="T22" fmla="*/ 1443 w 33"/>
                <a:gd name="T23" fmla="*/ 14851 h 31"/>
                <a:gd name="T24" fmla="*/ 2886 w 33"/>
                <a:gd name="T25" fmla="*/ 15363 h 31"/>
                <a:gd name="T26" fmla="*/ 5292 w 33"/>
                <a:gd name="T27" fmla="*/ 15363 h 31"/>
                <a:gd name="T28" fmla="*/ 10583 w 33"/>
                <a:gd name="T29" fmla="*/ 15875 h 31"/>
                <a:gd name="T30" fmla="*/ 15875 w 33"/>
                <a:gd name="T31" fmla="*/ 15875 h 3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8" name="Freeform 189">
              <a:extLst>
                <a:ext uri="{FF2B5EF4-FFF2-40B4-BE49-F238E27FC236}">
                  <a16:creationId xmlns:a16="http://schemas.microsoft.com/office/drawing/2014/main" id="{27AE0071-A3C6-4454-B292-0F8497C9E80C}"/>
                </a:ext>
              </a:extLst>
            </p:cNvPr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8928101" y="4003676"/>
              <a:ext cx="3175" cy="9525"/>
            </a:xfrm>
            <a:custGeom>
              <a:avLst/>
              <a:gdLst>
                <a:gd name="T0" fmla="*/ 0 w 13"/>
                <a:gd name="T1" fmla="*/ 9525 h 19"/>
                <a:gd name="T2" fmla="*/ 488 w 13"/>
                <a:gd name="T3" fmla="*/ 9024 h 19"/>
                <a:gd name="T4" fmla="*/ 1221 w 13"/>
                <a:gd name="T5" fmla="*/ 8522 h 19"/>
                <a:gd name="T6" fmla="*/ 1710 w 13"/>
                <a:gd name="T7" fmla="*/ 7520 h 19"/>
                <a:gd name="T8" fmla="*/ 1954 w 13"/>
                <a:gd name="T9" fmla="*/ 6016 h 19"/>
                <a:gd name="T10" fmla="*/ 2931 w 13"/>
                <a:gd name="T11" fmla="*/ 3008 h 19"/>
                <a:gd name="T12" fmla="*/ 3175 w 13"/>
                <a:gd name="T13" fmla="*/ 0 h 19"/>
                <a:gd name="T14" fmla="*/ 0 w 13"/>
                <a:gd name="T15" fmla="*/ 9525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9" name="Freeform 190">
              <a:extLst>
                <a:ext uri="{FF2B5EF4-FFF2-40B4-BE49-F238E27FC236}">
                  <a16:creationId xmlns:a16="http://schemas.microsoft.com/office/drawing/2014/main" id="{DD0C7ED7-4EC7-4F68-B12B-487EC2547F77}"/>
                </a:ext>
              </a:extLst>
            </p:cNvPr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8767763" y="4006851"/>
              <a:ext cx="36512" cy="22225"/>
            </a:xfrm>
            <a:custGeom>
              <a:avLst/>
              <a:gdLst>
                <a:gd name="T0" fmla="*/ 22663 w 87"/>
                <a:gd name="T1" fmla="*/ 22225 h 42"/>
                <a:gd name="T2" fmla="*/ 24761 w 87"/>
                <a:gd name="T3" fmla="*/ 22225 h 42"/>
                <a:gd name="T4" fmla="*/ 26859 w 87"/>
                <a:gd name="T5" fmla="*/ 21696 h 42"/>
                <a:gd name="T6" fmla="*/ 28538 w 87"/>
                <a:gd name="T7" fmla="*/ 21167 h 42"/>
                <a:gd name="T8" fmla="*/ 29797 w 87"/>
                <a:gd name="T9" fmla="*/ 20108 h 42"/>
                <a:gd name="T10" fmla="*/ 31476 w 87"/>
                <a:gd name="T11" fmla="*/ 17992 h 42"/>
                <a:gd name="T12" fmla="*/ 32735 w 87"/>
                <a:gd name="T13" fmla="*/ 14817 h 42"/>
                <a:gd name="T14" fmla="*/ 33155 w 87"/>
                <a:gd name="T15" fmla="*/ 11642 h 42"/>
                <a:gd name="T16" fmla="*/ 33574 w 87"/>
                <a:gd name="T17" fmla="*/ 8467 h 42"/>
                <a:gd name="T18" fmla="*/ 34414 w 87"/>
                <a:gd name="T19" fmla="*/ 5821 h 42"/>
                <a:gd name="T20" fmla="*/ 36512 w 87"/>
                <a:gd name="T21" fmla="*/ 3175 h 42"/>
                <a:gd name="T22" fmla="*/ 32315 w 87"/>
                <a:gd name="T23" fmla="*/ 1058 h 42"/>
                <a:gd name="T24" fmla="*/ 28118 w 87"/>
                <a:gd name="T25" fmla="*/ 0 h 42"/>
                <a:gd name="T26" fmla="*/ 23922 w 87"/>
                <a:gd name="T27" fmla="*/ 0 h 42"/>
                <a:gd name="T28" fmla="*/ 19725 w 87"/>
                <a:gd name="T29" fmla="*/ 0 h 42"/>
                <a:gd name="T30" fmla="*/ 16787 w 87"/>
                <a:gd name="T31" fmla="*/ 0 h 42"/>
                <a:gd name="T32" fmla="*/ 13430 w 87"/>
                <a:gd name="T33" fmla="*/ 1058 h 42"/>
                <a:gd name="T34" fmla="*/ 10492 w 87"/>
                <a:gd name="T35" fmla="*/ 2117 h 42"/>
                <a:gd name="T36" fmla="*/ 7974 w 87"/>
                <a:gd name="T37" fmla="*/ 3175 h 42"/>
                <a:gd name="T38" fmla="*/ 3357 w 87"/>
                <a:gd name="T39" fmla="*/ 6350 h 42"/>
                <a:gd name="T40" fmla="*/ 0 w 87"/>
                <a:gd name="T41" fmla="*/ 9525 h 42"/>
                <a:gd name="T42" fmla="*/ 4616 w 87"/>
                <a:gd name="T43" fmla="*/ 12700 h 42"/>
                <a:gd name="T44" fmla="*/ 11331 w 87"/>
                <a:gd name="T45" fmla="*/ 16933 h 42"/>
                <a:gd name="T46" fmla="*/ 18046 w 87"/>
                <a:gd name="T47" fmla="*/ 20638 h 42"/>
                <a:gd name="T48" fmla="*/ 22663 w 87"/>
                <a:gd name="T49" fmla="*/ 22225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0" name="Freeform 191">
              <a:extLst>
                <a:ext uri="{FF2B5EF4-FFF2-40B4-BE49-F238E27FC236}">
                  <a16:creationId xmlns:a16="http://schemas.microsoft.com/office/drawing/2014/main" id="{13982ABC-CF8E-4FFF-B821-EBB031B67A7C}"/>
                </a:ext>
              </a:extLst>
            </p:cNvPr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9012239" y="4470400"/>
              <a:ext cx="1587" cy="14288"/>
            </a:xfrm>
            <a:custGeom>
              <a:avLst/>
              <a:gdLst>
                <a:gd name="T0" fmla="*/ 0 w 7"/>
                <a:gd name="T1" fmla="*/ 0 h 31"/>
                <a:gd name="T2" fmla="*/ 1587 w 7"/>
                <a:gd name="T3" fmla="*/ 0 h 31"/>
                <a:gd name="T4" fmla="*/ 1587 w 7"/>
                <a:gd name="T5" fmla="*/ 8296 h 31"/>
                <a:gd name="T6" fmla="*/ 0 w 7"/>
                <a:gd name="T7" fmla="*/ 14288 h 31"/>
                <a:gd name="T8" fmla="*/ 0 w 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1" name="Freeform 192">
              <a:extLst>
                <a:ext uri="{FF2B5EF4-FFF2-40B4-BE49-F238E27FC236}">
                  <a16:creationId xmlns:a16="http://schemas.microsoft.com/office/drawing/2014/main" id="{E8B6F424-F797-4B53-8261-062D0F774F06}"/>
                </a:ext>
              </a:extLst>
            </p:cNvPr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8248651" y="3976688"/>
              <a:ext cx="1019175" cy="908050"/>
            </a:xfrm>
            <a:custGeom>
              <a:avLst/>
              <a:gdLst>
                <a:gd name="T0" fmla="*/ 93526 w 2332"/>
                <a:gd name="T1" fmla="*/ 370879 h 1731"/>
                <a:gd name="T2" fmla="*/ 142038 w 2332"/>
                <a:gd name="T3" fmla="*/ 340453 h 1731"/>
                <a:gd name="T4" fmla="*/ 190112 w 2332"/>
                <a:gd name="T5" fmla="*/ 317896 h 1731"/>
                <a:gd name="T6" fmla="*/ 264409 w 2332"/>
                <a:gd name="T7" fmla="*/ 299011 h 1731"/>
                <a:gd name="T8" fmla="*/ 295875 w 2332"/>
                <a:gd name="T9" fmla="*/ 229242 h 1731"/>
                <a:gd name="T10" fmla="*/ 331276 w 2332"/>
                <a:gd name="T11" fmla="*/ 230291 h 1731"/>
                <a:gd name="T12" fmla="*/ 342639 w 2332"/>
                <a:gd name="T13" fmla="*/ 190423 h 1731"/>
                <a:gd name="T14" fmla="*/ 378476 w 2332"/>
                <a:gd name="T15" fmla="*/ 165768 h 1731"/>
                <a:gd name="T16" fmla="*/ 410380 w 2332"/>
                <a:gd name="T17" fmla="*/ 129047 h 1731"/>
                <a:gd name="T18" fmla="*/ 448839 w 2332"/>
                <a:gd name="T19" fmla="*/ 116982 h 1731"/>
                <a:gd name="T20" fmla="*/ 471128 w 2332"/>
                <a:gd name="T21" fmla="*/ 148981 h 1731"/>
                <a:gd name="T22" fmla="*/ 496039 w 2332"/>
                <a:gd name="T23" fmla="*/ 141637 h 1731"/>
                <a:gd name="T24" fmla="*/ 513958 w 2332"/>
                <a:gd name="T25" fmla="*/ 90228 h 1731"/>
                <a:gd name="T26" fmla="*/ 576892 w 2332"/>
                <a:gd name="T27" fmla="*/ 61376 h 1731"/>
                <a:gd name="T28" fmla="*/ 583884 w 2332"/>
                <a:gd name="T29" fmla="*/ 21508 h 1731"/>
                <a:gd name="T30" fmla="*/ 625840 w 2332"/>
                <a:gd name="T31" fmla="*/ 56130 h 1731"/>
                <a:gd name="T32" fmla="*/ 674788 w 2332"/>
                <a:gd name="T33" fmla="*/ 61376 h 1731"/>
                <a:gd name="T34" fmla="*/ 640262 w 2332"/>
                <a:gd name="T35" fmla="*/ 137440 h 1731"/>
                <a:gd name="T36" fmla="*/ 659492 w 2332"/>
                <a:gd name="T37" fmla="*/ 174686 h 1731"/>
                <a:gd name="T38" fmla="*/ 691396 w 2332"/>
                <a:gd name="T39" fmla="*/ 185702 h 1731"/>
                <a:gd name="T40" fmla="*/ 728981 w 2332"/>
                <a:gd name="T41" fmla="*/ 221898 h 1731"/>
                <a:gd name="T42" fmla="*/ 770937 w 2332"/>
                <a:gd name="T43" fmla="*/ 216652 h 1731"/>
                <a:gd name="T44" fmla="*/ 799781 w 2332"/>
                <a:gd name="T45" fmla="*/ 107539 h 1731"/>
                <a:gd name="T46" fmla="*/ 832122 w 2332"/>
                <a:gd name="T47" fmla="*/ 5246 h 1731"/>
                <a:gd name="T48" fmla="*/ 844796 w 2332"/>
                <a:gd name="T49" fmla="*/ 41966 h 1731"/>
                <a:gd name="T50" fmla="*/ 849604 w 2332"/>
                <a:gd name="T51" fmla="*/ 92326 h 1731"/>
                <a:gd name="T52" fmla="*/ 867959 w 2332"/>
                <a:gd name="T53" fmla="*/ 125899 h 1731"/>
                <a:gd name="T54" fmla="*/ 891560 w 2332"/>
                <a:gd name="T55" fmla="*/ 225045 h 1731"/>
                <a:gd name="T56" fmla="*/ 912975 w 2332"/>
                <a:gd name="T57" fmla="*/ 283274 h 1731"/>
                <a:gd name="T58" fmla="*/ 945315 w 2332"/>
                <a:gd name="T59" fmla="*/ 359863 h 1731"/>
                <a:gd name="T60" fmla="*/ 969790 w 2332"/>
                <a:gd name="T61" fmla="*/ 403403 h 1731"/>
                <a:gd name="T62" fmla="*/ 1019175 w 2332"/>
                <a:gd name="T63" fmla="*/ 467926 h 1731"/>
                <a:gd name="T64" fmla="*/ 994701 w 2332"/>
                <a:gd name="T65" fmla="*/ 579662 h 1731"/>
                <a:gd name="T66" fmla="*/ 912100 w 2332"/>
                <a:gd name="T67" fmla="*/ 714480 h 1731"/>
                <a:gd name="T68" fmla="*/ 876263 w 2332"/>
                <a:gd name="T69" fmla="*/ 751200 h 1731"/>
                <a:gd name="T70" fmla="*/ 803278 w 2332"/>
                <a:gd name="T71" fmla="*/ 834609 h 1731"/>
                <a:gd name="T72" fmla="*/ 764381 w 2332"/>
                <a:gd name="T73" fmla="*/ 879198 h 1731"/>
                <a:gd name="T74" fmla="*/ 694455 w 2332"/>
                <a:gd name="T75" fmla="*/ 905427 h 1731"/>
                <a:gd name="T76" fmla="*/ 662988 w 2332"/>
                <a:gd name="T77" fmla="*/ 888116 h 1731"/>
                <a:gd name="T78" fmla="*/ 616225 w 2332"/>
                <a:gd name="T79" fmla="*/ 907001 h 1731"/>
                <a:gd name="T80" fmla="*/ 566840 w 2332"/>
                <a:gd name="T81" fmla="*/ 888116 h 1731"/>
                <a:gd name="T82" fmla="*/ 558973 w 2332"/>
                <a:gd name="T83" fmla="*/ 846674 h 1731"/>
                <a:gd name="T84" fmla="*/ 551980 w 2332"/>
                <a:gd name="T85" fmla="*/ 795265 h 1731"/>
                <a:gd name="T86" fmla="*/ 535373 w 2332"/>
                <a:gd name="T87" fmla="*/ 786872 h 1731"/>
                <a:gd name="T88" fmla="*/ 559410 w 2332"/>
                <a:gd name="T89" fmla="*/ 724971 h 1731"/>
                <a:gd name="T90" fmla="*/ 475498 w 2332"/>
                <a:gd name="T91" fmla="*/ 714480 h 1731"/>
                <a:gd name="T92" fmla="*/ 419995 w 2332"/>
                <a:gd name="T93" fmla="*/ 672513 h 1731"/>
                <a:gd name="T94" fmla="*/ 329527 w 2332"/>
                <a:gd name="T95" fmla="*/ 694021 h 1731"/>
                <a:gd name="T96" fmla="*/ 221579 w 2332"/>
                <a:gd name="T97" fmla="*/ 744381 h 1731"/>
                <a:gd name="T98" fmla="*/ 93526 w 2332"/>
                <a:gd name="T99" fmla="*/ 772708 h 1731"/>
                <a:gd name="T100" fmla="*/ 24037 w 2332"/>
                <a:gd name="T101" fmla="*/ 781626 h 1731"/>
                <a:gd name="T102" fmla="*/ 874 w 2332"/>
                <a:gd name="T103" fmla="*/ 746479 h 1731"/>
                <a:gd name="T104" fmla="*/ 42393 w 2332"/>
                <a:gd name="T105" fmla="*/ 705037 h 1731"/>
                <a:gd name="T106" fmla="*/ 32778 w 2332"/>
                <a:gd name="T107" fmla="*/ 651005 h 1731"/>
                <a:gd name="T108" fmla="*/ 49385 w 2332"/>
                <a:gd name="T109" fmla="*/ 613760 h 1731"/>
                <a:gd name="T110" fmla="*/ 25348 w 2332"/>
                <a:gd name="T111" fmla="*/ 494680 h 1731"/>
                <a:gd name="T112" fmla="*/ 49385 w 2332"/>
                <a:gd name="T113" fmla="*/ 505696 h 1731"/>
                <a:gd name="T114" fmla="*/ 46326 w 2332"/>
                <a:gd name="T115" fmla="*/ 452189 h 1731"/>
                <a:gd name="T116" fmla="*/ 64245 w 2332"/>
                <a:gd name="T117" fmla="*/ 401305 h 173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2" name="Freeform 193">
              <a:extLst>
                <a:ext uri="{FF2B5EF4-FFF2-40B4-BE49-F238E27FC236}">
                  <a16:creationId xmlns:a16="http://schemas.microsoft.com/office/drawing/2014/main" id="{19F26DA2-3258-4C1A-BEC4-E67FA3CA715F}"/>
                </a:ext>
              </a:extLst>
            </p:cNvPr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2735264" y="2643189"/>
              <a:ext cx="668337" cy="581025"/>
            </a:xfrm>
            <a:custGeom>
              <a:avLst/>
              <a:gdLst>
                <a:gd name="T0" fmla="*/ 541201 w 1535"/>
                <a:gd name="T1" fmla="*/ 484624 h 1109"/>
                <a:gd name="T2" fmla="*/ 565583 w 1535"/>
                <a:gd name="T3" fmla="*/ 514487 h 1109"/>
                <a:gd name="T4" fmla="*/ 531186 w 1535"/>
                <a:gd name="T5" fmla="*/ 523394 h 1109"/>
                <a:gd name="T6" fmla="*/ 512464 w 1535"/>
                <a:gd name="T7" fmla="*/ 573690 h 1109"/>
                <a:gd name="T8" fmla="*/ 463700 w 1535"/>
                <a:gd name="T9" fmla="*/ 527061 h 1109"/>
                <a:gd name="T10" fmla="*/ 432786 w 1535"/>
                <a:gd name="T11" fmla="*/ 530205 h 1109"/>
                <a:gd name="T12" fmla="*/ 397519 w 1535"/>
                <a:gd name="T13" fmla="*/ 544351 h 1109"/>
                <a:gd name="T14" fmla="*/ 342223 w 1535"/>
                <a:gd name="T15" fmla="*/ 508724 h 1109"/>
                <a:gd name="T16" fmla="*/ 282138 w 1535"/>
                <a:gd name="T17" fmla="*/ 480433 h 1109"/>
                <a:gd name="T18" fmla="*/ 256014 w 1535"/>
                <a:gd name="T19" fmla="*/ 462620 h 1109"/>
                <a:gd name="T20" fmla="*/ 233809 w 1535"/>
                <a:gd name="T21" fmla="*/ 437471 h 1109"/>
                <a:gd name="T22" fmla="*/ 211168 w 1535"/>
                <a:gd name="T23" fmla="*/ 432756 h 1109"/>
                <a:gd name="T24" fmla="*/ 191140 w 1535"/>
                <a:gd name="T25" fmla="*/ 396606 h 1109"/>
                <a:gd name="T26" fmla="*/ 203331 w 1535"/>
                <a:gd name="T27" fmla="*/ 369362 h 1109"/>
                <a:gd name="T28" fmla="*/ 195929 w 1535"/>
                <a:gd name="T29" fmla="*/ 314875 h 1109"/>
                <a:gd name="T30" fmla="*/ 153260 w 1535"/>
                <a:gd name="T31" fmla="*/ 245194 h 1109"/>
                <a:gd name="T32" fmla="*/ 132361 w 1535"/>
                <a:gd name="T33" fmla="*/ 223189 h 1109"/>
                <a:gd name="T34" fmla="*/ 127572 w 1535"/>
                <a:gd name="T35" fmla="*/ 193326 h 1109"/>
                <a:gd name="T36" fmla="*/ 94482 w 1535"/>
                <a:gd name="T37" fmla="*/ 129932 h 1109"/>
                <a:gd name="T38" fmla="*/ 72712 w 1535"/>
                <a:gd name="T39" fmla="*/ 38770 h 1109"/>
                <a:gd name="T40" fmla="*/ 36573 w 1535"/>
                <a:gd name="T41" fmla="*/ 54487 h 1109"/>
                <a:gd name="T42" fmla="*/ 49200 w 1535"/>
                <a:gd name="T43" fmla="*/ 116310 h 1109"/>
                <a:gd name="T44" fmla="*/ 65310 w 1535"/>
                <a:gd name="T45" fmla="*/ 170797 h 1109"/>
                <a:gd name="T46" fmla="*/ 85338 w 1535"/>
                <a:gd name="T47" fmla="*/ 210615 h 1109"/>
                <a:gd name="T48" fmla="*/ 87080 w 1535"/>
                <a:gd name="T49" fmla="*/ 243622 h 1109"/>
                <a:gd name="T50" fmla="*/ 92740 w 1535"/>
                <a:gd name="T51" fmla="*/ 274533 h 1109"/>
                <a:gd name="T52" fmla="*/ 112768 w 1535"/>
                <a:gd name="T53" fmla="*/ 299157 h 1109"/>
                <a:gd name="T54" fmla="*/ 93175 w 1535"/>
                <a:gd name="T55" fmla="*/ 312255 h 1109"/>
                <a:gd name="T56" fmla="*/ 84032 w 1535"/>
                <a:gd name="T57" fmla="*/ 283964 h 1109"/>
                <a:gd name="T58" fmla="*/ 52248 w 1535"/>
                <a:gd name="T59" fmla="*/ 248337 h 1109"/>
                <a:gd name="T60" fmla="*/ 63568 w 1535"/>
                <a:gd name="T61" fmla="*/ 220046 h 1109"/>
                <a:gd name="T62" fmla="*/ 38750 w 1535"/>
                <a:gd name="T63" fmla="*/ 191754 h 1109"/>
                <a:gd name="T64" fmla="*/ 11756 w 1535"/>
                <a:gd name="T65" fmla="*/ 160843 h 1109"/>
                <a:gd name="T66" fmla="*/ 28301 w 1535"/>
                <a:gd name="T67" fmla="*/ 151412 h 1109"/>
                <a:gd name="T68" fmla="*/ 27866 w 1535"/>
                <a:gd name="T69" fmla="*/ 117882 h 1109"/>
                <a:gd name="T70" fmla="*/ 2612 w 1535"/>
                <a:gd name="T71" fmla="*/ 61298 h 1109"/>
                <a:gd name="T72" fmla="*/ 16545 w 1535"/>
                <a:gd name="T73" fmla="*/ 2620 h 1109"/>
                <a:gd name="T74" fmla="*/ 91869 w 1535"/>
                <a:gd name="T75" fmla="*/ 9431 h 1109"/>
                <a:gd name="T76" fmla="*/ 157179 w 1535"/>
                <a:gd name="T77" fmla="*/ 39818 h 1109"/>
                <a:gd name="T78" fmla="*/ 216829 w 1535"/>
                <a:gd name="T79" fmla="*/ 28815 h 1109"/>
                <a:gd name="T80" fmla="*/ 258191 w 1535"/>
                <a:gd name="T81" fmla="*/ 28292 h 1109"/>
                <a:gd name="T82" fmla="*/ 275607 w 1535"/>
                <a:gd name="T83" fmla="*/ 57631 h 1109"/>
                <a:gd name="T84" fmla="*/ 304779 w 1535"/>
                <a:gd name="T85" fmla="*/ 112642 h 1109"/>
                <a:gd name="T86" fmla="*/ 326549 w 1535"/>
                <a:gd name="T87" fmla="*/ 100592 h 1109"/>
                <a:gd name="T88" fmla="*/ 357898 w 1535"/>
                <a:gd name="T89" fmla="*/ 92210 h 1109"/>
                <a:gd name="T90" fmla="*/ 382715 w 1535"/>
                <a:gd name="T91" fmla="*/ 127836 h 1109"/>
                <a:gd name="T92" fmla="*/ 394036 w 1535"/>
                <a:gd name="T93" fmla="*/ 189658 h 1109"/>
                <a:gd name="T94" fmla="*/ 419724 w 1535"/>
                <a:gd name="T95" fmla="*/ 212187 h 1109"/>
                <a:gd name="T96" fmla="*/ 425385 w 1535"/>
                <a:gd name="T97" fmla="*/ 238907 h 1109"/>
                <a:gd name="T98" fmla="*/ 405356 w 1535"/>
                <a:gd name="T99" fmla="*/ 257768 h 1109"/>
                <a:gd name="T100" fmla="*/ 399261 w 1535"/>
                <a:gd name="T101" fmla="*/ 332164 h 1109"/>
                <a:gd name="T102" fmla="*/ 416241 w 1535"/>
                <a:gd name="T103" fmla="*/ 414419 h 1109"/>
                <a:gd name="T104" fmla="*/ 458910 w 1535"/>
                <a:gd name="T105" fmla="*/ 459476 h 1109"/>
                <a:gd name="T106" fmla="*/ 507675 w 1535"/>
                <a:gd name="T107" fmla="*/ 444806 h 1109"/>
                <a:gd name="T108" fmla="*/ 543813 w 1535"/>
                <a:gd name="T109" fmla="*/ 445330 h 1109"/>
                <a:gd name="T110" fmla="*/ 564277 w 1535"/>
                <a:gd name="T111" fmla="*/ 388747 h 1109"/>
                <a:gd name="T112" fmla="*/ 581693 w 1535"/>
                <a:gd name="T113" fmla="*/ 363075 h 1109"/>
                <a:gd name="T114" fmla="*/ 655710 w 1535"/>
                <a:gd name="T115" fmla="*/ 355216 h 1109"/>
                <a:gd name="T116" fmla="*/ 654404 w 1535"/>
                <a:gd name="T117" fmla="*/ 381936 h 1109"/>
                <a:gd name="T118" fmla="*/ 639165 w 1535"/>
                <a:gd name="T119" fmla="*/ 430137 h 1109"/>
                <a:gd name="T120" fmla="*/ 596061 w 1535"/>
                <a:gd name="T121" fmla="*/ 465239 h 110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33" name="Freeform 194">
              <a:extLst>
                <a:ext uri="{FF2B5EF4-FFF2-40B4-BE49-F238E27FC236}">
                  <a16:creationId xmlns:a16="http://schemas.microsoft.com/office/drawing/2014/main" id="{D9DAC137-0CB1-488B-81DE-1E17869A8CF7}"/>
                </a:ext>
              </a:extLst>
            </p:cNvPr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4010025" y="4283076"/>
              <a:ext cx="211138" cy="265113"/>
            </a:xfrm>
            <a:custGeom>
              <a:avLst/>
              <a:gdLst>
                <a:gd name="T0" fmla="*/ 6082 w 486"/>
                <a:gd name="T1" fmla="*/ 92396 h 505"/>
                <a:gd name="T2" fmla="*/ 13468 w 486"/>
                <a:gd name="T3" fmla="*/ 103945 h 505"/>
                <a:gd name="T4" fmla="*/ 22156 w 486"/>
                <a:gd name="T5" fmla="*/ 121794 h 505"/>
                <a:gd name="T6" fmla="*/ 35624 w 486"/>
                <a:gd name="T7" fmla="*/ 139644 h 505"/>
                <a:gd name="T8" fmla="*/ 54739 w 486"/>
                <a:gd name="T9" fmla="*/ 153818 h 505"/>
                <a:gd name="T10" fmla="*/ 73855 w 486"/>
                <a:gd name="T11" fmla="*/ 162743 h 505"/>
                <a:gd name="T12" fmla="*/ 106872 w 486"/>
                <a:gd name="T13" fmla="*/ 172192 h 505"/>
                <a:gd name="T14" fmla="*/ 128160 w 486"/>
                <a:gd name="T15" fmla="*/ 180592 h 505"/>
                <a:gd name="T16" fmla="*/ 129898 w 486"/>
                <a:gd name="T17" fmla="*/ 200016 h 505"/>
                <a:gd name="T18" fmla="*/ 120340 w 486"/>
                <a:gd name="T19" fmla="*/ 219440 h 505"/>
                <a:gd name="T20" fmla="*/ 115996 w 486"/>
                <a:gd name="T21" fmla="*/ 232564 h 505"/>
                <a:gd name="T22" fmla="*/ 115561 w 486"/>
                <a:gd name="T23" fmla="*/ 243064 h 505"/>
                <a:gd name="T24" fmla="*/ 120774 w 486"/>
                <a:gd name="T25" fmla="*/ 253039 h 505"/>
                <a:gd name="T26" fmla="*/ 129898 w 486"/>
                <a:gd name="T27" fmla="*/ 259338 h 505"/>
                <a:gd name="T28" fmla="*/ 149447 w 486"/>
                <a:gd name="T29" fmla="*/ 264588 h 505"/>
                <a:gd name="T30" fmla="*/ 168128 w 486"/>
                <a:gd name="T31" fmla="*/ 264588 h 505"/>
                <a:gd name="T32" fmla="*/ 180293 w 486"/>
                <a:gd name="T33" fmla="*/ 259338 h 505"/>
                <a:gd name="T34" fmla="*/ 193760 w 486"/>
                <a:gd name="T35" fmla="*/ 248839 h 505"/>
                <a:gd name="T36" fmla="*/ 205490 w 486"/>
                <a:gd name="T37" fmla="*/ 234664 h 505"/>
                <a:gd name="T38" fmla="*/ 210704 w 486"/>
                <a:gd name="T39" fmla="*/ 219440 h 505"/>
                <a:gd name="T40" fmla="*/ 210269 w 486"/>
                <a:gd name="T41" fmla="*/ 208416 h 505"/>
                <a:gd name="T42" fmla="*/ 207662 w 486"/>
                <a:gd name="T43" fmla="*/ 187941 h 505"/>
                <a:gd name="T44" fmla="*/ 204621 w 486"/>
                <a:gd name="T45" fmla="*/ 165892 h 505"/>
                <a:gd name="T46" fmla="*/ 202015 w 486"/>
                <a:gd name="T47" fmla="*/ 141744 h 505"/>
                <a:gd name="T48" fmla="*/ 198105 w 486"/>
                <a:gd name="T49" fmla="*/ 132294 h 505"/>
                <a:gd name="T50" fmla="*/ 190719 w 486"/>
                <a:gd name="T51" fmla="*/ 125469 h 505"/>
                <a:gd name="T52" fmla="*/ 179424 w 486"/>
                <a:gd name="T53" fmla="*/ 121794 h 505"/>
                <a:gd name="T54" fmla="*/ 170301 w 486"/>
                <a:gd name="T55" fmla="*/ 116545 h 505"/>
                <a:gd name="T56" fmla="*/ 160743 w 486"/>
                <a:gd name="T57" fmla="*/ 108670 h 505"/>
                <a:gd name="T58" fmla="*/ 143365 w 486"/>
                <a:gd name="T59" fmla="*/ 98696 h 505"/>
                <a:gd name="T60" fmla="*/ 125988 w 486"/>
                <a:gd name="T61" fmla="*/ 90296 h 505"/>
                <a:gd name="T62" fmla="*/ 118602 w 486"/>
                <a:gd name="T63" fmla="*/ 83996 h 505"/>
                <a:gd name="T64" fmla="*/ 114692 w 486"/>
                <a:gd name="T65" fmla="*/ 79271 h 505"/>
                <a:gd name="T66" fmla="*/ 113389 w 486"/>
                <a:gd name="T67" fmla="*/ 65622 h 505"/>
                <a:gd name="T68" fmla="*/ 113389 w 486"/>
                <a:gd name="T69" fmla="*/ 47248 h 505"/>
                <a:gd name="T70" fmla="*/ 110782 w 486"/>
                <a:gd name="T71" fmla="*/ 37273 h 505"/>
                <a:gd name="T72" fmla="*/ 104700 w 486"/>
                <a:gd name="T73" fmla="*/ 28874 h 505"/>
                <a:gd name="T74" fmla="*/ 101659 w 486"/>
                <a:gd name="T75" fmla="*/ 19424 h 505"/>
                <a:gd name="T76" fmla="*/ 86454 w 486"/>
                <a:gd name="T77" fmla="*/ 6300 h 505"/>
                <a:gd name="T78" fmla="*/ 80806 w 486"/>
                <a:gd name="T79" fmla="*/ 4200 h 505"/>
                <a:gd name="T80" fmla="*/ 75158 w 486"/>
                <a:gd name="T81" fmla="*/ 1050 h 505"/>
                <a:gd name="T82" fmla="*/ 60387 w 486"/>
                <a:gd name="T83" fmla="*/ 525 h 505"/>
                <a:gd name="T84" fmla="*/ 30411 w 486"/>
                <a:gd name="T85" fmla="*/ 5775 h 505"/>
                <a:gd name="T86" fmla="*/ 18246 w 486"/>
                <a:gd name="T87" fmla="*/ 11025 h 505"/>
                <a:gd name="T88" fmla="*/ 10427 w 486"/>
                <a:gd name="T89" fmla="*/ 19424 h 505"/>
                <a:gd name="T90" fmla="*/ 8689 w 486"/>
                <a:gd name="T91" fmla="*/ 33598 h 5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4" name="Freeform 195">
              <a:extLst>
                <a:ext uri="{FF2B5EF4-FFF2-40B4-BE49-F238E27FC236}">
                  <a16:creationId xmlns:a16="http://schemas.microsoft.com/office/drawing/2014/main" id="{848CAB08-2825-4C7E-A7CC-A2D18127381B}"/>
                </a:ext>
              </a:extLst>
            </p:cNvPr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4179889" y="3487739"/>
              <a:ext cx="73025" cy="109537"/>
            </a:xfrm>
            <a:custGeom>
              <a:avLst/>
              <a:gdLst>
                <a:gd name="T0" fmla="*/ 3079 w 166"/>
                <a:gd name="T1" fmla="*/ 96371 h 208"/>
                <a:gd name="T2" fmla="*/ 34753 w 166"/>
                <a:gd name="T3" fmla="*/ 109537 h 208"/>
                <a:gd name="T4" fmla="*/ 37392 w 166"/>
                <a:gd name="T5" fmla="*/ 109010 h 208"/>
                <a:gd name="T6" fmla="*/ 39592 w 166"/>
                <a:gd name="T7" fmla="*/ 107431 h 208"/>
                <a:gd name="T8" fmla="*/ 42671 w 166"/>
                <a:gd name="T9" fmla="*/ 104271 h 208"/>
                <a:gd name="T10" fmla="*/ 45751 w 166"/>
                <a:gd name="T11" fmla="*/ 101111 h 208"/>
                <a:gd name="T12" fmla="*/ 51469 w 166"/>
                <a:gd name="T13" fmla="*/ 92685 h 208"/>
                <a:gd name="T14" fmla="*/ 57188 w 166"/>
                <a:gd name="T15" fmla="*/ 83206 h 208"/>
                <a:gd name="T16" fmla="*/ 67746 w 166"/>
                <a:gd name="T17" fmla="*/ 64248 h 208"/>
                <a:gd name="T18" fmla="*/ 73025 w 166"/>
                <a:gd name="T19" fmla="*/ 54242 h 208"/>
                <a:gd name="T20" fmla="*/ 63347 w 166"/>
                <a:gd name="T21" fmla="*/ 49502 h 208"/>
                <a:gd name="T22" fmla="*/ 55429 w 166"/>
                <a:gd name="T23" fmla="*/ 44236 h 208"/>
                <a:gd name="T24" fmla="*/ 47510 w 166"/>
                <a:gd name="T25" fmla="*/ 38970 h 208"/>
                <a:gd name="T26" fmla="*/ 40912 w 166"/>
                <a:gd name="T27" fmla="*/ 33704 h 208"/>
                <a:gd name="T28" fmla="*/ 37832 w 166"/>
                <a:gd name="T29" fmla="*/ 30544 h 208"/>
                <a:gd name="T30" fmla="*/ 35633 w 166"/>
                <a:gd name="T31" fmla="*/ 27911 h 208"/>
                <a:gd name="T32" fmla="*/ 32993 w 166"/>
                <a:gd name="T33" fmla="*/ 24751 h 208"/>
                <a:gd name="T34" fmla="*/ 31234 w 166"/>
                <a:gd name="T35" fmla="*/ 21065 h 208"/>
                <a:gd name="T36" fmla="*/ 29474 w 166"/>
                <a:gd name="T37" fmla="*/ 17378 h 208"/>
                <a:gd name="T38" fmla="*/ 28154 w 166"/>
                <a:gd name="T39" fmla="*/ 13692 h 208"/>
                <a:gd name="T40" fmla="*/ 27274 w 166"/>
                <a:gd name="T41" fmla="*/ 9479 h 208"/>
                <a:gd name="T42" fmla="*/ 26395 w 166"/>
                <a:gd name="T43" fmla="*/ 5793 h 208"/>
                <a:gd name="T44" fmla="*/ 21995 w 166"/>
                <a:gd name="T45" fmla="*/ 5266 h 208"/>
                <a:gd name="T46" fmla="*/ 18916 w 166"/>
                <a:gd name="T47" fmla="*/ 4213 h 208"/>
                <a:gd name="T48" fmla="*/ 17596 w 166"/>
                <a:gd name="T49" fmla="*/ 2633 h 208"/>
                <a:gd name="T50" fmla="*/ 17156 w 166"/>
                <a:gd name="T51" fmla="*/ 1580 h 208"/>
                <a:gd name="T52" fmla="*/ 16717 w 166"/>
                <a:gd name="T53" fmla="*/ 527 h 208"/>
                <a:gd name="T54" fmla="*/ 15837 w 166"/>
                <a:gd name="T55" fmla="*/ 0 h 208"/>
                <a:gd name="T56" fmla="*/ 14077 w 166"/>
                <a:gd name="T57" fmla="*/ 527 h 208"/>
                <a:gd name="T58" fmla="*/ 11878 w 166"/>
                <a:gd name="T59" fmla="*/ 2633 h 208"/>
                <a:gd name="T60" fmla="*/ 8798 w 166"/>
                <a:gd name="T61" fmla="*/ 5793 h 208"/>
                <a:gd name="T62" fmla="*/ 4839 w 166"/>
                <a:gd name="T63" fmla="*/ 11586 h 208"/>
                <a:gd name="T64" fmla="*/ 3079 w 166"/>
                <a:gd name="T65" fmla="*/ 15272 h 208"/>
                <a:gd name="T66" fmla="*/ 1760 w 166"/>
                <a:gd name="T67" fmla="*/ 19485 h 208"/>
                <a:gd name="T68" fmla="*/ 880 w 166"/>
                <a:gd name="T69" fmla="*/ 23698 h 208"/>
                <a:gd name="T70" fmla="*/ 0 w 166"/>
                <a:gd name="T71" fmla="*/ 28437 h 208"/>
                <a:gd name="T72" fmla="*/ 0 w 166"/>
                <a:gd name="T73" fmla="*/ 31597 h 208"/>
                <a:gd name="T74" fmla="*/ 880 w 166"/>
                <a:gd name="T75" fmla="*/ 34230 h 208"/>
                <a:gd name="T76" fmla="*/ 1320 w 166"/>
                <a:gd name="T77" fmla="*/ 36863 h 208"/>
                <a:gd name="T78" fmla="*/ 2200 w 166"/>
                <a:gd name="T79" fmla="*/ 40023 h 208"/>
                <a:gd name="T80" fmla="*/ 4399 w 166"/>
                <a:gd name="T81" fmla="*/ 45289 h 208"/>
                <a:gd name="T82" fmla="*/ 7478 w 166"/>
                <a:gd name="T83" fmla="*/ 51609 h 208"/>
                <a:gd name="T84" fmla="*/ 9678 w 166"/>
                <a:gd name="T85" fmla="*/ 57402 h 208"/>
                <a:gd name="T86" fmla="*/ 12317 w 166"/>
                <a:gd name="T87" fmla="*/ 63194 h 208"/>
                <a:gd name="T88" fmla="*/ 13197 w 166"/>
                <a:gd name="T89" fmla="*/ 66354 h 208"/>
                <a:gd name="T90" fmla="*/ 14077 w 166"/>
                <a:gd name="T91" fmla="*/ 70040 h 208"/>
                <a:gd name="T92" fmla="*/ 14517 w 166"/>
                <a:gd name="T93" fmla="*/ 73200 h 208"/>
                <a:gd name="T94" fmla="*/ 14517 w 166"/>
                <a:gd name="T95" fmla="*/ 77413 h 208"/>
                <a:gd name="T96" fmla="*/ 14077 w 166"/>
                <a:gd name="T97" fmla="*/ 80573 h 208"/>
                <a:gd name="T98" fmla="*/ 13637 w 166"/>
                <a:gd name="T99" fmla="*/ 83733 h 208"/>
                <a:gd name="T100" fmla="*/ 12317 w 166"/>
                <a:gd name="T101" fmla="*/ 86892 h 208"/>
                <a:gd name="T102" fmla="*/ 10998 w 166"/>
                <a:gd name="T103" fmla="*/ 88999 h 208"/>
                <a:gd name="T104" fmla="*/ 9238 w 166"/>
                <a:gd name="T105" fmla="*/ 91632 h 208"/>
                <a:gd name="T106" fmla="*/ 7478 w 166"/>
                <a:gd name="T107" fmla="*/ 93212 h 208"/>
                <a:gd name="T108" fmla="*/ 4839 w 166"/>
                <a:gd name="T109" fmla="*/ 94792 h 208"/>
                <a:gd name="T110" fmla="*/ 3079 w 166"/>
                <a:gd name="T111" fmla="*/ 96371 h 20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5" name="Freeform 196">
              <a:extLst>
                <a:ext uri="{FF2B5EF4-FFF2-40B4-BE49-F238E27FC236}">
                  <a16:creationId xmlns:a16="http://schemas.microsoft.com/office/drawing/2014/main" id="{DA7FF010-962C-4951-B78B-17A2BC06354B}"/>
                </a:ext>
              </a:extLst>
            </p:cNvPr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3694113" y="3046414"/>
              <a:ext cx="69850" cy="58737"/>
            </a:xfrm>
            <a:custGeom>
              <a:avLst/>
              <a:gdLst>
                <a:gd name="T0" fmla="*/ 65165 w 164"/>
                <a:gd name="T1" fmla="*/ 58737 h 104"/>
                <a:gd name="T2" fmla="*/ 57073 w 164"/>
                <a:gd name="T3" fmla="*/ 57607 h 104"/>
                <a:gd name="T4" fmla="*/ 46851 w 164"/>
                <a:gd name="T5" fmla="*/ 54784 h 104"/>
                <a:gd name="T6" fmla="*/ 40888 w 164"/>
                <a:gd name="T7" fmla="*/ 53089 h 104"/>
                <a:gd name="T8" fmla="*/ 34073 w 164"/>
                <a:gd name="T9" fmla="*/ 52524 h 104"/>
                <a:gd name="T10" fmla="*/ 31092 w 164"/>
                <a:gd name="T11" fmla="*/ 52524 h 104"/>
                <a:gd name="T12" fmla="*/ 27259 w 164"/>
                <a:gd name="T13" fmla="*/ 53089 h 104"/>
                <a:gd name="T14" fmla="*/ 23425 w 164"/>
                <a:gd name="T15" fmla="*/ 54219 h 104"/>
                <a:gd name="T16" fmla="*/ 20018 w 164"/>
                <a:gd name="T17" fmla="*/ 55348 h 104"/>
                <a:gd name="T18" fmla="*/ 17463 w 164"/>
                <a:gd name="T19" fmla="*/ 56478 h 104"/>
                <a:gd name="T20" fmla="*/ 14481 w 164"/>
                <a:gd name="T21" fmla="*/ 56478 h 104"/>
                <a:gd name="T22" fmla="*/ 11500 w 164"/>
                <a:gd name="T23" fmla="*/ 55913 h 104"/>
                <a:gd name="T24" fmla="*/ 8092 w 164"/>
                <a:gd name="T25" fmla="*/ 54219 h 104"/>
                <a:gd name="T26" fmla="*/ 4685 w 164"/>
                <a:gd name="T27" fmla="*/ 51960 h 104"/>
                <a:gd name="T28" fmla="*/ 2555 w 164"/>
                <a:gd name="T29" fmla="*/ 49701 h 104"/>
                <a:gd name="T30" fmla="*/ 1278 w 164"/>
                <a:gd name="T31" fmla="*/ 48571 h 104"/>
                <a:gd name="T32" fmla="*/ 426 w 164"/>
                <a:gd name="T33" fmla="*/ 47441 h 104"/>
                <a:gd name="T34" fmla="*/ 0 w 164"/>
                <a:gd name="T35" fmla="*/ 45747 h 104"/>
                <a:gd name="T36" fmla="*/ 0 w 164"/>
                <a:gd name="T37" fmla="*/ 44618 h 104"/>
                <a:gd name="T38" fmla="*/ 0 w 164"/>
                <a:gd name="T39" fmla="*/ 42923 h 104"/>
                <a:gd name="T40" fmla="*/ 426 w 164"/>
                <a:gd name="T41" fmla="*/ 41794 h 104"/>
                <a:gd name="T42" fmla="*/ 1278 w 164"/>
                <a:gd name="T43" fmla="*/ 40099 h 104"/>
                <a:gd name="T44" fmla="*/ 2555 w 164"/>
                <a:gd name="T45" fmla="*/ 39535 h 104"/>
                <a:gd name="T46" fmla="*/ 5111 w 164"/>
                <a:gd name="T47" fmla="*/ 37840 h 104"/>
                <a:gd name="T48" fmla="*/ 8518 w 164"/>
                <a:gd name="T49" fmla="*/ 37275 h 104"/>
                <a:gd name="T50" fmla="*/ 17037 w 164"/>
                <a:gd name="T51" fmla="*/ 37275 h 104"/>
                <a:gd name="T52" fmla="*/ 25981 w 164"/>
                <a:gd name="T53" fmla="*/ 37840 h 104"/>
                <a:gd name="T54" fmla="*/ 29814 w 164"/>
                <a:gd name="T55" fmla="*/ 37840 h 104"/>
                <a:gd name="T56" fmla="*/ 33647 w 164"/>
                <a:gd name="T57" fmla="*/ 37840 h 104"/>
                <a:gd name="T58" fmla="*/ 37055 w 164"/>
                <a:gd name="T59" fmla="*/ 37840 h 104"/>
                <a:gd name="T60" fmla="*/ 40036 w 164"/>
                <a:gd name="T61" fmla="*/ 37840 h 104"/>
                <a:gd name="T62" fmla="*/ 40036 w 164"/>
                <a:gd name="T63" fmla="*/ 31628 h 104"/>
                <a:gd name="T64" fmla="*/ 40036 w 164"/>
                <a:gd name="T65" fmla="*/ 24285 h 104"/>
                <a:gd name="T66" fmla="*/ 40036 w 164"/>
                <a:gd name="T67" fmla="*/ 16379 h 104"/>
                <a:gd name="T68" fmla="*/ 40036 w 164"/>
                <a:gd name="T69" fmla="*/ 10166 h 104"/>
                <a:gd name="T70" fmla="*/ 33647 w 164"/>
                <a:gd name="T71" fmla="*/ 9601 h 104"/>
                <a:gd name="T72" fmla="*/ 28536 w 164"/>
                <a:gd name="T73" fmla="*/ 8472 h 104"/>
                <a:gd name="T74" fmla="*/ 26407 w 164"/>
                <a:gd name="T75" fmla="*/ 7342 h 104"/>
                <a:gd name="T76" fmla="*/ 24277 w 164"/>
                <a:gd name="T77" fmla="*/ 5648 h 104"/>
                <a:gd name="T78" fmla="*/ 22148 w 164"/>
                <a:gd name="T79" fmla="*/ 3389 h 104"/>
                <a:gd name="T80" fmla="*/ 20018 w 164"/>
                <a:gd name="T81" fmla="*/ 0 h 104"/>
                <a:gd name="T82" fmla="*/ 62184 w 164"/>
                <a:gd name="T83" fmla="*/ 0 h 104"/>
                <a:gd name="T84" fmla="*/ 62609 w 164"/>
                <a:gd name="T85" fmla="*/ 3389 h 104"/>
                <a:gd name="T86" fmla="*/ 63035 w 164"/>
                <a:gd name="T87" fmla="*/ 7342 h 104"/>
                <a:gd name="T88" fmla="*/ 63887 w 164"/>
                <a:gd name="T89" fmla="*/ 10731 h 104"/>
                <a:gd name="T90" fmla="*/ 64739 w 164"/>
                <a:gd name="T91" fmla="*/ 14119 h 104"/>
                <a:gd name="T92" fmla="*/ 66443 w 164"/>
                <a:gd name="T93" fmla="*/ 19767 h 104"/>
                <a:gd name="T94" fmla="*/ 67720 w 164"/>
                <a:gd name="T95" fmla="*/ 25980 h 104"/>
                <a:gd name="T96" fmla="*/ 69424 w 164"/>
                <a:gd name="T97" fmla="*/ 30498 h 104"/>
                <a:gd name="T98" fmla="*/ 69850 w 164"/>
                <a:gd name="T99" fmla="*/ 35016 h 104"/>
                <a:gd name="T100" fmla="*/ 69424 w 164"/>
                <a:gd name="T101" fmla="*/ 36711 h 104"/>
                <a:gd name="T102" fmla="*/ 68146 w 164"/>
                <a:gd name="T103" fmla="*/ 38405 h 104"/>
                <a:gd name="T104" fmla="*/ 66869 w 164"/>
                <a:gd name="T105" fmla="*/ 40099 h 104"/>
                <a:gd name="T106" fmla="*/ 65165 w 164"/>
                <a:gd name="T107" fmla="*/ 41229 h 104"/>
                <a:gd name="T108" fmla="*/ 65165 w 164"/>
                <a:gd name="T109" fmla="*/ 58737 h 1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6" name="Freeform 197">
              <a:extLst>
                <a:ext uri="{FF2B5EF4-FFF2-40B4-BE49-F238E27FC236}">
                  <a16:creationId xmlns:a16="http://schemas.microsoft.com/office/drawing/2014/main" id="{80659816-8660-411B-BFCB-3DF30BEAC896}"/>
                </a:ext>
              </a:extLst>
            </p:cNvPr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4060826" y="5400675"/>
              <a:ext cx="23813" cy="57150"/>
            </a:xfrm>
            <a:custGeom>
              <a:avLst/>
              <a:gdLst>
                <a:gd name="T0" fmla="*/ 0 w 53"/>
                <a:gd name="T1" fmla="*/ 24063 h 19"/>
                <a:gd name="T2" fmla="*/ 3145 w 53"/>
                <a:gd name="T3" fmla="*/ 39103 h 19"/>
                <a:gd name="T4" fmla="*/ 6290 w 53"/>
                <a:gd name="T5" fmla="*/ 51134 h 19"/>
                <a:gd name="T6" fmla="*/ 9885 w 53"/>
                <a:gd name="T7" fmla="*/ 57150 h 19"/>
                <a:gd name="T8" fmla="*/ 13030 w 53"/>
                <a:gd name="T9" fmla="*/ 57150 h 19"/>
                <a:gd name="T10" fmla="*/ 15726 w 53"/>
                <a:gd name="T11" fmla="*/ 54142 h 19"/>
                <a:gd name="T12" fmla="*/ 18871 w 53"/>
                <a:gd name="T13" fmla="*/ 45118 h 19"/>
                <a:gd name="T14" fmla="*/ 21117 w 53"/>
                <a:gd name="T15" fmla="*/ 36095 h 19"/>
                <a:gd name="T16" fmla="*/ 23813 w 53"/>
                <a:gd name="T17" fmla="*/ 24063 h 19"/>
                <a:gd name="T18" fmla="*/ 21117 w 53"/>
                <a:gd name="T19" fmla="*/ 15039 h 19"/>
                <a:gd name="T20" fmla="*/ 18871 w 53"/>
                <a:gd name="T21" fmla="*/ 6016 h 19"/>
                <a:gd name="T22" fmla="*/ 15726 w 53"/>
                <a:gd name="T23" fmla="*/ 3008 h 19"/>
                <a:gd name="T24" fmla="*/ 13030 w 53"/>
                <a:gd name="T25" fmla="*/ 0 h 19"/>
                <a:gd name="T26" fmla="*/ 9885 w 53"/>
                <a:gd name="T27" fmla="*/ 0 h 19"/>
                <a:gd name="T28" fmla="*/ 6290 w 53"/>
                <a:gd name="T29" fmla="*/ 3008 h 19"/>
                <a:gd name="T30" fmla="*/ 3145 w 53"/>
                <a:gd name="T31" fmla="*/ 9024 h 19"/>
                <a:gd name="T32" fmla="*/ 0 w 53"/>
                <a:gd name="T33" fmla="*/ 24063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7" name="Freeform 198">
              <a:extLst>
                <a:ext uri="{FF2B5EF4-FFF2-40B4-BE49-F238E27FC236}">
                  <a16:creationId xmlns:a16="http://schemas.microsoft.com/office/drawing/2014/main" id="{B4995374-46F1-4492-8708-11381D39F4D1}"/>
                </a:ext>
              </a:extLst>
            </p:cNvPr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4025901" y="5380039"/>
              <a:ext cx="34925" cy="58737"/>
            </a:xfrm>
            <a:custGeom>
              <a:avLst/>
              <a:gdLst>
                <a:gd name="T0" fmla="*/ 0 w 80"/>
                <a:gd name="T1" fmla="*/ 0 h 18"/>
                <a:gd name="T2" fmla="*/ 437 w 80"/>
                <a:gd name="T3" fmla="*/ 19579 h 18"/>
                <a:gd name="T4" fmla="*/ 2183 w 80"/>
                <a:gd name="T5" fmla="*/ 39158 h 18"/>
                <a:gd name="T6" fmla="*/ 3493 w 80"/>
                <a:gd name="T7" fmla="*/ 45684 h 18"/>
                <a:gd name="T8" fmla="*/ 4802 w 80"/>
                <a:gd name="T9" fmla="*/ 52211 h 18"/>
                <a:gd name="T10" fmla="*/ 6548 w 80"/>
                <a:gd name="T11" fmla="*/ 58737 h 18"/>
                <a:gd name="T12" fmla="*/ 8731 w 80"/>
                <a:gd name="T13" fmla="*/ 58737 h 18"/>
                <a:gd name="T14" fmla="*/ 9604 w 80"/>
                <a:gd name="T15" fmla="*/ 48948 h 18"/>
                <a:gd name="T16" fmla="*/ 10478 w 80"/>
                <a:gd name="T17" fmla="*/ 42421 h 18"/>
                <a:gd name="T18" fmla="*/ 11351 w 80"/>
                <a:gd name="T19" fmla="*/ 35895 h 18"/>
                <a:gd name="T20" fmla="*/ 13533 w 80"/>
                <a:gd name="T21" fmla="*/ 32632 h 18"/>
                <a:gd name="T22" fmla="*/ 16589 w 80"/>
                <a:gd name="T23" fmla="*/ 26105 h 18"/>
                <a:gd name="T24" fmla="*/ 20518 w 80"/>
                <a:gd name="T25" fmla="*/ 22842 h 18"/>
                <a:gd name="T26" fmla="*/ 24884 w 80"/>
                <a:gd name="T27" fmla="*/ 22842 h 18"/>
                <a:gd name="T28" fmla="*/ 28813 w 80"/>
                <a:gd name="T29" fmla="*/ 19579 h 18"/>
                <a:gd name="T30" fmla="*/ 30559 w 80"/>
                <a:gd name="T31" fmla="*/ 16316 h 18"/>
                <a:gd name="T32" fmla="*/ 32306 w 80"/>
                <a:gd name="T33" fmla="*/ 13053 h 18"/>
                <a:gd name="T34" fmla="*/ 33615 w 80"/>
                <a:gd name="T35" fmla="*/ 6526 h 18"/>
                <a:gd name="T36" fmla="*/ 34925 w 80"/>
                <a:gd name="T37" fmla="*/ 0 h 18"/>
                <a:gd name="T38" fmla="*/ 0 w 80"/>
                <a:gd name="T39" fmla="*/ 0 h 1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8" name="Freeform 199">
              <a:extLst>
                <a:ext uri="{FF2B5EF4-FFF2-40B4-BE49-F238E27FC236}">
                  <a16:creationId xmlns:a16="http://schemas.microsoft.com/office/drawing/2014/main" id="{CAEE835A-C3B8-479E-9990-CF54FB4B3E02}"/>
                </a:ext>
              </a:extLst>
            </p:cNvPr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4025901" y="5359401"/>
              <a:ext cx="22225" cy="60325"/>
            </a:xfrm>
            <a:custGeom>
              <a:avLst/>
              <a:gdLst>
                <a:gd name="T0" fmla="*/ 9663 w 46"/>
                <a:gd name="T1" fmla="*/ 0 h 27"/>
                <a:gd name="T2" fmla="*/ 0 w 46"/>
                <a:gd name="T3" fmla="*/ 40217 h 27"/>
                <a:gd name="T4" fmla="*/ 4348 w 46"/>
                <a:gd name="T5" fmla="*/ 49154 h 27"/>
                <a:gd name="T6" fmla="*/ 7730 w 46"/>
                <a:gd name="T7" fmla="*/ 55856 h 27"/>
                <a:gd name="T8" fmla="*/ 11113 w 46"/>
                <a:gd name="T9" fmla="*/ 60325 h 27"/>
                <a:gd name="T10" fmla="*/ 14011 w 46"/>
                <a:gd name="T11" fmla="*/ 60325 h 27"/>
                <a:gd name="T12" fmla="*/ 15944 w 46"/>
                <a:gd name="T13" fmla="*/ 60325 h 27"/>
                <a:gd name="T14" fmla="*/ 17877 w 46"/>
                <a:gd name="T15" fmla="*/ 55856 h 27"/>
                <a:gd name="T16" fmla="*/ 20292 w 46"/>
                <a:gd name="T17" fmla="*/ 49154 h 27"/>
                <a:gd name="T18" fmla="*/ 22225 w 46"/>
                <a:gd name="T19" fmla="*/ 40217 h 27"/>
                <a:gd name="T20" fmla="*/ 19809 w 46"/>
                <a:gd name="T21" fmla="*/ 35748 h 27"/>
                <a:gd name="T22" fmla="*/ 15944 w 46"/>
                <a:gd name="T23" fmla="*/ 24577 h 27"/>
                <a:gd name="T24" fmla="*/ 12562 w 46"/>
                <a:gd name="T25" fmla="*/ 11171 h 27"/>
                <a:gd name="T26" fmla="*/ 9663 w 46"/>
                <a:gd name="T27" fmla="*/ 0 h 2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9" name="Freeform 200">
              <a:extLst>
                <a:ext uri="{FF2B5EF4-FFF2-40B4-BE49-F238E27FC236}">
                  <a16:creationId xmlns:a16="http://schemas.microsoft.com/office/drawing/2014/main" id="{FBCAABCD-7003-4AD3-ADBF-B067B42FCAD2}"/>
                </a:ext>
              </a:extLst>
            </p:cNvPr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3995738" y="5353051"/>
              <a:ext cx="25400" cy="60325"/>
            </a:xfrm>
            <a:custGeom>
              <a:avLst/>
              <a:gdLst>
                <a:gd name="T0" fmla="*/ 15993 w 54"/>
                <a:gd name="T1" fmla="*/ 0 h 39"/>
                <a:gd name="T2" fmla="*/ 9407 w 54"/>
                <a:gd name="T3" fmla="*/ 6187 h 39"/>
                <a:gd name="T4" fmla="*/ 4704 w 54"/>
                <a:gd name="T5" fmla="*/ 15468 h 39"/>
                <a:gd name="T6" fmla="*/ 2822 w 54"/>
                <a:gd name="T7" fmla="*/ 20108 h 39"/>
                <a:gd name="T8" fmla="*/ 1881 w 54"/>
                <a:gd name="T9" fmla="*/ 24749 h 39"/>
                <a:gd name="T10" fmla="*/ 941 w 54"/>
                <a:gd name="T11" fmla="*/ 30936 h 39"/>
                <a:gd name="T12" fmla="*/ 0 w 54"/>
                <a:gd name="T13" fmla="*/ 37123 h 39"/>
                <a:gd name="T14" fmla="*/ 941 w 54"/>
                <a:gd name="T15" fmla="*/ 43310 h 39"/>
                <a:gd name="T16" fmla="*/ 1411 w 54"/>
                <a:gd name="T17" fmla="*/ 49497 h 39"/>
                <a:gd name="T18" fmla="*/ 2352 w 54"/>
                <a:gd name="T19" fmla="*/ 54138 h 39"/>
                <a:gd name="T20" fmla="*/ 3763 w 54"/>
                <a:gd name="T21" fmla="*/ 57231 h 39"/>
                <a:gd name="T22" fmla="*/ 5174 w 54"/>
                <a:gd name="T23" fmla="*/ 58778 h 39"/>
                <a:gd name="T24" fmla="*/ 7526 w 54"/>
                <a:gd name="T25" fmla="*/ 60325 h 39"/>
                <a:gd name="T26" fmla="*/ 9407 w 54"/>
                <a:gd name="T27" fmla="*/ 60325 h 39"/>
                <a:gd name="T28" fmla="*/ 11759 w 54"/>
                <a:gd name="T29" fmla="*/ 60325 h 39"/>
                <a:gd name="T30" fmla="*/ 14111 w 54"/>
                <a:gd name="T31" fmla="*/ 58778 h 39"/>
                <a:gd name="T32" fmla="*/ 15993 w 54"/>
                <a:gd name="T33" fmla="*/ 57231 h 39"/>
                <a:gd name="T34" fmla="*/ 18344 w 54"/>
                <a:gd name="T35" fmla="*/ 54138 h 39"/>
                <a:gd name="T36" fmla="*/ 20226 w 54"/>
                <a:gd name="T37" fmla="*/ 51044 h 39"/>
                <a:gd name="T38" fmla="*/ 22107 w 54"/>
                <a:gd name="T39" fmla="*/ 46404 h 39"/>
                <a:gd name="T40" fmla="*/ 23519 w 54"/>
                <a:gd name="T41" fmla="*/ 40217 h 39"/>
                <a:gd name="T42" fmla="*/ 24459 w 54"/>
                <a:gd name="T43" fmla="*/ 34029 h 39"/>
                <a:gd name="T44" fmla="*/ 25400 w 54"/>
                <a:gd name="T45" fmla="*/ 27842 h 39"/>
                <a:gd name="T46" fmla="*/ 23989 w 54"/>
                <a:gd name="T47" fmla="*/ 26296 h 39"/>
                <a:gd name="T48" fmla="*/ 22578 w 54"/>
                <a:gd name="T49" fmla="*/ 24749 h 39"/>
                <a:gd name="T50" fmla="*/ 20696 w 54"/>
                <a:gd name="T51" fmla="*/ 21655 h 39"/>
                <a:gd name="T52" fmla="*/ 19756 w 54"/>
                <a:gd name="T53" fmla="*/ 17015 h 39"/>
                <a:gd name="T54" fmla="*/ 18344 w 54"/>
                <a:gd name="T55" fmla="*/ 12374 h 39"/>
                <a:gd name="T56" fmla="*/ 17404 w 54"/>
                <a:gd name="T57" fmla="*/ 7734 h 39"/>
                <a:gd name="T58" fmla="*/ 15993 w 54"/>
                <a:gd name="T59" fmla="*/ 3094 h 39"/>
                <a:gd name="T60" fmla="*/ 15993 w 54"/>
                <a:gd name="T61" fmla="*/ 0 h 3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0" name="Freeform 201">
              <a:extLst>
                <a:ext uri="{FF2B5EF4-FFF2-40B4-BE49-F238E27FC236}">
                  <a16:creationId xmlns:a16="http://schemas.microsoft.com/office/drawing/2014/main" id="{5E03B139-16F4-4785-9821-BFBB4D0FF707}"/>
                </a:ext>
              </a:extLst>
            </p:cNvPr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3970339" y="5343525"/>
              <a:ext cx="28575" cy="58738"/>
            </a:xfrm>
            <a:custGeom>
              <a:avLst/>
              <a:gdLst>
                <a:gd name="T0" fmla="*/ 0 w 60"/>
                <a:gd name="T1" fmla="*/ 43075 h 15"/>
                <a:gd name="T2" fmla="*/ 4763 w 60"/>
                <a:gd name="T3" fmla="*/ 50906 h 15"/>
                <a:gd name="T4" fmla="*/ 8573 w 60"/>
                <a:gd name="T5" fmla="*/ 54822 h 15"/>
                <a:gd name="T6" fmla="*/ 12859 w 60"/>
                <a:gd name="T7" fmla="*/ 58738 h 15"/>
                <a:gd name="T8" fmla="*/ 16669 w 60"/>
                <a:gd name="T9" fmla="*/ 58738 h 15"/>
                <a:gd name="T10" fmla="*/ 19526 w 60"/>
                <a:gd name="T11" fmla="*/ 54822 h 15"/>
                <a:gd name="T12" fmla="*/ 22860 w 60"/>
                <a:gd name="T13" fmla="*/ 46990 h 15"/>
                <a:gd name="T14" fmla="*/ 26194 w 60"/>
                <a:gd name="T15" fmla="*/ 35243 h 15"/>
                <a:gd name="T16" fmla="*/ 28575 w 60"/>
                <a:gd name="T17" fmla="*/ 19579 h 15"/>
                <a:gd name="T18" fmla="*/ 27146 w 60"/>
                <a:gd name="T19" fmla="*/ 11748 h 15"/>
                <a:gd name="T20" fmla="*/ 25718 w 60"/>
                <a:gd name="T21" fmla="*/ 0 h 15"/>
                <a:gd name="T22" fmla="*/ 24289 w 60"/>
                <a:gd name="T23" fmla="*/ 0 h 15"/>
                <a:gd name="T24" fmla="*/ 22384 w 60"/>
                <a:gd name="T25" fmla="*/ 0 h 15"/>
                <a:gd name="T26" fmla="*/ 19050 w 60"/>
                <a:gd name="T27" fmla="*/ 0 h 15"/>
                <a:gd name="T28" fmla="*/ 15716 w 60"/>
                <a:gd name="T29" fmla="*/ 11748 h 15"/>
                <a:gd name="T30" fmla="*/ 11430 w 60"/>
                <a:gd name="T31" fmla="*/ 23495 h 15"/>
                <a:gd name="T32" fmla="*/ 7620 w 60"/>
                <a:gd name="T33" fmla="*/ 31327 h 15"/>
                <a:gd name="T34" fmla="*/ 3334 w 60"/>
                <a:gd name="T35" fmla="*/ 39159 h 15"/>
                <a:gd name="T36" fmla="*/ 0 w 60"/>
                <a:gd name="T37" fmla="*/ 43075 h 1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1" name="Freeform 202">
              <a:extLst>
                <a:ext uri="{FF2B5EF4-FFF2-40B4-BE49-F238E27FC236}">
                  <a16:creationId xmlns:a16="http://schemas.microsoft.com/office/drawing/2014/main" id="{99C28623-9452-4732-BBAD-849058BD1A7A}"/>
                </a:ext>
              </a:extLst>
            </p:cNvPr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3946525" y="5330825"/>
              <a:ext cx="33338" cy="57150"/>
            </a:xfrm>
            <a:custGeom>
              <a:avLst/>
              <a:gdLst>
                <a:gd name="T0" fmla="*/ 16880 w 79"/>
                <a:gd name="T1" fmla="*/ 0 h 32"/>
                <a:gd name="T2" fmla="*/ 14348 w 79"/>
                <a:gd name="T3" fmla="*/ 1786 h 32"/>
                <a:gd name="T4" fmla="*/ 12660 w 79"/>
                <a:gd name="T5" fmla="*/ 3572 h 32"/>
                <a:gd name="T6" fmla="*/ 10550 w 79"/>
                <a:gd name="T7" fmla="*/ 7144 h 32"/>
                <a:gd name="T8" fmla="*/ 8440 w 79"/>
                <a:gd name="T9" fmla="*/ 10716 h 32"/>
                <a:gd name="T10" fmla="*/ 6330 w 79"/>
                <a:gd name="T11" fmla="*/ 16073 h 32"/>
                <a:gd name="T12" fmla="*/ 4220 w 79"/>
                <a:gd name="T13" fmla="*/ 19645 h 32"/>
                <a:gd name="T14" fmla="*/ 2110 w 79"/>
                <a:gd name="T15" fmla="*/ 21431 h 32"/>
                <a:gd name="T16" fmla="*/ 0 w 79"/>
                <a:gd name="T17" fmla="*/ 23217 h 32"/>
                <a:gd name="T18" fmla="*/ 2110 w 79"/>
                <a:gd name="T19" fmla="*/ 37505 h 32"/>
                <a:gd name="T20" fmla="*/ 4220 w 79"/>
                <a:gd name="T21" fmla="*/ 46434 h 32"/>
                <a:gd name="T22" fmla="*/ 5064 w 79"/>
                <a:gd name="T23" fmla="*/ 51792 h 32"/>
                <a:gd name="T24" fmla="*/ 6330 w 79"/>
                <a:gd name="T25" fmla="*/ 55364 h 32"/>
                <a:gd name="T26" fmla="*/ 7596 w 79"/>
                <a:gd name="T27" fmla="*/ 55364 h 32"/>
                <a:gd name="T28" fmla="*/ 8440 w 79"/>
                <a:gd name="T29" fmla="*/ 57150 h 32"/>
                <a:gd name="T30" fmla="*/ 11394 w 79"/>
                <a:gd name="T31" fmla="*/ 55364 h 32"/>
                <a:gd name="T32" fmla="*/ 14348 w 79"/>
                <a:gd name="T33" fmla="*/ 53578 h 32"/>
                <a:gd name="T34" fmla="*/ 17302 w 79"/>
                <a:gd name="T35" fmla="*/ 48220 h 32"/>
                <a:gd name="T36" fmla="*/ 20256 w 79"/>
                <a:gd name="T37" fmla="*/ 42863 h 32"/>
                <a:gd name="T38" fmla="*/ 26164 w 79"/>
                <a:gd name="T39" fmla="*/ 32147 h 32"/>
                <a:gd name="T40" fmla="*/ 33338 w 79"/>
                <a:gd name="T41" fmla="*/ 23217 h 32"/>
                <a:gd name="T42" fmla="*/ 28274 w 79"/>
                <a:gd name="T43" fmla="*/ 10716 h 32"/>
                <a:gd name="T44" fmla="*/ 24476 w 79"/>
                <a:gd name="T45" fmla="*/ 3572 h 32"/>
                <a:gd name="T46" fmla="*/ 20678 w 79"/>
                <a:gd name="T47" fmla="*/ 1786 h 32"/>
                <a:gd name="T48" fmla="*/ 16880 w 79"/>
                <a:gd name="T49" fmla="*/ 0 h 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2" name="Freeform 203">
              <a:extLst>
                <a:ext uri="{FF2B5EF4-FFF2-40B4-BE49-F238E27FC236}">
                  <a16:creationId xmlns:a16="http://schemas.microsoft.com/office/drawing/2014/main" id="{61C6BFAE-612F-4916-9516-6DEC120482E2}"/>
                </a:ext>
              </a:extLst>
            </p:cNvPr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3940176" y="5311775"/>
              <a:ext cx="30163" cy="57150"/>
            </a:xfrm>
            <a:custGeom>
              <a:avLst/>
              <a:gdLst>
                <a:gd name="T0" fmla="*/ 15082 w 66"/>
                <a:gd name="T1" fmla="*/ 0 h 19"/>
                <a:gd name="T2" fmla="*/ 11425 w 66"/>
                <a:gd name="T3" fmla="*/ 3008 h 19"/>
                <a:gd name="T4" fmla="*/ 8683 w 66"/>
                <a:gd name="T5" fmla="*/ 6016 h 19"/>
                <a:gd name="T6" fmla="*/ 5941 w 66"/>
                <a:gd name="T7" fmla="*/ 12032 h 19"/>
                <a:gd name="T8" fmla="*/ 4113 w 66"/>
                <a:gd name="T9" fmla="*/ 21055 h 19"/>
                <a:gd name="T10" fmla="*/ 2285 w 66"/>
                <a:gd name="T11" fmla="*/ 33087 h 19"/>
                <a:gd name="T12" fmla="*/ 914 w 66"/>
                <a:gd name="T13" fmla="*/ 42111 h 19"/>
                <a:gd name="T14" fmla="*/ 0 w 66"/>
                <a:gd name="T15" fmla="*/ 51134 h 19"/>
                <a:gd name="T16" fmla="*/ 0 w 66"/>
                <a:gd name="T17" fmla="*/ 57150 h 19"/>
                <a:gd name="T18" fmla="*/ 8683 w 66"/>
                <a:gd name="T19" fmla="*/ 57150 h 19"/>
                <a:gd name="T20" fmla="*/ 17367 w 66"/>
                <a:gd name="T21" fmla="*/ 57150 h 19"/>
                <a:gd name="T22" fmla="*/ 21023 w 66"/>
                <a:gd name="T23" fmla="*/ 54142 h 19"/>
                <a:gd name="T24" fmla="*/ 24679 w 66"/>
                <a:gd name="T25" fmla="*/ 51134 h 19"/>
                <a:gd name="T26" fmla="*/ 27878 w 66"/>
                <a:gd name="T27" fmla="*/ 45118 h 19"/>
                <a:gd name="T28" fmla="*/ 30163 w 66"/>
                <a:gd name="T29" fmla="*/ 39103 h 19"/>
                <a:gd name="T30" fmla="*/ 26050 w 66"/>
                <a:gd name="T31" fmla="*/ 24063 h 19"/>
                <a:gd name="T32" fmla="*/ 22851 w 66"/>
                <a:gd name="T33" fmla="*/ 12032 h 19"/>
                <a:gd name="T34" fmla="*/ 19195 w 66"/>
                <a:gd name="T35" fmla="*/ 3008 h 19"/>
                <a:gd name="T36" fmla="*/ 15082 w 66"/>
                <a:gd name="T37" fmla="*/ 0 h 1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3" name="Freeform 204">
              <a:extLst>
                <a:ext uri="{FF2B5EF4-FFF2-40B4-BE49-F238E27FC236}">
                  <a16:creationId xmlns:a16="http://schemas.microsoft.com/office/drawing/2014/main" id="{8B39276C-E040-4C4C-B653-A8A9599BCBD7}"/>
                </a:ext>
              </a:extLst>
            </p:cNvPr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3840163" y="5002214"/>
              <a:ext cx="25400" cy="60325"/>
            </a:xfrm>
            <a:custGeom>
              <a:avLst/>
              <a:gdLst>
                <a:gd name="T0" fmla="*/ 6230 w 53"/>
                <a:gd name="T1" fmla="*/ 0 h 80"/>
                <a:gd name="T2" fmla="*/ 3834 w 53"/>
                <a:gd name="T3" fmla="*/ 3770 h 80"/>
                <a:gd name="T4" fmla="*/ 1917 w 53"/>
                <a:gd name="T5" fmla="*/ 7541 h 80"/>
                <a:gd name="T6" fmla="*/ 958 w 53"/>
                <a:gd name="T7" fmla="*/ 9803 h 80"/>
                <a:gd name="T8" fmla="*/ 479 w 53"/>
                <a:gd name="T9" fmla="*/ 12065 h 80"/>
                <a:gd name="T10" fmla="*/ 0 w 53"/>
                <a:gd name="T11" fmla="*/ 15081 h 80"/>
                <a:gd name="T12" fmla="*/ 0 w 53"/>
                <a:gd name="T13" fmla="*/ 18852 h 80"/>
                <a:gd name="T14" fmla="*/ 0 w 53"/>
                <a:gd name="T15" fmla="*/ 22622 h 80"/>
                <a:gd name="T16" fmla="*/ 958 w 53"/>
                <a:gd name="T17" fmla="*/ 29408 h 80"/>
                <a:gd name="T18" fmla="*/ 2875 w 53"/>
                <a:gd name="T19" fmla="*/ 36195 h 80"/>
                <a:gd name="T20" fmla="*/ 4313 w 53"/>
                <a:gd name="T21" fmla="*/ 42982 h 80"/>
                <a:gd name="T22" fmla="*/ 6230 w 53"/>
                <a:gd name="T23" fmla="*/ 49768 h 80"/>
                <a:gd name="T24" fmla="*/ 9585 w 53"/>
                <a:gd name="T25" fmla="*/ 55047 h 80"/>
                <a:gd name="T26" fmla="*/ 10543 w 53"/>
                <a:gd name="T27" fmla="*/ 57309 h 80"/>
                <a:gd name="T28" fmla="*/ 12460 w 53"/>
                <a:gd name="T29" fmla="*/ 58817 h 80"/>
                <a:gd name="T30" fmla="*/ 14377 w 53"/>
                <a:gd name="T31" fmla="*/ 60325 h 80"/>
                <a:gd name="T32" fmla="*/ 15815 w 53"/>
                <a:gd name="T33" fmla="*/ 60325 h 80"/>
                <a:gd name="T34" fmla="*/ 17253 w 53"/>
                <a:gd name="T35" fmla="*/ 59571 h 80"/>
                <a:gd name="T36" fmla="*/ 18211 w 53"/>
                <a:gd name="T37" fmla="*/ 58817 h 80"/>
                <a:gd name="T38" fmla="*/ 20128 w 53"/>
                <a:gd name="T39" fmla="*/ 57309 h 80"/>
                <a:gd name="T40" fmla="*/ 21566 w 53"/>
                <a:gd name="T41" fmla="*/ 55047 h 80"/>
                <a:gd name="T42" fmla="*/ 23004 w 53"/>
                <a:gd name="T43" fmla="*/ 52784 h 80"/>
                <a:gd name="T44" fmla="*/ 24442 w 53"/>
                <a:gd name="T45" fmla="*/ 50522 h 80"/>
                <a:gd name="T46" fmla="*/ 25400 w 53"/>
                <a:gd name="T47" fmla="*/ 48260 h 80"/>
                <a:gd name="T48" fmla="*/ 25400 w 53"/>
                <a:gd name="T49" fmla="*/ 46752 h 80"/>
                <a:gd name="T50" fmla="*/ 24921 w 53"/>
                <a:gd name="T51" fmla="*/ 40719 h 80"/>
                <a:gd name="T52" fmla="*/ 23483 w 53"/>
                <a:gd name="T53" fmla="*/ 35441 h 80"/>
                <a:gd name="T54" fmla="*/ 22045 w 53"/>
                <a:gd name="T55" fmla="*/ 31671 h 80"/>
                <a:gd name="T56" fmla="*/ 20608 w 53"/>
                <a:gd name="T57" fmla="*/ 27900 h 80"/>
                <a:gd name="T58" fmla="*/ 19170 w 53"/>
                <a:gd name="T59" fmla="*/ 24130 h 80"/>
                <a:gd name="T60" fmla="*/ 17253 w 53"/>
                <a:gd name="T61" fmla="*/ 20360 h 80"/>
                <a:gd name="T62" fmla="*/ 16294 w 53"/>
                <a:gd name="T63" fmla="*/ 15081 h 80"/>
                <a:gd name="T64" fmla="*/ 15815 w 53"/>
                <a:gd name="T65" fmla="*/ 9049 h 80"/>
                <a:gd name="T66" fmla="*/ 15815 w 53"/>
                <a:gd name="T67" fmla="*/ 7541 h 80"/>
                <a:gd name="T68" fmla="*/ 14857 w 53"/>
                <a:gd name="T69" fmla="*/ 6033 h 80"/>
                <a:gd name="T70" fmla="*/ 13898 w 53"/>
                <a:gd name="T71" fmla="*/ 4524 h 80"/>
                <a:gd name="T72" fmla="*/ 11981 w 53"/>
                <a:gd name="T73" fmla="*/ 3016 h 80"/>
                <a:gd name="T74" fmla="*/ 9106 w 53"/>
                <a:gd name="T75" fmla="*/ 754 h 80"/>
                <a:gd name="T76" fmla="*/ 6230 w 53"/>
                <a:gd name="T77" fmla="*/ 0 h 8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4" name="Freeform 205">
              <a:extLst>
                <a:ext uri="{FF2B5EF4-FFF2-40B4-BE49-F238E27FC236}">
                  <a16:creationId xmlns:a16="http://schemas.microsoft.com/office/drawing/2014/main" id="{EAABD62B-54E6-4703-BE78-9F81F8F1170F}"/>
                </a:ext>
              </a:extLst>
            </p:cNvPr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3870326" y="5097464"/>
              <a:ext cx="17463" cy="53975"/>
            </a:xfrm>
            <a:custGeom>
              <a:avLst/>
              <a:gdLst>
                <a:gd name="T0" fmla="*/ 0 w 41"/>
                <a:gd name="T1" fmla="*/ 53975 h 43"/>
                <a:gd name="T2" fmla="*/ 11500 w 41"/>
                <a:gd name="T3" fmla="*/ 53975 h 43"/>
                <a:gd name="T4" fmla="*/ 17463 w 41"/>
                <a:gd name="T5" fmla="*/ 30126 h 43"/>
                <a:gd name="T6" fmla="*/ 16185 w 41"/>
                <a:gd name="T7" fmla="*/ 15063 h 43"/>
                <a:gd name="T8" fmla="*/ 14482 w 41"/>
                <a:gd name="T9" fmla="*/ 0 h 43"/>
                <a:gd name="T10" fmla="*/ 11500 w 41"/>
                <a:gd name="T11" fmla="*/ 5021 h 43"/>
                <a:gd name="T12" fmla="*/ 8519 w 41"/>
                <a:gd name="T13" fmla="*/ 11297 h 43"/>
                <a:gd name="T14" fmla="*/ 6389 w 41"/>
                <a:gd name="T15" fmla="*/ 17573 h 43"/>
                <a:gd name="T16" fmla="*/ 4259 w 41"/>
                <a:gd name="T17" fmla="*/ 23849 h 43"/>
                <a:gd name="T18" fmla="*/ 2556 w 41"/>
                <a:gd name="T19" fmla="*/ 30126 h 43"/>
                <a:gd name="T20" fmla="*/ 1278 w 41"/>
                <a:gd name="T21" fmla="*/ 37657 h 43"/>
                <a:gd name="T22" fmla="*/ 426 w 41"/>
                <a:gd name="T23" fmla="*/ 46444 h 43"/>
                <a:gd name="T24" fmla="*/ 0 w 41"/>
                <a:gd name="T25" fmla="*/ 53975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5" name="Freeform 206">
              <a:extLst>
                <a:ext uri="{FF2B5EF4-FFF2-40B4-BE49-F238E27FC236}">
                  <a16:creationId xmlns:a16="http://schemas.microsoft.com/office/drawing/2014/main" id="{68B775DC-7CAE-4FDB-BC0E-F6099F0BFF97}"/>
                </a:ext>
              </a:extLst>
            </p:cNvPr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3875089" y="5119689"/>
              <a:ext cx="7937" cy="58737"/>
            </a:xfrm>
            <a:custGeom>
              <a:avLst/>
              <a:gdLst>
                <a:gd name="T0" fmla="*/ 7937 w 20"/>
                <a:gd name="T1" fmla="*/ 0 h 24"/>
                <a:gd name="T2" fmla="*/ 0 w 20"/>
                <a:gd name="T3" fmla="*/ 0 h 24"/>
                <a:gd name="T4" fmla="*/ 397 w 20"/>
                <a:gd name="T5" fmla="*/ 12237 h 24"/>
                <a:gd name="T6" fmla="*/ 794 w 20"/>
                <a:gd name="T7" fmla="*/ 22026 h 24"/>
                <a:gd name="T8" fmla="*/ 1587 w 20"/>
                <a:gd name="T9" fmla="*/ 31816 h 24"/>
                <a:gd name="T10" fmla="*/ 2778 w 20"/>
                <a:gd name="T11" fmla="*/ 41605 h 24"/>
                <a:gd name="T12" fmla="*/ 3969 w 20"/>
                <a:gd name="T13" fmla="*/ 48948 h 24"/>
                <a:gd name="T14" fmla="*/ 5556 w 20"/>
                <a:gd name="T15" fmla="*/ 53842 h 24"/>
                <a:gd name="T16" fmla="*/ 6746 w 20"/>
                <a:gd name="T17" fmla="*/ 58737 h 24"/>
                <a:gd name="T18" fmla="*/ 7937 w 20"/>
                <a:gd name="T19" fmla="*/ 58737 h 24"/>
                <a:gd name="T20" fmla="*/ 7937 w 20"/>
                <a:gd name="T21" fmla="*/ 0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" name="Freeform 207">
              <a:extLst>
                <a:ext uri="{FF2B5EF4-FFF2-40B4-BE49-F238E27FC236}">
                  <a16:creationId xmlns:a16="http://schemas.microsoft.com/office/drawing/2014/main" id="{BAADA6E5-8B34-4378-AC33-359FFE6D48AC}"/>
                </a:ext>
              </a:extLst>
            </p:cNvPr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3889376" y="5181601"/>
              <a:ext cx="17463" cy="60325"/>
            </a:xfrm>
            <a:custGeom>
              <a:avLst/>
              <a:gdLst>
                <a:gd name="T0" fmla="*/ 0 w 39"/>
                <a:gd name="T1" fmla="*/ 16835 h 43"/>
                <a:gd name="T2" fmla="*/ 896 w 39"/>
                <a:gd name="T3" fmla="*/ 23849 h 43"/>
                <a:gd name="T4" fmla="*/ 2687 w 39"/>
                <a:gd name="T5" fmla="*/ 30864 h 43"/>
                <a:gd name="T6" fmla="*/ 5373 w 39"/>
                <a:gd name="T7" fmla="*/ 37878 h 43"/>
                <a:gd name="T8" fmla="*/ 7164 w 39"/>
                <a:gd name="T9" fmla="*/ 44893 h 43"/>
                <a:gd name="T10" fmla="*/ 10299 w 39"/>
                <a:gd name="T11" fmla="*/ 51908 h 43"/>
                <a:gd name="T12" fmla="*/ 12538 w 39"/>
                <a:gd name="T13" fmla="*/ 56116 h 43"/>
                <a:gd name="T14" fmla="*/ 15224 w 39"/>
                <a:gd name="T15" fmla="*/ 60325 h 43"/>
                <a:gd name="T16" fmla="*/ 17463 w 39"/>
                <a:gd name="T17" fmla="*/ 60325 h 43"/>
                <a:gd name="T18" fmla="*/ 17015 w 39"/>
                <a:gd name="T19" fmla="*/ 44893 h 43"/>
                <a:gd name="T20" fmla="*/ 16120 w 39"/>
                <a:gd name="T21" fmla="*/ 26655 h 43"/>
                <a:gd name="T22" fmla="*/ 15224 w 39"/>
                <a:gd name="T23" fmla="*/ 11223 h 43"/>
                <a:gd name="T24" fmla="*/ 14329 w 39"/>
                <a:gd name="T25" fmla="*/ 0 h 43"/>
                <a:gd name="T26" fmla="*/ 8508 w 39"/>
                <a:gd name="T27" fmla="*/ 4209 h 43"/>
                <a:gd name="T28" fmla="*/ 2687 w 39"/>
                <a:gd name="T29" fmla="*/ 8417 h 43"/>
                <a:gd name="T30" fmla="*/ 0 w 39"/>
                <a:gd name="T31" fmla="*/ 16835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7" name="Freeform 208">
              <a:extLst>
                <a:ext uri="{FF2B5EF4-FFF2-40B4-BE49-F238E27FC236}">
                  <a16:creationId xmlns:a16="http://schemas.microsoft.com/office/drawing/2014/main" id="{E754AD7F-2707-4E82-9261-AE9187729341}"/>
                </a:ext>
              </a:extLst>
            </p:cNvPr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3876675" y="5194300"/>
              <a:ext cx="26988" cy="58738"/>
            </a:xfrm>
            <a:custGeom>
              <a:avLst/>
              <a:gdLst>
                <a:gd name="T0" fmla="*/ 14230 w 55"/>
                <a:gd name="T1" fmla="*/ 24632 h 62"/>
                <a:gd name="T2" fmla="*/ 3926 w 55"/>
                <a:gd name="T3" fmla="*/ 0 h 62"/>
                <a:gd name="T4" fmla="*/ 1963 w 55"/>
                <a:gd name="T5" fmla="*/ 4737 h 62"/>
                <a:gd name="T6" fmla="*/ 491 w 55"/>
                <a:gd name="T7" fmla="*/ 10421 h 62"/>
                <a:gd name="T8" fmla="*/ 0 w 55"/>
                <a:gd name="T9" fmla="*/ 15158 h 62"/>
                <a:gd name="T10" fmla="*/ 0 w 55"/>
                <a:gd name="T11" fmla="*/ 19895 h 62"/>
                <a:gd name="T12" fmla="*/ 981 w 55"/>
                <a:gd name="T13" fmla="*/ 24632 h 62"/>
                <a:gd name="T14" fmla="*/ 1963 w 55"/>
                <a:gd name="T15" fmla="*/ 29369 h 62"/>
                <a:gd name="T16" fmla="*/ 3926 w 55"/>
                <a:gd name="T17" fmla="*/ 34106 h 62"/>
                <a:gd name="T18" fmla="*/ 5398 w 55"/>
                <a:gd name="T19" fmla="*/ 38843 h 62"/>
                <a:gd name="T20" fmla="*/ 7851 w 55"/>
                <a:gd name="T21" fmla="*/ 42632 h 62"/>
                <a:gd name="T22" fmla="*/ 10305 w 55"/>
                <a:gd name="T23" fmla="*/ 46422 h 62"/>
                <a:gd name="T24" fmla="*/ 12758 w 55"/>
                <a:gd name="T25" fmla="*/ 50212 h 62"/>
                <a:gd name="T26" fmla="*/ 16193 w 55"/>
                <a:gd name="T27" fmla="*/ 53054 h 62"/>
                <a:gd name="T28" fmla="*/ 18646 w 55"/>
                <a:gd name="T29" fmla="*/ 54948 h 62"/>
                <a:gd name="T30" fmla="*/ 21590 w 55"/>
                <a:gd name="T31" fmla="*/ 56843 h 62"/>
                <a:gd name="T32" fmla="*/ 24044 w 55"/>
                <a:gd name="T33" fmla="*/ 57791 h 62"/>
                <a:gd name="T34" fmla="*/ 26988 w 55"/>
                <a:gd name="T35" fmla="*/ 58738 h 62"/>
                <a:gd name="T36" fmla="*/ 26497 w 55"/>
                <a:gd name="T37" fmla="*/ 50212 h 62"/>
                <a:gd name="T38" fmla="*/ 26007 w 55"/>
                <a:gd name="T39" fmla="*/ 43580 h 62"/>
                <a:gd name="T40" fmla="*/ 24044 w 55"/>
                <a:gd name="T41" fmla="*/ 37895 h 62"/>
                <a:gd name="T42" fmla="*/ 22572 w 55"/>
                <a:gd name="T43" fmla="*/ 33159 h 62"/>
                <a:gd name="T44" fmla="*/ 21100 w 55"/>
                <a:gd name="T45" fmla="*/ 29369 h 62"/>
                <a:gd name="T46" fmla="*/ 18646 w 55"/>
                <a:gd name="T47" fmla="*/ 26527 h 62"/>
                <a:gd name="T48" fmla="*/ 16193 w 55"/>
                <a:gd name="T49" fmla="*/ 24632 h 62"/>
                <a:gd name="T50" fmla="*/ 14230 w 55"/>
                <a:gd name="T51" fmla="*/ 24632 h 6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8" name="Freeform 209">
              <a:extLst>
                <a:ext uri="{FF2B5EF4-FFF2-40B4-BE49-F238E27FC236}">
                  <a16:creationId xmlns:a16="http://schemas.microsoft.com/office/drawing/2014/main" id="{8AA6B790-E8AF-4EF4-B25A-CD1B1B0BD85F}"/>
                </a:ext>
              </a:extLst>
            </p:cNvPr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3906838" y="5227639"/>
              <a:ext cx="11112" cy="58737"/>
            </a:xfrm>
            <a:custGeom>
              <a:avLst/>
              <a:gdLst>
                <a:gd name="T0" fmla="*/ 10477 w 35"/>
                <a:gd name="T1" fmla="*/ 17758 h 43"/>
                <a:gd name="T2" fmla="*/ 2222 w 35"/>
                <a:gd name="T3" fmla="*/ 0 h 43"/>
                <a:gd name="T4" fmla="*/ 1270 w 35"/>
                <a:gd name="T5" fmla="*/ 10928 h 43"/>
                <a:gd name="T6" fmla="*/ 0 w 35"/>
                <a:gd name="T7" fmla="*/ 25954 h 43"/>
                <a:gd name="T8" fmla="*/ 635 w 35"/>
                <a:gd name="T9" fmla="*/ 38247 h 43"/>
                <a:gd name="T10" fmla="*/ 1587 w 35"/>
                <a:gd name="T11" fmla="*/ 49175 h 43"/>
                <a:gd name="T12" fmla="*/ 1905 w 35"/>
                <a:gd name="T13" fmla="*/ 53273 h 43"/>
                <a:gd name="T14" fmla="*/ 2540 w 35"/>
                <a:gd name="T15" fmla="*/ 56005 h 43"/>
                <a:gd name="T16" fmla="*/ 3492 w 35"/>
                <a:gd name="T17" fmla="*/ 58737 h 43"/>
                <a:gd name="T18" fmla="*/ 4445 w 35"/>
                <a:gd name="T19" fmla="*/ 58737 h 43"/>
                <a:gd name="T20" fmla="*/ 5715 w 35"/>
                <a:gd name="T21" fmla="*/ 58737 h 43"/>
                <a:gd name="T22" fmla="*/ 6985 w 35"/>
                <a:gd name="T23" fmla="*/ 57371 h 43"/>
                <a:gd name="T24" fmla="*/ 8255 w 35"/>
                <a:gd name="T25" fmla="*/ 56005 h 43"/>
                <a:gd name="T26" fmla="*/ 8890 w 35"/>
                <a:gd name="T27" fmla="*/ 53273 h 43"/>
                <a:gd name="T28" fmla="*/ 9842 w 35"/>
                <a:gd name="T29" fmla="*/ 47809 h 43"/>
                <a:gd name="T30" fmla="*/ 10477 w 35"/>
                <a:gd name="T31" fmla="*/ 40979 h 43"/>
                <a:gd name="T32" fmla="*/ 11112 w 35"/>
                <a:gd name="T33" fmla="*/ 27320 h 43"/>
                <a:gd name="T34" fmla="*/ 10477 w 35"/>
                <a:gd name="T35" fmla="*/ 17758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9" name="Freeform 210">
              <a:extLst>
                <a:ext uri="{FF2B5EF4-FFF2-40B4-BE49-F238E27FC236}">
                  <a16:creationId xmlns:a16="http://schemas.microsoft.com/office/drawing/2014/main" id="{E90A7E63-BA1B-4D1E-8E68-3281E1085C4C}"/>
                </a:ext>
              </a:extLst>
            </p:cNvPr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3903664" y="5260976"/>
              <a:ext cx="20637" cy="55563"/>
            </a:xfrm>
            <a:custGeom>
              <a:avLst/>
              <a:gdLst>
                <a:gd name="T0" fmla="*/ 20637 w 53"/>
                <a:gd name="T1" fmla="*/ 0 h 21"/>
                <a:gd name="T2" fmla="*/ 15964 w 53"/>
                <a:gd name="T3" fmla="*/ 2646 h 21"/>
                <a:gd name="T4" fmla="*/ 12460 w 53"/>
                <a:gd name="T5" fmla="*/ 5292 h 21"/>
                <a:gd name="T6" fmla="*/ 9734 w 53"/>
                <a:gd name="T7" fmla="*/ 13229 h 21"/>
                <a:gd name="T8" fmla="*/ 8177 w 53"/>
                <a:gd name="T9" fmla="*/ 18521 h 21"/>
                <a:gd name="T10" fmla="*/ 6619 w 53"/>
                <a:gd name="T11" fmla="*/ 26459 h 21"/>
                <a:gd name="T12" fmla="*/ 5062 w 53"/>
                <a:gd name="T13" fmla="*/ 34396 h 21"/>
                <a:gd name="T14" fmla="*/ 3115 w 53"/>
                <a:gd name="T15" fmla="*/ 42334 h 21"/>
                <a:gd name="T16" fmla="*/ 0 w 53"/>
                <a:gd name="T17" fmla="*/ 47625 h 21"/>
                <a:gd name="T18" fmla="*/ 1947 w 53"/>
                <a:gd name="T19" fmla="*/ 52917 h 21"/>
                <a:gd name="T20" fmla="*/ 4283 w 53"/>
                <a:gd name="T21" fmla="*/ 55563 h 21"/>
                <a:gd name="T22" fmla="*/ 6619 w 53"/>
                <a:gd name="T23" fmla="*/ 55563 h 21"/>
                <a:gd name="T24" fmla="*/ 9345 w 53"/>
                <a:gd name="T25" fmla="*/ 55563 h 21"/>
                <a:gd name="T26" fmla="*/ 14796 w 53"/>
                <a:gd name="T27" fmla="*/ 50271 h 21"/>
                <a:gd name="T28" fmla="*/ 20637 w 53"/>
                <a:gd name="T29" fmla="*/ 47625 h 21"/>
                <a:gd name="T30" fmla="*/ 20637 w 53"/>
                <a:gd name="T31" fmla="*/ 0 h 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0" name="Freeform 211">
              <a:extLst>
                <a:ext uri="{FF2B5EF4-FFF2-40B4-BE49-F238E27FC236}">
                  <a16:creationId xmlns:a16="http://schemas.microsoft.com/office/drawing/2014/main" id="{D69130BF-953A-4024-AAE7-48C77051E2AB}"/>
                </a:ext>
              </a:extLst>
            </p:cNvPr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3927476" y="5275263"/>
              <a:ext cx="17463" cy="57150"/>
            </a:xfrm>
            <a:custGeom>
              <a:avLst/>
              <a:gdLst>
                <a:gd name="T0" fmla="*/ 8935 w 43"/>
                <a:gd name="T1" fmla="*/ 0 h 38"/>
                <a:gd name="T2" fmla="*/ 4873 w 43"/>
                <a:gd name="T3" fmla="*/ 0 h 38"/>
                <a:gd name="T4" fmla="*/ 812 w 43"/>
                <a:gd name="T5" fmla="*/ 0 h 38"/>
                <a:gd name="T6" fmla="*/ 406 w 43"/>
                <a:gd name="T7" fmla="*/ 0 h 38"/>
                <a:gd name="T8" fmla="*/ 0 w 43"/>
                <a:gd name="T9" fmla="*/ 1504 h 38"/>
                <a:gd name="T10" fmla="*/ 0 w 43"/>
                <a:gd name="T11" fmla="*/ 4512 h 38"/>
                <a:gd name="T12" fmla="*/ 0 w 43"/>
                <a:gd name="T13" fmla="*/ 9024 h 38"/>
                <a:gd name="T14" fmla="*/ 406 w 43"/>
                <a:gd name="T15" fmla="*/ 15039 h 38"/>
                <a:gd name="T16" fmla="*/ 812 w 43"/>
                <a:gd name="T17" fmla="*/ 18047 h 38"/>
                <a:gd name="T18" fmla="*/ 1218 w 43"/>
                <a:gd name="T19" fmla="*/ 27071 h 38"/>
                <a:gd name="T20" fmla="*/ 2031 w 43"/>
                <a:gd name="T21" fmla="*/ 37599 h 38"/>
                <a:gd name="T22" fmla="*/ 4061 w 43"/>
                <a:gd name="T23" fmla="*/ 45118 h 38"/>
                <a:gd name="T24" fmla="*/ 6092 w 43"/>
                <a:gd name="T25" fmla="*/ 51134 h 38"/>
                <a:gd name="T26" fmla="*/ 8528 w 43"/>
                <a:gd name="T27" fmla="*/ 55646 h 38"/>
                <a:gd name="T28" fmla="*/ 10965 w 43"/>
                <a:gd name="T29" fmla="*/ 57150 h 38"/>
                <a:gd name="T30" fmla="*/ 14214 w 43"/>
                <a:gd name="T31" fmla="*/ 57150 h 38"/>
                <a:gd name="T32" fmla="*/ 17463 w 43"/>
                <a:gd name="T33" fmla="*/ 55646 h 38"/>
                <a:gd name="T34" fmla="*/ 16245 w 43"/>
                <a:gd name="T35" fmla="*/ 43614 h 38"/>
                <a:gd name="T36" fmla="*/ 14620 w 43"/>
                <a:gd name="T37" fmla="*/ 34591 h 38"/>
                <a:gd name="T38" fmla="*/ 13402 w 43"/>
                <a:gd name="T39" fmla="*/ 25567 h 38"/>
                <a:gd name="T40" fmla="*/ 12183 w 43"/>
                <a:gd name="T41" fmla="*/ 19551 h 38"/>
                <a:gd name="T42" fmla="*/ 10965 w 43"/>
                <a:gd name="T43" fmla="*/ 15039 h 38"/>
                <a:gd name="T44" fmla="*/ 9747 w 43"/>
                <a:gd name="T45" fmla="*/ 10528 h 38"/>
                <a:gd name="T46" fmla="*/ 9341 w 43"/>
                <a:gd name="T47" fmla="*/ 6016 h 38"/>
                <a:gd name="T48" fmla="*/ 8935 w 43"/>
                <a:gd name="T49" fmla="*/ 0 h 3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1" name="Freeform 212">
              <a:extLst>
                <a:ext uri="{FF2B5EF4-FFF2-40B4-BE49-F238E27FC236}">
                  <a16:creationId xmlns:a16="http://schemas.microsoft.com/office/drawing/2014/main" id="{C32DCA83-CD00-4421-AA47-73119669FA84}"/>
                </a:ext>
              </a:extLst>
            </p:cNvPr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3929063" y="5303838"/>
              <a:ext cx="6350" cy="57150"/>
            </a:xfrm>
            <a:custGeom>
              <a:avLst/>
              <a:gdLst>
                <a:gd name="T0" fmla="*/ 0 w 20"/>
                <a:gd name="T1" fmla="*/ 0 h 5"/>
                <a:gd name="T2" fmla="*/ 318 w 20"/>
                <a:gd name="T3" fmla="*/ 22860 h 5"/>
                <a:gd name="T4" fmla="*/ 635 w 20"/>
                <a:gd name="T5" fmla="*/ 34290 h 5"/>
                <a:gd name="T6" fmla="*/ 1270 w 20"/>
                <a:gd name="T7" fmla="*/ 45720 h 5"/>
                <a:gd name="T8" fmla="*/ 2223 w 20"/>
                <a:gd name="T9" fmla="*/ 57150 h 5"/>
                <a:gd name="T10" fmla="*/ 3493 w 20"/>
                <a:gd name="T11" fmla="*/ 45720 h 5"/>
                <a:gd name="T12" fmla="*/ 4445 w 20"/>
                <a:gd name="T13" fmla="*/ 34290 h 5"/>
                <a:gd name="T14" fmla="*/ 5398 w 20"/>
                <a:gd name="T15" fmla="*/ 22860 h 5"/>
                <a:gd name="T16" fmla="*/ 6350 w 20"/>
                <a:gd name="T17" fmla="*/ 0 h 5"/>
                <a:gd name="T18" fmla="*/ 0 w 20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2" name="Freeform 213">
              <a:extLst>
                <a:ext uri="{FF2B5EF4-FFF2-40B4-BE49-F238E27FC236}">
                  <a16:creationId xmlns:a16="http://schemas.microsoft.com/office/drawing/2014/main" id="{72D2C925-7C7E-486D-B9FC-E3F7BD6E6732}"/>
                </a:ext>
              </a:extLst>
            </p:cNvPr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4003676" y="5373688"/>
              <a:ext cx="34925" cy="57150"/>
            </a:xfrm>
            <a:custGeom>
              <a:avLst/>
              <a:gdLst>
                <a:gd name="T0" fmla="*/ 19137 w 73"/>
                <a:gd name="T1" fmla="*/ 0 h 22"/>
                <a:gd name="T2" fmla="*/ 15310 w 73"/>
                <a:gd name="T3" fmla="*/ 2598 h 22"/>
                <a:gd name="T4" fmla="*/ 12439 w 73"/>
                <a:gd name="T5" fmla="*/ 5195 h 22"/>
                <a:gd name="T6" fmla="*/ 9568 w 73"/>
                <a:gd name="T7" fmla="*/ 12989 h 22"/>
                <a:gd name="T8" fmla="*/ 7176 w 73"/>
                <a:gd name="T9" fmla="*/ 20782 h 22"/>
                <a:gd name="T10" fmla="*/ 2871 w 73"/>
                <a:gd name="T11" fmla="*/ 36368 h 22"/>
                <a:gd name="T12" fmla="*/ 0 w 73"/>
                <a:gd name="T13" fmla="*/ 49357 h 22"/>
                <a:gd name="T14" fmla="*/ 9568 w 73"/>
                <a:gd name="T15" fmla="*/ 51955 h 22"/>
                <a:gd name="T16" fmla="*/ 18659 w 73"/>
                <a:gd name="T17" fmla="*/ 57150 h 22"/>
                <a:gd name="T18" fmla="*/ 23443 w 73"/>
                <a:gd name="T19" fmla="*/ 57150 h 22"/>
                <a:gd name="T20" fmla="*/ 27270 w 73"/>
                <a:gd name="T21" fmla="*/ 57150 h 22"/>
                <a:gd name="T22" fmla="*/ 31098 w 73"/>
                <a:gd name="T23" fmla="*/ 54552 h 22"/>
                <a:gd name="T24" fmla="*/ 34925 w 73"/>
                <a:gd name="T25" fmla="*/ 49357 h 22"/>
                <a:gd name="T26" fmla="*/ 30619 w 73"/>
                <a:gd name="T27" fmla="*/ 36368 h 22"/>
                <a:gd name="T28" fmla="*/ 26792 w 73"/>
                <a:gd name="T29" fmla="*/ 20782 h 22"/>
                <a:gd name="T30" fmla="*/ 25357 w 73"/>
                <a:gd name="T31" fmla="*/ 12989 h 22"/>
                <a:gd name="T32" fmla="*/ 23443 w 73"/>
                <a:gd name="T33" fmla="*/ 5195 h 22"/>
                <a:gd name="T34" fmla="*/ 21051 w 73"/>
                <a:gd name="T35" fmla="*/ 2598 h 22"/>
                <a:gd name="T36" fmla="*/ 19137 w 73"/>
                <a:gd name="T37" fmla="*/ 0 h 2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3" name="Freeform 214">
              <a:extLst>
                <a:ext uri="{FF2B5EF4-FFF2-40B4-BE49-F238E27FC236}">
                  <a16:creationId xmlns:a16="http://schemas.microsoft.com/office/drawing/2014/main" id="{F922ACEE-702C-455C-BD2A-DFFD5DA8EB08}"/>
                </a:ext>
              </a:extLst>
            </p:cNvPr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4041776" y="5314951"/>
              <a:ext cx="123825" cy="100013"/>
            </a:xfrm>
            <a:custGeom>
              <a:avLst/>
              <a:gdLst>
                <a:gd name="T0" fmla="*/ 103555 w 281"/>
                <a:gd name="T1" fmla="*/ 87058 h 193"/>
                <a:gd name="T2" fmla="*/ 82844 w 281"/>
                <a:gd name="T3" fmla="*/ 88613 h 193"/>
                <a:gd name="T4" fmla="*/ 74031 w 281"/>
                <a:gd name="T5" fmla="*/ 87058 h 193"/>
                <a:gd name="T6" fmla="*/ 68302 w 281"/>
                <a:gd name="T7" fmla="*/ 84985 h 193"/>
                <a:gd name="T8" fmla="*/ 57286 w 281"/>
                <a:gd name="T9" fmla="*/ 69957 h 193"/>
                <a:gd name="T10" fmla="*/ 45828 w 281"/>
                <a:gd name="T11" fmla="*/ 48711 h 193"/>
                <a:gd name="T12" fmla="*/ 41422 w 281"/>
                <a:gd name="T13" fmla="*/ 38347 h 193"/>
                <a:gd name="T14" fmla="*/ 38337 w 281"/>
                <a:gd name="T15" fmla="*/ 26428 h 193"/>
                <a:gd name="T16" fmla="*/ 36575 w 281"/>
                <a:gd name="T17" fmla="*/ 13991 h 193"/>
                <a:gd name="T18" fmla="*/ 18948 w 281"/>
                <a:gd name="T19" fmla="*/ 0 h 193"/>
                <a:gd name="T20" fmla="*/ 12338 w 281"/>
                <a:gd name="T21" fmla="*/ 26947 h 193"/>
                <a:gd name="T22" fmla="*/ 7932 w 281"/>
                <a:gd name="T23" fmla="*/ 31610 h 193"/>
                <a:gd name="T24" fmla="*/ 2644 w 281"/>
                <a:gd name="T25" fmla="*/ 35756 h 193"/>
                <a:gd name="T26" fmla="*/ 0 w 281"/>
                <a:gd name="T27" fmla="*/ 37829 h 193"/>
                <a:gd name="T28" fmla="*/ 441 w 281"/>
                <a:gd name="T29" fmla="*/ 38865 h 193"/>
                <a:gd name="T30" fmla="*/ 3966 w 281"/>
                <a:gd name="T31" fmla="*/ 41974 h 193"/>
                <a:gd name="T32" fmla="*/ 16304 w 281"/>
                <a:gd name="T33" fmla="*/ 57520 h 193"/>
                <a:gd name="T34" fmla="*/ 19830 w 281"/>
                <a:gd name="T35" fmla="*/ 63221 h 193"/>
                <a:gd name="T36" fmla="*/ 23355 w 281"/>
                <a:gd name="T37" fmla="*/ 66848 h 193"/>
                <a:gd name="T38" fmla="*/ 27321 w 281"/>
                <a:gd name="T39" fmla="*/ 69439 h 193"/>
                <a:gd name="T40" fmla="*/ 31287 w 281"/>
                <a:gd name="T41" fmla="*/ 70475 h 193"/>
                <a:gd name="T42" fmla="*/ 33490 w 281"/>
                <a:gd name="T43" fmla="*/ 73066 h 193"/>
                <a:gd name="T44" fmla="*/ 34812 w 281"/>
                <a:gd name="T45" fmla="*/ 76694 h 193"/>
                <a:gd name="T46" fmla="*/ 37897 w 281"/>
                <a:gd name="T47" fmla="*/ 79285 h 193"/>
                <a:gd name="T48" fmla="*/ 43625 w 281"/>
                <a:gd name="T49" fmla="*/ 79803 h 193"/>
                <a:gd name="T50" fmla="*/ 46710 w 281"/>
                <a:gd name="T51" fmla="*/ 81358 h 193"/>
                <a:gd name="T52" fmla="*/ 48032 w 281"/>
                <a:gd name="T53" fmla="*/ 84467 h 193"/>
                <a:gd name="T54" fmla="*/ 48032 w 281"/>
                <a:gd name="T55" fmla="*/ 92758 h 193"/>
                <a:gd name="T56" fmla="*/ 48913 w 281"/>
                <a:gd name="T57" fmla="*/ 97940 h 193"/>
                <a:gd name="T58" fmla="*/ 50676 w 281"/>
                <a:gd name="T59" fmla="*/ 100013 h 193"/>
                <a:gd name="T60" fmla="*/ 56845 w 281"/>
                <a:gd name="T61" fmla="*/ 100013 h 193"/>
                <a:gd name="T62" fmla="*/ 72268 w 281"/>
                <a:gd name="T63" fmla="*/ 98977 h 193"/>
                <a:gd name="T64" fmla="*/ 79319 w 281"/>
                <a:gd name="T65" fmla="*/ 97940 h 193"/>
                <a:gd name="T66" fmla="*/ 84606 w 281"/>
                <a:gd name="T67" fmla="*/ 96386 h 193"/>
                <a:gd name="T68" fmla="*/ 93420 w 281"/>
                <a:gd name="T69" fmla="*/ 97422 h 193"/>
                <a:gd name="T70" fmla="*/ 123825 w 281"/>
                <a:gd name="T71" fmla="*/ 86540 h 19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4" name="Freeform 215">
              <a:extLst>
                <a:ext uri="{FF2B5EF4-FFF2-40B4-BE49-F238E27FC236}">
                  <a16:creationId xmlns:a16="http://schemas.microsoft.com/office/drawing/2014/main" id="{57792AB5-0581-4011-83B3-68991A9D6D74}"/>
                </a:ext>
              </a:extLst>
            </p:cNvPr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3594100" y="3081339"/>
              <a:ext cx="52388" cy="58737"/>
            </a:xfrm>
            <a:custGeom>
              <a:avLst/>
              <a:gdLst>
                <a:gd name="T0" fmla="*/ 0 w 120"/>
                <a:gd name="T1" fmla="*/ 18880 h 56"/>
                <a:gd name="T2" fmla="*/ 1746 w 120"/>
                <a:gd name="T3" fmla="*/ 27271 h 56"/>
                <a:gd name="T4" fmla="*/ 4366 w 120"/>
                <a:gd name="T5" fmla="*/ 34613 h 56"/>
                <a:gd name="T6" fmla="*/ 6549 w 120"/>
                <a:gd name="T7" fmla="*/ 38808 h 56"/>
                <a:gd name="T8" fmla="*/ 9168 w 120"/>
                <a:gd name="T9" fmla="*/ 43004 h 56"/>
                <a:gd name="T10" fmla="*/ 11787 w 120"/>
                <a:gd name="T11" fmla="*/ 46151 h 56"/>
                <a:gd name="T12" fmla="*/ 15280 w 120"/>
                <a:gd name="T13" fmla="*/ 48248 h 56"/>
                <a:gd name="T14" fmla="*/ 18772 w 120"/>
                <a:gd name="T15" fmla="*/ 50346 h 56"/>
                <a:gd name="T16" fmla="*/ 22265 w 120"/>
                <a:gd name="T17" fmla="*/ 51395 h 56"/>
                <a:gd name="T18" fmla="*/ 29250 w 120"/>
                <a:gd name="T19" fmla="*/ 52444 h 56"/>
                <a:gd name="T20" fmla="*/ 37108 w 120"/>
                <a:gd name="T21" fmla="*/ 53493 h 56"/>
                <a:gd name="T22" fmla="*/ 44530 w 120"/>
                <a:gd name="T23" fmla="*/ 54542 h 56"/>
                <a:gd name="T24" fmla="*/ 52388 w 120"/>
                <a:gd name="T25" fmla="*/ 58737 h 56"/>
                <a:gd name="T26" fmla="*/ 52388 w 120"/>
                <a:gd name="T27" fmla="*/ 38808 h 56"/>
                <a:gd name="T28" fmla="*/ 48459 w 120"/>
                <a:gd name="T29" fmla="*/ 35662 h 56"/>
                <a:gd name="T30" fmla="*/ 44530 w 120"/>
                <a:gd name="T31" fmla="*/ 31466 h 56"/>
                <a:gd name="T32" fmla="*/ 41037 w 120"/>
                <a:gd name="T33" fmla="*/ 25173 h 56"/>
                <a:gd name="T34" fmla="*/ 38418 w 120"/>
                <a:gd name="T35" fmla="*/ 18880 h 56"/>
                <a:gd name="T36" fmla="*/ 35362 w 120"/>
                <a:gd name="T37" fmla="*/ 13635 h 56"/>
                <a:gd name="T38" fmla="*/ 32743 w 120"/>
                <a:gd name="T39" fmla="*/ 7342 h 56"/>
                <a:gd name="T40" fmla="*/ 29250 w 120"/>
                <a:gd name="T41" fmla="*/ 3147 h 56"/>
                <a:gd name="T42" fmla="*/ 26194 w 120"/>
                <a:gd name="T43" fmla="*/ 0 h 56"/>
                <a:gd name="T44" fmla="*/ 24011 w 120"/>
                <a:gd name="T45" fmla="*/ 1049 h 56"/>
                <a:gd name="T46" fmla="*/ 20955 w 120"/>
                <a:gd name="T47" fmla="*/ 3147 h 56"/>
                <a:gd name="T48" fmla="*/ 17899 w 120"/>
                <a:gd name="T49" fmla="*/ 6293 h 56"/>
                <a:gd name="T50" fmla="*/ 14407 w 120"/>
                <a:gd name="T51" fmla="*/ 9440 h 56"/>
                <a:gd name="T52" fmla="*/ 10478 w 120"/>
                <a:gd name="T53" fmla="*/ 13635 h 56"/>
                <a:gd name="T54" fmla="*/ 6985 w 120"/>
                <a:gd name="T55" fmla="*/ 15733 h 56"/>
                <a:gd name="T56" fmla="*/ 3493 w 120"/>
                <a:gd name="T57" fmla="*/ 18880 h 56"/>
                <a:gd name="T58" fmla="*/ 0 w 120"/>
                <a:gd name="T59" fmla="*/ 18880 h 5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5" name="Freeform 216">
              <a:extLst>
                <a:ext uri="{FF2B5EF4-FFF2-40B4-BE49-F238E27FC236}">
                  <a16:creationId xmlns:a16="http://schemas.microsoft.com/office/drawing/2014/main" id="{1AC8FFE2-C67F-4892-8DD8-6FC5C7C1614E}"/>
                </a:ext>
              </a:extLst>
            </p:cNvPr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3451226" y="2943225"/>
              <a:ext cx="250825" cy="109538"/>
            </a:xfrm>
            <a:custGeom>
              <a:avLst/>
              <a:gdLst>
                <a:gd name="T0" fmla="*/ 55496 w 574"/>
                <a:gd name="T1" fmla="*/ 537 h 204"/>
                <a:gd name="T2" fmla="*/ 41513 w 574"/>
                <a:gd name="T3" fmla="*/ 3222 h 204"/>
                <a:gd name="T4" fmla="*/ 28841 w 574"/>
                <a:gd name="T5" fmla="*/ 8591 h 204"/>
                <a:gd name="T6" fmla="*/ 18790 w 574"/>
                <a:gd name="T7" fmla="*/ 13961 h 204"/>
                <a:gd name="T8" fmla="*/ 13109 w 574"/>
                <a:gd name="T9" fmla="*/ 18793 h 204"/>
                <a:gd name="T10" fmla="*/ 6992 w 574"/>
                <a:gd name="T11" fmla="*/ 27385 h 204"/>
                <a:gd name="T12" fmla="*/ 1748 w 574"/>
                <a:gd name="T13" fmla="*/ 38124 h 204"/>
                <a:gd name="T14" fmla="*/ 0 w 574"/>
                <a:gd name="T15" fmla="*/ 44030 h 204"/>
                <a:gd name="T16" fmla="*/ 437 w 574"/>
                <a:gd name="T17" fmla="*/ 46178 h 204"/>
                <a:gd name="T18" fmla="*/ 5681 w 574"/>
                <a:gd name="T19" fmla="*/ 46178 h 204"/>
                <a:gd name="T20" fmla="*/ 12672 w 574"/>
                <a:gd name="T21" fmla="*/ 44567 h 204"/>
                <a:gd name="T22" fmla="*/ 22723 w 574"/>
                <a:gd name="T23" fmla="*/ 40271 h 204"/>
                <a:gd name="T24" fmla="*/ 34958 w 574"/>
                <a:gd name="T25" fmla="*/ 31143 h 204"/>
                <a:gd name="T26" fmla="*/ 44572 w 574"/>
                <a:gd name="T27" fmla="*/ 24700 h 204"/>
                <a:gd name="T28" fmla="*/ 52000 w 574"/>
                <a:gd name="T29" fmla="*/ 21478 h 204"/>
                <a:gd name="T30" fmla="*/ 76471 w 574"/>
                <a:gd name="T31" fmla="*/ 19867 h 204"/>
                <a:gd name="T32" fmla="*/ 76908 w 574"/>
                <a:gd name="T33" fmla="*/ 25774 h 204"/>
                <a:gd name="T34" fmla="*/ 78656 w 574"/>
                <a:gd name="T35" fmla="*/ 29532 h 204"/>
                <a:gd name="T36" fmla="*/ 80404 w 574"/>
                <a:gd name="T37" fmla="*/ 31680 h 204"/>
                <a:gd name="T38" fmla="*/ 83026 w 574"/>
                <a:gd name="T39" fmla="*/ 32754 h 204"/>
                <a:gd name="T40" fmla="*/ 100068 w 574"/>
                <a:gd name="T41" fmla="*/ 32754 h 204"/>
                <a:gd name="T42" fmla="*/ 117547 w 574"/>
                <a:gd name="T43" fmla="*/ 41882 h 204"/>
                <a:gd name="T44" fmla="*/ 131967 w 574"/>
                <a:gd name="T45" fmla="*/ 51010 h 204"/>
                <a:gd name="T46" fmla="*/ 146824 w 574"/>
                <a:gd name="T47" fmla="*/ 59602 h 204"/>
                <a:gd name="T48" fmla="*/ 163867 w 574"/>
                <a:gd name="T49" fmla="*/ 66045 h 204"/>
                <a:gd name="T50" fmla="*/ 164303 w 574"/>
                <a:gd name="T51" fmla="*/ 71951 h 204"/>
                <a:gd name="T52" fmla="*/ 166925 w 574"/>
                <a:gd name="T53" fmla="*/ 76247 h 204"/>
                <a:gd name="T54" fmla="*/ 173043 w 574"/>
                <a:gd name="T55" fmla="*/ 81617 h 204"/>
                <a:gd name="T56" fmla="*/ 187026 w 574"/>
                <a:gd name="T57" fmla="*/ 89134 h 204"/>
                <a:gd name="T58" fmla="*/ 175665 w 574"/>
                <a:gd name="T59" fmla="*/ 102558 h 204"/>
                <a:gd name="T60" fmla="*/ 177850 w 574"/>
                <a:gd name="T61" fmla="*/ 105779 h 204"/>
                <a:gd name="T62" fmla="*/ 180909 w 574"/>
                <a:gd name="T63" fmla="*/ 107927 h 204"/>
                <a:gd name="T64" fmla="*/ 187463 w 574"/>
                <a:gd name="T65" fmla="*/ 109538 h 204"/>
                <a:gd name="T66" fmla="*/ 201447 w 574"/>
                <a:gd name="T67" fmla="*/ 109538 h 204"/>
                <a:gd name="T68" fmla="*/ 242522 w 574"/>
                <a:gd name="T69" fmla="*/ 101484 h 204"/>
                <a:gd name="T70" fmla="*/ 244270 w 574"/>
                <a:gd name="T71" fmla="*/ 98262 h 204"/>
                <a:gd name="T72" fmla="*/ 246892 w 574"/>
                <a:gd name="T73" fmla="*/ 95040 h 204"/>
                <a:gd name="T74" fmla="*/ 249951 w 574"/>
                <a:gd name="T75" fmla="*/ 92893 h 204"/>
                <a:gd name="T76" fmla="*/ 250825 w 574"/>
                <a:gd name="T77" fmla="*/ 86449 h 204"/>
                <a:gd name="T78" fmla="*/ 245144 w 574"/>
                <a:gd name="T79" fmla="*/ 82154 h 204"/>
                <a:gd name="T80" fmla="*/ 232472 w 574"/>
                <a:gd name="T81" fmla="*/ 79469 h 204"/>
                <a:gd name="T82" fmla="*/ 220237 w 574"/>
                <a:gd name="T83" fmla="*/ 74099 h 204"/>
                <a:gd name="T84" fmla="*/ 207564 w 574"/>
                <a:gd name="T85" fmla="*/ 66582 h 204"/>
                <a:gd name="T86" fmla="*/ 189211 w 574"/>
                <a:gd name="T87" fmla="*/ 53695 h 204"/>
                <a:gd name="T88" fmla="*/ 167362 w 574"/>
                <a:gd name="T89" fmla="*/ 36513 h 204"/>
                <a:gd name="T90" fmla="*/ 156438 w 574"/>
                <a:gd name="T91" fmla="*/ 28995 h 204"/>
                <a:gd name="T92" fmla="*/ 152068 w 574"/>
                <a:gd name="T93" fmla="*/ 27921 h 204"/>
                <a:gd name="T94" fmla="*/ 144203 w 574"/>
                <a:gd name="T95" fmla="*/ 27921 h 204"/>
                <a:gd name="T96" fmla="*/ 136337 w 574"/>
                <a:gd name="T97" fmla="*/ 27385 h 204"/>
                <a:gd name="T98" fmla="*/ 131967 w 574"/>
                <a:gd name="T99" fmla="*/ 26311 h 204"/>
                <a:gd name="T100" fmla="*/ 128471 w 574"/>
                <a:gd name="T101" fmla="*/ 23089 h 204"/>
                <a:gd name="T102" fmla="*/ 126723 w 574"/>
                <a:gd name="T103" fmla="*/ 17182 h 204"/>
                <a:gd name="T104" fmla="*/ 62051 w 574"/>
                <a:gd name="T105" fmla="*/ 0 h 20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6" name="Freeform 217">
              <a:extLst>
                <a:ext uri="{FF2B5EF4-FFF2-40B4-BE49-F238E27FC236}">
                  <a16:creationId xmlns:a16="http://schemas.microsoft.com/office/drawing/2014/main" id="{EAD7D3F1-6C31-4CE2-849D-A923C085FC1B}"/>
                </a:ext>
              </a:extLst>
            </p:cNvPr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3756025" y="3046413"/>
              <a:ext cx="88900" cy="69850"/>
            </a:xfrm>
            <a:custGeom>
              <a:avLst/>
              <a:gdLst>
                <a:gd name="T0" fmla="*/ 17608 w 207"/>
                <a:gd name="T1" fmla="*/ 69850 h 129"/>
                <a:gd name="T2" fmla="*/ 21473 w 207"/>
                <a:gd name="T3" fmla="*/ 65518 h 129"/>
                <a:gd name="T4" fmla="*/ 25768 w 207"/>
                <a:gd name="T5" fmla="*/ 62269 h 129"/>
                <a:gd name="T6" fmla="*/ 30063 w 207"/>
                <a:gd name="T7" fmla="*/ 59562 h 129"/>
                <a:gd name="T8" fmla="*/ 34787 w 207"/>
                <a:gd name="T9" fmla="*/ 56855 h 129"/>
                <a:gd name="T10" fmla="*/ 45094 w 207"/>
                <a:gd name="T11" fmla="*/ 53606 h 129"/>
                <a:gd name="T12" fmla="*/ 55401 w 207"/>
                <a:gd name="T13" fmla="*/ 49816 h 129"/>
                <a:gd name="T14" fmla="*/ 65279 w 207"/>
                <a:gd name="T15" fmla="*/ 47108 h 129"/>
                <a:gd name="T16" fmla="*/ 74298 w 207"/>
                <a:gd name="T17" fmla="*/ 43859 h 129"/>
                <a:gd name="T18" fmla="*/ 78163 w 207"/>
                <a:gd name="T19" fmla="*/ 41693 h 129"/>
                <a:gd name="T20" fmla="*/ 82029 w 207"/>
                <a:gd name="T21" fmla="*/ 39528 h 129"/>
                <a:gd name="T22" fmla="*/ 85894 w 207"/>
                <a:gd name="T23" fmla="*/ 36279 h 129"/>
                <a:gd name="T24" fmla="*/ 88900 w 207"/>
                <a:gd name="T25" fmla="*/ 33030 h 129"/>
                <a:gd name="T26" fmla="*/ 85035 w 207"/>
                <a:gd name="T27" fmla="*/ 29240 h 129"/>
                <a:gd name="T28" fmla="*/ 80740 w 207"/>
                <a:gd name="T29" fmla="*/ 25449 h 129"/>
                <a:gd name="T30" fmla="*/ 76875 w 207"/>
                <a:gd name="T31" fmla="*/ 22742 h 129"/>
                <a:gd name="T32" fmla="*/ 72580 w 207"/>
                <a:gd name="T33" fmla="*/ 19493 h 129"/>
                <a:gd name="T34" fmla="*/ 64420 w 207"/>
                <a:gd name="T35" fmla="*/ 15703 h 129"/>
                <a:gd name="T36" fmla="*/ 55401 w 207"/>
                <a:gd name="T37" fmla="*/ 12454 h 129"/>
                <a:gd name="T38" fmla="*/ 45953 w 207"/>
                <a:gd name="T39" fmla="*/ 9747 h 129"/>
                <a:gd name="T40" fmla="*/ 36505 w 207"/>
                <a:gd name="T41" fmla="*/ 7039 h 129"/>
                <a:gd name="T42" fmla="*/ 27057 w 207"/>
                <a:gd name="T43" fmla="*/ 3790 h 129"/>
                <a:gd name="T44" fmla="*/ 17608 w 207"/>
                <a:gd name="T45" fmla="*/ 0 h 129"/>
                <a:gd name="T46" fmla="*/ 0 w 207"/>
                <a:gd name="T47" fmla="*/ 0 h 129"/>
                <a:gd name="T48" fmla="*/ 429 w 207"/>
                <a:gd name="T49" fmla="*/ 3249 h 129"/>
                <a:gd name="T50" fmla="*/ 859 w 207"/>
                <a:gd name="T51" fmla="*/ 7039 h 129"/>
                <a:gd name="T52" fmla="*/ 1718 w 207"/>
                <a:gd name="T53" fmla="*/ 10288 h 129"/>
                <a:gd name="T54" fmla="*/ 2577 w 207"/>
                <a:gd name="T55" fmla="*/ 13537 h 129"/>
                <a:gd name="T56" fmla="*/ 4295 w 207"/>
                <a:gd name="T57" fmla="*/ 18952 h 129"/>
                <a:gd name="T58" fmla="*/ 5583 w 207"/>
                <a:gd name="T59" fmla="*/ 24908 h 129"/>
                <a:gd name="T60" fmla="*/ 7301 w 207"/>
                <a:gd name="T61" fmla="*/ 29240 h 129"/>
                <a:gd name="T62" fmla="*/ 7730 w 207"/>
                <a:gd name="T63" fmla="*/ 33571 h 129"/>
                <a:gd name="T64" fmla="*/ 7301 w 207"/>
                <a:gd name="T65" fmla="*/ 35196 h 129"/>
                <a:gd name="T66" fmla="*/ 6013 w 207"/>
                <a:gd name="T67" fmla="*/ 36820 h 129"/>
                <a:gd name="T68" fmla="*/ 4724 w 207"/>
                <a:gd name="T69" fmla="*/ 38445 h 129"/>
                <a:gd name="T70" fmla="*/ 3006 w 207"/>
                <a:gd name="T71" fmla="*/ 39528 h 129"/>
                <a:gd name="T72" fmla="*/ 0 w 207"/>
                <a:gd name="T73" fmla="*/ 56313 h 129"/>
                <a:gd name="T74" fmla="*/ 1718 w 207"/>
                <a:gd name="T75" fmla="*/ 57396 h 129"/>
                <a:gd name="T76" fmla="*/ 5583 w 207"/>
                <a:gd name="T77" fmla="*/ 59562 h 129"/>
                <a:gd name="T78" fmla="*/ 8160 w 207"/>
                <a:gd name="T79" fmla="*/ 61186 h 129"/>
                <a:gd name="T80" fmla="*/ 10737 w 207"/>
                <a:gd name="T81" fmla="*/ 63352 h 129"/>
                <a:gd name="T82" fmla="*/ 14172 w 207"/>
                <a:gd name="T83" fmla="*/ 66060 h 129"/>
                <a:gd name="T84" fmla="*/ 17608 w 207"/>
                <a:gd name="T85" fmla="*/ 69850 h 12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7" name="Freeform 218">
              <a:extLst>
                <a:ext uri="{FF2B5EF4-FFF2-40B4-BE49-F238E27FC236}">
                  <a16:creationId xmlns:a16="http://schemas.microsoft.com/office/drawing/2014/main" id="{DE8C893B-9F22-418A-846C-10E447300EAB}"/>
                </a:ext>
              </a:extLst>
            </p:cNvPr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3324225" y="3106739"/>
              <a:ext cx="33338" cy="84137"/>
            </a:xfrm>
            <a:custGeom>
              <a:avLst/>
              <a:gdLst>
                <a:gd name="T0" fmla="*/ 33338 w 72"/>
                <a:gd name="T1" fmla="*/ 0 h 154"/>
                <a:gd name="T2" fmla="*/ 31949 w 72"/>
                <a:gd name="T3" fmla="*/ 2185 h 154"/>
                <a:gd name="T4" fmla="*/ 31023 w 72"/>
                <a:gd name="T5" fmla="*/ 4917 h 154"/>
                <a:gd name="T6" fmla="*/ 30560 w 72"/>
                <a:gd name="T7" fmla="*/ 7102 h 154"/>
                <a:gd name="T8" fmla="*/ 30560 w 72"/>
                <a:gd name="T9" fmla="*/ 9834 h 154"/>
                <a:gd name="T10" fmla="*/ 30560 w 72"/>
                <a:gd name="T11" fmla="*/ 14751 h 154"/>
                <a:gd name="T12" fmla="*/ 30560 w 72"/>
                <a:gd name="T13" fmla="*/ 20215 h 154"/>
                <a:gd name="T14" fmla="*/ 31949 w 72"/>
                <a:gd name="T15" fmla="*/ 23493 h 154"/>
                <a:gd name="T16" fmla="*/ 32875 w 72"/>
                <a:gd name="T17" fmla="*/ 27317 h 154"/>
                <a:gd name="T18" fmla="*/ 32875 w 72"/>
                <a:gd name="T19" fmla="*/ 31142 h 154"/>
                <a:gd name="T20" fmla="*/ 32875 w 72"/>
                <a:gd name="T21" fmla="*/ 35512 h 154"/>
                <a:gd name="T22" fmla="*/ 31949 w 72"/>
                <a:gd name="T23" fmla="*/ 39883 h 154"/>
                <a:gd name="T24" fmla="*/ 31023 w 72"/>
                <a:gd name="T25" fmla="*/ 44800 h 154"/>
                <a:gd name="T26" fmla="*/ 30097 w 72"/>
                <a:gd name="T27" fmla="*/ 49717 h 154"/>
                <a:gd name="T28" fmla="*/ 28245 w 72"/>
                <a:gd name="T29" fmla="*/ 54634 h 154"/>
                <a:gd name="T30" fmla="*/ 24540 w 72"/>
                <a:gd name="T31" fmla="*/ 63376 h 154"/>
                <a:gd name="T32" fmla="*/ 20373 w 72"/>
                <a:gd name="T33" fmla="*/ 71571 h 154"/>
                <a:gd name="T34" fmla="*/ 15743 w 72"/>
                <a:gd name="T35" fmla="*/ 78674 h 154"/>
                <a:gd name="T36" fmla="*/ 12039 w 72"/>
                <a:gd name="T37" fmla="*/ 84137 h 154"/>
                <a:gd name="T38" fmla="*/ 12039 w 72"/>
                <a:gd name="T39" fmla="*/ 77035 h 154"/>
                <a:gd name="T40" fmla="*/ 6945 w 72"/>
                <a:gd name="T41" fmla="*/ 78674 h 154"/>
                <a:gd name="T42" fmla="*/ 0 w 72"/>
                <a:gd name="T43" fmla="*/ 80859 h 154"/>
                <a:gd name="T44" fmla="*/ 1389 w 72"/>
                <a:gd name="T45" fmla="*/ 70478 h 154"/>
                <a:gd name="T46" fmla="*/ 3704 w 72"/>
                <a:gd name="T47" fmla="*/ 57366 h 154"/>
                <a:gd name="T48" fmla="*/ 4167 w 72"/>
                <a:gd name="T49" fmla="*/ 50264 h 154"/>
                <a:gd name="T50" fmla="*/ 5556 w 72"/>
                <a:gd name="T51" fmla="*/ 42069 h 154"/>
                <a:gd name="T52" fmla="*/ 6945 w 72"/>
                <a:gd name="T53" fmla="*/ 34420 h 154"/>
                <a:gd name="T54" fmla="*/ 9261 w 72"/>
                <a:gd name="T55" fmla="*/ 26771 h 154"/>
                <a:gd name="T56" fmla="*/ 9261 w 72"/>
                <a:gd name="T57" fmla="*/ 0 h 154"/>
                <a:gd name="T58" fmla="*/ 11576 w 72"/>
                <a:gd name="T59" fmla="*/ 0 h 154"/>
                <a:gd name="T60" fmla="*/ 17595 w 72"/>
                <a:gd name="T61" fmla="*/ 0 h 154"/>
                <a:gd name="T62" fmla="*/ 25930 w 72"/>
                <a:gd name="T63" fmla="*/ 0 h 154"/>
                <a:gd name="T64" fmla="*/ 33338 w 72"/>
                <a:gd name="T65" fmla="*/ 0 h 15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8" name="Freeform 219">
              <a:extLst>
                <a:ext uri="{FF2B5EF4-FFF2-40B4-BE49-F238E27FC236}">
                  <a16:creationId xmlns:a16="http://schemas.microsoft.com/office/drawing/2014/main" id="{C777EABE-A305-4E87-AA1F-1BD1DABC4314}"/>
                </a:ext>
              </a:extLst>
            </p:cNvPr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3244851" y="3106738"/>
              <a:ext cx="93663" cy="146050"/>
            </a:xfrm>
            <a:custGeom>
              <a:avLst/>
              <a:gdLst>
                <a:gd name="T0" fmla="*/ 3501 w 214"/>
                <a:gd name="T1" fmla="*/ 111558 h 271"/>
                <a:gd name="T2" fmla="*/ 5252 w 214"/>
                <a:gd name="T3" fmla="*/ 97546 h 271"/>
                <a:gd name="T4" fmla="*/ 10504 w 214"/>
                <a:gd name="T5" fmla="*/ 79762 h 271"/>
                <a:gd name="T6" fmla="*/ 15319 w 214"/>
                <a:gd name="T7" fmla="*/ 63594 h 271"/>
                <a:gd name="T8" fmla="*/ 19258 w 214"/>
                <a:gd name="T9" fmla="*/ 60360 h 271"/>
                <a:gd name="T10" fmla="*/ 28449 w 214"/>
                <a:gd name="T11" fmla="*/ 59821 h 271"/>
                <a:gd name="T12" fmla="*/ 38953 w 214"/>
                <a:gd name="T13" fmla="*/ 59821 h 271"/>
                <a:gd name="T14" fmla="*/ 46394 w 214"/>
                <a:gd name="T15" fmla="*/ 59282 h 271"/>
                <a:gd name="T16" fmla="*/ 52521 w 214"/>
                <a:gd name="T17" fmla="*/ 56588 h 271"/>
                <a:gd name="T18" fmla="*/ 56898 w 214"/>
                <a:gd name="T19" fmla="*/ 50659 h 271"/>
                <a:gd name="T20" fmla="*/ 49458 w 214"/>
                <a:gd name="T21" fmla="*/ 39342 h 271"/>
                <a:gd name="T22" fmla="*/ 37640 w 214"/>
                <a:gd name="T23" fmla="*/ 31258 h 271"/>
                <a:gd name="T24" fmla="*/ 33701 w 214"/>
                <a:gd name="T25" fmla="*/ 26408 h 271"/>
                <a:gd name="T26" fmla="*/ 32388 w 214"/>
                <a:gd name="T27" fmla="*/ 22096 h 271"/>
                <a:gd name="T28" fmla="*/ 32826 w 214"/>
                <a:gd name="T29" fmla="*/ 18324 h 271"/>
                <a:gd name="T30" fmla="*/ 35890 w 214"/>
                <a:gd name="T31" fmla="*/ 15090 h 271"/>
                <a:gd name="T32" fmla="*/ 44205 w 214"/>
                <a:gd name="T33" fmla="*/ 10240 h 271"/>
                <a:gd name="T34" fmla="*/ 65652 w 214"/>
                <a:gd name="T35" fmla="*/ 1617 h 271"/>
                <a:gd name="T36" fmla="*/ 78782 w 214"/>
                <a:gd name="T37" fmla="*/ 0 h 271"/>
                <a:gd name="T38" fmla="*/ 86660 w 214"/>
                <a:gd name="T39" fmla="*/ 0 h 271"/>
                <a:gd name="T40" fmla="*/ 90599 w 214"/>
                <a:gd name="T41" fmla="*/ 26408 h 271"/>
                <a:gd name="T42" fmla="*/ 87098 w 214"/>
                <a:gd name="T43" fmla="*/ 41498 h 271"/>
                <a:gd name="T44" fmla="*/ 85347 w 214"/>
                <a:gd name="T45" fmla="*/ 56588 h 271"/>
                <a:gd name="T46" fmla="*/ 81846 w 214"/>
                <a:gd name="T47" fmla="*/ 79762 h 271"/>
                <a:gd name="T48" fmla="*/ 93225 w 214"/>
                <a:gd name="T49" fmla="*/ 82995 h 271"/>
                <a:gd name="T50" fmla="*/ 93663 w 214"/>
                <a:gd name="T51" fmla="*/ 89462 h 271"/>
                <a:gd name="T52" fmla="*/ 91912 w 214"/>
                <a:gd name="T53" fmla="*/ 93774 h 271"/>
                <a:gd name="T54" fmla="*/ 90599 w 214"/>
                <a:gd name="T55" fmla="*/ 95391 h 271"/>
                <a:gd name="T56" fmla="*/ 87536 w 214"/>
                <a:gd name="T57" fmla="*/ 95930 h 271"/>
                <a:gd name="T58" fmla="*/ 84034 w 214"/>
                <a:gd name="T59" fmla="*/ 105630 h 271"/>
                <a:gd name="T60" fmla="*/ 79220 w 214"/>
                <a:gd name="T61" fmla="*/ 115331 h 271"/>
                <a:gd name="T62" fmla="*/ 67840 w 214"/>
                <a:gd name="T63" fmla="*/ 130960 h 271"/>
                <a:gd name="T64" fmla="*/ 52521 w 214"/>
                <a:gd name="T65" fmla="*/ 146050 h 271"/>
                <a:gd name="T66" fmla="*/ 38078 w 214"/>
                <a:gd name="T67" fmla="*/ 140661 h 271"/>
                <a:gd name="T68" fmla="*/ 24072 w 214"/>
                <a:gd name="T69" fmla="*/ 133655 h 271"/>
                <a:gd name="T70" fmla="*/ 0 w 214"/>
                <a:gd name="T71" fmla="*/ 119104 h 27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9" name="Freeform 220">
              <a:extLst>
                <a:ext uri="{FF2B5EF4-FFF2-40B4-BE49-F238E27FC236}">
                  <a16:creationId xmlns:a16="http://schemas.microsoft.com/office/drawing/2014/main" id="{1A7FF95E-9F8E-4571-8E6F-E734D6BD8626}"/>
                </a:ext>
              </a:extLst>
            </p:cNvPr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3292475" y="3217863"/>
              <a:ext cx="71438" cy="57150"/>
            </a:xfrm>
            <a:custGeom>
              <a:avLst/>
              <a:gdLst>
                <a:gd name="T0" fmla="*/ 28015 w 153"/>
                <a:gd name="T1" fmla="*/ 0 h 80"/>
                <a:gd name="T2" fmla="*/ 38754 w 153"/>
                <a:gd name="T3" fmla="*/ 10001 h 80"/>
                <a:gd name="T4" fmla="*/ 48559 w 153"/>
                <a:gd name="T5" fmla="*/ 17145 h 80"/>
                <a:gd name="T6" fmla="*/ 53695 w 153"/>
                <a:gd name="T7" fmla="*/ 20003 h 80"/>
                <a:gd name="T8" fmla="*/ 58831 w 153"/>
                <a:gd name="T9" fmla="*/ 22146 h 80"/>
                <a:gd name="T10" fmla="*/ 62100 w 153"/>
                <a:gd name="T11" fmla="*/ 22860 h 80"/>
                <a:gd name="T12" fmla="*/ 64901 w 153"/>
                <a:gd name="T13" fmla="*/ 22860 h 80"/>
                <a:gd name="T14" fmla="*/ 68170 w 153"/>
                <a:gd name="T15" fmla="*/ 22146 h 80"/>
                <a:gd name="T16" fmla="*/ 71438 w 153"/>
                <a:gd name="T17" fmla="*/ 21431 h 80"/>
                <a:gd name="T18" fmla="*/ 71438 w 153"/>
                <a:gd name="T19" fmla="*/ 40005 h 80"/>
                <a:gd name="T20" fmla="*/ 69570 w 153"/>
                <a:gd name="T21" fmla="*/ 42863 h 80"/>
                <a:gd name="T22" fmla="*/ 67703 w 153"/>
                <a:gd name="T23" fmla="*/ 46434 h 80"/>
                <a:gd name="T24" fmla="*/ 64434 w 153"/>
                <a:gd name="T25" fmla="*/ 49292 h 80"/>
                <a:gd name="T26" fmla="*/ 61633 w 153"/>
                <a:gd name="T27" fmla="*/ 51435 h 80"/>
                <a:gd name="T28" fmla="*/ 58364 w 153"/>
                <a:gd name="T29" fmla="*/ 53578 h 80"/>
                <a:gd name="T30" fmla="*/ 55563 w 153"/>
                <a:gd name="T31" fmla="*/ 55721 h 80"/>
                <a:gd name="T32" fmla="*/ 52294 w 153"/>
                <a:gd name="T33" fmla="*/ 56436 h 80"/>
                <a:gd name="T34" fmla="*/ 49493 w 153"/>
                <a:gd name="T35" fmla="*/ 57150 h 80"/>
                <a:gd name="T36" fmla="*/ 42022 w 153"/>
                <a:gd name="T37" fmla="*/ 52864 h 80"/>
                <a:gd name="T38" fmla="*/ 35486 w 153"/>
                <a:gd name="T39" fmla="*/ 50721 h 80"/>
                <a:gd name="T40" fmla="*/ 29416 w 153"/>
                <a:gd name="T41" fmla="*/ 49292 h 80"/>
                <a:gd name="T42" fmla="*/ 23346 w 153"/>
                <a:gd name="T43" fmla="*/ 49292 h 80"/>
                <a:gd name="T44" fmla="*/ 18210 w 153"/>
                <a:gd name="T45" fmla="*/ 48578 h 80"/>
                <a:gd name="T46" fmla="*/ 12607 w 153"/>
                <a:gd name="T47" fmla="*/ 47863 h 80"/>
                <a:gd name="T48" fmla="*/ 6537 w 153"/>
                <a:gd name="T49" fmla="*/ 46434 h 80"/>
                <a:gd name="T50" fmla="*/ 0 w 153"/>
                <a:gd name="T51" fmla="*/ 44291 h 80"/>
                <a:gd name="T52" fmla="*/ 3268 w 153"/>
                <a:gd name="T53" fmla="*/ 41434 h 80"/>
                <a:gd name="T54" fmla="*/ 10739 w 153"/>
                <a:gd name="T55" fmla="*/ 32147 h 80"/>
                <a:gd name="T56" fmla="*/ 15875 w 153"/>
                <a:gd name="T57" fmla="*/ 26432 h 80"/>
                <a:gd name="T58" fmla="*/ 21011 w 153"/>
                <a:gd name="T59" fmla="*/ 20003 h 80"/>
                <a:gd name="T60" fmla="*/ 26147 w 153"/>
                <a:gd name="T61" fmla="*/ 12144 h 80"/>
                <a:gd name="T62" fmla="*/ 31283 w 153"/>
                <a:gd name="T63" fmla="*/ 4286 h 80"/>
                <a:gd name="T64" fmla="*/ 28015 w 153"/>
                <a:gd name="T65" fmla="*/ 0 h 8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0" name="Freeform 221">
              <a:extLst>
                <a:ext uri="{FF2B5EF4-FFF2-40B4-BE49-F238E27FC236}">
                  <a16:creationId xmlns:a16="http://schemas.microsoft.com/office/drawing/2014/main" id="{21D19A4F-B28E-4AEC-9D50-F90F748B425C}"/>
                </a:ext>
              </a:extLst>
            </p:cNvPr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3324226" y="3179763"/>
              <a:ext cx="142875" cy="87312"/>
            </a:xfrm>
            <a:custGeom>
              <a:avLst/>
              <a:gdLst>
                <a:gd name="T0" fmla="*/ 0 w 332"/>
                <a:gd name="T1" fmla="*/ 39781 h 169"/>
                <a:gd name="T2" fmla="*/ 18935 w 332"/>
                <a:gd name="T3" fmla="*/ 52181 h 169"/>
                <a:gd name="T4" fmla="*/ 28403 w 332"/>
                <a:gd name="T5" fmla="*/ 55797 h 169"/>
                <a:gd name="T6" fmla="*/ 33997 w 332"/>
                <a:gd name="T7" fmla="*/ 56314 h 169"/>
                <a:gd name="T8" fmla="*/ 40022 w 332"/>
                <a:gd name="T9" fmla="*/ 55280 h 169"/>
                <a:gd name="T10" fmla="*/ 38731 w 332"/>
                <a:gd name="T11" fmla="*/ 74396 h 169"/>
                <a:gd name="T12" fmla="*/ 40883 w 332"/>
                <a:gd name="T13" fmla="*/ 79562 h 169"/>
                <a:gd name="T14" fmla="*/ 42604 w 332"/>
                <a:gd name="T15" fmla="*/ 84212 h 169"/>
                <a:gd name="T16" fmla="*/ 46047 w 332"/>
                <a:gd name="T17" fmla="*/ 86795 h 169"/>
                <a:gd name="T18" fmla="*/ 50351 w 332"/>
                <a:gd name="T19" fmla="*/ 87312 h 169"/>
                <a:gd name="T20" fmla="*/ 52933 w 332"/>
                <a:gd name="T21" fmla="*/ 85762 h 169"/>
                <a:gd name="T22" fmla="*/ 56806 w 332"/>
                <a:gd name="T23" fmla="*/ 81112 h 169"/>
                <a:gd name="T24" fmla="*/ 62831 w 332"/>
                <a:gd name="T25" fmla="*/ 70263 h 169"/>
                <a:gd name="T26" fmla="*/ 74880 w 332"/>
                <a:gd name="T27" fmla="*/ 59413 h 169"/>
                <a:gd name="T28" fmla="*/ 92094 w 332"/>
                <a:gd name="T29" fmla="*/ 49597 h 169"/>
                <a:gd name="T30" fmla="*/ 110169 w 332"/>
                <a:gd name="T31" fmla="*/ 41331 h 169"/>
                <a:gd name="T32" fmla="*/ 130825 w 332"/>
                <a:gd name="T33" fmla="*/ 33582 h 169"/>
                <a:gd name="T34" fmla="*/ 142875 w 332"/>
                <a:gd name="T35" fmla="*/ 23765 h 169"/>
                <a:gd name="T36" fmla="*/ 142875 w 332"/>
                <a:gd name="T37" fmla="*/ 11366 h 169"/>
                <a:gd name="T38" fmla="*/ 137711 w 332"/>
                <a:gd name="T39" fmla="*/ 1033 h 169"/>
                <a:gd name="T40" fmla="*/ 121788 w 332"/>
                <a:gd name="T41" fmla="*/ 517 h 169"/>
                <a:gd name="T42" fmla="*/ 100701 w 332"/>
                <a:gd name="T43" fmla="*/ 0 h 169"/>
                <a:gd name="T44" fmla="*/ 77462 w 332"/>
                <a:gd name="T45" fmla="*/ 517 h 169"/>
                <a:gd name="T46" fmla="*/ 56375 w 332"/>
                <a:gd name="T47" fmla="*/ 2067 h 169"/>
                <a:gd name="T48" fmla="*/ 38731 w 332"/>
                <a:gd name="T49" fmla="*/ 5166 h 169"/>
                <a:gd name="T50" fmla="*/ 25390 w 332"/>
                <a:gd name="T51" fmla="*/ 9816 h 169"/>
                <a:gd name="T52" fmla="*/ 18075 w 332"/>
                <a:gd name="T53" fmla="*/ 11366 h 169"/>
                <a:gd name="T54" fmla="*/ 15062 w 332"/>
                <a:gd name="T55" fmla="*/ 11883 h 169"/>
                <a:gd name="T56" fmla="*/ 14632 w 332"/>
                <a:gd name="T57" fmla="*/ 13433 h 169"/>
                <a:gd name="T58" fmla="*/ 14201 w 332"/>
                <a:gd name="T59" fmla="*/ 19632 h 169"/>
                <a:gd name="T60" fmla="*/ 12480 w 332"/>
                <a:gd name="T61" fmla="*/ 22732 h 169"/>
                <a:gd name="T62" fmla="*/ 9898 w 332"/>
                <a:gd name="T63" fmla="*/ 23765 h 169"/>
                <a:gd name="T64" fmla="*/ 8177 w 332"/>
                <a:gd name="T65" fmla="*/ 28415 h 169"/>
                <a:gd name="T66" fmla="*/ 4734 w 332"/>
                <a:gd name="T67" fmla="*/ 37198 h 169"/>
                <a:gd name="T68" fmla="*/ 3012 w 332"/>
                <a:gd name="T69" fmla="*/ 42881 h 16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1" name="Freeform 222">
              <a:extLst>
                <a:ext uri="{FF2B5EF4-FFF2-40B4-BE49-F238E27FC236}">
                  <a16:creationId xmlns:a16="http://schemas.microsoft.com/office/drawing/2014/main" id="{179B2125-5F67-480F-8AFD-82C3B300E8B5}"/>
                </a:ext>
              </a:extLst>
            </p:cNvPr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3341688" y="3209925"/>
              <a:ext cx="125412" cy="122238"/>
            </a:xfrm>
            <a:custGeom>
              <a:avLst/>
              <a:gdLst>
                <a:gd name="T0" fmla="*/ 19294 w 286"/>
                <a:gd name="T1" fmla="*/ 44734 h 235"/>
                <a:gd name="T2" fmla="*/ 21487 w 286"/>
                <a:gd name="T3" fmla="*/ 49936 h 235"/>
                <a:gd name="T4" fmla="*/ 23241 w 286"/>
                <a:gd name="T5" fmla="*/ 54617 h 235"/>
                <a:gd name="T6" fmla="*/ 26749 w 286"/>
                <a:gd name="T7" fmla="*/ 57218 h 235"/>
                <a:gd name="T8" fmla="*/ 31134 w 286"/>
                <a:gd name="T9" fmla="*/ 57738 h 235"/>
                <a:gd name="T10" fmla="*/ 33765 w 286"/>
                <a:gd name="T11" fmla="*/ 56177 h 235"/>
                <a:gd name="T12" fmla="*/ 37711 w 286"/>
                <a:gd name="T13" fmla="*/ 51496 h 235"/>
                <a:gd name="T14" fmla="*/ 43850 w 286"/>
                <a:gd name="T15" fmla="*/ 40573 h 235"/>
                <a:gd name="T16" fmla="*/ 56128 w 286"/>
                <a:gd name="T17" fmla="*/ 29649 h 235"/>
                <a:gd name="T18" fmla="*/ 73669 w 286"/>
                <a:gd name="T19" fmla="*/ 19766 h 235"/>
                <a:gd name="T20" fmla="*/ 92086 w 286"/>
                <a:gd name="T21" fmla="*/ 11444 h 235"/>
                <a:gd name="T22" fmla="*/ 113134 w 286"/>
                <a:gd name="T23" fmla="*/ 3641 h 235"/>
                <a:gd name="T24" fmla="*/ 125412 w 286"/>
                <a:gd name="T25" fmla="*/ 5722 h 235"/>
                <a:gd name="T26" fmla="*/ 123658 w 286"/>
                <a:gd name="T27" fmla="*/ 16645 h 235"/>
                <a:gd name="T28" fmla="*/ 119273 w 286"/>
                <a:gd name="T29" fmla="*/ 36411 h 235"/>
                <a:gd name="T30" fmla="*/ 111380 w 286"/>
                <a:gd name="T31" fmla="*/ 66581 h 235"/>
                <a:gd name="T32" fmla="*/ 106995 w 286"/>
                <a:gd name="T33" fmla="*/ 90508 h 235"/>
                <a:gd name="T34" fmla="*/ 105241 w 286"/>
                <a:gd name="T35" fmla="*/ 107153 h 235"/>
                <a:gd name="T36" fmla="*/ 64022 w 286"/>
                <a:gd name="T37" fmla="*/ 112355 h 235"/>
                <a:gd name="T38" fmla="*/ 60513 w 286"/>
                <a:gd name="T39" fmla="*/ 113395 h 235"/>
                <a:gd name="T40" fmla="*/ 57882 w 286"/>
                <a:gd name="T41" fmla="*/ 115996 h 235"/>
                <a:gd name="T42" fmla="*/ 55690 w 286"/>
                <a:gd name="T43" fmla="*/ 122238 h 235"/>
                <a:gd name="T44" fmla="*/ 47797 w 286"/>
                <a:gd name="T45" fmla="*/ 112875 h 235"/>
                <a:gd name="T46" fmla="*/ 41219 w 286"/>
                <a:gd name="T47" fmla="*/ 103512 h 235"/>
                <a:gd name="T48" fmla="*/ 30257 w 286"/>
                <a:gd name="T49" fmla="*/ 83226 h 235"/>
                <a:gd name="T50" fmla="*/ 24118 w 286"/>
                <a:gd name="T51" fmla="*/ 73863 h 235"/>
                <a:gd name="T52" fmla="*/ 17979 w 286"/>
                <a:gd name="T53" fmla="*/ 65020 h 235"/>
                <a:gd name="T54" fmla="*/ 9647 w 286"/>
                <a:gd name="T55" fmla="*/ 57218 h 235"/>
                <a:gd name="T56" fmla="*/ 0 w 286"/>
                <a:gd name="T57" fmla="*/ 51496 h 235"/>
                <a:gd name="T58" fmla="*/ 5701 w 286"/>
                <a:gd name="T59" fmla="*/ 50456 h 235"/>
                <a:gd name="T60" fmla="*/ 11401 w 286"/>
                <a:gd name="T61" fmla="*/ 47335 h 235"/>
                <a:gd name="T62" fmla="*/ 17102 w 286"/>
                <a:gd name="T63" fmla="*/ 43694 h 235"/>
                <a:gd name="T64" fmla="*/ 20610 w 286"/>
                <a:gd name="T65" fmla="*/ 39012 h 2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2" name="Freeform 223">
              <a:extLst>
                <a:ext uri="{FF2B5EF4-FFF2-40B4-BE49-F238E27FC236}">
                  <a16:creationId xmlns:a16="http://schemas.microsoft.com/office/drawing/2014/main" id="{3FA9FAB4-984F-4B5B-BB23-2D2F24455170}"/>
                </a:ext>
              </a:extLst>
            </p:cNvPr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3392489" y="3322638"/>
              <a:ext cx="84137" cy="100012"/>
            </a:xfrm>
            <a:custGeom>
              <a:avLst/>
              <a:gdLst>
                <a:gd name="T0" fmla="*/ 77160 w 205"/>
                <a:gd name="T1" fmla="*/ 96870 h 191"/>
                <a:gd name="T2" fmla="*/ 71824 w 205"/>
                <a:gd name="T3" fmla="*/ 96870 h 191"/>
                <a:gd name="T4" fmla="*/ 64847 w 205"/>
                <a:gd name="T5" fmla="*/ 96870 h 191"/>
                <a:gd name="T6" fmla="*/ 59101 w 205"/>
                <a:gd name="T7" fmla="*/ 94252 h 191"/>
                <a:gd name="T8" fmla="*/ 55818 w 205"/>
                <a:gd name="T9" fmla="*/ 90587 h 191"/>
                <a:gd name="T10" fmla="*/ 52945 w 205"/>
                <a:gd name="T11" fmla="*/ 85351 h 191"/>
                <a:gd name="T12" fmla="*/ 49251 w 205"/>
                <a:gd name="T13" fmla="*/ 76973 h 191"/>
                <a:gd name="T14" fmla="*/ 45147 w 205"/>
                <a:gd name="T15" fmla="*/ 68595 h 191"/>
                <a:gd name="T16" fmla="*/ 40632 w 205"/>
                <a:gd name="T17" fmla="*/ 63358 h 191"/>
                <a:gd name="T18" fmla="*/ 38169 w 205"/>
                <a:gd name="T19" fmla="*/ 65977 h 191"/>
                <a:gd name="T20" fmla="*/ 36938 w 205"/>
                <a:gd name="T21" fmla="*/ 70689 h 191"/>
                <a:gd name="T22" fmla="*/ 34476 w 205"/>
                <a:gd name="T23" fmla="*/ 68071 h 191"/>
                <a:gd name="T24" fmla="*/ 29551 w 205"/>
                <a:gd name="T25" fmla="*/ 59169 h 191"/>
                <a:gd name="T26" fmla="*/ 22984 w 205"/>
                <a:gd name="T27" fmla="*/ 45555 h 191"/>
                <a:gd name="T28" fmla="*/ 16827 w 205"/>
                <a:gd name="T29" fmla="*/ 35083 h 191"/>
                <a:gd name="T30" fmla="*/ 12723 w 205"/>
                <a:gd name="T31" fmla="*/ 30370 h 191"/>
                <a:gd name="T32" fmla="*/ 10671 w 205"/>
                <a:gd name="T33" fmla="*/ 31417 h 191"/>
                <a:gd name="T34" fmla="*/ 11902 w 205"/>
                <a:gd name="T35" fmla="*/ 36130 h 191"/>
                <a:gd name="T36" fmla="*/ 13954 w 205"/>
                <a:gd name="T37" fmla="*/ 40843 h 191"/>
                <a:gd name="T38" fmla="*/ 16827 w 205"/>
                <a:gd name="T39" fmla="*/ 43984 h 191"/>
                <a:gd name="T40" fmla="*/ 18880 w 205"/>
                <a:gd name="T41" fmla="*/ 54980 h 191"/>
                <a:gd name="T42" fmla="*/ 5336 w 205"/>
                <a:gd name="T43" fmla="*/ 51315 h 191"/>
                <a:gd name="T44" fmla="*/ 1642 w 205"/>
                <a:gd name="T45" fmla="*/ 43984 h 191"/>
                <a:gd name="T46" fmla="*/ 0 w 205"/>
                <a:gd name="T47" fmla="*/ 31417 h 191"/>
                <a:gd name="T48" fmla="*/ 0 w 205"/>
                <a:gd name="T49" fmla="*/ 19898 h 191"/>
                <a:gd name="T50" fmla="*/ 1231 w 205"/>
                <a:gd name="T51" fmla="*/ 14661 h 191"/>
                <a:gd name="T52" fmla="*/ 3283 w 205"/>
                <a:gd name="T53" fmla="*/ 11520 h 191"/>
                <a:gd name="T54" fmla="*/ 5746 w 205"/>
                <a:gd name="T55" fmla="*/ 6807 h 191"/>
                <a:gd name="T56" fmla="*/ 8208 w 205"/>
                <a:gd name="T57" fmla="*/ 2094 h 191"/>
                <a:gd name="T58" fmla="*/ 11492 w 205"/>
                <a:gd name="T59" fmla="*/ 0 h 191"/>
                <a:gd name="T60" fmla="*/ 51713 w 205"/>
                <a:gd name="T61" fmla="*/ 3142 h 191"/>
                <a:gd name="T62" fmla="*/ 52124 w 205"/>
                <a:gd name="T63" fmla="*/ 10996 h 191"/>
                <a:gd name="T64" fmla="*/ 53355 w 205"/>
                <a:gd name="T65" fmla="*/ 19374 h 191"/>
                <a:gd name="T66" fmla="*/ 58691 w 205"/>
                <a:gd name="T67" fmla="*/ 36654 h 191"/>
                <a:gd name="T68" fmla="*/ 67720 w 205"/>
                <a:gd name="T69" fmla="*/ 53410 h 191"/>
                <a:gd name="T70" fmla="*/ 72645 w 205"/>
                <a:gd name="T71" fmla="*/ 61264 h 191"/>
                <a:gd name="T72" fmla="*/ 78801 w 205"/>
                <a:gd name="T73" fmla="*/ 68071 h 191"/>
                <a:gd name="T74" fmla="*/ 77570 w 205"/>
                <a:gd name="T75" fmla="*/ 74878 h 191"/>
                <a:gd name="T76" fmla="*/ 77570 w 205"/>
                <a:gd name="T77" fmla="*/ 81685 h 191"/>
                <a:gd name="T78" fmla="*/ 78801 w 205"/>
                <a:gd name="T79" fmla="*/ 100012 h 191"/>
                <a:gd name="T80" fmla="*/ 84137 w 205"/>
                <a:gd name="T81" fmla="*/ 96870 h 19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3" name="Freeform 224">
              <a:extLst>
                <a:ext uri="{FF2B5EF4-FFF2-40B4-BE49-F238E27FC236}">
                  <a16:creationId xmlns:a16="http://schemas.microsoft.com/office/drawing/2014/main" id="{C50B6943-8D46-4E52-AF0E-B5E37FCBDB0C}"/>
                </a:ext>
              </a:extLst>
            </p:cNvPr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3473451" y="3376614"/>
              <a:ext cx="142875" cy="79375"/>
            </a:xfrm>
            <a:custGeom>
              <a:avLst/>
              <a:gdLst>
                <a:gd name="T0" fmla="*/ 1303 w 329"/>
                <a:gd name="T1" fmla="*/ 29894 h 154"/>
                <a:gd name="T2" fmla="*/ 0 w 329"/>
                <a:gd name="T3" fmla="*/ 21648 h 154"/>
                <a:gd name="T4" fmla="*/ 869 w 329"/>
                <a:gd name="T5" fmla="*/ 15978 h 154"/>
                <a:gd name="T6" fmla="*/ 7383 w 329"/>
                <a:gd name="T7" fmla="*/ 17009 h 154"/>
                <a:gd name="T8" fmla="*/ 15634 w 329"/>
                <a:gd name="T9" fmla="*/ 21132 h 154"/>
                <a:gd name="T10" fmla="*/ 21279 w 329"/>
                <a:gd name="T11" fmla="*/ 22163 h 154"/>
                <a:gd name="T12" fmla="*/ 29096 w 329"/>
                <a:gd name="T13" fmla="*/ 22163 h 154"/>
                <a:gd name="T14" fmla="*/ 37347 w 329"/>
                <a:gd name="T15" fmla="*/ 20101 h 154"/>
                <a:gd name="T16" fmla="*/ 47770 w 329"/>
                <a:gd name="T17" fmla="*/ 15463 h 154"/>
                <a:gd name="T18" fmla="*/ 60798 w 329"/>
                <a:gd name="T19" fmla="*/ 6700 h 154"/>
                <a:gd name="T20" fmla="*/ 70352 w 329"/>
                <a:gd name="T21" fmla="*/ 2062 h 154"/>
                <a:gd name="T22" fmla="*/ 77734 w 329"/>
                <a:gd name="T23" fmla="*/ 0 h 154"/>
                <a:gd name="T24" fmla="*/ 88157 w 329"/>
                <a:gd name="T25" fmla="*/ 0 h 154"/>
                <a:gd name="T26" fmla="*/ 97277 w 329"/>
                <a:gd name="T27" fmla="*/ 3093 h 154"/>
                <a:gd name="T28" fmla="*/ 105528 w 329"/>
                <a:gd name="T29" fmla="*/ 7731 h 154"/>
                <a:gd name="T30" fmla="*/ 112476 w 329"/>
                <a:gd name="T31" fmla="*/ 14432 h 154"/>
                <a:gd name="T32" fmla="*/ 121596 w 329"/>
                <a:gd name="T33" fmla="*/ 23709 h 154"/>
                <a:gd name="T34" fmla="*/ 131150 w 329"/>
                <a:gd name="T35" fmla="*/ 31441 h 154"/>
                <a:gd name="T36" fmla="*/ 138532 w 329"/>
                <a:gd name="T37" fmla="*/ 34533 h 154"/>
                <a:gd name="T38" fmla="*/ 135927 w 329"/>
                <a:gd name="T39" fmla="*/ 42265 h 154"/>
                <a:gd name="T40" fmla="*/ 127241 w 329"/>
                <a:gd name="T41" fmla="*/ 54635 h 154"/>
                <a:gd name="T42" fmla="*/ 120293 w 329"/>
                <a:gd name="T43" fmla="*/ 71128 h 154"/>
                <a:gd name="T44" fmla="*/ 115082 w 329"/>
                <a:gd name="T45" fmla="*/ 78860 h 154"/>
                <a:gd name="T46" fmla="*/ 109870 w 329"/>
                <a:gd name="T47" fmla="*/ 75252 h 154"/>
                <a:gd name="T48" fmla="*/ 104225 w 329"/>
                <a:gd name="T49" fmla="*/ 70097 h 154"/>
                <a:gd name="T50" fmla="*/ 99882 w 329"/>
                <a:gd name="T51" fmla="*/ 64943 h 154"/>
                <a:gd name="T52" fmla="*/ 99882 w 329"/>
                <a:gd name="T53" fmla="*/ 58758 h 154"/>
                <a:gd name="T54" fmla="*/ 102054 w 329"/>
                <a:gd name="T55" fmla="*/ 51542 h 154"/>
                <a:gd name="T56" fmla="*/ 108133 w 329"/>
                <a:gd name="T57" fmla="*/ 44326 h 154"/>
                <a:gd name="T58" fmla="*/ 101185 w 329"/>
                <a:gd name="T59" fmla="*/ 35049 h 154"/>
                <a:gd name="T60" fmla="*/ 89894 w 329"/>
                <a:gd name="T61" fmla="*/ 28348 h 154"/>
                <a:gd name="T62" fmla="*/ 84683 w 329"/>
                <a:gd name="T63" fmla="*/ 21132 h 154"/>
                <a:gd name="T64" fmla="*/ 77734 w 329"/>
                <a:gd name="T65" fmla="*/ 17524 h 154"/>
                <a:gd name="T66" fmla="*/ 70786 w 329"/>
                <a:gd name="T67" fmla="*/ 21132 h 154"/>
                <a:gd name="T68" fmla="*/ 65141 w 329"/>
                <a:gd name="T69" fmla="*/ 25771 h 154"/>
                <a:gd name="T70" fmla="*/ 60798 w 329"/>
                <a:gd name="T71" fmla="*/ 31441 h 154"/>
                <a:gd name="T72" fmla="*/ 57324 w 329"/>
                <a:gd name="T73" fmla="*/ 38141 h 154"/>
                <a:gd name="T74" fmla="*/ 55587 w 329"/>
                <a:gd name="T75" fmla="*/ 45357 h 154"/>
                <a:gd name="T76" fmla="*/ 53415 w 329"/>
                <a:gd name="T77" fmla="*/ 56181 h 154"/>
                <a:gd name="T78" fmla="*/ 52981 w 329"/>
                <a:gd name="T79" fmla="*/ 64428 h 154"/>
                <a:gd name="T80" fmla="*/ 51244 w 329"/>
                <a:gd name="T81" fmla="*/ 66489 h 154"/>
                <a:gd name="T82" fmla="*/ 46901 w 329"/>
                <a:gd name="T83" fmla="*/ 69582 h 154"/>
                <a:gd name="T84" fmla="*/ 41690 w 329"/>
                <a:gd name="T85" fmla="*/ 69582 h 154"/>
                <a:gd name="T86" fmla="*/ 36044 w 329"/>
                <a:gd name="T87" fmla="*/ 66489 h 154"/>
                <a:gd name="T88" fmla="*/ 28662 w 329"/>
                <a:gd name="T89" fmla="*/ 59789 h 154"/>
                <a:gd name="T90" fmla="*/ 20845 w 329"/>
                <a:gd name="T91" fmla="*/ 48450 h 154"/>
                <a:gd name="T92" fmla="*/ 14331 w 329"/>
                <a:gd name="T93" fmla="*/ 41234 h 154"/>
                <a:gd name="T94" fmla="*/ 9554 w 329"/>
                <a:gd name="T95" fmla="*/ 38141 h 154"/>
                <a:gd name="T96" fmla="*/ 1303 w 329"/>
                <a:gd name="T97" fmla="*/ 37626 h 15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4" name="Freeform 225">
              <a:extLst>
                <a:ext uri="{FF2B5EF4-FFF2-40B4-BE49-F238E27FC236}">
                  <a16:creationId xmlns:a16="http://schemas.microsoft.com/office/drawing/2014/main" id="{A592775F-71E1-4E4B-BE22-9B1CA47C1B25}"/>
                </a:ext>
              </a:extLst>
            </p:cNvPr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4154488" y="4630739"/>
              <a:ext cx="133350" cy="155575"/>
            </a:xfrm>
            <a:custGeom>
              <a:avLst/>
              <a:gdLst>
                <a:gd name="T0" fmla="*/ 129428 w 306"/>
                <a:gd name="T1" fmla="*/ 96106 h 293"/>
                <a:gd name="T2" fmla="*/ 128992 w 306"/>
                <a:gd name="T3" fmla="*/ 98230 h 293"/>
                <a:gd name="T4" fmla="*/ 126813 w 306"/>
                <a:gd name="T5" fmla="*/ 103009 h 293"/>
                <a:gd name="T6" fmla="*/ 122891 w 306"/>
                <a:gd name="T7" fmla="*/ 105664 h 293"/>
                <a:gd name="T8" fmla="*/ 118533 w 306"/>
                <a:gd name="T9" fmla="*/ 106726 h 293"/>
                <a:gd name="T10" fmla="*/ 114611 w 306"/>
                <a:gd name="T11" fmla="*/ 109911 h 293"/>
                <a:gd name="T12" fmla="*/ 110253 w 306"/>
                <a:gd name="T13" fmla="*/ 121593 h 293"/>
                <a:gd name="T14" fmla="*/ 105460 w 306"/>
                <a:gd name="T15" fmla="*/ 134867 h 293"/>
                <a:gd name="T16" fmla="*/ 100666 w 306"/>
                <a:gd name="T17" fmla="*/ 141770 h 293"/>
                <a:gd name="T18" fmla="*/ 96308 w 306"/>
                <a:gd name="T19" fmla="*/ 144956 h 293"/>
                <a:gd name="T20" fmla="*/ 87157 w 306"/>
                <a:gd name="T21" fmla="*/ 149203 h 293"/>
                <a:gd name="T22" fmla="*/ 71469 w 306"/>
                <a:gd name="T23" fmla="*/ 153982 h 293"/>
                <a:gd name="T24" fmla="*/ 60574 w 306"/>
                <a:gd name="T25" fmla="*/ 155575 h 293"/>
                <a:gd name="T26" fmla="*/ 53601 w 306"/>
                <a:gd name="T27" fmla="*/ 155575 h 293"/>
                <a:gd name="T28" fmla="*/ 46193 w 306"/>
                <a:gd name="T29" fmla="*/ 153982 h 293"/>
                <a:gd name="T30" fmla="*/ 40092 w 306"/>
                <a:gd name="T31" fmla="*/ 151858 h 293"/>
                <a:gd name="T32" fmla="*/ 34863 w 306"/>
                <a:gd name="T33" fmla="*/ 147610 h 293"/>
                <a:gd name="T34" fmla="*/ 30941 w 306"/>
                <a:gd name="T35" fmla="*/ 142301 h 293"/>
                <a:gd name="T36" fmla="*/ 436 w 306"/>
                <a:gd name="T37" fmla="*/ 125310 h 293"/>
                <a:gd name="T38" fmla="*/ 0 w 306"/>
                <a:gd name="T39" fmla="*/ 46726 h 293"/>
                <a:gd name="T40" fmla="*/ 436 w 306"/>
                <a:gd name="T41" fmla="*/ 26018 h 293"/>
                <a:gd name="T42" fmla="*/ 1743 w 306"/>
                <a:gd name="T43" fmla="*/ 18584 h 293"/>
                <a:gd name="T44" fmla="*/ 4794 w 306"/>
                <a:gd name="T45" fmla="*/ 11150 h 293"/>
                <a:gd name="T46" fmla="*/ 8716 w 306"/>
                <a:gd name="T47" fmla="*/ 4248 h 293"/>
                <a:gd name="T48" fmla="*/ 17867 w 306"/>
                <a:gd name="T49" fmla="*/ 1062 h 293"/>
                <a:gd name="T50" fmla="*/ 23097 w 306"/>
                <a:gd name="T51" fmla="*/ 0 h 293"/>
                <a:gd name="T52" fmla="*/ 31376 w 306"/>
                <a:gd name="T53" fmla="*/ 3186 h 293"/>
                <a:gd name="T54" fmla="*/ 34863 w 306"/>
                <a:gd name="T55" fmla="*/ 3717 h 293"/>
                <a:gd name="T56" fmla="*/ 36606 w 306"/>
                <a:gd name="T57" fmla="*/ 2124 h 293"/>
                <a:gd name="T58" fmla="*/ 37913 w 306"/>
                <a:gd name="T59" fmla="*/ 2655 h 293"/>
                <a:gd name="T60" fmla="*/ 39221 w 306"/>
                <a:gd name="T61" fmla="*/ 5841 h 293"/>
                <a:gd name="T62" fmla="*/ 43143 w 306"/>
                <a:gd name="T63" fmla="*/ 10088 h 293"/>
                <a:gd name="T64" fmla="*/ 52730 w 306"/>
                <a:gd name="T65" fmla="*/ 16460 h 293"/>
                <a:gd name="T66" fmla="*/ 64496 w 306"/>
                <a:gd name="T67" fmla="*/ 21770 h 293"/>
                <a:gd name="T68" fmla="*/ 79313 w 306"/>
                <a:gd name="T69" fmla="*/ 31327 h 293"/>
                <a:gd name="T70" fmla="*/ 91515 w 306"/>
                <a:gd name="T71" fmla="*/ 41947 h 293"/>
                <a:gd name="T72" fmla="*/ 105024 w 306"/>
                <a:gd name="T73" fmla="*/ 54159 h 293"/>
                <a:gd name="T74" fmla="*/ 113740 w 306"/>
                <a:gd name="T75" fmla="*/ 62124 h 293"/>
                <a:gd name="T76" fmla="*/ 115919 w 306"/>
                <a:gd name="T77" fmla="*/ 65841 h 293"/>
                <a:gd name="T78" fmla="*/ 122020 w 306"/>
                <a:gd name="T79" fmla="*/ 71681 h 293"/>
                <a:gd name="T80" fmla="*/ 130300 w 306"/>
                <a:gd name="T81" fmla="*/ 80177 h 293"/>
                <a:gd name="T82" fmla="*/ 133350 w 306"/>
                <a:gd name="T83" fmla="*/ 85487 h 293"/>
                <a:gd name="T84" fmla="*/ 132478 w 306"/>
                <a:gd name="T85" fmla="*/ 88141 h 29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5" name="Freeform 226">
              <a:extLst>
                <a:ext uri="{FF2B5EF4-FFF2-40B4-BE49-F238E27FC236}">
                  <a16:creationId xmlns:a16="http://schemas.microsoft.com/office/drawing/2014/main" id="{1079F81E-C1CD-49F2-A8C7-24403205D961}"/>
                </a:ext>
              </a:extLst>
            </p:cNvPr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5700714" y="1247776"/>
              <a:ext cx="236537" cy="92075"/>
            </a:xfrm>
            <a:custGeom>
              <a:avLst/>
              <a:gdLst>
                <a:gd name="T0" fmla="*/ 32058 w 546"/>
                <a:gd name="T1" fmla="*/ 10112 h 173"/>
                <a:gd name="T2" fmla="*/ 40722 w 546"/>
                <a:gd name="T3" fmla="*/ 18096 h 173"/>
                <a:gd name="T4" fmla="*/ 47654 w 546"/>
                <a:gd name="T5" fmla="*/ 14370 h 173"/>
                <a:gd name="T6" fmla="*/ 57185 w 546"/>
                <a:gd name="T7" fmla="*/ 14370 h 173"/>
                <a:gd name="T8" fmla="*/ 69748 w 546"/>
                <a:gd name="T9" fmla="*/ 23418 h 173"/>
                <a:gd name="T10" fmla="*/ 90543 w 546"/>
                <a:gd name="T11" fmla="*/ 10112 h 173"/>
                <a:gd name="T12" fmla="*/ 105272 w 546"/>
                <a:gd name="T13" fmla="*/ 10112 h 173"/>
                <a:gd name="T14" fmla="*/ 112637 w 546"/>
                <a:gd name="T15" fmla="*/ 8516 h 173"/>
                <a:gd name="T16" fmla="*/ 116536 w 546"/>
                <a:gd name="T17" fmla="*/ 7451 h 173"/>
                <a:gd name="T18" fmla="*/ 120868 w 546"/>
                <a:gd name="T19" fmla="*/ 5854 h 173"/>
                <a:gd name="T20" fmla="*/ 123900 w 546"/>
                <a:gd name="T21" fmla="*/ 1597 h 173"/>
                <a:gd name="T22" fmla="*/ 139063 w 546"/>
                <a:gd name="T23" fmla="*/ 2661 h 173"/>
                <a:gd name="T24" fmla="*/ 144262 w 546"/>
                <a:gd name="T25" fmla="*/ 6387 h 173"/>
                <a:gd name="T26" fmla="*/ 150760 w 546"/>
                <a:gd name="T27" fmla="*/ 3726 h 173"/>
                <a:gd name="T28" fmla="*/ 152926 w 546"/>
                <a:gd name="T29" fmla="*/ 0 h 173"/>
                <a:gd name="T30" fmla="*/ 158991 w 546"/>
                <a:gd name="T31" fmla="*/ 3726 h 173"/>
                <a:gd name="T32" fmla="*/ 168522 w 546"/>
                <a:gd name="T33" fmla="*/ 3726 h 173"/>
                <a:gd name="T34" fmla="*/ 188883 w 546"/>
                <a:gd name="T35" fmla="*/ 532 h 173"/>
                <a:gd name="T36" fmla="*/ 208811 w 546"/>
                <a:gd name="T37" fmla="*/ 3193 h 173"/>
                <a:gd name="T38" fmla="*/ 228739 w 546"/>
                <a:gd name="T39" fmla="*/ 6387 h 173"/>
                <a:gd name="T40" fmla="*/ 236104 w 546"/>
                <a:gd name="T41" fmla="*/ 26079 h 173"/>
                <a:gd name="T42" fmla="*/ 232638 w 546"/>
                <a:gd name="T43" fmla="*/ 31934 h 173"/>
                <a:gd name="T44" fmla="*/ 222241 w 546"/>
                <a:gd name="T45" fmla="*/ 32998 h 173"/>
                <a:gd name="T46" fmla="*/ 209244 w 546"/>
                <a:gd name="T47" fmla="*/ 28740 h 173"/>
                <a:gd name="T48" fmla="*/ 178919 w 546"/>
                <a:gd name="T49" fmla="*/ 23418 h 173"/>
                <a:gd name="T50" fmla="*/ 189749 w 546"/>
                <a:gd name="T51" fmla="*/ 43110 h 173"/>
                <a:gd name="T52" fmla="*/ 204046 w 546"/>
                <a:gd name="T53" fmla="*/ 54287 h 173"/>
                <a:gd name="T54" fmla="*/ 213576 w 546"/>
                <a:gd name="T55" fmla="*/ 63335 h 173"/>
                <a:gd name="T56" fmla="*/ 205779 w 546"/>
                <a:gd name="T57" fmla="*/ 72383 h 173"/>
                <a:gd name="T58" fmla="*/ 194515 w 546"/>
                <a:gd name="T59" fmla="*/ 75576 h 173"/>
                <a:gd name="T60" fmla="*/ 184551 w 546"/>
                <a:gd name="T61" fmla="*/ 75044 h 173"/>
                <a:gd name="T62" fmla="*/ 178486 w 546"/>
                <a:gd name="T63" fmla="*/ 71318 h 173"/>
                <a:gd name="T64" fmla="*/ 172854 w 546"/>
                <a:gd name="T65" fmla="*/ 69189 h 173"/>
                <a:gd name="T66" fmla="*/ 166789 w 546"/>
                <a:gd name="T67" fmla="*/ 64399 h 173"/>
                <a:gd name="T68" fmla="*/ 162457 w 546"/>
                <a:gd name="T69" fmla="*/ 55351 h 173"/>
                <a:gd name="T70" fmla="*/ 158125 w 546"/>
                <a:gd name="T71" fmla="*/ 48965 h 173"/>
                <a:gd name="T72" fmla="*/ 149027 w 546"/>
                <a:gd name="T73" fmla="*/ 44707 h 173"/>
                <a:gd name="T74" fmla="*/ 140796 w 546"/>
                <a:gd name="T75" fmla="*/ 40449 h 173"/>
                <a:gd name="T76" fmla="*/ 131265 w 546"/>
                <a:gd name="T77" fmla="*/ 46304 h 173"/>
                <a:gd name="T78" fmla="*/ 111770 w 546"/>
                <a:gd name="T79" fmla="*/ 71318 h 173"/>
                <a:gd name="T80" fmla="*/ 102239 w 546"/>
                <a:gd name="T81" fmla="*/ 86753 h 173"/>
                <a:gd name="T82" fmla="*/ 95308 w 546"/>
                <a:gd name="T83" fmla="*/ 91543 h 173"/>
                <a:gd name="T84" fmla="*/ 81445 w 546"/>
                <a:gd name="T85" fmla="*/ 88882 h 173"/>
                <a:gd name="T86" fmla="*/ 71481 w 546"/>
                <a:gd name="T87" fmla="*/ 82495 h 173"/>
                <a:gd name="T88" fmla="*/ 48954 w 546"/>
                <a:gd name="T89" fmla="*/ 55884 h 173"/>
                <a:gd name="T90" fmla="*/ 41156 w 546"/>
                <a:gd name="T91" fmla="*/ 48433 h 173"/>
                <a:gd name="T92" fmla="*/ 25993 w 546"/>
                <a:gd name="T93" fmla="*/ 40449 h 173"/>
                <a:gd name="T94" fmla="*/ 6931 w 546"/>
                <a:gd name="T95" fmla="*/ 30869 h 173"/>
                <a:gd name="T96" fmla="*/ 4765 w 546"/>
                <a:gd name="T97" fmla="*/ 18096 h 173"/>
                <a:gd name="T98" fmla="*/ 12130 w 546"/>
                <a:gd name="T99" fmla="*/ 10112 h 173"/>
                <a:gd name="T100" fmla="*/ 20361 w 546"/>
                <a:gd name="T101" fmla="*/ 638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6" name="Freeform 227">
              <a:extLst>
                <a:ext uri="{FF2B5EF4-FFF2-40B4-BE49-F238E27FC236}">
                  <a16:creationId xmlns:a16="http://schemas.microsoft.com/office/drawing/2014/main" id="{512A1913-D236-4650-9ED0-6AAE7B204D1C}"/>
                </a:ext>
              </a:extLst>
            </p:cNvPr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5627688" y="1477963"/>
              <a:ext cx="449262" cy="361950"/>
            </a:xfrm>
            <a:custGeom>
              <a:avLst/>
              <a:gdLst>
                <a:gd name="T0" fmla="*/ 103976 w 1037"/>
                <a:gd name="T1" fmla="*/ 326280 h 690"/>
                <a:gd name="T2" fmla="*/ 67151 w 1037"/>
                <a:gd name="T3" fmla="*/ 358278 h 690"/>
                <a:gd name="T4" fmla="*/ 13863 w 1037"/>
                <a:gd name="T5" fmla="*/ 343066 h 690"/>
                <a:gd name="T6" fmla="*/ 29027 w 1037"/>
                <a:gd name="T7" fmla="*/ 332574 h 690"/>
                <a:gd name="T8" fmla="*/ 7798 w 1037"/>
                <a:gd name="T9" fmla="*/ 312641 h 690"/>
                <a:gd name="T10" fmla="*/ 19062 w 1037"/>
                <a:gd name="T11" fmla="*/ 312116 h 690"/>
                <a:gd name="T12" fmla="*/ 29027 w 1037"/>
                <a:gd name="T13" fmla="*/ 297428 h 690"/>
                <a:gd name="T14" fmla="*/ 3466 w 1037"/>
                <a:gd name="T15" fmla="*/ 286413 h 690"/>
                <a:gd name="T16" fmla="*/ 32059 w 1037"/>
                <a:gd name="T17" fmla="*/ 274348 h 690"/>
                <a:gd name="T18" fmla="*/ 0 w 1037"/>
                <a:gd name="T19" fmla="*/ 261758 h 690"/>
                <a:gd name="T20" fmla="*/ 8665 w 1037"/>
                <a:gd name="T21" fmla="*/ 239202 h 690"/>
                <a:gd name="T22" fmla="*/ 16030 w 1037"/>
                <a:gd name="T23" fmla="*/ 241825 h 690"/>
                <a:gd name="T24" fmla="*/ 33359 w 1037"/>
                <a:gd name="T25" fmla="*/ 235530 h 690"/>
                <a:gd name="T26" fmla="*/ 39857 w 1037"/>
                <a:gd name="T27" fmla="*/ 222416 h 690"/>
                <a:gd name="T28" fmla="*/ 56320 w 1037"/>
                <a:gd name="T29" fmla="*/ 214547 h 690"/>
                <a:gd name="T30" fmla="*/ 95311 w 1037"/>
                <a:gd name="T31" fmla="*/ 200384 h 690"/>
                <a:gd name="T32" fmla="*/ 98344 w 1037"/>
                <a:gd name="T33" fmla="*/ 177828 h 690"/>
                <a:gd name="T34" fmla="*/ 122605 w 1037"/>
                <a:gd name="T35" fmla="*/ 170484 h 690"/>
                <a:gd name="T36" fmla="*/ 122172 w 1037"/>
                <a:gd name="T37" fmla="*/ 162615 h 690"/>
                <a:gd name="T38" fmla="*/ 129103 w 1037"/>
                <a:gd name="T39" fmla="*/ 149501 h 690"/>
                <a:gd name="T40" fmla="*/ 145133 w 1037"/>
                <a:gd name="T41" fmla="*/ 127469 h 690"/>
                <a:gd name="T42" fmla="*/ 148599 w 1037"/>
                <a:gd name="T43" fmla="*/ 118552 h 690"/>
                <a:gd name="T44" fmla="*/ 168961 w 1037"/>
                <a:gd name="T45" fmla="*/ 104913 h 690"/>
                <a:gd name="T46" fmla="*/ 167661 w 1037"/>
                <a:gd name="T47" fmla="*/ 82357 h 690"/>
                <a:gd name="T48" fmla="*/ 161596 w 1037"/>
                <a:gd name="T49" fmla="*/ 74488 h 690"/>
                <a:gd name="T50" fmla="*/ 144700 w 1037"/>
                <a:gd name="T51" fmla="*/ 80783 h 690"/>
                <a:gd name="T52" fmla="*/ 168961 w 1037"/>
                <a:gd name="T53" fmla="*/ 54030 h 690"/>
                <a:gd name="T54" fmla="*/ 178059 w 1037"/>
                <a:gd name="T55" fmla="*/ 50358 h 690"/>
                <a:gd name="T56" fmla="*/ 200587 w 1037"/>
                <a:gd name="T57" fmla="*/ 59800 h 690"/>
                <a:gd name="T58" fmla="*/ 201886 w 1037"/>
                <a:gd name="T59" fmla="*/ 47735 h 690"/>
                <a:gd name="T60" fmla="*/ 241744 w 1037"/>
                <a:gd name="T61" fmla="*/ 31998 h 690"/>
                <a:gd name="T62" fmla="*/ 256040 w 1037"/>
                <a:gd name="T63" fmla="*/ 33048 h 690"/>
                <a:gd name="T64" fmla="*/ 279435 w 1037"/>
                <a:gd name="T65" fmla="*/ 28851 h 690"/>
                <a:gd name="T66" fmla="*/ 279435 w 1037"/>
                <a:gd name="T67" fmla="*/ 17311 h 690"/>
                <a:gd name="T68" fmla="*/ 302829 w 1037"/>
                <a:gd name="T69" fmla="*/ 6819 h 690"/>
                <a:gd name="T70" fmla="*/ 305429 w 1037"/>
                <a:gd name="T71" fmla="*/ 15212 h 690"/>
                <a:gd name="T72" fmla="*/ 308461 w 1037"/>
                <a:gd name="T73" fmla="*/ 20983 h 690"/>
                <a:gd name="T74" fmla="*/ 328390 w 1037"/>
                <a:gd name="T75" fmla="*/ 6295 h 690"/>
                <a:gd name="T76" fmla="*/ 353951 w 1037"/>
                <a:gd name="T77" fmla="*/ 3147 h 690"/>
                <a:gd name="T78" fmla="*/ 365648 w 1037"/>
                <a:gd name="T79" fmla="*/ 4197 h 690"/>
                <a:gd name="T80" fmla="*/ 373446 w 1037"/>
                <a:gd name="T81" fmla="*/ 5770 h 690"/>
                <a:gd name="T82" fmla="*/ 400307 w 1037"/>
                <a:gd name="T83" fmla="*/ 3147 h 690"/>
                <a:gd name="T84" fmla="*/ 449262 w 1037"/>
                <a:gd name="T85" fmla="*/ 22556 h 690"/>
                <a:gd name="T86" fmla="*/ 435399 w 1037"/>
                <a:gd name="T87" fmla="*/ 41441 h 690"/>
                <a:gd name="T88" fmla="*/ 402906 w 1037"/>
                <a:gd name="T89" fmla="*/ 28851 h 690"/>
                <a:gd name="T90" fmla="*/ 378212 w 1037"/>
                <a:gd name="T91" fmla="*/ 38818 h 690"/>
                <a:gd name="T92" fmla="*/ 367381 w 1037"/>
                <a:gd name="T93" fmla="*/ 60850 h 690"/>
                <a:gd name="T94" fmla="*/ 351351 w 1037"/>
                <a:gd name="T95" fmla="*/ 58227 h 690"/>
                <a:gd name="T96" fmla="*/ 322758 w 1037"/>
                <a:gd name="T97" fmla="*/ 67144 h 690"/>
                <a:gd name="T98" fmla="*/ 300663 w 1037"/>
                <a:gd name="T99" fmla="*/ 48260 h 690"/>
                <a:gd name="T100" fmla="*/ 268604 w 1037"/>
                <a:gd name="T101" fmla="*/ 58751 h 690"/>
                <a:gd name="T102" fmla="*/ 231346 w 1037"/>
                <a:gd name="T103" fmla="*/ 70292 h 690"/>
                <a:gd name="T104" fmla="*/ 210551 w 1037"/>
                <a:gd name="T105" fmla="*/ 110159 h 690"/>
                <a:gd name="T106" fmla="*/ 186290 w 1037"/>
                <a:gd name="T107" fmla="*/ 146354 h 690"/>
                <a:gd name="T108" fmla="*/ 172860 w 1037"/>
                <a:gd name="T109" fmla="*/ 190942 h 690"/>
                <a:gd name="T110" fmla="*/ 144266 w 1037"/>
                <a:gd name="T111" fmla="*/ 222940 h 690"/>
                <a:gd name="T112" fmla="*/ 153798 w 1037"/>
                <a:gd name="T113" fmla="*/ 260709 h 690"/>
                <a:gd name="T114" fmla="*/ 153364 w 1037"/>
                <a:gd name="T115" fmla="*/ 292707 h 690"/>
                <a:gd name="T116" fmla="*/ 143400 w 1037"/>
                <a:gd name="T117" fmla="*/ 322608 h 690"/>
                <a:gd name="T118" fmla="*/ 127804 w 1037"/>
                <a:gd name="T119" fmla="*/ 338345 h 6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67" name="Freeform 228">
              <a:extLst>
                <a:ext uri="{FF2B5EF4-FFF2-40B4-BE49-F238E27FC236}">
                  <a16:creationId xmlns:a16="http://schemas.microsoft.com/office/drawing/2014/main" id="{9F4DEC62-20A4-42F1-A1B6-3086C805F561}"/>
                </a:ext>
              </a:extLst>
            </p:cNvPr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5967413" y="2319339"/>
              <a:ext cx="49212" cy="90487"/>
            </a:xfrm>
            <a:custGeom>
              <a:avLst/>
              <a:gdLst>
                <a:gd name="T0" fmla="*/ 49212 w 120"/>
                <a:gd name="T1" fmla="*/ 51782 h 173"/>
                <a:gd name="T2" fmla="*/ 37729 w 120"/>
                <a:gd name="T3" fmla="*/ 31383 h 173"/>
                <a:gd name="T4" fmla="*/ 28707 w 120"/>
                <a:gd name="T5" fmla="*/ 14645 h 173"/>
                <a:gd name="T6" fmla="*/ 24606 w 120"/>
                <a:gd name="T7" fmla="*/ 8369 h 173"/>
                <a:gd name="T8" fmla="*/ 21735 w 120"/>
                <a:gd name="T9" fmla="*/ 4184 h 173"/>
                <a:gd name="T10" fmla="*/ 19685 w 120"/>
                <a:gd name="T11" fmla="*/ 2092 h 173"/>
                <a:gd name="T12" fmla="*/ 18455 w 120"/>
                <a:gd name="T13" fmla="*/ 1046 h 173"/>
                <a:gd name="T14" fmla="*/ 17634 w 120"/>
                <a:gd name="T15" fmla="*/ 523 h 173"/>
                <a:gd name="T16" fmla="*/ 15994 w 120"/>
                <a:gd name="T17" fmla="*/ 0 h 173"/>
                <a:gd name="T18" fmla="*/ 13533 w 120"/>
                <a:gd name="T19" fmla="*/ 0 h 173"/>
                <a:gd name="T20" fmla="*/ 11073 w 120"/>
                <a:gd name="T21" fmla="*/ 523 h 173"/>
                <a:gd name="T22" fmla="*/ 9842 w 120"/>
                <a:gd name="T23" fmla="*/ 1569 h 173"/>
                <a:gd name="T24" fmla="*/ 8612 w 120"/>
                <a:gd name="T25" fmla="*/ 2615 h 173"/>
                <a:gd name="T26" fmla="*/ 7792 w 120"/>
                <a:gd name="T27" fmla="*/ 4184 h 173"/>
                <a:gd name="T28" fmla="*/ 6562 w 120"/>
                <a:gd name="T29" fmla="*/ 6277 h 173"/>
                <a:gd name="T30" fmla="*/ 6152 w 120"/>
                <a:gd name="T31" fmla="*/ 7846 h 173"/>
                <a:gd name="T32" fmla="*/ 6152 w 120"/>
                <a:gd name="T33" fmla="*/ 10461 h 173"/>
                <a:gd name="T34" fmla="*/ 5741 w 120"/>
                <a:gd name="T35" fmla="*/ 15691 h 173"/>
                <a:gd name="T36" fmla="*/ 4921 w 120"/>
                <a:gd name="T37" fmla="*/ 21968 h 173"/>
                <a:gd name="T38" fmla="*/ 4101 w 120"/>
                <a:gd name="T39" fmla="*/ 25106 h 173"/>
                <a:gd name="T40" fmla="*/ 3281 w 120"/>
                <a:gd name="T41" fmla="*/ 28244 h 173"/>
                <a:gd name="T42" fmla="*/ 1640 w 120"/>
                <a:gd name="T43" fmla="*/ 31906 h 173"/>
                <a:gd name="T44" fmla="*/ 0 w 120"/>
                <a:gd name="T45" fmla="*/ 35567 h 173"/>
                <a:gd name="T46" fmla="*/ 2051 w 120"/>
                <a:gd name="T47" fmla="*/ 42890 h 173"/>
                <a:gd name="T48" fmla="*/ 4101 w 120"/>
                <a:gd name="T49" fmla="*/ 51782 h 173"/>
                <a:gd name="T50" fmla="*/ 6152 w 120"/>
                <a:gd name="T51" fmla="*/ 60150 h 173"/>
                <a:gd name="T52" fmla="*/ 8202 w 120"/>
                <a:gd name="T53" fmla="*/ 67473 h 173"/>
                <a:gd name="T54" fmla="*/ 9842 w 120"/>
                <a:gd name="T55" fmla="*/ 70088 h 173"/>
                <a:gd name="T56" fmla="*/ 12303 w 120"/>
                <a:gd name="T57" fmla="*/ 72703 h 173"/>
                <a:gd name="T58" fmla="*/ 15174 w 120"/>
                <a:gd name="T59" fmla="*/ 75842 h 173"/>
                <a:gd name="T60" fmla="*/ 18865 w 120"/>
                <a:gd name="T61" fmla="*/ 78980 h 173"/>
                <a:gd name="T62" fmla="*/ 22145 w 120"/>
                <a:gd name="T63" fmla="*/ 82118 h 173"/>
                <a:gd name="T64" fmla="*/ 24606 w 120"/>
                <a:gd name="T65" fmla="*/ 85257 h 173"/>
                <a:gd name="T66" fmla="*/ 25426 w 120"/>
                <a:gd name="T67" fmla="*/ 86303 h 173"/>
                <a:gd name="T68" fmla="*/ 26657 w 120"/>
                <a:gd name="T69" fmla="*/ 87872 h 173"/>
                <a:gd name="T70" fmla="*/ 27067 w 120"/>
                <a:gd name="T71" fmla="*/ 88918 h 173"/>
                <a:gd name="T72" fmla="*/ 27477 w 120"/>
                <a:gd name="T73" fmla="*/ 90487 h 173"/>
                <a:gd name="T74" fmla="*/ 31168 w 120"/>
                <a:gd name="T75" fmla="*/ 87349 h 173"/>
                <a:gd name="T76" fmla="*/ 35269 w 120"/>
                <a:gd name="T77" fmla="*/ 83687 h 173"/>
                <a:gd name="T78" fmla="*/ 38139 w 120"/>
                <a:gd name="T79" fmla="*/ 79503 h 173"/>
                <a:gd name="T80" fmla="*/ 41420 w 120"/>
                <a:gd name="T81" fmla="*/ 74273 h 173"/>
                <a:gd name="T82" fmla="*/ 43471 w 120"/>
                <a:gd name="T83" fmla="*/ 69042 h 173"/>
                <a:gd name="T84" fmla="*/ 45931 w 120"/>
                <a:gd name="T85" fmla="*/ 63289 h 173"/>
                <a:gd name="T86" fmla="*/ 47572 w 120"/>
                <a:gd name="T87" fmla="*/ 57535 h 173"/>
                <a:gd name="T88" fmla="*/ 49212 w 120"/>
                <a:gd name="T89" fmla="*/ 51782 h 17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8" name="Freeform 229">
              <a:extLst>
                <a:ext uri="{FF2B5EF4-FFF2-40B4-BE49-F238E27FC236}">
                  <a16:creationId xmlns:a16="http://schemas.microsoft.com/office/drawing/2014/main" id="{254D8C1E-22F0-4659-96F4-9B54F5D27A3C}"/>
                </a:ext>
              </a:extLst>
            </p:cNvPr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5675314" y="2159000"/>
              <a:ext cx="84137" cy="58738"/>
            </a:xfrm>
            <a:custGeom>
              <a:avLst/>
              <a:gdLst>
                <a:gd name="T0" fmla="*/ 84137 w 200"/>
                <a:gd name="T1" fmla="*/ 32965 h 98"/>
                <a:gd name="T2" fmla="*/ 82034 w 200"/>
                <a:gd name="T3" fmla="*/ 33565 h 98"/>
                <a:gd name="T4" fmla="*/ 78247 w 200"/>
                <a:gd name="T5" fmla="*/ 35962 h 98"/>
                <a:gd name="T6" fmla="*/ 74461 w 200"/>
                <a:gd name="T7" fmla="*/ 38959 h 98"/>
                <a:gd name="T8" fmla="*/ 69834 w 200"/>
                <a:gd name="T9" fmla="*/ 43754 h 98"/>
                <a:gd name="T10" fmla="*/ 65206 w 200"/>
                <a:gd name="T11" fmla="*/ 47949 h 98"/>
                <a:gd name="T12" fmla="*/ 60999 w 200"/>
                <a:gd name="T13" fmla="*/ 52145 h 98"/>
                <a:gd name="T14" fmla="*/ 57634 w 200"/>
                <a:gd name="T15" fmla="*/ 55741 h 98"/>
                <a:gd name="T16" fmla="*/ 55951 w 200"/>
                <a:gd name="T17" fmla="*/ 58738 h 98"/>
                <a:gd name="T18" fmla="*/ 53427 w 200"/>
                <a:gd name="T19" fmla="*/ 58738 h 98"/>
                <a:gd name="T20" fmla="*/ 51324 w 200"/>
                <a:gd name="T21" fmla="*/ 58738 h 98"/>
                <a:gd name="T22" fmla="*/ 48799 w 200"/>
                <a:gd name="T23" fmla="*/ 58139 h 98"/>
                <a:gd name="T24" fmla="*/ 46696 w 200"/>
                <a:gd name="T25" fmla="*/ 56940 h 98"/>
                <a:gd name="T26" fmla="*/ 44593 w 200"/>
                <a:gd name="T27" fmla="*/ 55741 h 98"/>
                <a:gd name="T28" fmla="*/ 43331 w 200"/>
                <a:gd name="T29" fmla="*/ 52744 h 98"/>
                <a:gd name="T30" fmla="*/ 42489 w 200"/>
                <a:gd name="T31" fmla="*/ 49148 h 98"/>
                <a:gd name="T32" fmla="*/ 42069 w 200"/>
                <a:gd name="T33" fmla="*/ 44353 h 98"/>
                <a:gd name="T34" fmla="*/ 38282 w 200"/>
                <a:gd name="T35" fmla="*/ 47949 h 98"/>
                <a:gd name="T36" fmla="*/ 34496 w 200"/>
                <a:gd name="T37" fmla="*/ 51546 h 98"/>
                <a:gd name="T38" fmla="*/ 32813 w 200"/>
                <a:gd name="T39" fmla="*/ 53943 h 98"/>
                <a:gd name="T40" fmla="*/ 30289 w 200"/>
                <a:gd name="T41" fmla="*/ 55741 h 98"/>
                <a:gd name="T42" fmla="*/ 28186 w 200"/>
                <a:gd name="T43" fmla="*/ 57539 h 98"/>
                <a:gd name="T44" fmla="*/ 25241 w 200"/>
                <a:gd name="T45" fmla="*/ 58738 h 98"/>
                <a:gd name="T46" fmla="*/ 16407 w 200"/>
                <a:gd name="T47" fmla="*/ 58738 h 98"/>
                <a:gd name="T48" fmla="*/ 14303 w 200"/>
                <a:gd name="T49" fmla="*/ 58738 h 98"/>
                <a:gd name="T50" fmla="*/ 11779 w 200"/>
                <a:gd name="T51" fmla="*/ 56940 h 98"/>
                <a:gd name="T52" fmla="*/ 9255 w 200"/>
                <a:gd name="T53" fmla="*/ 55142 h 98"/>
                <a:gd name="T54" fmla="*/ 6310 w 200"/>
                <a:gd name="T55" fmla="*/ 53344 h 98"/>
                <a:gd name="T56" fmla="*/ 3786 w 200"/>
                <a:gd name="T57" fmla="*/ 50946 h 98"/>
                <a:gd name="T58" fmla="*/ 1683 w 200"/>
                <a:gd name="T59" fmla="*/ 48549 h 98"/>
                <a:gd name="T60" fmla="*/ 421 w 200"/>
                <a:gd name="T61" fmla="*/ 46151 h 98"/>
                <a:gd name="T62" fmla="*/ 0 w 200"/>
                <a:gd name="T63" fmla="*/ 44353 h 98"/>
                <a:gd name="T64" fmla="*/ 2103 w 200"/>
                <a:gd name="T65" fmla="*/ 42555 h 98"/>
                <a:gd name="T66" fmla="*/ 4207 w 200"/>
                <a:gd name="T67" fmla="*/ 40158 h 98"/>
                <a:gd name="T68" fmla="*/ 5890 w 200"/>
                <a:gd name="T69" fmla="*/ 35962 h 98"/>
                <a:gd name="T70" fmla="*/ 8414 w 200"/>
                <a:gd name="T71" fmla="*/ 31766 h 98"/>
                <a:gd name="T72" fmla="*/ 9676 w 200"/>
                <a:gd name="T73" fmla="*/ 26972 h 98"/>
                <a:gd name="T74" fmla="*/ 11358 w 200"/>
                <a:gd name="T75" fmla="*/ 22177 h 98"/>
                <a:gd name="T76" fmla="*/ 12621 w 200"/>
                <a:gd name="T77" fmla="*/ 16782 h 98"/>
                <a:gd name="T78" fmla="*/ 13883 w 200"/>
                <a:gd name="T79" fmla="*/ 11388 h 98"/>
                <a:gd name="T80" fmla="*/ 27765 w 200"/>
                <a:gd name="T81" fmla="*/ 8391 h 98"/>
                <a:gd name="T82" fmla="*/ 43331 w 200"/>
                <a:gd name="T83" fmla="*/ 5394 h 98"/>
                <a:gd name="T84" fmla="*/ 60999 w 200"/>
                <a:gd name="T85" fmla="*/ 2397 h 98"/>
                <a:gd name="T86" fmla="*/ 81192 w 200"/>
                <a:gd name="T87" fmla="*/ 0 h 98"/>
                <a:gd name="T88" fmla="*/ 69834 w 200"/>
                <a:gd name="T89" fmla="*/ 18580 h 98"/>
                <a:gd name="T90" fmla="*/ 69834 w 200"/>
                <a:gd name="T91" fmla="*/ 20378 h 98"/>
                <a:gd name="T92" fmla="*/ 68992 w 200"/>
                <a:gd name="T93" fmla="*/ 22177 h 98"/>
                <a:gd name="T94" fmla="*/ 68151 w 200"/>
                <a:gd name="T95" fmla="*/ 23375 h 98"/>
                <a:gd name="T96" fmla="*/ 67730 w 200"/>
                <a:gd name="T97" fmla="*/ 24574 h 98"/>
                <a:gd name="T98" fmla="*/ 66048 w 200"/>
                <a:gd name="T99" fmla="*/ 26972 h 98"/>
                <a:gd name="T100" fmla="*/ 65627 w 200"/>
                <a:gd name="T101" fmla="*/ 28170 h 98"/>
                <a:gd name="T102" fmla="*/ 65627 w 200"/>
                <a:gd name="T103" fmla="*/ 29369 h 98"/>
                <a:gd name="T104" fmla="*/ 66048 w 200"/>
                <a:gd name="T105" fmla="*/ 29968 h 98"/>
                <a:gd name="T106" fmla="*/ 66889 w 200"/>
                <a:gd name="T107" fmla="*/ 29968 h 98"/>
                <a:gd name="T108" fmla="*/ 68572 w 200"/>
                <a:gd name="T109" fmla="*/ 30568 h 98"/>
                <a:gd name="T110" fmla="*/ 74461 w 200"/>
                <a:gd name="T111" fmla="*/ 31766 h 98"/>
                <a:gd name="T112" fmla="*/ 84137 w 200"/>
                <a:gd name="T113" fmla="*/ 32965 h 9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9" name="Freeform 230">
              <a:extLst>
                <a:ext uri="{FF2B5EF4-FFF2-40B4-BE49-F238E27FC236}">
                  <a16:creationId xmlns:a16="http://schemas.microsoft.com/office/drawing/2014/main" id="{C4D783B0-B2BA-4AF6-9AC9-FB490E18C8D9}"/>
                </a:ext>
              </a:extLst>
            </p:cNvPr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5613400" y="1978026"/>
              <a:ext cx="84138" cy="73025"/>
            </a:xfrm>
            <a:custGeom>
              <a:avLst/>
              <a:gdLst>
                <a:gd name="T0" fmla="*/ 0 w 186"/>
                <a:gd name="T1" fmla="*/ 57597 h 142"/>
                <a:gd name="T2" fmla="*/ 905 w 186"/>
                <a:gd name="T3" fmla="*/ 59654 h 142"/>
                <a:gd name="T4" fmla="*/ 1357 w 186"/>
                <a:gd name="T5" fmla="*/ 55026 h 142"/>
                <a:gd name="T6" fmla="*/ 1357 w 186"/>
                <a:gd name="T7" fmla="*/ 47826 h 142"/>
                <a:gd name="T8" fmla="*/ 4071 w 186"/>
                <a:gd name="T9" fmla="*/ 42169 h 142"/>
                <a:gd name="T10" fmla="*/ 7690 w 186"/>
                <a:gd name="T11" fmla="*/ 35484 h 142"/>
                <a:gd name="T12" fmla="*/ 9047 w 186"/>
                <a:gd name="T13" fmla="*/ 28799 h 142"/>
                <a:gd name="T14" fmla="*/ 10404 w 186"/>
                <a:gd name="T15" fmla="*/ 23656 h 142"/>
                <a:gd name="T16" fmla="*/ 12666 w 186"/>
                <a:gd name="T17" fmla="*/ 19028 h 142"/>
                <a:gd name="T18" fmla="*/ 15832 w 186"/>
                <a:gd name="T19" fmla="*/ 16456 h 142"/>
                <a:gd name="T20" fmla="*/ 18547 w 186"/>
                <a:gd name="T21" fmla="*/ 19542 h 142"/>
                <a:gd name="T22" fmla="*/ 19451 w 186"/>
                <a:gd name="T23" fmla="*/ 25199 h 142"/>
                <a:gd name="T24" fmla="*/ 21261 w 186"/>
                <a:gd name="T25" fmla="*/ 29827 h 142"/>
                <a:gd name="T26" fmla="*/ 24880 w 186"/>
                <a:gd name="T27" fmla="*/ 33427 h 142"/>
                <a:gd name="T28" fmla="*/ 39355 w 186"/>
                <a:gd name="T29" fmla="*/ 34455 h 142"/>
                <a:gd name="T30" fmla="*/ 35736 w 186"/>
                <a:gd name="T31" fmla="*/ 21085 h 142"/>
                <a:gd name="T32" fmla="*/ 31212 w 186"/>
                <a:gd name="T33" fmla="*/ 18513 h 142"/>
                <a:gd name="T34" fmla="*/ 28498 w 186"/>
                <a:gd name="T35" fmla="*/ 15428 h 142"/>
                <a:gd name="T36" fmla="*/ 27594 w 186"/>
                <a:gd name="T37" fmla="*/ 11828 h 142"/>
                <a:gd name="T38" fmla="*/ 31665 w 186"/>
                <a:gd name="T39" fmla="*/ 8742 h 142"/>
                <a:gd name="T40" fmla="*/ 39355 w 186"/>
                <a:gd name="T41" fmla="*/ 7200 h 142"/>
                <a:gd name="T42" fmla="*/ 44331 w 186"/>
                <a:gd name="T43" fmla="*/ 5143 h 142"/>
                <a:gd name="T44" fmla="*/ 50211 w 186"/>
                <a:gd name="T45" fmla="*/ 3086 h 142"/>
                <a:gd name="T46" fmla="*/ 58806 w 186"/>
                <a:gd name="T47" fmla="*/ 1543 h 142"/>
                <a:gd name="T48" fmla="*/ 66496 w 186"/>
                <a:gd name="T49" fmla="*/ 514 h 142"/>
                <a:gd name="T50" fmla="*/ 71924 w 186"/>
                <a:gd name="T51" fmla="*/ 1029 h 142"/>
                <a:gd name="T52" fmla="*/ 79614 w 186"/>
                <a:gd name="T53" fmla="*/ 514 h 142"/>
                <a:gd name="T54" fmla="*/ 82781 w 186"/>
                <a:gd name="T55" fmla="*/ 5143 h 142"/>
                <a:gd name="T56" fmla="*/ 80519 w 186"/>
                <a:gd name="T57" fmla="*/ 13371 h 142"/>
                <a:gd name="T58" fmla="*/ 76448 w 186"/>
                <a:gd name="T59" fmla="*/ 20570 h 142"/>
                <a:gd name="T60" fmla="*/ 71924 w 186"/>
                <a:gd name="T61" fmla="*/ 26227 h 142"/>
                <a:gd name="T62" fmla="*/ 70115 w 186"/>
                <a:gd name="T63" fmla="*/ 32398 h 142"/>
                <a:gd name="T64" fmla="*/ 69210 w 186"/>
                <a:gd name="T65" fmla="*/ 39084 h 142"/>
                <a:gd name="T66" fmla="*/ 54283 w 186"/>
                <a:gd name="T67" fmla="*/ 73025 h 142"/>
                <a:gd name="T68" fmla="*/ 36188 w 186"/>
                <a:gd name="T69" fmla="*/ 62740 h 142"/>
                <a:gd name="T70" fmla="*/ 15832 w 186"/>
                <a:gd name="T71" fmla="*/ 60168 h 142"/>
                <a:gd name="T72" fmla="*/ 3619 w 186"/>
                <a:gd name="T73" fmla="*/ 58111 h 1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70" name="Freeform 231">
              <a:extLst>
                <a:ext uri="{FF2B5EF4-FFF2-40B4-BE49-F238E27FC236}">
                  <a16:creationId xmlns:a16="http://schemas.microsoft.com/office/drawing/2014/main" id="{39F37649-ACFB-4D14-B3DC-0A2F001A3020}"/>
                </a:ext>
              </a:extLst>
            </p:cNvPr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5594350" y="2041525"/>
              <a:ext cx="84138" cy="57150"/>
            </a:xfrm>
            <a:custGeom>
              <a:avLst/>
              <a:gdLst>
                <a:gd name="T0" fmla="*/ 84138 w 192"/>
                <a:gd name="T1" fmla="*/ 33201 h 105"/>
                <a:gd name="T2" fmla="*/ 82823 w 192"/>
                <a:gd name="T3" fmla="*/ 33746 h 105"/>
                <a:gd name="T4" fmla="*/ 80632 w 192"/>
                <a:gd name="T5" fmla="*/ 34290 h 105"/>
                <a:gd name="T6" fmla="*/ 78879 w 192"/>
                <a:gd name="T7" fmla="*/ 34834 h 105"/>
                <a:gd name="T8" fmla="*/ 77565 w 192"/>
                <a:gd name="T9" fmla="*/ 36467 h 105"/>
                <a:gd name="T10" fmla="*/ 73621 w 192"/>
                <a:gd name="T11" fmla="*/ 39189 h 105"/>
                <a:gd name="T12" fmla="*/ 70115 w 192"/>
                <a:gd name="T13" fmla="*/ 42999 h 105"/>
                <a:gd name="T14" fmla="*/ 67486 w 192"/>
                <a:gd name="T15" fmla="*/ 46809 h 105"/>
                <a:gd name="T16" fmla="*/ 64418 w 192"/>
                <a:gd name="T17" fmla="*/ 50619 h 105"/>
                <a:gd name="T18" fmla="*/ 62665 w 192"/>
                <a:gd name="T19" fmla="*/ 53884 h 105"/>
                <a:gd name="T20" fmla="*/ 60912 w 192"/>
                <a:gd name="T21" fmla="*/ 57150 h 105"/>
                <a:gd name="T22" fmla="*/ 52586 w 192"/>
                <a:gd name="T23" fmla="*/ 52796 h 105"/>
                <a:gd name="T24" fmla="*/ 44698 w 192"/>
                <a:gd name="T25" fmla="*/ 48441 h 105"/>
                <a:gd name="T26" fmla="*/ 37687 w 192"/>
                <a:gd name="T27" fmla="*/ 43543 h 105"/>
                <a:gd name="T28" fmla="*/ 30237 w 192"/>
                <a:gd name="T29" fmla="*/ 38644 h 105"/>
                <a:gd name="T30" fmla="*/ 23226 w 192"/>
                <a:gd name="T31" fmla="*/ 33201 h 105"/>
                <a:gd name="T32" fmla="*/ 15776 w 192"/>
                <a:gd name="T33" fmla="*/ 28847 h 105"/>
                <a:gd name="T34" fmla="*/ 8326 w 192"/>
                <a:gd name="T35" fmla="*/ 23949 h 105"/>
                <a:gd name="T36" fmla="*/ 0 w 192"/>
                <a:gd name="T37" fmla="*/ 20139 h 105"/>
                <a:gd name="T38" fmla="*/ 0 w 192"/>
                <a:gd name="T39" fmla="*/ 7076 h 105"/>
                <a:gd name="T40" fmla="*/ 3068 w 192"/>
                <a:gd name="T41" fmla="*/ 3810 h 105"/>
                <a:gd name="T42" fmla="*/ 7012 w 192"/>
                <a:gd name="T43" fmla="*/ 2177 h 105"/>
                <a:gd name="T44" fmla="*/ 12708 w 192"/>
                <a:gd name="T45" fmla="*/ 544 h 105"/>
                <a:gd name="T46" fmla="*/ 17529 w 192"/>
                <a:gd name="T47" fmla="*/ 0 h 105"/>
                <a:gd name="T48" fmla="*/ 26293 w 192"/>
                <a:gd name="T49" fmla="*/ 1089 h 105"/>
                <a:gd name="T50" fmla="*/ 40754 w 192"/>
                <a:gd name="T51" fmla="*/ 2721 h 105"/>
                <a:gd name="T52" fmla="*/ 48642 w 192"/>
                <a:gd name="T53" fmla="*/ 3810 h 105"/>
                <a:gd name="T54" fmla="*/ 56092 w 192"/>
                <a:gd name="T55" fmla="*/ 3810 h 105"/>
                <a:gd name="T56" fmla="*/ 62665 w 192"/>
                <a:gd name="T57" fmla="*/ 3810 h 105"/>
                <a:gd name="T58" fmla="*/ 67047 w 192"/>
                <a:gd name="T59" fmla="*/ 3266 h 105"/>
                <a:gd name="T60" fmla="*/ 67924 w 192"/>
                <a:gd name="T61" fmla="*/ 5987 h 105"/>
                <a:gd name="T62" fmla="*/ 69677 w 192"/>
                <a:gd name="T63" fmla="*/ 9253 h 105"/>
                <a:gd name="T64" fmla="*/ 70553 w 192"/>
                <a:gd name="T65" fmla="*/ 10886 h 105"/>
                <a:gd name="T66" fmla="*/ 71868 w 192"/>
                <a:gd name="T67" fmla="*/ 12519 h 105"/>
                <a:gd name="T68" fmla="*/ 72306 w 192"/>
                <a:gd name="T69" fmla="*/ 14696 h 105"/>
                <a:gd name="T70" fmla="*/ 72744 w 192"/>
                <a:gd name="T71" fmla="*/ 16873 h 105"/>
                <a:gd name="T72" fmla="*/ 74497 w 192"/>
                <a:gd name="T73" fmla="*/ 17417 h 105"/>
                <a:gd name="T74" fmla="*/ 77565 w 192"/>
                <a:gd name="T75" fmla="*/ 17961 h 105"/>
                <a:gd name="T76" fmla="*/ 78879 w 192"/>
                <a:gd name="T77" fmla="*/ 18506 h 105"/>
                <a:gd name="T78" fmla="*/ 80194 w 192"/>
                <a:gd name="T79" fmla="*/ 18506 h 105"/>
                <a:gd name="T80" fmla="*/ 82385 w 192"/>
                <a:gd name="T81" fmla="*/ 17961 h 105"/>
                <a:gd name="T82" fmla="*/ 84138 w 192"/>
                <a:gd name="T83" fmla="*/ 16873 h 105"/>
                <a:gd name="T84" fmla="*/ 84138 w 192"/>
                <a:gd name="T85" fmla="*/ 33201 h 10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71" name="Freeform 232">
              <a:extLst>
                <a:ext uri="{FF2B5EF4-FFF2-40B4-BE49-F238E27FC236}">
                  <a16:creationId xmlns:a16="http://schemas.microsoft.com/office/drawing/2014/main" id="{C652A9F9-F3E1-4363-9AB4-599296C37659}"/>
                </a:ext>
              </a:extLst>
            </p:cNvPr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6354764" y="2595563"/>
              <a:ext cx="33337" cy="131762"/>
            </a:xfrm>
            <a:custGeom>
              <a:avLst/>
              <a:gdLst>
                <a:gd name="T0" fmla="*/ 13752 w 80"/>
                <a:gd name="T1" fmla="*/ 0 h 254"/>
                <a:gd name="T2" fmla="*/ 15418 w 80"/>
                <a:gd name="T3" fmla="*/ 1037 h 254"/>
                <a:gd name="T4" fmla="*/ 16669 w 80"/>
                <a:gd name="T5" fmla="*/ 2075 h 254"/>
                <a:gd name="T6" fmla="*/ 17919 w 80"/>
                <a:gd name="T7" fmla="*/ 3631 h 254"/>
                <a:gd name="T8" fmla="*/ 19169 w 80"/>
                <a:gd name="T9" fmla="*/ 5187 h 254"/>
                <a:gd name="T10" fmla="*/ 21669 w 80"/>
                <a:gd name="T11" fmla="*/ 9337 h 254"/>
                <a:gd name="T12" fmla="*/ 23336 w 80"/>
                <a:gd name="T13" fmla="*/ 12969 h 254"/>
                <a:gd name="T14" fmla="*/ 25836 w 80"/>
                <a:gd name="T15" fmla="*/ 16600 h 254"/>
                <a:gd name="T16" fmla="*/ 27920 w 80"/>
                <a:gd name="T17" fmla="*/ 19712 h 254"/>
                <a:gd name="T18" fmla="*/ 29170 w 80"/>
                <a:gd name="T19" fmla="*/ 20750 h 254"/>
                <a:gd name="T20" fmla="*/ 30420 w 80"/>
                <a:gd name="T21" fmla="*/ 21787 h 254"/>
                <a:gd name="T22" fmla="*/ 31670 w 80"/>
                <a:gd name="T23" fmla="*/ 22306 h 254"/>
                <a:gd name="T24" fmla="*/ 33337 w 80"/>
                <a:gd name="T25" fmla="*/ 22825 h 254"/>
                <a:gd name="T26" fmla="*/ 33337 w 80"/>
                <a:gd name="T27" fmla="*/ 27494 h 254"/>
                <a:gd name="T28" fmla="*/ 33337 w 80"/>
                <a:gd name="T29" fmla="*/ 32162 h 254"/>
                <a:gd name="T30" fmla="*/ 22086 w 80"/>
                <a:gd name="T31" fmla="*/ 131762 h 254"/>
                <a:gd name="T32" fmla="*/ 0 w 80"/>
                <a:gd name="T33" fmla="*/ 48244 h 254"/>
                <a:gd name="T34" fmla="*/ 1667 w 80"/>
                <a:gd name="T35" fmla="*/ 45650 h 254"/>
                <a:gd name="T36" fmla="*/ 4584 w 80"/>
                <a:gd name="T37" fmla="*/ 36831 h 254"/>
                <a:gd name="T38" fmla="*/ 7084 w 80"/>
                <a:gd name="T39" fmla="*/ 29569 h 254"/>
                <a:gd name="T40" fmla="*/ 9168 w 80"/>
                <a:gd name="T41" fmla="*/ 21269 h 254"/>
                <a:gd name="T42" fmla="*/ 11668 w 80"/>
                <a:gd name="T43" fmla="*/ 11931 h 254"/>
                <a:gd name="T44" fmla="*/ 13752 w 80"/>
                <a:gd name="T45" fmla="*/ 0 h 25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2" name="Freeform 233">
              <a:extLst>
                <a:ext uri="{FF2B5EF4-FFF2-40B4-BE49-F238E27FC236}">
                  <a16:creationId xmlns:a16="http://schemas.microsoft.com/office/drawing/2014/main" id="{E07E9C0D-1C49-4267-B5DF-DA0E71C34191}"/>
                </a:ext>
              </a:extLst>
            </p:cNvPr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6303963" y="2647951"/>
              <a:ext cx="69850" cy="130175"/>
            </a:xfrm>
            <a:custGeom>
              <a:avLst/>
              <a:gdLst>
                <a:gd name="T0" fmla="*/ 47682 w 167"/>
                <a:gd name="T1" fmla="*/ 0 h 259"/>
                <a:gd name="T2" fmla="*/ 69850 w 167"/>
                <a:gd name="T3" fmla="*/ 77904 h 259"/>
                <a:gd name="T4" fmla="*/ 50610 w 167"/>
                <a:gd name="T5" fmla="*/ 130175 h 259"/>
                <a:gd name="T6" fmla="*/ 47264 w 167"/>
                <a:gd name="T7" fmla="*/ 130175 h 259"/>
                <a:gd name="T8" fmla="*/ 44754 w 167"/>
                <a:gd name="T9" fmla="*/ 129170 h 259"/>
                <a:gd name="T10" fmla="*/ 41826 w 167"/>
                <a:gd name="T11" fmla="*/ 127662 h 259"/>
                <a:gd name="T12" fmla="*/ 39735 w 167"/>
                <a:gd name="T13" fmla="*/ 126154 h 259"/>
                <a:gd name="T14" fmla="*/ 37225 w 167"/>
                <a:gd name="T15" fmla="*/ 123139 h 259"/>
                <a:gd name="T16" fmla="*/ 35552 w 167"/>
                <a:gd name="T17" fmla="*/ 120625 h 259"/>
                <a:gd name="T18" fmla="*/ 33461 w 167"/>
                <a:gd name="T19" fmla="*/ 118112 h 259"/>
                <a:gd name="T20" fmla="*/ 31788 w 167"/>
                <a:gd name="T21" fmla="*/ 115097 h 259"/>
                <a:gd name="T22" fmla="*/ 28860 w 167"/>
                <a:gd name="T23" fmla="*/ 109066 h 259"/>
                <a:gd name="T24" fmla="*/ 27187 w 167"/>
                <a:gd name="T25" fmla="*/ 103034 h 259"/>
                <a:gd name="T26" fmla="*/ 25932 w 167"/>
                <a:gd name="T27" fmla="*/ 97506 h 259"/>
                <a:gd name="T28" fmla="*/ 25932 w 167"/>
                <a:gd name="T29" fmla="*/ 92982 h 259"/>
                <a:gd name="T30" fmla="*/ 23004 w 167"/>
                <a:gd name="T31" fmla="*/ 92480 h 259"/>
                <a:gd name="T32" fmla="*/ 21331 w 167"/>
                <a:gd name="T33" fmla="*/ 91977 h 259"/>
                <a:gd name="T34" fmla="*/ 18822 w 167"/>
                <a:gd name="T35" fmla="*/ 91474 h 259"/>
                <a:gd name="T36" fmla="*/ 17567 w 167"/>
                <a:gd name="T37" fmla="*/ 90469 h 259"/>
                <a:gd name="T38" fmla="*/ 16312 w 167"/>
                <a:gd name="T39" fmla="*/ 88961 h 259"/>
                <a:gd name="T40" fmla="*/ 15057 w 167"/>
                <a:gd name="T41" fmla="*/ 87453 h 259"/>
                <a:gd name="T42" fmla="*/ 14221 w 167"/>
                <a:gd name="T43" fmla="*/ 85443 h 259"/>
                <a:gd name="T44" fmla="*/ 13384 w 167"/>
                <a:gd name="T45" fmla="*/ 83935 h 259"/>
                <a:gd name="T46" fmla="*/ 12548 w 167"/>
                <a:gd name="T47" fmla="*/ 79412 h 259"/>
                <a:gd name="T48" fmla="*/ 12130 w 167"/>
                <a:gd name="T49" fmla="*/ 74888 h 259"/>
                <a:gd name="T50" fmla="*/ 11711 w 167"/>
                <a:gd name="T51" fmla="*/ 70365 h 259"/>
                <a:gd name="T52" fmla="*/ 11711 w 167"/>
                <a:gd name="T53" fmla="*/ 64836 h 259"/>
                <a:gd name="T54" fmla="*/ 8784 w 167"/>
                <a:gd name="T55" fmla="*/ 64836 h 259"/>
                <a:gd name="T56" fmla="*/ 6692 w 167"/>
                <a:gd name="T57" fmla="*/ 63831 h 259"/>
                <a:gd name="T58" fmla="*/ 4601 w 167"/>
                <a:gd name="T59" fmla="*/ 62826 h 259"/>
                <a:gd name="T60" fmla="*/ 2928 w 167"/>
                <a:gd name="T61" fmla="*/ 60815 h 259"/>
                <a:gd name="T62" fmla="*/ 2091 w 167"/>
                <a:gd name="T63" fmla="*/ 58805 h 259"/>
                <a:gd name="T64" fmla="*/ 837 w 167"/>
                <a:gd name="T65" fmla="*/ 56292 h 259"/>
                <a:gd name="T66" fmla="*/ 0 w 167"/>
                <a:gd name="T67" fmla="*/ 53779 h 259"/>
                <a:gd name="T68" fmla="*/ 0 w 167"/>
                <a:gd name="T69" fmla="*/ 50763 h 259"/>
                <a:gd name="T70" fmla="*/ 0 w 167"/>
                <a:gd name="T71" fmla="*/ 37695 h 259"/>
                <a:gd name="T72" fmla="*/ 418 w 167"/>
                <a:gd name="T73" fmla="*/ 25130 h 259"/>
                <a:gd name="T74" fmla="*/ 5019 w 167"/>
                <a:gd name="T75" fmla="*/ 26136 h 259"/>
                <a:gd name="T76" fmla="*/ 9202 w 167"/>
                <a:gd name="T77" fmla="*/ 26638 h 259"/>
                <a:gd name="T78" fmla="*/ 13384 w 167"/>
                <a:gd name="T79" fmla="*/ 26638 h 259"/>
                <a:gd name="T80" fmla="*/ 17567 w 167"/>
                <a:gd name="T81" fmla="*/ 26136 h 259"/>
                <a:gd name="T82" fmla="*/ 20913 w 167"/>
                <a:gd name="T83" fmla="*/ 25633 h 259"/>
                <a:gd name="T84" fmla="*/ 24259 w 167"/>
                <a:gd name="T85" fmla="*/ 24628 h 259"/>
                <a:gd name="T86" fmla="*/ 27605 w 167"/>
                <a:gd name="T87" fmla="*/ 23622 h 259"/>
                <a:gd name="T88" fmla="*/ 30533 w 167"/>
                <a:gd name="T89" fmla="*/ 22115 h 259"/>
                <a:gd name="T90" fmla="*/ 33043 w 167"/>
                <a:gd name="T91" fmla="*/ 20104 h 259"/>
                <a:gd name="T92" fmla="*/ 35971 w 167"/>
                <a:gd name="T93" fmla="*/ 18094 h 259"/>
                <a:gd name="T94" fmla="*/ 38062 w 167"/>
                <a:gd name="T95" fmla="*/ 15581 h 259"/>
                <a:gd name="T96" fmla="*/ 40572 w 167"/>
                <a:gd name="T97" fmla="*/ 13068 h 259"/>
                <a:gd name="T98" fmla="*/ 44754 w 167"/>
                <a:gd name="T99" fmla="*/ 6534 h 259"/>
                <a:gd name="T100" fmla="*/ 47682 w 167"/>
                <a:gd name="T101" fmla="*/ 0 h 2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3" name="Freeform 234">
              <a:extLst>
                <a:ext uri="{FF2B5EF4-FFF2-40B4-BE49-F238E27FC236}">
                  <a16:creationId xmlns:a16="http://schemas.microsoft.com/office/drawing/2014/main" id="{0B4E1427-D5DC-4886-A52D-036D3563CE45}"/>
                </a:ext>
              </a:extLst>
            </p:cNvPr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5305425" y="1901826"/>
              <a:ext cx="96838" cy="144463"/>
            </a:xfrm>
            <a:custGeom>
              <a:avLst/>
              <a:gdLst>
                <a:gd name="T0" fmla="*/ 79622 w 225"/>
                <a:gd name="T1" fmla="*/ 35454 h 273"/>
                <a:gd name="T2" fmla="*/ 74458 w 225"/>
                <a:gd name="T3" fmla="*/ 41275 h 273"/>
                <a:gd name="T4" fmla="*/ 68432 w 225"/>
                <a:gd name="T5" fmla="*/ 43392 h 273"/>
                <a:gd name="T6" fmla="*/ 70154 w 225"/>
                <a:gd name="T7" fmla="*/ 49213 h 273"/>
                <a:gd name="T8" fmla="*/ 74888 w 225"/>
                <a:gd name="T9" fmla="*/ 53446 h 273"/>
                <a:gd name="T10" fmla="*/ 83926 w 225"/>
                <a:gd name="T11" fmla="*/ 55563 h 273"/>
                <a:gd name="T12" fmla="*/ 96838 w 225"/>
                <a:gd name="T13" fmla="*/ 56092 h 273"/>
                <a:gd name="T14" fmla="*/ 96838 w 225"/>
                <a:gd name="T15" fmla="*/ 80434 h 273"/>
                <a:gd name="T16" fmla="*/ 96408 w 225"/>
                <a:gd name="T17" fmla="*/ 93134 h 273"/>
                <a:gd name="T18" fmla="*/ 92534 w 225"/>
                <a:gd name="T19" fmla="*/ 98955 h 273"/>
                <a:gd name="T20" fmla="*/ 84787 w 225"/>
                <a:gd name="T21" fmla="*/ 108480 h 273"/>
                <a:gd name="T22" fmla="*/ 82635 w 225"/>
                <a:gd name="T23" fmla="*/ 113242 h 273"/>
                <a:gd name="T24" fmla="*/ 77040 w 225"/>
                <a:gd name="T25" fmla="*/ 115359 h 273"/>
                <a:gd name="T26" fmla="*/ 70584 w 225"/>
                <a:gd name="T27" fmla="*/ 119063 h 273"/>
                <a:gd name="T28" fmla="*/ 68432 w 225"/>
                <a:gd name="T29" fmla="*/ 124884 h 273"/>
                <a:gd name="T30" fmla="*/ 60255 w 225"/>
                <a:gd name="T31" fmla="*/ 128059 h 273"/>
                <a:gd name="T32" fmla="*/ 55090 w 225"/>
                <a:gd name="T33" fmla="*/ 133350 h 273"/>
                <a:gd name="T34" fmla="*/ 43470 w 225"/>
                <a:gd name="T35" fmla="*/ 134938 h 273"/>
                <a:gd name="T36" fmla="*/ 25823 w 225"/>
                <a:gd name="T37" fmla="*/ 138113 h 273"/>
                <a:gd name="T38" fmla="*/ 8177 w 225"/>
                <a:gd name="T39" fmla="*/ 138113 h 273"/>
                <a:gd name="T40" fmla="*/ 0 w 225"/>
                <a:gd name="T41" fmla="*/ 114830 h 273"/>
                <a:gd name="T42" fmla="*/ 9038 w 225"/>
                <a:gd name="T43" fmla="*/ 112184 h 273"/>
                <a:gd name="T44" fmla="*/ 11190 w 225"/>
                <a:gd name="T45" fmla="*/ 108480 h 273"/>
                <a:gd name="T46" fmla="*/ 25823 w 225"/>
                <a:gd name="T47" fmla="*/ 106892 h 273"/>
                <a:gd name="T48" fmla="*/ 30988 w 225"/>
                <a:gd name="T49" fmla="*/ 102130 h 273"/>
                <a:gd name="T50" fmla="*/ 20659 w 225"/>
                <a:gd name="T51" fmla="*/ 104775 h 273"/>
                <a:gd name="T52" fmla="*/ 17216 w 225"/>
                <a:gd name="T53" fmla="*/ 104246 h 273"/>
                <a:gd name="T54" fmla="*/ 16785 w 225"/>
                <a:gd name="T55" fmla="*/ 99484 h 273"/>
                <a:gd name="T56" fmla="*/ 19798 w 225"/>
                <a:gd name="T57" fmla="*/ 91546 h 273"/>
                <a:gd name="T58" fmla="*/ 16785 w 225"/>
                <a:gd name="T59" fmla="*/ 84667 h 273"/>
                <a:gd name="T60" fmla="*/ 6025 w 225"/>
                <a:gd name="T61" fmla="*/ 79375 h 273"/>
                <a:gd name="T62" fmla="*/ 2582 w 225"/>
                <a:gd name="T63" fmla="*/ 68792 h 273"/>
                <a:gd name="T64" fmla="*/ 9469 w 225"/>
                <a:gd name="T65" fmla="*/ 60854 h 273"/>
                <a:gd name="T66" fmla="*/ 15064 w 225"/>
                <a:gd name="T67" fmla="*/ 53975 h 273"/>
                <a:gd name="T68" fmla="*/ 29267 w 225"/>
                <a:gd name="T69" fmla="*/ 49742 h 273"/>
                <a:gd name="T70" fmla="*/ 38735 w 225"/>
                <a:gd name="T71" fmla="*/ 49742 h 273"/>
                <a:gd name="T72" fmla="*/ 43039 w 225"/>
                <a:gd name="T73" fmla="*/ 46567 h 273"/>
                <a:gd name="T74" fmla="*/ 46482 w 225"/>
                <a:gd name="T75" fmla="*/ 27517 h 273"/>
                <a:gd name="T76" fmla="*/ 51647 w 225"/>
                <a:gd name="T77" fmla="*/ 16404 h 273"/>
                <a:gd name="T78" fmla="*/ 55951 w 225"/>
                <a:gd name="T79" fmla="*/ 10583 h 273"/>
                <a:gd name="T80" fmla="*/ 60685 w 225"/>
                <a:gd name="T81" fmla="*/ 3704 h 273"/>
                <a:gd name="T82" fmla="*/ 66711 w 225"/>
                <a:gd name="T83" fmla="*/ 529 h 273"/>
                <a:gd name="T84" fmla="*/ 77040 w 225"/>
                <a:gd name="T85" fmla="*/ 1588 h 273"/>
                <a:gd name="T86" fmla="*/ 83926 w 225"/>
                <a:gd name="T87" fmla="*/ 20108 h 273"/>
                <a:gd name="T88" fmla="*/ 84357 w 225"/>
                <a:gd name="T89" fmla="*/ 24871 h 273"/>
                <a:gd name="T90" fmla="*/ 81774 w 225"/>
                <a:gd name="T91" fmla="*/ 29633 h 27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74" name="Freeform 235">
              <a:extLst>
                <a:ext uri="{FF2B5EF4-FFF2-40B4-BE49-F238E27FC236}">
                  <a16:creationId xmlns:a16="http://schemas.microsoft.com/office/drawing/2014/main" id="{B23B1B4F-69C6-43AB-9CDC-0A62B94A7269}"/>
                </a:ext>
              </a:extLst>
            </p:cNvPr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5118100" y="2813051"/>
              <a:ext cx="306388" cy="390525"/>
            </a:xfrm>
            <a:custGeom>
              <a:avLst/>
              <a:gdLst>
                <a:gd name="T0" fmla="*/ 124140 w 232"/>
                <a:gd name="T1" fmla="*/ 387376 h 248"/>
                <a:gd name="T2" fmla="*/ 126781 w 232"/>
                <a:gd name="T3" fmla="*/ 382652 h 248"/>
                <a:gd name="T4" fmla="*/ 129423 w 232"/>
                <a:gd name="T5" fmla="*/ 374778 h 248"/>
                <a:gd name="T6" fmla="*/ 132064 w 232"/>
                <a:gd name="T7" fmla="*/ 365330 h 248"/>
                <a:gd name="T8" fmla="*/ 136026 w 232"/>
                <a:gd name="T9" fmla="*/ 363755 h 248"/>
                <a:gd name="T10" fmla="*/ 137346 w 232"/>
                <a:gd name="T11" fmla="*/ 374778 h 248"/>
                <a:gd name="T12" fmla="*/ 139988 w 232"/>
                <a:gd name="T13" fmla="*/ 379502 h 248"/>
                <a:gd name="T14" fmla="*/ 142629 w 232"/>
                <a:gd name="T15" fmla="*/ 381077 h 248"/>
                <a:gd name="T16" fmla="*/ 145270 w 232"/>
                <a:gd name="T17" fmla="*/ 381077 h 248"/>
                <a:gd name="T18" fmla="*/ 149232 w 232"/>
                <a:gd name="T19" fmla="*/ 379502 h 248"/>
                <a:gd name="T20" fmla="*/ 153194 w 232"/>
                <a:gd name="T21" fmla="*/ 374778 h 248"/>
                <a:gd name="T22" fmla="*/ 285258 w 232"/>
                <a:gd name="T23" fmla="*/ 368479 h 248"/>
                <a:gd name="T24" fmla="*/ 281296 w 232"/>
                <a:gd name="T25" fmla="*/ 321238 h 248"/>
                <a:gd name="T26" fmla="*/ 273372 w 232"/>
                <a:gd name="T27" fmla="*/ 217308 h 248"/>
                <a:gd name="T28" fmla="*/ 265448 w 232"/>
                <a:gd name="T29" fmla="*/ 114953 h 248"/>
                <a:gd name="T30" fmla="*/ 261486 w 232"/>
                <a:gd name="T31" fmla="*/ 67712 h 248"/>
                <a:gd name="T32" fmla="*/ 283937 w 232"/>
                <a:gd name="T33" fmla="*/ 69287 h 248"/>
                <a:gd name="T34" fmla="*/ 306388 w 232"/>
                <a:gd name="T35" fmla="*/ 72436 h 248"/>
                <a:gd name="T36" fmla="*/ 212623 w 232"/>
                <a:gd name="T37" fmla="*/ 3149 h 248"/>
                <a:gd name="T38" fmla="*/ 211302 w 232"/>
                <a:gd name="T39" fmla="*/ 12598 h 248"/>
                <a:gd name="T40" fmla="*/ 212623 w 232"/>
                <a:gd name="T41" fmla="*/ 28345 h 248"/>
                <a:gd name="T42" fmla="*/ 129423 w 232"/>
                <a:gd name="T43" fmla="*/ 37793 h 248"/>
                <a:gd name="T44" fmla="*/ 129423 w 232"/>
                <a:gd name="T45" fmla="*/ 116528 h 248"/>
                <a:gd name="T46" fmla="*/ 125461 w 232"/>
                <a:gd name="T47" fmla="*/ 119677 h 248"/>
                <a:gd name="T48" fmla="*/ 114896 w 232"/>
                <a:gd name="T49" fmla="*/ 122826 h 248"/>
                <a:gd name="T50" fmla="*/ 95086 w 232"/>
                <a:gd name="T51" fmla="*/ 129125 h 248"/>
                <a:gd name="T52" fmla="*/ 97727 w 232"/>
                <a:gd name="T53" fmla="*/ 138573 h 248"/>
                <a:gd name="T54" fmla="*/ 103010 w 232"/>
                <a:gd name="T55" fmla="*/ 151171 h 248"/>
                <a:gd name="T56" fmla="*/ 105651 w 232"/>
                <a:gd name="T57" fmla="*/ 165343 h 248"/>
                <a:gd name="T58" fmla="*/ 106972 w 232"/>
                <a:gd name="T59" fmla="*/ 181090 h 248"/>
                <a:gd name="T60" fmla="*/ 11886 w 232"/>
                <a:gd name="T61" fmla="*/ 187389 h 248"/>
                <a:gd name="T62" fmla="*/ 6603 w 232"/>
                <a:gd name="T63" fmla="*/ 204711 h 248"/>
                <a:gd name="T64" fmla="*/ 7924 w 232"/>
                <a:gd name="T65" fmla="*/ 225182 h 248"/>
                <a:gd name="T66" fmla="*/ 10565 w 232"/>
                <a:gd name="T67" fmla="*/ 244078 h 248"/>
                <a:gd name="T68" fmla="*/ 11886 w 232"/>
                <a:gd name="T69" fmla="*/ 264549 h 248"/>
                <a:gd name="T70" fmla="*/ 11886 w 232"/>
                <a:gd name="T71" fmla="*/ 286595 h 248"/>
                <a:gd name="T72" fmla="*/ 10565 w 232"/>
                <a:gd name="T73" fmla="*/ 305491 h 248"/>
                <a:gd name="T74" fmla="*/ 7924 w 232"/>
                <a:gd name="T75" fmla="*/ 324388 h 248"/>
                <a:gd name="T76" fmla="*/ 2641 w 232"/>
                <a:gd name="T77" fmla="*/ 340135 h 248"/>
                <a:gd name="T78" fmla="*/ 2641 w 232"/>
                <a:gd name="T79" fmla="*/ 344859 h 248"/>
                <a:gd name="T80" fmla="*/ 3962 w 232"/>
                <a:gd name="T81" fmla="*/ 346433 h 248"/>
                <a:gd name="T82" fmla="*/ 3962 w 232"/>
                <a:gd name="T83" fmla="*/ 349583 h 248"/>
                <a:gd name="T84" fmla="*/ 9244 w 232"/>
                <a:gd name="T85" fmla="*/ 341709 h 248"/>
                <a:gd name="T86" fmla="*/ 23771 w 232"/>
                <a:gd name="T87" fmla="*/ 335411 h 248"/>
                <a:gd name="T88" fmla="*/ 47543 w 232"/>
                <a:gd name="T89" fmla="*/ 325962 h 248"/>
                <a:gd name="T90" fmla="*/ 59429 w 232"/>
                <a:gd name="T91" fmla="*/ 327537 h 248"/>
                <a:gd name="T92" fmla="*/ 67353 w 232"/>
                <a:gd name="T93" fmla="*/ 333836 h 248"/>
                <a:gd name="T94" fmla="*/ 73956 w 232"/>
                <a:gd name="T95" fmla="*/ 336985 h 248"/>
                <a:gd name="T96" fmla="*/ 81880 w 232"/>
                <a:gd name="T97" fmla="*/ 338560 h 248"/>
                <a:gd name="T98" fmla="*/ 87162 w 232"/>
                <a:gd name="T99" fmla="*/ 344859 h 248"/>
                <a:gd name="T100" fmla="*/ 88483 w 232"/>
                <a:gd name="T101" fmla="*/ 354307 h 248"/>
                <a:gd name="T102" fmla="*/ 92445 w 232"/>
                <a:gd name="T103" fmla="*/ 363755 h 248"/>
                <a:gd name="T104" fmla="*/ 97727 w 232"/>
                <a:gd name="T105" fmla="*/ 370054 h 248"/>
                <a:gd name="T106" fmla="*/ 112254 w 232"/>
                <a:gd name="T107" fmla="*/ 382652 h 2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5" name="Freeform 236">
              <a:extLst>
                <a:ext uri="{FF2B5EF4-FFF2-40B4-BE49-F238E27FC236}">
                  <a16:creationId xmlns:a16="http://schemas.microsoft.com/office/drawing/2014/main" id="{3AE472A1-78BF-45E4-9FDD-0CD111E75B46}"/>
                </a:ext>
              </a:extLst>
            </p:cNvPr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5233989" y="2873376"/>
              <a:ext cx="414337" cy="468313"/>
            </a:xfrm>
            <a:custGeom>
              <a:avLst/>
              <a:gdLst>
                <a:gd name="T0" fmla="*/ 39336 w 948"/>
                <a:gd name="T1" fmla="*/ 413248 h 893"/>
                <a:gd name="T2" fmla="*/ 52885 w 948"/>
                <a:gd name="T3" fmla="*/ 413248 h 893"/>
                <a:gd name="T4" fmla="*/ 63811 w 948"/>
                <a:gd name="T5" fmla="*/ 410626 h 893"/>
                <a:gd name="T6" fmla="*/ 81294 w 948"/>
                <a:gd name="T7" fmla="*/ 406955 h 893"/>
                <a:gd name="T8" fmla="*/ 86102 w 948"/>
                <a:gd name="T9" fmla="*/ 426359 h 893"/>
                <a:gd name="T10" fmla="*/ 92658 w 948"/>
                <a:gd name="T11" fmla="*/ 437896 h 893"/>
                <a:gd name="T12" fmla="*/ 98777 w 948"/>
                <a:gd name="T13" fmla="*/ 443665 h 893"/>
                <a:gd name="T14" fmla="*/ 107518 w 948"/>
                <a:gd name="T15" fmla="*/ 445763 h 893"/>
                <a:gd name="T16" fmla="*/ 107518 w 948"/>
                <a:gd name="T17" fmla="*/ 462020 h 893"/>
                <a:gd name="T18" fmla="*/ 142483 w 948"/>
                <a:gd name="T19" fmla="*/ 466215 h 893"/>
                <a:gd name="T20" fmla="*/ 145979 w 948"/>
                <a:gd name="T21" fmla="*/ 459398 h 893"/>
                <a:gd name="T22" fmla="*/ 151661 w 948"/>
                <a:gd name="T23" fmla="*/ 456776 h 893"/>
                <a:gd name="T24" fmla="*/ 152098 w 948"/>
                <a:gd name="T25" fmla="*/ 465691 h 893"/>
                <a:gd name="T26" fmla="*/ 156469 w 948"/>
                <a:gd name="T27" fmla="*/ 468313 h 893"/>
                <a:gd name="T28" fmla="*/ 168270 w 948"/>
                <a:gd name="T29" fmla="*/ 468313 h 893"/>
                <a:gd name="T30" fmla="*/ 175263 w 948"/>
                <a:gd name="T31" fmla="*/ 447860 h 893"/>
                <a:gd name="T32" fmla="*/ 180071 w 948"/>
                <a:gd name="T33" fmla="*/ 413248 h 893"/>
                <a:gd name="T34" fmla="*/ 185315 w 948"/>
                <a:gd name="T35" fmla="*/ 404333 h 893"/>
                <a:gd name="T36" fmla="*/ 197553 w 948"/>
                <a:gd name="T37" fmla="*/ 395418 h 893"/>
                <a:gd name="T38" fmla="*/ 211976 w 948"/>
                <a:gd name="T39" fmla="*/ 389649 h 893"/>
                <a:gd name="T40" fmla="*/ 218969 w 948"/>
                <a:gd name="T41" fmla="*/ 382307 h 893"/>
                <a:gd name="T42" fmla="*/ 225088 w 948"/>
                <a:gd name="T43" fmla="*/ 368148 h 893"/>
                <a:gd name="T44" fmla="*/ 233829 w 948"/>
                <a:gd name="T45" fmla="*/ 350317 h 893"/>
                <a:gd name="T46" fmla="*/ 239074 w 948"/>
                <a:gd name="T47" fmla="*/ 346122 h 893"/>
                <a:gd name="T48" fmla="*/ 250001 w 948"/>
                <a:gd name="T49" fmla="*/ 345597 h 893"/>
                <a:gd name="T50" fmla="*/ 264424 w 948"/>
                <a:gd name="T51" fmla="*/ 337731 h 893"/>
                <a:gd name="T52" fmla="*/ 279284 w 948"/>
                <a:gd name="T53" fmla="*/ 327242 h 893"/>
                <a:gd name="T54" fmla="*/ 294581 w 948"/>
                <a:gd name="T55" fmla="*/ 321474 h 893"/>
                <a:gd name="T56" fmla="*/ 316435 w 948"/>
                <a:gd name="T57" fmla="*/ 319900 h 893"/>
                <a:gd name="T58" fmla="*/ 344407 w 948"/>
                <a:gd name="T59" fmla="*/ 315705 h 893"/>
                <a:gd name="T60" fmla="*/ 356207 w 948"/>
                <a:gd name="T61" fmla="*/ 311509 h 893"/>
                <a:gd name="T62" fmla="*/ 377187 w 948"/>
                <a:gd name="T63" fmla="*/ 309412 h 893"/>
                <a:gd name="T64" fmla="*/ 393795 w 948"/>
                <a:gd name="T65" fmla="*/ 305741 h 893"/>
                <a:gd name="T66" fmla="*/ 399040 w 948"/>
                <a:gd name="T67" fmla="*/ 301021 h 893"/>
                <a:gd name="T68" fmla="*/ 406907 w 948"/>
                <a:gd name="T69" fmla="*/ 285288 h 893"/>
                <a:gd name="T70" fmla="*/ 412152 w 948"/>
                <a:gd name="T71" fmla="*/ 264311 h 893"/>
                <a:gd name="T72" fmla="*/ 414337 w 948"/>
                <a:gd name="T73" fmla="*/ 241761 h 893"/>
                <a:gd name="T74" fmla="*/ 413900 w 948"/>
                <a:gd name="T75" fmla="*/ 220784 h 893"/>
                <a:gd name="T76" fmla="*/ 412152 w 948"/>
                <a:gd name="T77" fmla="*/ 190367 h 893"/>
                <a:gd name="T78" fmla="*/ 402973 w 948"/>
                <a:gd name="T79" fmla="*/ 186696 h 893"/>
                <a:gd name="T80" fmla="*/ 376749 w 948"/>
                <a:gd name="T81" fmla="*/ 168865 h 893"/>
                <a:gd name="T82" fmla="*/ 347029 w 948"/>
                <a:gd name="T83" fmla="*/ 145791 h 893"/>
                <a:gd name="T84" fmla="*/ 322553 w 948"/>
                <a:gd name="T85" fmla="*/ 113276 h 893"/>
                <a:gd name="T86" fmla="*/ 180071 w 948"/>
                <a:gd name="T87" fmla="*/ 6293 h 893"/>
                <a:gd name="T88" fmla="*/ 152098 w 948"/>
                <a:gd name="T89" fmla="*/ 53492 h 893"/>
                <a:gd name="T90" fmla="*/ 165647 w 948"/>
                <a:gd name="T91" fmla="*/ 212393 h 893"/>
                <a:gd name="T92" fmla="*/ 171329 w 948"/>
                <a:gd name="T93" fmla="*/ 296301 h 893"/>
                <a:gd name="T94" fmla="*/ 40647 w 948"/>
                <a:gd name="T95" fmla="*/ 309936 h 893"/>
                <a:gd name="T96" fmla="*/ 34528 w 948"/>
                <a:gd name="T97" fmla="*/ 317803 h 893"/>
                <a:gd name="T98" fmla="*/ 29283 w 948"/>
                <a:gd name="T99" fmla="*/ 319900 h 893"/>
                <a:gd name="T100" fmla="*/ 24913 w 948"/>
                <a:gd name="T101" fmla="*/ 318327 h 893"/>
                <a:gd name="T102" fmla="*/ 21416 w 948"/>
                <a:gd name="T103" fmla="*/ 309936 h 893"/>
                <a:gd name="T104" fmla="*/ 17483 w 948"/>
                <a:gd name="T105" fmla="*/ 304692 h 893"/>
                <a:gd name="T106" fmla="*/ 12675 w 948"/>
                <a:gd name="T107" fmla="*/ 317278 h 893"/>
                <a:gd name="T108" fmla="*/ 6556 w 948"/>
                <a:gd name="T109" fmla="*/ 326718 h 893"/>
                <a:gd name="T110" fmla="*/ 29283 w 948"/>
                <a:gd name="T111" fmla="*/ 384405 h 893"/>
                <a:gd name="T112" fmla="*/ 26661 w 948"/>
                <a:gd name="T113" fmla="*/ 392271 h 893"/>
                <a:gd name="T114" fmla="*/ 27098 w 948"/>
                <a:gd name="T115" fmla="*/ 398564 h 893"/>
                <a:gd name="T116" fmla="*/ 23601 w 948"/>
                <a:gd name="T117" fmla="*/ 413248 h 89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6" name="Freeform 237">
              <a:extLst>
                <a:ext uri="{FF2B5EF4-FFF2-40B4-BE49-F238E27FC236}">
                  <a16:creationId xmlns:a16="http://schemas.microsoft.com/office/drawing/2014/main" id="{F3F1F6D8-7B32-4705-8DFB-6902FCBF28C8}"/>
                </a:ext>
              </a:extLst>
            </p:cNvPr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5332413" y="2479675"/>
              <a:ext cx="493712" cy="579438"/>
            </a:xfrm>
            <a:custGeom>
              <a:avLst/>
              <a:gdLst>
                <a:gd name="T0" fmla="*/ 315023 w 373"/>
                <a:gd name="T1" fmla="*/ 574740 h 370"/>
                <a:gd name="T2" fmla="*/ 322964 w 373"/>
                <a:gd name="T3" fmla="*/ 571608 h 370"/>
                <a:gd name="T4" fmla="*/ 337524 w 373"/>
                <a:gd name="T5" fmla="*/ 576306 h 370"/>
                <a:gd name="T6" fmla="*/ 492388 w 373"/>
                <a:gd name="T7" fmla="*/ 433795 h 370"/>
                <a:gd name="T8" fmla="*/ 488418 w 373"/>
                <a:gd name="T9" fmla="*/ 422833 h 370"/>
                <a:gd name="T10" fmla="*/ 477829 w 373"/>
                <a:gd name="T11" fmla="*/ 413437 h 370"/>
                <a:gd name="T12" fmla="*/ 459298 w 373"/>
                <a:gd name="T13" fmla="*/ 405607 h 370"/>
                <a:gd name="T14" fmla="*/ 448709 w 373"/>
                <a:gd name="T15" fmla="*/ 397776 h 370"/>
                <a:gd name="T16" fmla="*/ 444738 w 373"/>
                <a:gd name="T17" fmla="*/ 386814 h 370"/>
                <a:gd name="T18" fmla="*/ 446062 w 373"/>
                <a:gd name="T19" fmla="*/ 357059 h 370"/>
                <a:gd name="T20" fmla="*/ 446062 w 373"/>
                <a:gd name="T21" fmla="*/ 306946 h 370"/>
                <a:gd name="T22" fmla="*/ 442091 w 373"/>
                <a:gd name="T23" fmla="*/ 263096 h 370"/>
                <a:gd name="T24" fmla="*/ 435473 w 373"/>
                <a:gd name="T25" fmla="*/ 242738 h 370"/>
                <a:gd name="T26" fmla="*/ 427531 w 373"/>
                <a:gd name="T27" fmla="*/ 222379 h 370"/>
                <a:gd name="T28" fmla="*/ 416942 w 373"/>
                <a:gd name="T29" fmla="*/ 170699 h 370"/>
                <a:gd name="T30" fmla="*/ 405029 w 373"/>
                <a:gd name="T31" fmla="*/ 140944 h 370"/>
                <a:gd name="T32" fmla="*/ 393117 w 373"/>
                <a:gd name="T33" fmla="*/ 122152 h 370"/>
                <a:gd name="T34" fmla="*/ 397087 w 373"/>
                <a:gd name="T35" fmla="*/ 98661 h 370"/>
                <a:gd name="T36" fmla="*/ 398411 w 373"/>
                <a:gd name="T37" fmla="*/ 67340 h 370"/>
                <a:gd name="T38" fmla="*/ 399735 w 373"/>
                <a:gd name="T39" fmla="*/ 36019 h 370"/>
                <a:gd name="T40" fmla="*/ 410324 w 373"/>
                <a:gd name="T41" fmla="*/ 10962 h 370"/>
                <a:gd name="T42" fmla="*/ 399735 w 373"/>
                <a:gd name="T43" fmla="*/ 9396 h 370"/>
                <a:gd name="T44" fmla="*/ 367968 w 373"/>
                <a:gd name="T45" fmla="*/ 18793 h 370"/>
                <a:gd name="T46" fmla="*/ 324288 w 373"/>
                <a:gd name="T47" fmla="*/ 18793 h 370"/>
                <a:gd name="T48" fmla="*/ 272667 w 373"/>
                <a:gd name="T49" fmla="*/ 21925 h 370"/>
                <a:gd name="T50" fmla="*/ 222369 w 373"/>
                <a:gd name="T51" fmla="*/ 37585 h 370"/>
                <a:gd name="T52" fmla="*/ 191926 w 373"/>
                <a:gd name="T53" fmla="*/ 50114 h 370"/>
                <a:gd name="T54" fmla="*/ 164129 w 373"/>
                <a:gd name="T55" fmla="*/ 68906 h 370"/>
                <a:gd name="T56" fmla="*/ 162806 w 373"/>
                <a:gd name="T57" fmla="*/ 81435 h 370"/>
                <a:gd name="T58" fmla="*/ 173395 w 373"/>
                <a:gd name="T59" fmla="*/ 139378 h 370"/>
                <a:gd name="T60" fmla="*/ 177366 w 373"/>
                <a:gd name="T61" fmla="*/ 145643 h 370"/>
                <a:gd name="T62" fmla="*/ 186631 w 373"/>
                <a:gd name="T63" fmla="*/ 153473 h 370"/>
                <a:gd name="T64" fmla="*/ 187955 w 373"/>
                <a:gd name="T65" fmla="*/ 159737 h 370"/>
                <a:gd name="T66" fmla="*/ 183984 w 373"/>
                <a:gd name="T67" fmla="*/ 167567 h 370"/>
                <a:gd name="T68" fmla="*/ 169424 w 373"/>
                <a:gd name="T69" fmla="*/ 167567 h 370"/>
                <a:gd name="T70" fmla="*/ 140304 w 373"/>
                <a:gd name="T71" fmla="*/ 176963 h 370"/>
                <a:gd name="T72" fmla="*/ 125744 w 373"/>
                <a:gd name="T73" fmla="*/ 191058 h 370"/>
                <a:gd name="T74" fmla="*/ 119126 w 373"/>
                <a:gd name="T75" fmla="*/ 205152 h 370"/>
                <a:gd name="T76" fmla="*/ 108537 w 373"/>
                <a:gd name="T77" fmla="*/ 214549 h 370"/>
                <a:gd name="T78" fmla="*/ 87359 w 373"/>
                <a:gd name="T79" fmla="*/ 234907 h 370"/>
                <a:gd name="T80" fmla="*/ 67505 w 373"/>
                <a:gd name="T81" fmla="*/ 247436 h 370"/>
                <a:gd name="T82" fmla="*/ 41032 w 373"/>
                <a:gd name="T83" fmla="*/ 250568 h 370"/>
                <a:gd name="T84" fmla="*/ 26472 w 373"/>
                <a:gd name="T85" fmla="*/ 256832 h 370"/>
                <a:gd name="T86" fmla="*/ 10589 w 373"/>
                <a:gd name="T87" fmla="*/ 272492 h 370"/>
                <a:gd name="T88" fmla="*/ 0 w 373"/>
                <a:gd name="T89" fmla="*/ 313210 h 370"/>
                <a:gd name="T90" fmla="*/ 236929 w 373"/>
                <a:gd name="T91" fmla="*/ 518362 h 370"/>
                <a:gd name="T92" fmla="*/ 266049 w 373"/>
                <a:gd name="T93" fmla="*/ 551249 h 370"/>
                <a:gd name="T94" fmla="*/ 303110 w 373"/>
                <a:gd name="T95" fmla="*/ 576306 h 3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7" name="Freeform 238">
              <a:extLst>
                <a:ext uri="{FF2B5EF4-FFF2-40B4-BE49-F238E27FC236}">
                  <a16:creationId xmlns:a16="http://schemas.microsoft.com/office/drawing/2014/main" id="{831A3038-66AA-4FE5-B6BD-27CEB432FD20}"/>
                </a:ext>
              </a:extLst>
            </p:cNvPr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5768976" y="2614613"/>
              <a:ext cx="384175" cy="436562"/>
            </a:xfrm>
            <a:custGeom>
              <a:avLst/>
              <a:gdLst>
                <a:gd name="T0" fmla="*/ 15770 w 877"/>
                <a:gd name="T1" fmla="*/ 74522 h 826"/>
                <a:gd name="T2" fmla="*/ 20151 w 877"/>
                <a:gd name="T3" fmla="*/ 57609 h 826"/>
                <a:gd name="T4" fmla="*/ 20151 w 877"/>
                <a:gd name="T5" fmla="*/ 36997 h 826"/>
                <a:gd name="T6" fmla="*/ 26721 w 877"/>
                <a:gd name="T7" fmla="*/ 33826 h 826"/>
                <a:gd name="T8" fmla="*/ 38987 w 877"/>
                <a:gd name="T9" fmla="*/ 29069 h 826"/>
                <a:gd name="T10" fmla="*/ 43368 w 877"/>
                <a:gd name="T11" fmla="*/ 10571 h 826"/>
                <a:gd name="T12" fmla="*/ 73593 w 877"/>
                <a:gd name="T13" fmla="*/ 3171 h 826"/>
                <a:gd name="T14" fmla="*/ 106010 w 877"/>
                <a:gd name="T15" fmla="*/ 12685 h 826"/>
                <a:gd name="T16" fmla="*/ 119589 w 877"/>
                <a:gd name="T17" fmla="*/ 22727 h 826"/>
                <a:gd name="T18" fmla="*/ 124846 w 877"/>
                <a:gd name="T19" fmla="*/ 41225 h 826"/>
                <a:gd name="T20" fmla="*/ 129226 w 877"/>
                <a:gd name="T21" fmla="*/ 53381 h 826"/>
                <a:gd name="T22" fmla="*/ 142368 w 877"/>
                <a:gd name="T23" fmla="*/ 58138 h 826"/>
                <a:gd name="T24" fmla="*/ 159014 w 877"/>
                <a:gd name="T25" fmla="*/ 57609 h 826"/>
                <a:gd name="T26" fmla="*/ 184422 w 877"/>
                <a:gd name="T27" fmla="*/ 70294 h 826"/>
                <a:gd name="T28" fmla="*/ 209391 w 877"/>
                <a:gd name="T29" fmla="*/ 85621 h 826"/>
                <a:gd name="T30" fmla="*/ 224723 w 877"/>
                <a:gd name="T31" fmla="*/ 87735 h 826"/>
                <a:gd name="T32" fmla="*/ 235674 w 877"/>
                <a:gd name="T33" fmla="*/ 83507 h 826"/>
                <a:gd name="T34" fmla="*/ 240493 w 877"/>
                <a:gd name="T35" fmla="*/ 66594 h 826"/>
                <a:gd name="T36" fmla="*/ 238302 w 877"/>
                <a:gd name="T37" fmla="*/ 54438 h 826"/>
                <a:gd name="T38" fmla="*/ 232608 w 877"/>
                <a:gd name="T39" fmla="*/ 42811 h 826"/>
                <a:gd name="T40" fmla="*/ 236112 w 877"/>
                <a:gd name="T41" fmla="*/ 25898 h 826"/>
                <a:gd name="T42" fmla="*/ 251444 w 877"/>
                <a:gd name="T43" fmla="*/ 17970 h 826"/>
                <a:gd name="T44" fmla="*/ 270280 w 877"/>
                <a:gd name="T45" fmla="*/ 2114 h 826"/>
                <a:gd name="T46" fmla="*/ 284736 w 877"/>
                <a:gd name="T47" fmla="*/ 0 h 826"/>
                <a:gd name="T48" fmla="*/ 298316 w 877"/>
                <a:gd name="T49" fmla="*/ 3171 h 826"/>
                <a:gd name="T50" fmla="*/ 304449 w 877"/>
                <a:gd name="T51" fmla="*/ 12685 h 826"/>
                <a:gd name="T52" fmla="*/ 309267 w 877"/>
                <a:gd name="T53" fmla="*/ 26426 h 826"/>
                <a:gd name="T54" fmla="*/ 318905 w 877"/>
                <a:gd name="T55" fmla="*/ 33297 h 826"/>
                <a:gd name="T56" fmla="*/ 349569 w 877"/>
                <a:gd name="T57" fmla="*/ 37525 h 826"/>
                <a:gd name="T58" fmla="*/ 363586 w 877"/>
                <a:gd name="T59" fmla="*/ 51267 h 826"/>
                <a:gd name="T60" fmla="*/ 365339 w 877"/>
                <a:gd name="T61" fmla="*/ 61837 h 826"/>
                <a:gd name="T62" fmla="*/ 369281 w 877"/>
                <a:gd name="T63" fmla="*/ 73994 h 826"/>
                <a:gd name="T64" fmla="*/ 366215 w 877"/>
                <a:gd name="T65" fmla="*/ 84036 h 826"/>
                <a:gd name="T66" fmla="*/ 360958 w 877"/>
                <a:gd name="T67" fmla="*/ 89849 h 826"/>
                <a:gd name="T68" fmla="*/ 363148 w 877"/>
                <a:gd name="T69" fmla="*/ 109405 h 826"/>
                <a:gd name="T70" fmla="*/ 375852 w 877"/>
                <a:gd name="T71" fmla="*/ 129489 h 826"/>
                <a:gd name="T72" fmla="*/ 383737 w 877"/>
                <a:gd name="T73" fmla="*/ 363097 h 826"/>
                <a:gd name="T74" fmla="*/ 384175 w 877"/>
                <a:gd name="T75" fmla="*/ 391637 h 826"/>
                <a:gd name="T76" fmla="*/ 381109 w 877"/>
                <a:gd name="T77" fmla="*/ 409607 h 826"/>
                <a:gd name="T78" fmla="*/ 371471 w 877"/>
                <a:gd name="T79" fmla="*/ 413835 h 826"/>
                <a:gd name="T80" fmla="*/ 363586 w 877"/>
                <a:gd name="T81" fmla="*/ 424934 h 826"/>
                <a:gd name="T82" fmla="*/ 160328 w 877"/>
                <a:gd name="T83" fmla="*/ 313416 h 826"/>
                <a:gd name="T84" fmla="*/ 144996 w 877"/>
                <a:gd name="T85" fmla="*/ 320815 h 826"/>
                <a:gd name="T86" fmla="*/ 127912 w 877"/>
                <a:gd name="T87" fmla="*/ 330857 h 826"/>
                <a:gd name="T88" fmla="*/ 115209 w 877"/>
                <a:gd name="T89" fmla="*/ 331385 h 826"/>
                <a:gd name="T90" fmla="*/ 100753 w 877"/>
                <a:gd name="T91" fmla="*/ 321872 h 826"/>
                <a:gd name="T92" fmla="*/ 84545 w 877"/>
                <a:gd name="T93" fmla="*/ 309716 h 826"/>
                <a:gd name="T94" fmla="*/ 66584 w 877"/>
                <a:gd name="T95" fmla="*/ 305488 h 826"/>
                <a:gd name="T96" fmla="*/ 60452 w 877"/>
                <a:gd name="T97" fmla="*/ 304959 h 826"/>
                <a:gd name="T98" fmla="*/ 56947 w 877"/>
                <a:gd name="T99" fmla="*/ 292275 h 826"/>
                <a:gd name="T100" fmla="*/ 47748 w 877"/>
                <a:gd name="T101" fmla="*/ 282761 h 826"/>
                <a:gd name="T102" fmla="*/ 27598 w 877"/>
                <a:gd name="T103" fmla="*/ 273248 h 826"/>
                <a:gd name="T104" fmla="*/ 12266 w 877"/>
                <a:gd name="T105" fmla="*/ 263734 h 826"/>
                <a:gd name="T106" fmla="*/ 7009 w 877"/>
                <a:gd name="T107" fmla="*/ 254749 h 826"/>
                <a:gd name="T108" fmla="*/ 6133 w 877"/>
                <a:gd name="T109" fmla="*/ 232023 h 826"/>
                <a:gd name="T110" fmla="*/ 8323 w 877"/>
                <a:gd name="T111" fmla="*/ 186041 h 826"/>
                <a:gd name="T112" fmla="*/ 7447 w 877"/>
                <a:gd name="T113" fmla="*/ 136360 h 826"/>
                <a:gd name="T114" fmla="*/ 1752 w 877"/>
                <a:gd name="T115" fmla="*/ 106762 h 8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8" name="Freeform 239">
              <a:extLst>
                <a:ext uri="{FF2B5EF4-FFF2-40B4-BE49-F238E27FC236}">
                  <a16:creationId xmlns:a16="http://schemas.microsoft.com/office/drawing/2014/main" id="{C2BCA4AC-C8DA-4475-B583-6CAF98240353}"/>
                </a:ext>
              </a:extLst>
            </p:cNvPr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5721351" y="2479675"/>
              <a:ext cx="93663" cy="236538"/>
            </a:xfrm>
            <a:custGeom>
              <a:avLst/>
              <a:gdLst>
                <a:gd name="T0" fmla="*/ 46832 w 206"/>
                <a:gd name="T1" fmla="*/ 229260 h 455"/>
                <a:gd name="T2" fmla="*/ 56834 w 206"/>
                <a:gd name="T3" fmla="*/ 218343 h 455"/>
                <a:gd name="T4" fmla="*/ 63654 w 206"/>
                <a:gd name="T5" fmla="*/ 210025 h 455"/>
                <a:gd name="T6" fmla="*/ 66837 w 206"/>
                <a:gd name="T7" fmla="*/ 202747 h 455"/>
                <a:gd name="T8" fmla="*/ 69111 w 206"/>
                <a:gd name="T9" fmla="*/ 193909 h 455"/>
                <a:gd name="T10" fmla="*/ 70020 w 206"/>
                <a:gd name="T11" fmla="*/ 182992 h 455"/>
                <a:gd name="T12" fmla="*/ 69565 w 206"/>
                <a:gd name="T13" fmla="*/ 174154 h 455"/>
                <a:gd name="T14" fmla="*/ 70929 w 206"/>
                <a:gd name="T15" fmla="*/ 172075 h 455"/>
                <a:gd name="T16" fmla="*/ 76385 w 206"/>
                <a:gd name="T17" fmla="*/ 171035 h 455"/>
                <a:gd name="T18" fmla="*/ 84115 w 206"/>
                <a:gd name="T19" fmla="*/ 168956 h 455"/>
                <a:gd name="T20" fmla="*/ 89116 w 206"/>
                <a:gd name="T21" fmla="*/ 165317 h 455"/>
                <a:gd name="T22" fmla="*/ 92299 w 206"/>
                <a:gd name="T23" fmla="*/ 158039 h 455"/>
                <a:gd name="T24" fmla="*/ 93663 w 206"/>
                <a:gd name="T25" fmla="*/ 145562 h 455"/>
                <a:gd name="T26" fmla="*/ 91844 w 206"/>
                <a:gd name="T27" fmla="*/ 137764 h 455"/>
                <a:gd name="T28" fmla="*/ 87752 w 206"/>
                <a:gd name="T29" fmla="*/ 137244 h 455"/>
                <a:gd name="T30" fmla="*/ 80477 w 206"/>
                <a:gd name="T31" fmla="*/ 133085 h 455"/>
                <a:gd name="T32" fmla="*/ 70475 w 206"/>
                <a:gd name="T33" fmla="*/ 125807 h 455"/>
                <a:gd name="T34" fmla="*/ 63654 w 206"/>
                <a:gd name="T35" fmla="*/ 120089 h 455"/>
                <a:gd name="T36" fmla="*/ 59108 w 206"/>
                <a:gd name="T37" fmla="*/ 118529 h 455"/>
                <a:gd name="T38" fmla="*/ 54106 w 206"/>
                <a:gd name="T39" fmla="*/ 115410 h 455"/>
                <a:gd name="T40" fmla="*/ 45922 w 206"/>
                <a:gd name="T41" fmla="*/ 110211 h 455"/>
                <a:gd name="T42" fmla="*/ 43194 w 206"/>
                <a:gd name="T43" fmla="*/ 107092 h 455"/>
                <a:gd name="T44" fmla="*/ 43194 w 206"/>
                <a:gd name="T45" fmla="*/ 103453 h 455"/>
                <a:gd name="T46" fmla="*/ 47286 w 206"/>
                <a:gd name="T47" fmla="*/ 94095 h 455"/>
                <a:gd name="T48" fmla="*/ 54106 w 206"/>
                <a:gd name="T49" fmla="*/ 82138 h 455"/>
                <a:gd name="T50" fmla="*/ 60926 w 206"/>
                <a:gd name="T51" fmla="*/ 72781 h 455"/>
                <a:gd name="T52" fmla="*/ 61836 w 206"/>
                <a:gd name="T53" fmla="*/ 67062 h 455"/>
                <a:gd name="T54" fmla="*/ 57289 w 206"/>
                <a:gd name="T55" fmla="*/ 60304 h 455"/>
                <a:gd name="T56" fmla="*/ 52288 w 206"/>
                <a:gd name="T57" fmla="*/ 54586 h 455"/>
                <a:gd name="T58" fmla="*/ 49105 w 206"/>
                <a:gd name="T59" fmla="*/ 48347 h 455"/>
                <a:gd name="T60" fmla="*/ 48650 w 206"/>
                <a:gd name="T61" fmla="*/ 43669 h 455"/>
                <a:gd name="T62" fmla="*/ 50469 w 206"/>
                <a:gd name="T63" fmla="*/ 40549 h 455"/>
                <a:gd name="T64" fmla="*/ 52742 w 206"/>
                <a:gd name="T65" fmla="*/ 37430 h 455"/>
                <a:gd name="T66" fmla="*/ 55925 w 206"/>
                <a:gd name="T67" fmla="*/ 35871 h 455"/>
                <a:gd name="T68" fmla="*/ 57289 w 206"/>
                <a:gd name="T69" fmla="*/ 19235 h 455"/>
                <a:gd name="T70" fmla="*/ 50014 w 206"/>
                <a:gd name="T71" fmla="*/ 16636 h 455"/>
                <a:gd name="T72" fmla="*/ 39557 w 206"/>
                <a:gd name="T73" fmla="*/ 10917 h 455"/>
                <a:gd name="T74" fmla="*/ 24098 w 206"/>
                <a:gd name="T75" fmla="*/ 0 h 455"/>
                <a:gd name="T76" fmla="*/ 21370 w 206"/>
                <a:gd name="T77" fmla="*/ 5719 h 455"/>
                <a:gd name="T78" fmla="*/ 15459 w 206"/>
                <a:gd name="T79" fmla="*/ 22874 h 455"/>
                <a:gd name="T80" fmla="*/ 12731 w 206"/>
                <a:gd name="T81" fmla="*/ 36390 h 455"/>
                <a:gd name="T82" fmla="*/ 10003 w 206"/>
                <a:gd name="T83" fmla="*/ 51467 h 455"/>
                <a:gd name="T84" fmla="*/ 9093 w 206"/>
                <a:gd name="T85" fmla="*/ 69142 h 455"/>
                <a:gd name="T86" fmla="*/ 9093 w 206"/>
                <a:gd name="T87" fmla="*/ 89417 h 455"/>
                <a:gd name="T88" fmla="*/ 5456 w 206"/>
                <a:gd name="T89" fmla="*/ 97734 h 455"/>
                <a:gd name="T90" fmla="*/ 3637 w 206"/>
                <a:gd name="T91" fmla="*/ 107092 h 455"/>
                <a:gd name="T92" fmla="*/ 0 w 206"/>
                <a:gd name="T93" fmla="*/ 122168 h 455"/>
                <a:gd name="T94" fmla="*/ 10003 w 206"/>
                <a:gd name="T95" fmla="*/ 134645 h 455"/>
                <a:gd name="T96" fmla="*/ 18642 w 206"/>
                <a:gd name="T97" fmla="*/ 146082 h 455"/>
                <a:gd name="T98" fmla="*/ 25007 w 206"/>
                <a:gd name="T99" fmla="*/ 158558 h 455"/>
                <a:gd name="T100" fmla="*/ 30009 w 206"/>
                <a:gd name="T101" fmla="*/ 171035 h 455"/>
                <a:gd name="T102" fmla="*/ 34101 w 206"/>
                <a:gd name="T103" fmla="*/ 184552 h 455"/>
                <a:gd name="T104" fmla="*/ 37283 w 206"/>
                <a:gd name="T105" fmla="*/ 199628 h 455"/>
                <a:gd name="T106" fmla="*/ 42285 w 206"/>
                <a:gd name="T107" fmla="*/ 236538 h 45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9" name="Freeform 240">
              <a:extLst>
                <a:ext uri="{FF2B5EF4-FFF2-40B4-BE49-F238E27FC236}">
                  <a16:creationId xmlns:a16="http://schemas.microsoft.com/office/drawing/2014/main" id="{E0DE44F7-D171-4941-9909-AC82B5A83921}"/>
                </a:ext>
              </a:extLst>
            </p:cNvPr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5103814" y="2790825"/>
              <a:ext cx="231775" cy="215900"/>
            </a:xfrm>
            <a:custGeom>
              <a:avLst/>
              <a:gdLst>
                <a:gd name="T0" fmla="*/ 145866 w 518"/>
                <a:gd name="T1" fmla="*/ 58495 h 406"/>
                <a:gd name="T2" fmla="*/ 145866 w 518"/>
                <a:gd name="T3" fmla="*/ 137729 h 406"/>
                <a:gd name="T4" fmla="*/ 140944 w 518"/>
                <a:gd name="T5" fmla="*/ 140388 h 406"/>
                <a:gd name="T6" fmla="*/ 130206 w 518"/>
                <a:gd name="T7" fmla="*/ 144111 h 406"/>
                <a:gd name="T8" fmla="*/ 110071 w 518"/>
                <a:gd name="T9" fmla="*/ 150492 h 406"/>
                <a:gd name="T10" fmla="*/ 113203 w 518"/>
                <a:gd name="T11" fmla="*/ 160596 h 406"/>
                <a:gd name="T12" fmla="*/ 118572 w 518"/>
                <a:gd name="T13" fmla="*/ 173358 h 406"/>
                <a:gd name="T14" fmla="*/ 120362 w 518"/>
                <a:gd name="T15" fmla="*/ 187716 h 406"/>
                <a:gd name="T16" fmla="*/ 121704 w 518"/>
                <a:gd name="T17" fmla="*/ 203137 h 406"/>
                <a:gd name="T18" fmla="*/ 23267 w 518"/>
                <a:gd name="T19" fmla="*/ 209519 h 406"/>
                <a:gd name="T20" fmla="*/ 9844 w 518"/>
                <a:gd name="T21" fmla="*/ 215900 h 406"/>
                <a:gd name="T22" fmla="*/ 2237 w 518"/>
                <a:gd name="T23" fmla="*/ 214305 h 406"/>
                <a:gd name="T24" fmla="*/ 447 w 518"/>
                <a:gd name="T25" fmla="*/ 211646 h 406"/>
                <a:gd name="T26" fmla="*/ 447 w 518"/>
                <a:gd name="T27" fmla="*/ 204733 h 406"/>
                <a:gd name="T28" fmla="*/ 1790 w 518"/>
                <a:gd name="T29" fmla="*/ 197288 h 406"/>
                <a:gd name="T30" fmla="*/ 4922 w 518"/>
                <a:gd name="T31" fmla="*/ 188248 h 406"/>
                <a:gd name="T32" fmla="*/ 8949 w 518"/>
                <a:gd name="T33" fmla="*/ 181335 h 406"/>
                <a:gd name="T34" fmla="*/ 13423 w 518"/>
                <a:gd name="T35" fmla="*/ 177612 h 406"/>
                <a:gd name="T36" fmla="*/ 17003 w 518"/>
                <a:gd name="T37" fmla="*/ 173358 h 406"/>
                <a:gd name="T38" fmla="*/ 19687 w 518"/>
                <a:gd name="T39" fmla="*/ 168572 h 406"/>
                <a:gd name="T40" fmla="*/ 21925 w 518"/>
                <a:gd name="T41" fmla="*/ 155278 h 406"/>
                <a:gd name="T42" fmla="*/ 25057 w 518"/>
                <a:gd name="T43" fmla="*/ 140920 h 406"/>
                <a:gd name="T44" fmla="*/ 27741 w 518"/>
                <a:gd name="T45" fmla="*/ 136666 h 406"/>
                <a:gd name="T46" fmla="*/ 33111 w 518"/>
                <a:gd name="T47" fmla="*/ 130816 h 406"/>
                <a:gd name="T48" fmla="*/ 41165 w 518"/>
                <a:gd name="T49" fmla="*/ 126562 h 406"/>
                <a:gd name="T50" fmla="*/ 47876 w 518"/>
                <a:gd name="T51" fmla="*/ 122840 h 406"/>
                <a:gd name="T52" fmla="*/ 54588 w 518"/>
                <a:gd name="T53" fmla="*/ 115927 h 406"/>
                <a:gd name="T54" fmla="*/ 60852 w 518"/>
                <a:gd name="T55" fmla="*/ 103696 h 406"/>
                <a:gd name="T56" fmla="*/ 67116 w 518"/>
                <a:gd name="T57" fmla="*/ 82957 h 406"/>
                <a:gd name="T58" fmla="*/ 72486 w 518"/>
                <a:gd name="T59" fmla="*/ 62217 h 406"/>
                <a:gd name="T60" fmla="*/ 76960 w 518"/>
                <a:gd name="T61" fmla="*/ 49987 h 406"/>
                <a:gd name="T62" fmla="*/ 83224 w 518"/>
                <a:gd name="T63" fmla="*/ 38819 h 406"/>
                <a:gd name="T64" fmla="*/ 89936 w 518"/>
                <a:gd name="T65" fmla="*/ 32970 h 406"/>
                <a:gd name="T66" fmla="*/ 95305 w 518"/>
                <a:gd name="T67" fmla="*/ 30311 h 406"/>
                <a:gd name="T68" fmla="*/ 97990 w 518"/>
                <a:gd name="T69" fmla="*/ 23398 h 406"/>
                <a:gd name="T70" fmla="*/ 99780 w 518"/>
                <a:gd name="T71" fmla="*/ 14890 h 406"/>
                <a:gd name="T72" fmla="*/ 102017 w 518"/>
                <a:gd name="T73" fmla="*/ 8508 h 406"/>
                <a:gd name="T74" fmla="*/ 106939 w 518"/>
                <a:gd name="T75" fmla="*/ 4254 h 406"/>
                <a:gd name="T76" fmla="*/ 228643 w 518"/>
                <a:gd name="T77" fmla="*/ 0 h 406"/>
                <a:gd name="T78" fmla="*/ 230433 w 518"/>
                <a:gd name="T79" fmla="*/ 24462 h 406"/>
                <a:gd name="T80" fmla="*/ 231775 w 518"/>
                <a:gd name="T81" fmla="*/ 58495 h 40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0" name="Freeform 241">
              <a:extLst>
                <a:ext uri="{FF2B5EF4-FFF2-40B4-BE49-F238E27FC236}">
                  <a16:creationId xmlns:a16="http://schemas.microsoft.com/office/drawing/2014/main" id="{5AEA04C2-251C-45BB-BFD4-621EAA09FF6F}"/>
                </a:ext>
              </a:extLst>
            </p:cNvPr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5072063" y="1598613"/>
              <a:ext cx="190500" cy="93662"/>
            </a:xfrm>
            <a:custGeom>
              <a:avLst/>
              <a:gdLst>
                <a:gd name="T0" fmla="*/ 14522 w 446"/>
                <a:gd name="T1" fmla="*/ 32098 h 178"/>
                <a:gd name="T2" fmla="*/ 17512 w 446"/>
                <a:gd name="T3" fmla="*/ 22100 h 178"/>
                <a:gd name="T4" fmla="*/ 29045 w 446"/>
                <a:gd name="T5" fmla="*/ 19469 h 178"/>
                <a:gd name="T6" fmla="*/ 34170 w 446"/>
                <a:gd name="T7" fmla="*/ 9471 h 178"/>
                <a:gd name="T8" fmla="*/ 30753 w 446"/>
                <a:gd name="T9" fmla="*/ 7367 h 178"/>
                <a:gd name="T10" fmla="*/ 25628 w 446"/>
                <a:gd name="T11" fmla="*/ 0 h 178"/>
                <a:gd name="T12" fmla="*/ 36306 w 446"/>
                <a:gd name="T13" fmla="*/ 5262 h 178"/>
                <a:gd name="T14" fmla="*/ 46130 w 446"/>
                <a:gd name="T15" fmla="*/ 20521 h 178"/>
                <a:gd name="T16" fmla="*/ 53391 w 446"/>
                <a:gd name="T17" fmla="*/ 32624 h 178"/>
                <a:gd name="T18" fmla="*/ 59371 w 446"/>
                <a:gd name="T19" fmla="*/ 35255 h 178"/>
                <a:gd name="T20" fmla="*/ 67059 w 446"/>
                <a:gd name="T21" fmla="*/ 33150 h 178"/>
                <a:gd name="T22" fmla="*/ 77311 w 446"/>
                <a:gd name="T23" fmla="*/ 23679 h 178"/>
                <a:gd name="T24" fmla="*/ 87562 w 446"/>
                <a:gd name="T25" fmla="*/ 12102 h 178"/>
                <a:gd name="T26" fmla="*/ 93969 w 446"/>
                <a:gd name="T27" fmla="*/ 16312 h 178"/>
                <a:gd name="T28" fmla="*/ 153340 w 446"/>
                <a:gd name="T29" fmla="*/ 5788 h 178"/>
                <a:gd name="T30" fmla="*/ 160601 w 446"/>
                <a:gd name="T31" fmla="*/ 12102 h 178"/>
                <a:gd name="T32" fmla="*/ 169143 w 446"/>
                <a:gd name="T33" fmla="*/ 11576 h 178"/>
                <a:gd name="T34" fmla="*/ 176405 w 446"/>
                <a:gd name="T35" fmla="*/ 19469 h 178"/>
                <a:gd name="T36" fmla="*/ 177259 w 446"/>
                <a:gd name="T37" fmla="*/ 22626 h 178"/>
                <a:gd name="T38" fmla="*/ 183239 w 446"/>
                <a:gd name="T39" fmla="*/ 28414 h 178"/>
                <a:gd name="T40" fmla="*/ 189219 w 446"/>
                <a:gd name="T41" fmla="*/ 35781 h 178"/>
                <a:gd name="T42" fmla="*/ 190500 w 446"/>
                <a:gd name="T43" fmla="*/ 42095 h 178"/>
                <a:gd name="T44" fmla="*/ 187083 w 446"/>
                <a:gd name="T45" fmla="*/ 50514 h 178"/>
                <a:gd name="T46" fmla="*/ 176405 w 446"/>
                <a:gd name="T47" fmla="*/ 58407 h 178"/>
                <a:gd name="T48" fmla="*/ 169571 w 446"/>
                <a:gd name="T49" fmla="*/ 63143 h 178"/>
                <a:gd name="T50" fmla="*/ 156330 w 446"/>
                <a:gd name="T51" fmla="*/ 64721 h 178"/>
                <a:gd name="T52" fmla="*/ 128139 w 446"/>
                <a:gd name="T53" fmla="*/ 76824 h 178"/>
                <a:gd name="T54" fmla="*/ 99948 w 446"/>
                <a:gd name="T55" fmla="*/ 89979 h 178"/>
                <a:gd name="T56" fmla="*/ 84999 w 446"/>
                <a:gd name="T57" fmla="*/ 93662 h 178"/>
                <a:gd name="T58" fmla="*/ 75602 w 446"/>
                <a:gd name="T59" fmla="*/ 91557 h 178"/>
                <a:gd name="T60" fmla="*/ 73466 w 446"/>
                <a:gd name="T61" fmla="*/ 86295 h 178"/>
                <a:gd name="T62" fmla="*/ 72612 w 446"/>
                <a:gd name="T63" fmla="*/ 84717 h 178"/>
                <a:gd name="T64" fmla="*/ 66632 w 446"/>
                <a:gd name="T65" fmla="*/ 84717 h 178"/>
                <a:gd name="T66" fmla="*/ 59371 w 446"/>
                <a:gd name="T67" fmla="*/ 84191 h 178"/>
                <a:gd name="T68" fmla="*/ 42713 w 446"/>
                <a:gd name="T69" fmla="*/ 77350 h 178"/>
                <a:gd name="T70" fmla="*/ 36306 w 446"/>
                <a:gd name="T71" fmla="*/ 72088 h 178"/>
                <a:gd name="T72" fmla="*/ 34598 w 446"/>
                <a:gd name="T73" fmla="*/ 65774 h 178"/>
                <a:gd name="T74" fmla="*/ 37160 w 446"/>
                <a:gd name="T75" fmla="*/ 58407 h 178"/>
                <a:gd name="T76" fmla="*/ 11533 w 446"/>
                <a:gd name="T77" fmla="*/ 54198 h 178"/>
                <a:gd name="T78" fmla="*/ 3844 w 446"/>
                <a:gd name="T79" fmla="*/ 55250 h 178"/>
                <a:gd name="T80" fmla="*/ 0 w 446"/>
                <a:gd name="T81" fmla="*/ 42095 h 178"/>
                <a:gd name="T82" fmla="*/ 25628 w 446"/>
                <a:gd name="T83" fmla="*/ 45252 h 178"/>
                <a:gd name="T84" fmla="*/ 37160 w 446"/>
                <a:gd name="T85" fmla="*/ 42095 h 178"/>
                <a:gd name="T86" fmla="*/ 9824 w 446"/>
                <a:gd name="T87" fmla="*/ 35781 h 178"/>
                <a:gd name="T88" fmla="*/ 6834 w 446"/>
                <a:gd name="T89" fmla="*/ 28941 h 17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1" name="Freeform 242">
              <a:extLst>
                <a:ext uri="{FF2B5EF4-FFF2-40B4-BE49-F238E27FC236}">
                  <a16:creationId xmlns:a16="http://schemas.microsoft.com/office/drawing/2014/main" id="{4AE6B7F0-5381-4428-9D11-6D723C03CCBB}"/>
                </a:ext>
              </a:extLst>
            </p:cNvPr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5864225" y="1862138"/>
              <a:ext cx="14288" cy="57150"/>
            </a:xfrm>
            <a:custGeom>
              <a:avLst/>
              <a:gdLst>
                <a:gd name="T0" fmla="*/ 0 w 28"/>
                <a:gd name="T1" fmla="*/ 57150 h 73"/>
                <a:gd name="T2" fmla="*/ 1021 w 28"/>
                <a:gd name="T3" fmla="*/ 36795 h 73"/>
                <a:gd name="T4" fmla="*/ 3062 w 28"/>
                <a:gd name="T5" fmla="*/ 21921 h 73"/>
                <a:gd name="T6" fmla="*/ 3572 w 28"/>
                <a:gd name="T7" fmla="*/ 15658 h 73"/>
                <a:gd name="T8" fmla="*/ 3062 w 28"/>
                <a:gd name="T9" fmla="*/ 10177 h 73"/>
                <a:gd name="T10" fmla="*/ 2041 w 28"/>
                <a:gd name="T11" fmla="*/ 5480 h 73"/>
                <a:gd name="T12" fmla="*/ 0 w 28"/>
                <a:gd name="T13" fmla="*/ 0 h 73"/>
                <a:gd name="T14" fmla="*/ 14288 w 28"/>
                <a:gd name="T15" fmla="*/ 0 h 73"/>
                <a:gd name="T16" fmla="*/ 11226 w 28"/>
                <a:gd name="T17" fmla="*/ 12526 h 73"/>
                <a:gd name="T18" fmla="*/ 8675 w 28"/>
                <a:gd name="T19" fmla="*/ 23486 h 73"/>
                <a:gd name="T20" fmla="*/ 6123 w 28"/>
                <a:gd name="T21" fmla="*/ 33664 h 73"/>
                <a:gd name="T22" fmla="*/ 3572 w 28"/>
                <a:gd name="T23" fmla="*/ 43058 h 73"/>
                <a:gd name="T24" fmla="*/ 0 w 28"/>
                <a:gd name="T25" fmla="*/ 57150 h 7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82" name="Freeform 243">
              <a:extLst>
                <a:ext uri="{FF2B5EF4-FFF2-40B4-BE49-F238E27FC236}">
                  <a16:creationId xmlns:a16="http://schemas.microsoft.com/office/drawing/2014/main" id="{C040DBB8-AA2E-4C85-865A-8353126A6B3C}"/>
                </a:ext>
              </a:extLst>
            </p:cNvPr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5751513" y="1525589"/>
              <a:ext cx="234950" cy="395287"/>
            </a:xfrm>
            <a:custGeom>
              <a:avLst/>
              <a:gdLst>
                <a:gd name="T0" fmla="*/ 185394 w 531"/>
                <a:gd name="T1" fmla="*/ 106002 h 757"/>
                <a:gd name="T2" fmla="*/ 179642 w 531"/>
                <a:gd name="T3" fmla="*/ 115401 h 757"/>
                <a:gd name="T4" fmla="*/ 178757 w 531"/>
                <a:gd name="T5" fmla="*/ 123756 h 757"/>
                <a:gd name="T6" fmla="*/ 169022 w 531"/>
                <a:gd name="T7" fmla="*/ 143598 h 757"/>
                <a:gd name="T8" fmla="*/ 143802 w 531"/>
                <a:gd name="T9" fmla="*/ 159786 h 757"/>
                <a:gd name="T10" fmla="*/ 111502 w 531"/>
                <a:gd name="T11" fmla="*/ 184850 h 757"/>
                <a:gd name="T12" fmla="*/ 104865 w 531"/>
                <a:gd name="T13" fmla="*/ 192683 h 757"/>
                <a:gd name="T14" fmla="*/ 108404 w 531"/>
                <a:gd name="T15" fmla="*/ 198949 h 757"/>
                <a:gd name="T16" fmla="*/ 106192 w 531"/>
                <a:gd name="T17" fmla="*/ 221402 h 757"/>
                <a:gd name="T18" fmla="*/ 105750 w 531"/>
                <a:gd name="T19" fmla="*/ 234457 h 757"/>
                <a:gd name="T20" fmla="*/ 115926 w 531"/>
                <a:gd name="T21" fmla="*/ 244378 h 757"/>
                <a:gd name="T22" fmla="*/ 141589 w 531"/>
                <a:gd name="T23" fmla="*/ 253255 h 757"/>
                <a:gd name="T24" fmla="*/ 146899 w 531"/>
                <a:gd name="T25" fmla="*/ 263699 h 757"/>
                <a:gd name="T26" fmla="*/ 137165 w 531"/>
                <a:gd name="T27" fmla="*/ 277275 h 757"/>
                <a:gd name="T28" fmla="*/ 120351 w 531"/>
                <a:gd name="T29" fmla="*/ 285630 h 757"/>
                <a:gd name="T30" fmla="*/ 117254 w 531"/>
                <a:gd name="T31" fmla="*/ 292418 h 757"/>
                <a:gd name="T32" fmla="*/ 111502 w 531"/>
                <a:gd name="T33" fmla="*/ 329493 h 757"/>
                <a:gd name="T34" fmla="*/ 105750 w 531"/>
                <a:gd name="T35" fmla="*/ 376489 h 757"/>
                <a:gd name="T36" fmla="*/ 76547 w 531"/>
                <a:gd name="T37" fmla="*/ 379622 h 757"/>
                <a:gd name="T38" fmla="*/ 67255 w 531"/>
                <a:gd name="T39" fmla="*/ 385366 h 757"/>
                <a:gd name="T40" fmla="*/ 67697 w 531"/>
                <a:gd name="T41" fmla="*/ 395287 h 757"/>
                <a:gd name="T42" fmla="*/ 46902 w 531"/>
                <a:gd name="T43" fmla="*/ 395287 h 757"/>
                <a:gd name="T44" fmla="*/ 42034 w 531"/>
                <a:gd name="T45" fmla="*/ 392676 h 757"/>
                <a:gd name="T46" fmla="*/ 31415 w 531"/>
                <a:gd name="T47" fmla="*/ 374922 h 757"/>
                <a:gd name="T48" fmla="*/ 18141 w 531"/>
                <a:gd name="T49" fmla="*/ 334192 h 757"/>
                <a:gd name="T50" fmla="*/ 15044 w 531"/>
                <a:gd name="T51" fmla="*/ 311739 h 757"/>
                <a:gd name="T52" fmla="*/ 6195 w 531"/>
                <a:gd name="T53" fmla="*/ 305995 h 757"/>
                <a:gd name="T54" fmla="*/ 8407 w 531"/>
                <a:gd name="T55" fmla="*/ 292941 h 757"/>
                <a:gd name="T56" fmla="*/ 15929 w 531"/>
                <a:gd name="T57" fmla="*/ 280931 h 757"/>
                <a:gd name="T58" fmla="*/ 23451 w 531"/>
                <a:gd name="T59" fmla="*/ 263177 h 757"/>
                <a:gd name="T60" fmla="*/ 26990 w 531"/>
                <a:gd name="T61" fmla="*/ 245945 h 757"/>
                <a:gd name="T62" fmla="*/ 28318 w 531"/>
                <a:gd name="T63" fmla="*/ 230279 h 757"/>
                <a:gd name="T64" fmla="*/ 25663 w 531"/>
                <a:gd name="T65" fmla="*/ 213048 h 757"/>
                <a:gd name="T66" fmla="*/ 19026 w 531"/>
                <a:gd name="T67" fmla="*/ 196860 h 757"/>
                <a:gd name="T68" fmla="*/ 32743 w 531"/>
                <a:gd name="T69" fmla="*/ 144120 h 757"/>
                <a:gd name="T70" fmla="*/ 45574 w 531"/>
                <a:gd name="T71" fmla="*/ 143598 h 757"/>
                <a:gd name="T72" fmla="*/ 49999 w 531"/>
                <a:gd name="T73" fmla="*/ 122189 h 757"/>
                <a:gd name="T74" fmla="*/ 60618 w 531"/>
                <a:gd name="T75" fmla="*/ 100258 h 757"/>
                <a:gd name="T76" fmla="*/ 79644 w 531"/>
                <a:gd name="T77" fmla="*/ 75715 h 757"/>
                <a:gd name="T78" fmla="*/ 87608 w 531"/>
                <a:gd name="T79" fmla="*/ 57962 h 757"/>
                <a:gd name="T80" fmla="*/ 100882 w 531"/>
                <a:gd name="T81" fmla="*/ 31331 h 757"/>
                <a:gd name="T82" fmla="*/ 110174 w 531"/>
                <a:gd name="T83" fmla="*/ 22454 h 757"/>
                <a:gd name="T84" fmla="*/ 136722 w 531"/>
                <a:gd name="T85" fmla="*/ 15143 h 757"/>
                <a:gd name="T86" fmla="*/ 162828 w 531"/>
                <a:gd name="T87" fmla="*/ 6788 h 757"/>
                <a:gd name="T88" fmla="*/ 177429 w 531"/>
                <a:gd name="T89" fmla="*/ 2611 h 757"/>
                <a:gd name="T90" fmla="*/ 190703 w 531"/>
                <a:gd name="T91" fmla="*/ 16710 h 757"/>
                <a:gd name="T92" fmla="*/ 202207 w 531"/>
                <a:gd name="T93" fmla="*/ 21931 h 757"/>
                <a:gd name="T94" fmla="*/ 226986 w 531"/>
                <a:gd name="T95" fmla="*/ 57962 h 757"/>
                <a:gd name="T96" fmla="*/ 233623 w 531"/>
                <a:gd name="T97" fmla="*/ 78326 h 75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83" name="Freeform 244">
              <a:extLst>
                <a:ext uri="{FF2B5EF4-FFF2-40B4-BE49-F238E27FC236}">
                  <a16:creationId xmlns:a16="http://schemas.microsoft.com/office/drawing/2014/main" id="{6387F7F7-7AF2-40E8-A4AF-574E377DF4E5}"/>
                </a:ext>
              </a:extLst>
            </p:cNvPr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5889625" y="1839913"/>
              <a:ext cx="26988" cy="57150"/>
            </a:xfrm>
            <a:custGeom>
              <a:avLst/>
              <a:gdLst>
                <a:gd name="T0" fmla="*/ 0 w 60"/>
                <a:gd name="T1" fmla="*/ 41462 h 51"/>
                <a:gd name="T2" fmla="*/ 2699 w 60"/>
                <a:gd name="T3" fmla="*/ 33618 h 51"/>
                <a:gd name="T4" fmla="*/ 6747 w 60"/>
                <a:gd name="T5" fmla="*/ 21291 h 51"/>
                <a:gd name="T6" fmla="*/ 8996 w 60"/>
                <a:gd name="T7" fmla="*/ 14568 h 51"/>
                <a:gd name="T8" fmla="*/ 12145 w 60"/>
                <a:gd name="T9" fmla="*/ 8965 h 51"/>
                <a:gd name="T10" fmla="*/ 14843 w 60"/>
                <a:gd name="T11" fmla="*/ 4482 h 51"/>
                <a:gd name="T12" fmla="*/ 17992 w 60"/>
                <a:gd name="T13" fmla="*/ 0 h 51"/>
                <a:gd name="T14" fmla="*/ 22490 w 60"/>
                <a:gd name="T15" fmla="*/ 7844 h 51"/>
                <a:gd name="T16" fmla="*/ 26988 w 60"/>
                <a:gd name="T17" fmla="*/ 14568 h 51"/>
                <a:gd name="T18" fmla="*/ 26538 w 60"/>
                <a:gd name="T19" fmla="*/ 22412 h 51"/>
                <a:gd name="T20" fmla="*/ 25189 w 60"/>
                <a:gd name="T21" fmla="*/ 32497 h 51"/>
                <a:gd name="T22" fmla="*/ 24289 w 60"/>
                <a:gd name="T23" fmla="*/ 38100 h 51"/>
                <a:gd name="T24" fmla="*/ 23390 w 60"/>
                <a:gd name="T25" fmla="*/ 42582 h 51"/>
                <a:gd name="T26" fmla="*/ 22040 w 60"/>
                <a:gd name="T27" fmla="*/ 47065 h 51"/>
                <a:gd name="T28" fmla="*/ 20241 w 60"/>
                <a:gd name="T29" fmla="*/ 50426 h 51"/>
                <a:gd name="T30" fmla="*/ 18442 w 60"/>
                <a:gd name="T31" fmla="*/ 53788 h 51"/>
                <a:gd name="T32" fmla="*/ 16643 w 60"/>
                <a:gd name="T33" fmla="*/ 56029 h 51"/>
                <a:gd name="T34" fmla="*/ 13944 w 60"/>
                <a:gd name="T35" fmla="*/ 57150 h 51"/>
                <a:gd name="T36" fmla="*/ 12145 w 60"/>
                <a:gd name="T37" fmla="*/ 57150 h 51"/>
                <a:gd name="T38" fmla="*/ 8996 w 60"/>
                <a:gd name="T39" fmla="*/ 56029 h 51"/>
                <a:gd name="T40" fmla="*/ 6747 w 60"/>
                <a:gd name="T41" fmla="*/ 52668 h 51"/>
                <a:gd name="T42" fmla="*/ 3149 w 60"/>
                <a:gd name="T43" fmla="*/ 48185 h 51"/>
                <a:gd name="T44" fmla="*/ 0 w 60"/>
                <a:gd name="T45" fmla="*/ 41462 h 5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84" name="Freeform 245">
              <a:extLst>
                <a:ext uri="{FF2B5EF4-FFF2-40B4-BE49-F238E27FC236}">
                  <a16:creationId xmlns:a16="http://schemas.microsoft.com/office/drawing/2014/main" id="{38754E3B-F485-4DF4-8C19-D3647BC3F4B9}"/>
                </a:ext>
              </a:extLst>
            </p:cNvPr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5334001" y="2001838"/>
              <a:ext cx="28575" cy="57150"/>
            </a:xfrm>
            <a:custGeom>
              <a:avLst/>
              <a:gdLst>
                <a:gd name="T0" fmla="*/ 25544 w 66"/>
                <a:gd name="T1" fmla="*/ 53788 h 51"/>
                <a:gd name="T2" fmla="*/ 18184 w 66"/>
                <a:gd name="T3" fmla="*/ 56029 h 51"/>
                <a:gd name="T4" fmla="*/ 9525 w 66"/>
                <a:gd name="T5" fmla="*/ 57150 h 51"/>
                <a:gd name="T6" fmla="*/ 7360 w 66"/>
                <a:gd name="T7" fmla="*/ 56029 h 51"/>
                <a:gd name="T8" fmla="*/ 5628 w 66"/>
                <a:gd name="T9" fmla="*/ 54909 h 51"/>
                <a:gd name="T10" fmla="*/ 4330 w 66"/>
                <a:gd name="T11" fmla="*/ 53788 h 51"/>
                <a:gd name="T12" fmla="*/ 3031 w 66"/>
                <a:gd name="T13" fmla="*/ 51547 h 51"/>
                <a:gd name="T14" fmla="*/ 1299 w 66"/>
                <a:gd name="T15" fmla="*/ 48185 h 51"/>
                <a:gd name="T16" fmla="*/ 433 w 66"/>
                <a:gd name="T17" fmla="*/ 44824 h 51"/>
                <a:gd name="T18" fmla="*/ 0 w 66"/>
                <a:gd name="T19" fmla="*/ 39221 h 51"/>
                <a:gd name="T20" fmla="*/ 0 w 66"/>
                <a:gd name="T21" fmla="*/ 33618 h 51"/>
                <a:gd name="T22" fmla="*/ 1732 w 66"/>
                <a:gd name="T23" fmla="*/ 32497 h 51"/>
                <a:gd name="T24" fmla="*/ 4330 w 66"/>
                <a:gd name="T25" fmla="*/ 30256 h 51"/>
                <a:gd name="T26" fmla="*/ 6061 w 66"/>
                <a:gd name="T27" fmla="*/ 26894 h 51"/>
                <a:gd name="T28" fmla="*/ 8226 w 66"/>
                <a:gd name="T29" fmla="*/ 22412 h 51"/>
                <a:gd name="T30" fmla="*/ 11257 w 66"/>
                <a:gd name="T31" fmla="*/ 11206 h 51"/>
                <a:gd name="T32" fmla="*/ 14288 w 66"/>
                <a:gd name="T33" fmla="*/ 0 h 51"/>
                <a:gd name="T34" fmla="*/ 19916 w 66"/>
                <a:gd name="T35" fmla="*/ 1121 h 51"/>
                <a:gd name="T36" fmla="*/ 22514 w 66"/>
                <a:gd name="T37" fmla="*/ 2241 h 51"/>
                <a:gd name="T38" fmla="*/ 24245 w 66"/>
                <a:gd name="T39" fmla="*/ 3362 h 51"/>
                <a:gd name="T40" fmla="*/ 28575 w 66"/>
                <a:gd name="T41" fmla="*/ 0 h 51"/>
                <a:gd name="T42" fmla="*/ 28142 w 66"/>
                <a:gd name="T43" fmla="*/ 14568 h 51"/>
                <a:gd name="T44" fmla="*/ 27276 w 66"/>
                <a:gd name="T45" fmla="*/ 26894 h 51"/>
                <a:gd name="T46" fmla="*/ 25977 w 66"/>
                <a:gd name="T47" fmla="*/ 40341 h 51"/>
                <a:gd name="T48" fmla="*/ 25544 w 66"/>
                <a:gd name="T49" fmla="*/ 53788 h 5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85" name="Freeform 246">
              <a:extLst>
                <a:ext uri="{FF2B5EF4-FFF2-40B4-BE49-F238E27FC236}">
                  <a16:creationId xmlns:a16="http://schemas.microsoft.com/office/drawing/2014/main" id="{584134EF-5FE3-4E6E-B2D6-E6A79A2BE477}"/>
                </a:ext>
              </a:extLst>
            </p:cNvPr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6286500" y="2530475"/>
              <a:ext cx="50800" cy="57150"/>
            </a:xfrm>
            <a:custGeom>
              <a:avLst/>
              <a:gdLst>
                <a:gd name="T0" fmla="*/ 0 w 113"/>
                <a:gd name="T1" fmla="*/ 33981 h 74"/>
                <a:gd name="T2" fmla="*/ 8991 w 113"/>
                <a:gd name="T3" fmla="*/ 57150 h 74"/>
                <a:gd name="T4" fmla="*/ 16634 w 113"/>
                <a:gd name="T5" fmla="*/ 53289 h 74"/>
                <a:gd name="T6" fmla="*/ 22927 w 113"/>
                <a:gd name="T7" fmla="*/ 50199 h 74"/>
                <a:gd name="T8" fmla="*/ 28772 w 113"/>
                <a:gd name="T9" fmla="*/ 45566 h 74"/>
                <a:gd name="T10" fmla="*/ 33267 w 113"/>
                <a:gd name="T11" fmla="*/ 40932 h 74"/>
                <a:gd name="T12" fmla="*/ 35065 w 113"/>
                <a:gd name="T13" fmla="*/ 37843 h 74"/>
                <a:gd name="T14" fmla="*/ 37313 w 113"/>
                <a:gd name="T15" fmla="*/ 34753 h 74"/>
                <a:gd name="T16" fmla="*/ 38662 w 113"/>
                <a:gd name="T17" fmla="*/ 31664 h 74"/>
                <a:gd name="T18" fmla="*/ 39561 w 113"/>
                <a:gd name="T19" fmla="*/ 28575 h 74"/>
                <a:gd name="T20" fmla="*/ 40460 w 113"/>
                <a:gd name="T21" fmla="*/ 24714 h 74"/>
                <a:gd name="T22" fmla="*/ 40910 w 113"/>
                <a:gd name="T23" fmla="*/ 20080 h 74"/>
                <a:gd name="T24" fmla="*/ 41809 w 113"/>
                <a:gd name="T25" fmla="*/ 14674 h 74"/>
                <a:gd name="T26" fmla="*/ 42258 w 113"/>
                <a:gd name="T27" fmla="*/ 10040 h 74"/>
                <a:gd name="T28" fmla="*/ 44506 w 113"/>
                <a:gd name="T29" fmla="*/ 9268 h 74"/>
                <a:gd name="T30" fmla="*/ 47653 w 113"/>
                <a:gd name="T31" fmla="*/ 6951 h 74"/>
                <a:gd name="T32" fmla="*/ 48552 w 113"/>
                <a:gd name="T33" fmla="*/ 5406 h 74"/>
                <a:gd name="T34" fmla="*/ 49901 w 113"/>
                <a:gd name="T35" fmla="*/ 3861 h 74"/>
                <a:gd name="T36" fmla="*/ 50350 w 113"/>
                <a:gd name="T37" fmla="*/ 2317 h 74"/>
                <a:gd name="T38" fmla="*/ 50800 w 113"/>
                <a:gd name="T39" fmla="*/ 0 h 74"/>
                <a:gd name="T40" fmla="*/ 44057 w 113"/>
                <a:gd name="T41" fmla="*/ 3089 h 74"/>
                <a:gd name="T42" fmla="*/ 36864 w 113"/>
                <a:gd name="T43" fmla="*/ 6178 h 74"/>
                <a:gd name="T44" fmla="*/ 29221 w 113"/>
                <a:gd name="T45" fmla="*/ 10040 h 74"/>
                <a:gd name="T46" fmla="*/ 22028 w 113"/>
                <a:gd name="T47" fmla="*/ 14674 h 74"/>
                <a:gd name="T48" fmla="*/ 8991 w 113"/>
                <a:gd name="T49" fmla="*/ 25486 h 74"/>
                <a:gd name="T50" fmla="*/ 0 w 113"/>
                <a:gd name="T51" fmla="*/ 33981 h 7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6" name="Freeform 247">
              <a:extLst>
                <a:ext uri="{FF2B5EF4-FFF2-40B4-BE49-F238E27FC236}">
                  <a16:creationId xmlns:a16="http://schemas.microsoft.com/office/drawing/2014/main" id="{675B55B9-2049-43C4-857B-DCE20DF6C35F}"/>
                </a:ext>
              </a:extLst>
            </p:cNvPr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5894389" y="3322639"/>
              <a:ext cx="325437" cy="244475"/>
            </a:xfrm>
            <a:custGeom>
              <a:avLst/>
              <a:gdLst>
                <a:gd name="T0" fmla="*/ 42752 w 746"/>
                <a:gd name="T1" fmla="*/ 235613 h 469"/>
                <a:gd name="T2" fmla="*/ 23557 w 746"/>
                <a:gd name="T3" fmla="*/ 229358 h 469"/>
                <a:gd name="T4" fmla="*/ 9161 w 746"/>
                <a:gd name="T5" fmla="*/ 223624 h 469"/>
                <a:gd name="T6" fmla="*/ 2181 w 746"/>
                <a:gd name="T7" fmla="*/ 215284 h 469"/>
                <a:gd name="T8" fmla="*/ 0 w 746"/>
                <a:gd name="T9" fmla="*/ 189221 h 469"/>
                <a:gd name="T10" fmla="*/ 2181 w 746"/>
                <a:gd name="T11" fmla="*/ 161072 h 469"/>
                <a:gd name="T12" fmla="*/ 10034 w 746"/>
                <a:gd name="T13" fmla="*/ 142306 h 469"/>
                <a:gd name="T14" fmla="*/ 24430 w 746"/>
                <a:gd name="T15" fmla="*/ 118849 h 469"/>
                <a:gd name="T16" fmla="*/ 52785 w 746"/>
                <a:gd name="T17" fmla="*/ 106339 h 469"/>
                <a:gd name="T18" fmla="*/ 72416 w 746"/>
                <a:gd name="T19" fmla="*/ 97999 h 469"/>
                <a:gd name="T20" fmla="*/ 102517 w 746"/>
                <a:gd name="T21" fmla="*/ 90179 h 469"/>
                <a:gd name="T22" fmla="*/ 114296 w 746"/>
                <a:gd name="T23" fmla="*/ 79754 h 469"/>
                <a:gd name="T24" fmla="*/ 116477 w 746"/>
                <a:gd name="T25" fmla="*/ 70893 h 469"/>
                <a:gd name="T26" fmla="*/ 127383 w 746"/>
                <a:gd name="T27" fmla="*/ 62552 h 469"/>
                <a:gd name="T28" fmla="*/ 144833 w 746"/>
                <a:gd name="T29" fmla="*/ 59946 h 469"/>
                <a:gd name="T30" fmla="*/ 156611 w 746"/>
                <a:gd name="T31" fmla="*/ 52648 h 469"/>
                <a:gd name="T32" fmla="*/ 169698 w 746"/>
                <a:gd name="T33" fmla="*/ 34925 h 469"/>
                <a:gd name="T34" fmla="*/ 185403 w 746"/>
                <a:gd name="T35" fmla="*/ 11468 h 469"/>
                <a:gd name="T36" fmla="*/ 196309 w 746"/>
                <a:gd name="T37" fmla="*/ 3128 h 469"/>
                <a:gd name="T38" fmla="*/ 212014 w 746"/>
                <a:gd name="T39" fmla="*/ 0 h 469"/>
                <a:gd name="T40" fmla="*/ 221175 w 746"/>
                <a:gd name="T41" fmla="*/ 15117 h 469"/>
                <a:gd name="T42" fmla="*/ 232081 w 746"/>
                <a:gd name="T43" fmla="*/ 27627 h 469"/>
                <a:gd name="T44" fmla="*/ 241242 w 746"/>
                <a:gd name="T45" fmla="*/ 55776 h 469"/>
                <a:gd name="T46" fmla="*/ 252584 w 746"/>
                <a:gd name="T47" fmla="*/ 82882 h 469"/>
                <a:gd name="T48" fmla="*/ 267417 w 746"/>
                <a:gd name="T49" fmla="*/ 89658 h 469"/>
                <a:gd name="T50" fmla="*/ 273960 w 746"/>
                <a:gd name="T51" fmla="*/ 100605 h 469"/>
                <a:gd name="T52" fmla="*/ 283558 w 746"/>
                <a:gd name="T53" fmla="*/ 121456 h 469"/>
                <a:gd name="T54" fmla="*/ 306242 w 746"/>
                <a:gd name="T55" fmla="*/ 145434 h 469"/>
                <a:gd name="T56" fmla="*/ 323256 w 746"/>
                <a:gd name="T57" fmla="*/ 164200 h 469"/>
                <a:gd name="T58" fmla="*/ 310169 w 746"/>
                <a:gd name="T59" fmla="*/ 179838 h 469"/>
                <a:gd name="T60" fmla="*/ 301444 w 746"/>
                <a:gd name="T61" fmla="*/ 178274 h 469"/>
                <a:gd name="T62" fmla="*/ 296209 w 746"/>
                <a:gd name="T63" fmla="*/ 167327 h 469"/>
                <a:gd name="T64" fmla="*/ 283994 w 746"/>
                <a:gd name="T65" fmla="*/ 172019 h 469"/>
                <a:gd name="T66" fmla="*/ 278759 w 746"/>
                <a:gd name="T67" fmla="*/ 183487 h 469"/>
                <a:gd name="T68" fmla="*/ 263491 w 746"/>
                <a:gd name="T69" fmla="*/ 185572 h 469"/>
                <a:gd name="T70" fmla="*/ 241242 w 746"/>
                <a:gd name="T71" fmla="*/ 185572 h 469"/>
                <a:gd name="T72" fmla="*/ 227719 w 746"/>
                <a:gd name="T73" fmla="*/ 190263 h 469"/>
                <a:gd name="T74" fmla="*/ 216376 w 746"/>
                <a:gd name="T75" fmla="*/ 201731 h 469"/>
                <a:gd name="T76" fmla="*/ 212014 w 746"/>
                <a:gd name="T77" fmla="*/ 205380 h 469"/>
                <a:gd name="T78" fmla="*/ 185839 w 746"/>
                <a:gd name="T79" fmla="*/ 208507 h 469"/>
                <a:gd name="T80" fmla="*/ 172752 w 746"/>
                <a:gd name="T81" fmla="*/ 204337 h 469"/>
                <a:gd name="T82" fmla="*/ 152249 w 746"/>
                <a:gd name="T83" fmla="*/ 184529 h 469"/>
                <a:gd name="T84" fmla="*/ 139161 w 746"/>
                <a:gd name="T85" fmla="*/ 179838 h 469"/>
                <a:gd name="T86" fmla="*/ 126947 w 746"/>
                <a:gd name="T87" fmla="*/ 185050 h 469"/>
                <a:gd name="T88" fmla="*/ 116041 w 746"/>
                <a:gd name="T89" fmla="*/ 196518 h 469"/>
                <a:gd name="T90" fmla="*/ 99027 w 746"/>
                <a:gd name="T91" fmla="*/ 227794 h 469"/>
                <a:gd name="T92" fmla="*/ 65436 w 746"/>
                <a:gd name="T93" fmla="*/ 228837 h 469"/>
                <a:gd name="T94" fmla="*/ 58893 w 746"/>
                <a:gd name="T95" fmla="*/ 233528 h 46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7" name="Freeform 248">
              <a:extLst>
                <a:ext uri="{FF2B5EF4-FFF2-40B4-BE49-F238E27FC236}">
                  <a16:creationId xmlns:a16="http://schemas.microsoft.com/office/drawing/2014/main" id="{7EB538AB-5522-4281-A24A-7A3F6F7E19E6}"/>
                </a:ext>
              </a:extLst>
            </p:cNvPr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5830888" y="3490913"/>
              <a:ext cx="500062" cy="552450"/>
            </a:xfrm>
            <a:custGeom>
              <a:avLst/>
              <a:gdLst>
                <a:gd name="T0" fmla="*/ 393935 w 1145"/>
                <a:gd name="T1" fmla="*/ 29905 h 1053"/>
                <a:gd name="T2" fmla="*/ 433678 w 1145"/>
                <a:gd name="T3" fmla="*/ 34626 h 1053"/>
                <a:gd name="T4" fmla="*/ 471674 w 1145"/>
                <a:gd name="T5" fmla="*/ 42496 h 1053"/>
                <a:gd name="T6" fmla="*/ 491764 w 1145"/>
                <a:gd name="T7" fmla="*/ 91813 h 1053"/>
                <a:gd name="T8" fmla="*/ 494821 w 1145"/>
                <a:gd name="T9" fmla="*/ 110700 h 1053"/>
                <a:gd name="T10" fmla="*/ 462066 w 1145"/>
                <a:gd name="T11" fmla="*/ 142703 h 1053"/>
                <a:gd name="T12" fmla="*/ 456388 w 1145"/>
                <a:gd name="T13" fmla="*/ 188872 h 1053"/>
                <a:gd name="T14" fmla="*/ 438046 w 1145"/>
                <a:gd name="T15" fmla="*/ 230843 h 1053"/>
                <a:gd name="T16" fmla="*/ 432368 w 1145"/>
                <a:gd name="T17" fmla="*/ 249730 h 1053"/>
                <a:gd name="T18" fmla="*/ 445033 w 1145"/>
                <a:gd name="T19" fmla="*/ 302195 h 1053"/>
                <a:gd name="T20" fmla="*/ 448090 w 1145"/>
                <a:gd name="T21" fmla="*/ 348364 h 1053"/>
                <a:gd name="T22" fmla="*/ 457262 w 1145"/>
                <a:gd name="T23" fmla="*/ 383515 h 1053"/>
                <a:gd name="T24" fmla="*/ 471237 w 1145"/>
                <a:gd name="T25" fmla="*/ 401353 h 1053"/>
                <a:gd name="T26" fmla="*/ 476915 w 1145"/>
                <a:gd name="T27" fmla="*/ 432831 h 1053"/>
                <a:gd name="T28" fmla="*/ 454205 w 1145"/>
                <a:gd name="T29" fmla="*/ 442799 h 1053"/>
                <a:gd name="T30" fmla="*/ 435425 w 1145"/>
                <a:gd name="T31" fmla="*/ 449095 h 1053"/>
                <a:gd name="T32" fmla="*/ 419266 w 1145"/>
                <a:gd name="T33" fmla="*/ 520447 h 1053"/>
                <a:gd name="T34" fmla="*/ 406164 w 1145"/>
                <a:gd name="T35" fmla="*/ 538285 h 1053"/>
                <a:gd name="T36" fmla="*/ 393935 w 1145"/>
                <a:gd name="T37" fmla="*/ 540908 h 1053"/>
                <a:gd name="T38" fmla="*/ 366858 w 1145"/>
                <a:gd name="T39" fmla="*/ 552450 h 1053"/>
                <a:gd name="T40" fmla="*/ 341527 w 1145"/>
                <a:gd name="T41" fmla="*/ 544056 h 1053"/>
                <a:gd name="T42" fmla="*/ 324494 w 1145"/>
                <a:gd name="T43" fmla="*/ 531989 h 1053"/>
                <a:gd name="T44" fmla="*/ 308772 w 1145"/>
                <a:gd name="T45" fmla="*/ 523070 h 1053"/>
                <a:gd name="T46" fmla="*/ 294360 w 1145"/>
                <a:gd name="T47" fmla="*/ 517299 h 1053"/>
                <a:gd name="T48" fmla="*/ 265535 w 1145"/>
                <a:gd name="T49" fmla="*/ 517824 h 1053"/>
                <a:gd name="T50" fmla="*/ 259421 w 1145"/>
                <a:gd name="T51" fmla="*/ 494215 h 1053"/>
                <a:gd name="T52" fmla="*/ 251123 w 1145"/>
                <a:gd name="T53" fmla="*/ 463785 h 1053"/>
                <a:gd name="T54" fmla="*/ 257674 w 1145"/>
                <a:gd name="T55" fmla="*/ 443849 h 1053"/>
                <a:gd name="T56" fmla="*/ 257674 w 1145"/>
                <a:gd name="T57" fmla="*/ 408698 h 1053"/>
                <a:gd name="T58" fmla="*/ 198278 w 1145"/>
                <a:gd name="T59" fmla="*/ 396106 h 1053"/>
                <a:gd name="T60" fmla="*/ 193474 w 1145"/>
                <a:gd name="T61" fmla="*/ 411845 h 1053"/>
                <a:gd name="T62" fmla="*/ 172947 w 1145"/>
                <a:gd name="T63" fmla="*/ 428634 h 1053"/>
                <a:gd name="T64" fmla="*/ 147180 w 1145"/>
                <a:gd name="T65" fmla="*/ 418141 h 1053"/>
                <a:gd name="T66" fmla="*/ 129710 w 1145"/>
                <a:gd name="T67" fmla="*/ 371448 h 1053"/>
                <a:gd name="T68" fmla="*/ 1310 w 1145"/>
                <a:gd name="T69" fmla="*/ 352036 h 1053"/>
                <a:gd name="T70" fmla="*/ 19653 w 1145"/>
                <a:gd name="T71" fmla="*/ 349937 h 1053"/>
                <a:gd name="T72" fmla="*/ 11355 w 1145"/>
                <a:gd name="T73" fmla="*/ 331050 h 1053"/>
                <a:gd name="T74" fmla="*/ 32755 w 1145"/>
                <a:gd name="T75" fmla="*/ 322656 h 1053"/>
                <a:gd name="T76" fmla="*/ 63327 w 1145"/>
                <a:gd name="T77" fmla="*/ 322131 h 1053"/>
                <a:gd name="T78" fmla="*/ 79923 w 1145"/>
                <a:gd name="T79" fmla="*/ 325279 h 1053"/>
                <a:gd name="T80" fmla="*/ 96082 w 1145"/>
                <a:gd name="T81" fmla="*/ 301146 h 1053"/>
                <a:gd name="T82" fmla="*/ 113551 w 1145"/>
                <a:gd name="T83" fmla="*/ 291177 h 1053"/>
                <a:gd name="T84" fmla="*/ 122723 w 1145"/>
                <a:gd name="T85" fmla="*/ 230843 h 1053"/>
                <a:gd name="T86" fmla="*/ 151110 w 1145"/>
                <a:gd name="T87" fmla="*/ 194118 h 1053"/>
                <a:gd name="T88" fmla="*/ 161592 w 1145"/>
                <a:gd name="T89" fmla="*/ 144802 h 1053"/>
                <a:gd name="T90" fmla="*/ 162466 w 1145"/>
                <a:gd name="T91" fmla="*/ 94436 h 1053"/>
                <a:gd name="T92" fmla="*/ 167270 w 1145"/>
                <a:gd name="T93" fmla="*/ 64007 h 1053"/>
                <a:gd name="T94" fmla="*/ 192164 w 1145"/>
                <a:gd name="T95" fmla="*/ 18363 h 1053"/>
                <a:gd name="T96" fmla="*/ 214437 w 1145"/>
                <a:gd name="T97" fmla="*/ 15739 h 1053"/>
                <a:gd name="T98" fmla="*/ 243698 w 1145"/>
                <a:gd name="T99" fmla="*/ 40398 h 1053"/>
                <a:gd name="T100" fmla="*/ 278200 w 1145"/>
                <a:gd name="T101" fmla="*/ 38299 h 1053"/>
                <a:gd name="T102" fmla="*/ 292613 w 1145"/>
                <a:gd name="T103" fmla="*/ 23084 h 1053"/>
                <a:gd name="T104" fmla="*/ 320564 w 1145"/>
                <a:gd name="T105" fmla="*/ 17838 h 1053"/>
                <a:gd name="T106" fmla="*/ 347205 w 1145"/>
                <a:gd name="T107" fmla="*/ 8919 h 1053"/>
                <a:gd name="T108" fmla="*/ 361617 w 1145"/>
                <a:gd name="T109" fmla="*/ 4197 h 1053"/>
                <a:gd name="T110" fmla="*/ 375156 w 1145"/>
                <a:gd name="T111" fmla="*/ 12591 h 105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8" name="Freeform 249">
              <a:extLst>
                <a:ext uri="{FF2B5EF4-FFF2-40B4-BE49-F238E27FC236}">
                  <a16:creationId xmlns:a16="http://schemas.microsoft.com/office/drawing/2014/main" id="{49876541-36F2-4191-A7B3-18C8F4A3C3F1}"/>
                </a:ext>
              </a:extLst>
            </p:cNvPr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5767388" y="3590926"/>
              <a:ext cx="55562" cy="55563"/>
            </a:xfrm>
            <a:custGeom>
              <a:avLst/>
              <a:gdLst>
                <a:gd name="T0" fmla="*/ 53340 w 125"/>
                <a:gd name="T1" fmla="*/ 0 h 81"/>
                <a:gd name="T2" fmla="*/ 53784 w 125"/>
                <a:gd name="T3" fmla="*/ 18521 h 81"/>
                <a:gd name="T4" fmla="*/ 55118 w 125"/>
                <a:gd name="T5" fmla="*/ 31554 h 81"/>
                <a:gd name="T6" fmla="*/ 55562 w 125"/>
                <a:gd name="T7" fmla="*/ 36356 h 81"/>
                <a:gd name="T8" fmla="*/ 55562 w 125"/>
                <a:gd name="T9" fmla="*/ 40472 h 81"/>
                <a:gd name="T10" fmla="*/ 55562 w 125"/>
                <a:gd name="T11" fmla="*/ 44588 h 81"/>
                <a:gd name="T12" fmla="*/ 54673 w 125"/>
                <a:gd name="T13" fmla="*/ 47331 h 81"/>
                <a:gd name="T14" fmla="*/ 52895 w 125"/>
                <a:gd name="T15" fmla="*/ 49389 h 81"/>
                <a:gd name="T16" fmla="*/ 49784 w 125"/>
                <a:gd name="T17" fmla="*/ 50761 h 81"/>
                <a:gd name="T18" fmla="*/ 45783 w 125"/>
                <a:gd name="T19" fmla="*/ 52133 h 81"/>
                <a:gd name="T20" fmla="*/ 40449 w 125"/>
                <a:gd name="T21" fmla="*/ 52819 h 81"/>
                <a:gd name="T22" fmla="*/ 25336 w 125"/>
                <a:gd name="T23" fmla="*/ 54191 h 81"/>
                <a:gd name="T24" fmla="*/ 3111 w 125"/>
                <a:gd name="T25" fmla="*/ 55563 h 81"/>
                <a:gd name="T26" fmla="*/ 2222 w 125"/>
                <a:gd name="T27" fmla="*/ 54191 h 81"/>
                <a:gd name="T28" fmla="*/ 1333 w 125"/>
                <a:gd name="T29" fmla="*/ 49389 h 81"/>
                <a:gd name="T30" fmla="*/ 444 w 125"/>
                <a:gd name="T31" fmla="*/ 40472 h 81"/>
                <a:gd name="T32" fmla="*/ 0 w 125"/>
                <a:gd name="T33" fmla="*/ 29496 h 81"/>
                <a:gd name="T34" fmla="*/ 0 w 125"/>
                <a:gd name="T35" fmla="*/ 25381 h 81"/>
                <a:gd name="T36" fmla="*/ 444 w 125"/>
                <a:gd name="T37" fmla="*/ 21265 h 81"/>
                <a:gd name="T38" fmla="*/ 889 w 125"/>
                <a:gd name="T39" fmla="*/ 17149 h 81"/>
                <a:gd name="T40" fmla="*/ 1778 w 125"/>
                <a:gd name="T41" fmla="*/ 13719 h 81"/>
                <a:gd name="T42" fmla="*/ 3556 w 125"/>
                <a:gd name="T43" fmla="*/ 10289 h 81"/>
                <a:gd name="T44" fmla="*/ 4889 w 125"/>
                <a:gd name="T45" fmla="*/ 6860 h 81"/>
                <a:gd name="T46" fmla="*/ 6223 w 125"/>
                <a:gd name="T47" fmla="*/ 3430 h 81"/>
                <a:gd name="T48" fmla="*/ 8890 w 125"/>
                <a:gd name="T49" fmla="*/ 0 h 81"/>
                <a:gd name="T50" fmla="*/ 53340 w 125"/>
                <a:gd name="T51" fmla="*/ 0 h 8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9" name="Freeform 250">
              <a:extLst>
                <a:ext uri="{FF2B5EF4-FFF2-40B4-BE49-F238E27FC236}">
                  <a16:creationId xmlns:a16="http://schemas.microsoft.com/office/drawing/2014/main" id="{9CD9C0CB-F193-4F45-AD2E-DB621A8559E4}"/>
                </a:ext>
              </a:extLst>
            </p:cNvPr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5749925" y="3590926"/>
              <a:ext cx="152400" cy="201613"/>
            </a:xfrm>
            <a:custGeom>
              <a:avLst/>
              <a:gdLst>
                <a:gd name="T0" fmla="*/ 112475 w 355"/>
                <a:gd name="T1" fmla="*/ 7794 h 388"/>
                <a:gd name="T2" fmla="*/ 110329 w 355"/>
                <a:gd name="T3" fmla="*/ 19226 h 388"/>
                <a:gd name="T4" fmla="*/ 113334 w 355"/>
                <a:gd name="T5" fmla="*/ 26501 h 388"/>
                <a:gd name="T6" fmla="*/ 121491 w 355"/>
                <a:gd name="T7" fmla="*/ 31177 h 388"/>
                <a:gd name="T8" fmla="*/ 136945 w 355"/>
                <a:gd name="T9" fmla="*/ 28579 h 388"/>
                <a:gd name="T10" fmla="*/ 142526 w 355"/>
                <a:gd name="T11" fmla="*/ 29618 h 388"/>
                <a:gd name="T12" fmla="*/ 145961 w 355"/>
                <a:gd name="T13" fmla="*/ 35334 h 388"/>
                <a:gd name="T14" fmla="*/ 148107 w 355"/>
                <a:gd name="T15" fmla="*/ 43129 h 388"/>
                <a:gd name="T16" fmla="*/ 150683 w 355"/>
                <a:gd name="T17" fmla="*/ 48844 h 388"/>
                <a:gd name="T18" fmla="*/ 148107 w 355"/>
                <a:gd name="T19" fmla="*/ 56119 h 388"/>
                <a:gd name="T20" fmla="*/ 137375 w 355"/>
                <a:gd name="T21" fmla="*/ 70668 h 388"/>
                <a:gd name="T22" fmla="*/ 149395 w 355"/>
                <a:gd name="T23" fmla="*/ 90934 h 388"/>
                <a:gd name="T24" fmla="*/ 152400 w 355"/>
                <a:gd name="T25" fmla="*/ 104963 h 388"/>
                <a:gd name="T26" fmla="*/ 151541 w 355"/>
                <a:gd name="T27" fmla="*/ 113797 h 388"/>
                <a:gd name="T28" fmla="*/ 148107 w 355"/>
                <a:gd name="T29" fmla="*/ 131984 h 388"/>
                <a:gd name="T30" fmla="*/ 142955 w 355"/>
                <a:gd name="T31" fmla="*/ 140817 h 388"/>
                <a:gd name="T32" fmla="*/ 133940 w 355"/>
                <a:gd name="T33" fmla="*/ 145494 h 388"/>
                <a:gd name="T34" fmla="*/ 122779 w 355"/>
                <a:gd name="T35" fmla="*/ 146533 h 388"/>
                <a:gd name="T36" fmla="*/ 115910 w 355"/>
                <a:gd name="T37" fmla="*/ 146533 h 388"/>
                <a:gd name="T38" fmla="*/ 108183 w 355"/>
                <a:gd name="T39" fmla="*/ 137700 h 388"/>
                <a:gd name="T40" fmla="*/ 103031 w 355"/>
                <a:gd name="T41" fmla="*/ 134582 h 388"/>
                <a:gd name="T42" fmla="*/ 94874 w 355"/>
                <a:gd name="T43" fmla="*/ 139778 h 388"/>
                <a:gd name="T44" fmla="*/ 88006 w 355"/>
                <a:gd name="T45" fmla="*/ 144974 h 388"/>
                <a:gd name="T46" fmla="*/ 83283 w 355"/>
                <a:gd name="T47" fmla="*/ 148092 h 388"/>
                <a:gd name="T48" fmla="*/ 79420 w 355"/>
                <a:gd name="T49" fmla="*/ 154847 h 388"/>
                <a:gd name="T50" fmla="*/ 80278 w 355"/>
                <a:gd name="T51" fmla="*/ 166798 h 388"/>
                <a:gd name="T52" fmla="*/ 88864 w 355"/>
                <a:gd name="T53" fmla="*/ 186024 h 388"/>
                <a:gd name="T54" fmla="*/ 83713 w 355"/>
                <a:gd name="T55" fmla="*/ 183426 h 388"/>
                <a:gd name="T56" fmla="*/ 75985 w 355"/>
                <a:gd name="T57" fmla="*/ 184466 h 388"/>
                <a:gd name="T58" fmla="*/ 69546 w 355"/>
                <a:gd name="T59" fmla="*/ 189662 h 388"/>
                <a:gd name="T60" fmla="*/ 62677 w 355"/>
                <a:gd name="T61" fmla="*/ 201613 h 388"/>
                <a:gd name="T62" fmla="*/ 52803 w 355"/>
                <a:gd name="T63" fmla="*/ 192260 h 388"/>
                <a:gd name="T64" fmla="*/ 48510 w 355"/>
                <a:gd name="T65" fmla="*/ 186024 h 388"/>
                <a:gd name="T66" fmla="*/ 41212 w 355"/>
                <a:gd name="T67" fmla="*/ 168357 h 388"/>
                <a:gd name="T68" fmla="*/ 21465 w 355"/>
                <a:gd name="T69" fmla="*/ 145494 h 388"/>
                <a:gd name="T70" fmla="*/ 9445 w 355"/>
                <a:gd name="T71" fmla="*/ 131984 h 388"/>
                <a:gd name="T72" fmla="*/ 2146 w 355"/>
                <a:gd name="T73" fmla="*/ 115876 h 388"/>
                <a:gd name="T74" fmla="*/ 429 w 355"/>
                <a:gd name="T75" fmla="*/ 97169 h 388"/>
                <a:gd name="T76" fmla="*/ 4722 w 355"/>
                <a:gd name="T77" fmla="*/ 84179 h 388"/>
                <a:gd name="T78" fmla="*/ 17601 w 355"/>
                <a:gd name="T79" fmla="*/ 69629 h 388"/>
                <a:gd name="T80" fmla="*/ 23182 w 355"/>
                <a:gd name="T81" fmla="*/ 60276 h 388"/>
                <a:gd name="T82" fmla="*/ 24041 w 355"/>
                <a:gd name="T83" fmla="*/ 47286 h 388"/>
                <a:gd name="T84" fmla="*/ 46364 w 355"/>
                <a:gd name="T85" fmla="*/ 43129 h 388"/>
                <a:gd name="T86" fmla="*/ 66970 w 355"/>
                <a:gd name="T87" fmla="*/ 41570 h 388"/>
                <a:gd name="T88" fmla="*/ 73839 w 355"/>
                <a:gd name="T89" fmla="*/ 37932 h 388"/>
                <a:gd name="T90" fmla="*/ 75985 w 355"/>
                <a:gd name="T91" fmla="*/ 32736 h 388"/>
                <a:gd name="T92" fmla="*/ 74697 w 355"/>
                <a:gd name="T93" fmla="*/ 21304 h 388"/>
                <a:gd name="T94" fmla="*/ 71692 w 355"/>
                <a:gd name="T95" fmla="*/ 6235 h 38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0" name="Freeform 251">
              <a:extLst>
                <a:ext uri="{FF2B5EF4-FFF2-40B4-BE49-F238E27FC236}">
                  <a16:creationId xmlns:a16="http://schemas.microsoft.com/office/drawing/2014/main" id="{D67B3E37-338E-45AE-9EE8-C3CA758E1E71}"/>
                </a:ext>
              </a:extLst>
            </p:cNvPr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6283325" y="3995738"/>
              <a:ext cx="260350" cy="520700"/>
            </a:xfrm>
            <a:custGeom>
              <a:avLst/>
              <a:gdLst>
                <a:gd name="T0" fmla="*/ 0 w 599"/>
                <a:gd name="T1" fmla="*/ 135812 h 993"/>
                <a:gd name="T2" fmla="*/ 79105 w 599"/>
                <a:gd name="T3" fmla="*/ 117459 h 993"/>
                <a:gd name="T4" fmla="*/ 99967 w 599"/>
                <a:gd name="T5" fmla="*/ 125849 h 993"/>
                <a:gd name="T6" fmla="*/ 112137 w 599"/>
                <a:gd name="T7" fmla="*/ 135288 h 993"/>
                <a:gd name="T8" fmla="*/ 109530 w 599"/>
                <a:gd name="T9" fmla="*/ 155214 h 993"/>
                <a:gd name="T10" fmla="*/ 101706 w 599"/>
                <a:gd name="T11" fmla="*/ 171469 h 993"/>
                <a:gd name="T12" fmla="*/ 108660 w 599"/>
                <a:gd name="T13" fmla="*/ 187200 h 993"/>
                <a:gd name="T14" fmla="*/ 127784 w 599"/>
                <a:gd name="T15" fmla="*/ 191395 h 993"/>
                <a:gd name="T16" fmla="*/ 138651 w 599"/>
                <a:gd name="T17" fmla="*/ 178286 h 993"/>
                <a:gd name="T18" fmla="*/ 146909 w 599"/>
                <a:gd name="T19" fmla="*/ 166225 h 993"/>
                <a:gd name="T20" fmla="*/ 144301 w 599"/>
                <a:gd name="T21" fmla="*/ 136861 h 993"/>
                <a:gd name="T22" fmla="*/ 136477 w 599"/>
                <a:gd name="T23" fmla="*/ 106972 h 993"/>
                <a:gd name="T24" fmla="*/ 117788 w 599"/>
                <a:gd name="T25" fmla="*/ 82326 h 993"/>
                <a:gd name="T26" fmla="*/ 110399 w 599"/>
                <a:gd name="T27" fmla="*/ 65546 h 993"/>
                <a:gd name="T28" fmla="*/ 117353 w 599"/>
                <a:gd name="T29" fmla="*/ 32511 h 993"/>
                <a:gd name="T30" fmla="*/ 139085 w 599"/>
                <a:gd name="T31" fmla="*/ 28840 h 993"/>
                <a:gd name="T32" fmla="*/ 181680 w 599"/>
                <a:gd name="T33" fmla="*/ 31462 h 993"/>
                <a:gd name="T34" fmla="*/ 226448 w 599"/>
                <a:gd name="T35" fmla="*/ 18877 h 993"/>
                <a:gd name="T36" fmla="*/ 259481 w 599"/>
                <a:gd name="T37" fmla="*/ 1573 h 993"/>
                <a:gd name="T38" fmla="*/ 259481 w 599"/>
                <a:gd name="T39" fmla="*/ 15731 h 993"/>
                <a:gd name="T40" fmla="*/ 259481 w 599"/>
                <a:gd name="T41" fmla="*/ 66071 h 993"/>
                <a:gd name="T42" fmla="*/ 257308 w 599"/>
                <a:gd name="T43" fmla="*/ 119556 h 993"/>
                <a:gd name="T44" fmla="*/ 254265 w 599"/>
                <a:gd name="T45" fmla="*/ 144726 h 993"/>
                <a:gd name="T46" fmla="*/ 239053 w 599"/>
                <a:gd name="T47" fmla="*/ 176713 h 993"/>
                <a:gd name="T48" fmla="*/ 203412 w 599"/>
                <a:gd name="T49" fmla="*/ 210797 h 993"/>
                <a:gd name="T50" fmla="*/ 162556 w 599"/>
                <a:gd name="T51" fmla="*/ 223382 h 993"/>
                <a:gd name="T52" fmla="*/ 153428 w 599"/>
                <a:gd name="T53" fmla="*/ 243308 h 993"/>
                <a:gd name="T54" fmla="*/ 127350 w 599"/>
                <a:gd name="T55" fmla="*/ 265856 h 993"/>
                <a:gd name="T56" fmla="*/ 105618 w 599"/>
                <a:gd name="T57" fmla="*/ 287879 h 993"/>
                <a:gd name="T58" fmla="*/ 99533 w 599"/>
                <a:gd name="T59" fmla="*/ 305184 h 993"/>
                <a:gd name="T60" fmla="*/ 103010 w 599"/>
                <a:gd name="T61" fmla="*/ 324585 h 993"/>
                <a:gd name="T62" fmla="*/ 116049 w 599"/>
                <a:gd name="T63" fmla="*/ 342938 h 993"/>
                <a:gd name="T64" fmla="*/ 110399 w 599"/>
                <a:gd name="T65" fmla="*/ 363913 h 993"/>
                <a:gd name="T66" fmla="*/ 115180 w 599"/>
                <a:gd name="T67" fmla="*/ 382266 h 993"/>
                <a:gd name="T68" fmla="*/ 116049 w 599"/>
                <a:gd name="T69" fmla="*/ 414253 h 993"/>
                <a:gd name="T70" fmla="*/ 111268 w 599"/>
                <a:gd name="T71" fmla="*/ 426838 h 993"/>
                <a:gd name="T72" fmla="*/ 83886 w 599"/>
                <a:gd name="T73" fmla="*/ 457776 h 993"/>
                <a:gd name="T74" fmla="*/ 63892 w 599"/>
                <a:gd name="T75" fmla="*/ 465117 h 993"/>
                <a:gd name="T76" fmla="*/ 44333 w 599"/>
                <a:gd name="T77" fmla="*/ 468787 h 993"/>
                <a:gd name="T78" fmla="*/ 37814 w 599"/>
                <a:gd name="T79" fmla="*/ 478750 h 993"/>
                <a:gd name="T80" fmla="*/ 41291 w 599"/>
                <a:gd name="T81" fmla="*/ 492384 h 993"/>
                <a:gd name="T82" fmla="*/ 39552 w 599"/>
                <a:gd name="T83" fmla="*/ 520176 h 993"/>
                <a:gd name="T84" fmla="*/ 32163 w 599"/>
                <a:gd name="T85" fmla="*/ 424740 h 993"/>
                <a:gd name="T86" fmla="*/ 25209 w 599"/>
                <a:gd name="T87" fmla="*/ 401144 h 993"/>
                <a:gd name="T88" fmla="*/ 17820 w 599"/>
                <a:gd name="T89" fmla="*/ 377547 h 993"/>
                <a:gd name="T90" fmla="*/ 46941 w 599"/>
                <a:gd name="T91" fmla="*/ 349231 h 993"/>
                <a:gd name="T92" fmla="*/ 47376 w 599"/>
                <a:gd name="T93" fmla="*/ 321964 h 993"/>
                <a:gd name="T94" fmla="*/ 64762 w 599"/>
                <a:gd name="T95" fmla="*/ 299416 h 993"/>
                <a:gd name="T96" fmla="*/ 75628 w 599"/>
                <a:gd name="T97" fmla="*/ 275819 h 993"/>
                <a:gd name="T98" fmla="*/ 73020 w 599"/>
                <a:gd name="T99" fmla="*/ 231247 h 993"/>
                <a:gd name="T100" fmla="*/ 66065 w 599"/>
                <a:gd name="T101" fmla="*/ 190871 h 993"/>
                <a:gd name="T102" fmla="*/ 35206 w 599"/>
                <a:gd name="T103" fmla="*/ 178810 h 99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1" name="Freeform 252">
              <a:extLst>
                <a:ext uri="{FF2B5EF4-FFF2-40B4-BE49-F238E27FC236}">
                  <a16:creationId xmlns:a16="http://schemas.microsoft.com/office/drawing/2014/main" id="{E2E0078B-5222-4D28-B469-57ED393E6962}"/>
                </a:ext>
              </a:extLst>
            </p:cNvPr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6018214" y="4235450"/>
              <a:ext cx="238125" cy="287338"/>
            </a:xfrm>
            <a:custGeom>
              <a:avLst/>
              <a:gdLst>
                <a:gd name="T0" fmla="*/ 13108 w 545"/>
                <a:gd name="T1" fmla="*/ 224008 h 549"/>
                <a:gd name="T2" fmla="*/ 20099 w 545"/>
                <a:gd name="T3" fmla="*/ 237616 h 549"/>
                <a:gd name="T4" fmla="*/ 20099 w 545"/>
                <a:gd name="T5" fmla="*/ 267973 h 549"/>
                <a:gd name="T6" fmla="*/ 20972 w 545"/>
                <a:gd name="T7" fmla="*/ 275824 h 549"/>
                <a:gd name="T8" fmla="*/ 24031 w 545"/>
                <a:gd name="T9" fmla="*/ 281057 h 549"/>
                <a:gd name="T10" fmla="*/ 29711 w 545"/>
                <a:gd name="T11" fmla="*/ 285244 h 549"/>
                <a:gd name="T12" fmla="*/ 43693 w 545"/>
                <a:gd name="T13" fmla="*/ 287338 h 549"/>
                <a:gd name="T14" fmla="*/ 49373 w 545"/>
                <a:gd name="T15" fmla="*/ 285768 h 549"/>
                <a:gd name="T16" fmla="*/ 56800 w 545"/>
                <a:gd name="T17" fmla="*/ 278964 h 549"/>
                <a:gd name="T18" fmla="*/ 62481 w 545"/>
                <a:gd name="T19" fmla="*/ 265356 h 549"/>
                <a:gd name="T20" fmla="*/ 67287 w 545"/>
                <a:gd name="T21" fmla="*/ 249654 h 549"/>
                <a:gd name="T22" fmla="*/ 73841 w 545"/>
                <a:gd name="T23" fmla="*/ 237616 h 549"/>
                <a:gd name="T24" fmla="*/ 79958 w 545"/>
                <a:gd name="T25" fmla="*/ 232906 h 549"/>
                <a:gd name="T26" fmla="*/ 87822 w 545"/>
                <a:gd name="T27" fmla="*/ 232383 h 549"/>
                <a:gd name="T28" fmla="*/ 96998 w 545"/>
                <a:gd name="T29" fmla="*/ 234476 h 549"/>
                <a:gd name="T30" fmla="*/ 110106 w 545"/>
                <a:gd name="T31" fmla="*/ 241280 h 549"/>
                <a:gd name="T32" fmla="*/ 118844 w 545"/>
                <a:gd name="T33" fmla="*/ 244944 h 549"/>
                <a:gd name="T34" fmla="*/ 129767 w 545"/>
                <a:gd name="T35" fmla="*/ 245467 h 549"/>
                <a:gd name="T36" fmla="*/ 139380 w 545"/>
                <a:gd name="T37" fmla="*/ 242850 h 549"/>
                <a:gd name="T38" fmla="*/ 145060 w 545"/>
                <a:gd name="T39" fmla="*/ 237093 h 549"/>
                <a:gd name="T40" fmla="*/ 156857 w 545"/>
                <a:gd name="T41" fmla="*/ 203073 h 549"/>
                <a:gd name="T42" fmla="*/ 166906 w 545"/>
                <a:gd name="T43" fmla="*/ 189989 h 549"/>
                <a:gd name="T44" fmla="*/ 195306 w 545"/>
                <a:gd name="T45" fmla="*/ 164343 h 549"/>
                <a:gd name="T46" fmla="*/ 230260 w 545"/>
                <a:gd name="T47" fmla="*/ 138173 h 549"/>
                <a:gd name="T48" fmla="*/ 230697 w 545"/>
                <a:gd name="T49" fmla="*/ 121425 h 549"/>
                <a:gd name="T50" fmla="*/ 219774 w 545"/>
                <a:gd name="T51" fmla="*/ 114098 h 549"/>
                <a:gd name="T52" fmla="*/ 211909 w 545"/>
                <a:gd name="T53" fmla="*/ 104153 h 549"/>
                <a:gd name="T54" fmla="*/ 200986 w 545"/>
                <a:gd name="T55" fmla="*/ 82171 h 549"/>
                <a:gd name="T56" fmla="*/ 192248 w 545"/>
                <a:gd name="T57" fmla="*/ 69087 h 549"/>
                <a:gd name="T58" fmla="*/ 164721 w 545"/>
                <a:gd name="T59" fmla="*/ 39777 h 549"/>
                <a:gd name="T60" fmla="*/ 156857 w 545"/>
                <a:gd name="T61" fmla="*/ 27739 h 549"/>
                <a:gd name="T62" fmla="*/ 152050 w 545"/>
                <a:gd name="T63" fmla="*/ 12561 h 549"/>
                <a:gd name="T64" fmla="*/ 139380 w 545"/>
                <a:gd name="T65" fmla="*/ 0 h 549"/>
                <a:gd name="T66" fmla="*/ 106610 w 545"/>
                <a:gd name="T67" fmla="*/ 1047 h 549"/>
                <a:gd name="T68" fmla="*/ 76899 w 545"/>
                <a:gd name="T69" fmla="*/ 6804 h 549"/>
                <a:gd name="T70" fmla="*/ 41508 w 545"/>
                <a:gd name="T71" fmla="*/ 11514 h 549"/>
                <a:gd name="T72" fmla="*/ 31022 w 545"/>
                <a:gd name="T73" fmla="*/ 14131 h 549"/>
                <a:gd name="T74" fmla="*/ 29274 w 545"/>
                <a:gd name="T75" fmla="*/ 19889 h 549"/>
                <a:gd name="T76" fmla="*/ 31896 w 545"/>
                <a:gd name="T77" fmla="*/ 29310 h 549"/>
                <a:gd name="T78" fmla="*/ 36702 w 545"/>
                <a:gd name="T79" fmla="*/ 38730 h 549"/>
                <a:gd name="T80" fmla="*/ 37576 w 545"/>
                <a:gd name="T81" fmla="*/ 56002 h 549"/>
                <a:gd name="T82" fmla="*/ 32333 w 545"/>
                <a:gd name="T83" fmla="*/ 89499 h 549"/>
                <a:gd name="T84" fmla="*/ 27089 w 545"/>
                <a:gd name="T85" fmla="*/ 124042 h 549"/>
                <a:gd name="T86" fmla="*/ 20536 w 545"/>
                <a:gd name="T87" fmla="*/ 137650 h 549"/>
                <a:gd name="T88" fmla="*/ 11360 w 545"/>
                <a:gd name="T89" fmla="*/ 144977 h 549"/>
                <a:gd name="T90" fmla="*/ 2185 w 545"/>
                <a:gd name="T91" fmla="*/ 160679 h 549"/>
                <a:gd name="T92" fmla="*/ 437 w 545"/>
                <a:gd name="T93" fmla="*/ 177427 h 549"/>
                <a:gd name="T94" fmla="*/ 3495 w 545"/>
                <a:gd name="T95" fmla="*/ 192082 h 549"/>
                <a:gd name="T96" fmla="*/ 3495 w 545"/>
                <a:gd name="T97" fmla="*/ 204643 h 549"/>
                <a:gd name="T98" fmla="*/ 0 w 545"/>
                <a:gd name="T99" fmla="*/ 213541 h 549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2" name="Freeform 253">
              <a:extLst>
                <a:ext uri="{FF2B5EF4-FFF2-40B4-BE49-F238E27FC236}">
                  <a16:creationId xmlns:a16="http://schemas.microsoft.com/office/drawing/2014/main" id="{49153F6F-D381-4F6A-99A5-D73534C1AEFF}"/>
                </a:ext>
              </a:extLst>
            </p:cNvPr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6591300" y="4037014"/>
              <a:ext cx="196850" cy="434975"/>
            </a:xfrm>
            <a:custGeom>
              <a:avLst/>
              <a:gdLst>
                <a:gd name="T0" fmla="*/ 48777 w 452"/>
                <a:gd name="T1" fmla="*/ 136452 h 832"/>
                <a:gd name="T2" fmla="*/ 60100 w 452"/>
                <a:gd name="T3" fmla="*/ 129656 h 832"/>
                <a:gd name="T4" fmla="*/ 71859 w 452"/>
                <a:gd name="T5" fmla="*/ 125474 h 832"/>
                <a:gd name="T6" fmla="*/ 83618 w 452"/>
                <a:gd name="T7" fmla="*/ 121291 h 832"/>
                <a:gd name="T8" fmla="*/ 93634 w 452"/>
                <a:gd name="T9" fmla="*/ 113449 h 832"/>
                <a:gd name="T10" fmla="*/ 101038 w 452"/>
                <a:gd name="T11" fmla="*/ 104561 h 832"/>
                <a:gd name="T12" fmla="*/ 101038 w 452"/>
                <a:gd name="T13" fmla="*/ 93582 h 832"/>
                <a:gd name="T14" fmla="*/ 115410 w 452"/>
                <a:gd name="T15" fmla="*/ 93060 h 832"/>
                <a:gd name="T16" fmla="*/ 122813 w 452"/>
                <a:gd name="T17" fmla="*/ 90446 h 832"/>
                <a:gd name="T18" fmla="*/ 129782 w 452"/>
                <a:gd name="T19" fmla="*/ 84695 h 832"/>
                <a:gd name="T20" fmla="*/ 139363 w 452"/>
                <a:gd name="T21" fmla="*/ 69533 h 832"/>
                <a:gd name="T22" fmla="*/ 152428 w 452"/>
                <a:gd name="T23" fmla="*/ 39210 h 832"/>
                <a:gd name="T24" fmla="*/ 164622 w 452"/>
                <a:gd name="T25" fmla="*/ 0 h 832"/>
                <a:gd name="T26" fmla="*/ 167671 w 452"/>
                <a:gd name="T27" fmla="*/ 9933 h 832"/>
                <a:gd name="T28" fmla="*/ 177252 w 452"/>
                <a:gd name="T29" fmla="*/ 24572 h 832"/>
                <a:gd name="T30" fmla="*/ 195108 w 452"/>
                <a:gd name="T31" fmla="*/ 44439 h 832"/>
                <a:gd name="T32" fmla="*/ 191624 w 452"/>
                <a:gd name="T33" fmla="*/ 53849 h 832"/>
                <a:gd name="T34" fmla="*/ 193366 w 452"/>
                <a:gd name="T35" fmla="*/ 72147 h 832"/>
                <a:gd name="T36" fmla="*/ 196850 w 452"/>
                <a:gd name="T37" fmla="*/ 96719 h 832"/>
                <a:gd name="T38" fmla="*/ 195108 w 452"/>
                <a:gd name="T39" fmla="*/ 107698 h 832"/>
                <a:gd name="T40" fmla="*/ 186398 w 452"/>
                <a:gd name="T41" fmla="*/ 122337 h 832"/>
                <a:gd name="T42" fmla="*/ 178123 w 452"/>
                <a:gd name="T43" fmla="*/ 136452 h 832"/>
                <a:gd name="T44" fmla="*/ 176381 w 452"/>
                <a:gd name="T45" fmla="*/ 147954 h 832"/>
                <a:gd name="T46" fmla="*/ 171155 w 452"/>
                <a:gd name="T47" fmla="*/ 161024 h 832"/>
                <a:gd name="T48" fmla="*/ 166800 w 452"/>
                <a:gd name="T49" fmla="*/ 166252 h 832"/>
                <a:gd name="T50" fmla="*/ 164187 w 452"/>
                <a:gd name="T51" fmla="*/ 173572 h 832"/>
                <a:gd name="T52" fmla="*/ 160267 w 452"/>
                <a:gd name="T53" fmla="*/ 190302 h 832"/>
                <a:gd name="T54" fmla="*/ 147202 w 452"/>
                <a:gd name="T55" fmla="*/ 223238 h 832"/>
                <a:gd name="T56" fmla="*/ 139798 w 452"/>
                <a:gd name="T57" fmla="*/ 245719 h 832"/>
                <a:gd name="T58" fmla="*/ 138492 w 452"/>
                <a:gd name="T59" fmla="*/ 261403 h 832"/>
                <a:gd name="T60" fmla="*/ 135008 w 452"/>
                <a:gd name="T61" fmla="*/ 277610 h 832"/>
                <a:gd name="T62" fmla="*/ 122378 w 452"/>
                <a:gd name="T63" fmla="*/ 314730 h 832"/>
                <a:gd name="T64" fmla="*/ 113232 w 452"/>
                <a:gd name="T65" fmla="*/ 333028 h 832"/>
                <a:gd name="T66" fmla="*/ 105393 w 452"/>
                <a:gd name="T67" fmla="*/ 342438 h 832"/>
                <a:gd name="T68" fmla="*/ 101038 w 452"/>
                <a:gd name="T69" fmla="*/ 345052 h 832"/>
                <a:gd name="T70" fmla="*/ 99296 w 452"/>
                <a:gd name="T71" fmla="*/ 373284 h 832"/>
                <a:gd name="T72" fmla="*/ 93634 w 452"/>
                <a:gd name="T73" fmla="*/ 396810 h 832"/>
                <a:gd name="T74" fmla="*/ 83182 w 452"/>
                <a:gd name="T75" fmla="*/ 415631 h 832"/>
                <a:gd name="T76" fmla="*/ 68375 w 452"/>
                <a:gd name="T77" fmla="*/ 428179 h 832"/>
                <a:gd name="T78" fmla="*/ 47906 w 452"/>
                <a:gd name="T79" fmla="*/ 434452 h 832"/>
                <a:gd name="T80" fmla="*/ 34841 w 452"/>
                <a:gd name="T81" fmla="*/ 432361 h 832"/>
                <a:gd name="T82" fmla="*/ 31792 w 452"/>
                <a:gd name="T83" fmla="*/ 427133 h 832"/>
                <a:gd name="T84" fmla="*/ 21775 w 452"/>
                <a:gd name="T85" fmla="*/ 423473 h 832"/>
                <a:gd name="T86" fmla="*/ 11323 w 452"/>
                <a:gd name="T87" fmla="*/ 417200 h 832"/>
                <a:gd name="T88" fmla="*/ 5226 w 452"/>
                <a:gd name="T89" fmla="*/ 406221 h 832"/>
                <a:gd name="T90" fmla="*/ 1307 w 452"/>
                <a:gd name="T91" fmla="*/ 393150 h 832"/>
                <a:gd name="T92" fmla="*/ 0 w 452"/>
                <a:gd name="T93" fmla="*/ 370147 h 832"/>
                <a:gd name="T94" fmla="*/ 1742 w 452"/>
                <a:gd name="T95" fmla="*/ 362828 h 832"/>
                <a:gd name="T96" fmla="*/ 8275 w 452"/>
                <a:gd name="T97" fmla="*/ 354463 h 832"/>
                <a:gd name="T98" fmla="*/ 4791 w 452"/>
                <a:gd name="T99" fmla="*/ 351326 h 832"/>
                <a:gd name="T100" fmla="*/ 0 w 452"/>
                <a:gd name="T101" fmla="*/ 340870 h 832"/>
                <a:gd name="T102" fmla="*/ 2178 w 452"/>
                <a:gd name="T103" fmla="*/ 328322 h 832"/>
                <a:gd name="T104" fmla="*/ 3484 w 452"/>
                <a:gd name="T105" fmla="*/ 318912 h 832"/>
                <a:gd name="T106" fmla="*/ 2178 w 452"/>
                <a:gd name="T107" fmla="*/ 308979 h 832"/>
                <a:gd name="T108" fmla="*/ 7839 w 452"/>
                <a:gd name="T109" fmla="*/ 306887 h 832"/>
                <a:gd name="T110" fmla="*/ 18727 w 452"/>
                <a:gd name="T111" fmla="*/ 296954 h 832"/>
                <a:gd name="T112" fmla="*/ 27437 w 452"/>
                <a:gd name="T113" fmla="*/ 281270 h 832"/>
                <a:gd name="T114" fmla="*/ 33099 w 452"/>
                <a:gd name="T115" fmla="*/ 264540 h 832"/>
                <a:gd name="T116" fmla="*/ 37454 w 452"/>
                <a:gd name="T117" fmla="*/ 241537 h 832"/>
                <a:gd name="T118" fmla="*/ 36147 w 452"/>
                <a:gd name="T119" fmla="*/ 228989 h 832"/>
                <a:gd name="T120" fmla="*/ 30486 w 452"/>
                <a:gd name="T121" fmla="*/ 213305 h 832"/>
                <a:gd name="T122" fmla="*/ 24388 w 452"/>
                <a:gd name="T123" fmla="*/ 199712 h 832"/>
                <a:gd name="T124" fmla="*/ 23082 w 452"/>
                <a:gd name="T125" fmla="*/ 189779 h 83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3" name="Freeform 254">
              <a:extLst>
                <a:ext uri="{FF2B5EF4-FFF2-40B4-BE49-F238E27FC236}">
                  <a16:creationId xmlns:a16="http://schemas.microsoft.com/office/drawing/2014/main" id="{D9F168BA-064A-47E6-B278-3020FBDAC36B}"/>
                </a:ext>
              </a:extLst>
            </p:cNvPr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6267451" y="3735389"/>
              <a:ext cx="36513" cy="66675"/>
            </a:xfrm>
            <a:custGeom>
              <a:avLst/>
              <a:gdLst>
                <a:gd name="T0" fmla="*/ 36513 w 80"/>
                <a:gd name="T1" fmla="*/ 1058 h 126"/>
                <a:gd name="T2" fmla="*/ 36513 w 80"/>
                <a:gd name="T3" fmla="*/ 53446 h 126"/>
                <a:gd name="T4" fmla="*/ 35600 w 80"/>
                <a:gd name="T5" fmla="*/ 55033 h 126"/>
                <a:gd name="T6" fmla="*/ 34231 w 80"/>
                <a:gd name="T7" fmla="*/ 56621 h 126"/>
                <a:gd name="T8" fmla="*/ 31949 w 80"/>
                <a:gd name="T9" fmla="*/ 57679 h 126"/>
                <a:gd name="T10" fmla="*/ 30580 w 80"/>
                <a:gd name="T11" fmla="*/ 58737 h 126"/>
                <a:gd name="T12" fmla="*/ 26472 w 80"/>
                <a:gd name="T13" fmla="*/ 60325 h 126"/>
                <a:gd name="T14" fmla="*/ 21908 w 80"/>
                <a:gd name="T15" fmla="*/ 61383 h 126"/>
                <a:gd name="T16" fmla="*/ 16431 w 80"/>
                <a:gd name="T17" fmla="*/ 61912 h 126"/>
                <a:gd name="T18" fmla="*/ 11410 w 80"/>
                <a:gd name="T19" fmla="*/ 62971 h 126"/>
                <a:gd name="T20" fmla="*/ 5933 w 80"/>
                <a:gd name="T21" fmla="*/ 65087 h 126"/>
                <a:gd name="T22" fmla="*/ 0 w 80"/>
                <a:gd name="T23" fmla="*/ 66675 h 126"/>
                <a:gd name="T24" fmla="*/ 3195 w 80"/>
                <a:gd name="T25" fmla="*/ 21167 h 126"/>
                <a:gd name="T26" fmla="*/ 10497 w 80"/>
                <a:gd name="T27" fmla="*/ 14287 h 126"/>
                <a:gd name="T28" fmla="*/ 18713 w 80"/>
                <a:gd name="T29" fmla="*/ 6350 h 126"/>
                <a:gd name="T30" fmla="*/ 23277 w 80"/>
                <a:gd name="T31" fmla="*/ 2646 h 126"/>
                <a:gd name="T32" fmla="*/ 27385 w 80"/>
                <a:gd name="T33" fmla="*/ 529 h 126"/>
                <a:gd name="T34" fmla="*/ 29667 w 80"/>
                <a:gd name="T35" fmla="*/ 0 h 126"/>
                <a:gd name="T36" fmla="*/ 31949 w 80"/>
                <a:gd name="T37" fmla="*/ 0 h 126"/>
                <a:gd name="T38" fmla="*/ 34231 w 80"/>
                <a:gd name="T39" fmla="*/ 529 h 126"/>
                <a:gd name="T40" fmla="*/ 36513 w 80"/>
                <a:gd name="T41" fmla="*/ 1058 h 12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4" name="Freeform 255">
              <a:extLst>
                <a:ext uri="{FF2B5EF4-FFF2-40B4-BE49-F238E27FC236}">
                  <a16:creationId xmlns:a16="http://schemas.microsoft.com/office/drawing/2014/main" id="{6D787512-21F1-4C97-B27E-B496AC108A8E}"/>
                </a:ext>
              </a:extLst>
            </p:cNvPr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6256338" y="3695701"/>
              <a:ext cx="55562" cy="60325"/>
            </a:xfrm>
            <a:custGeom>
              <a:avLst/>
              <a:gdLst>
                <a:gd name="T0" fmla="*/ 50633 w 124"/>
                <a:gd name="T1" fmla="*/ 0 h 117"/>
                <a:gd name="T2" fmla="*/ 51977 w 124"/>
                <a:gd name="T3" fmla="*/ 7734 h 117"/>
                <a:gd name="T4" fmla="*/ 54666 w 124"/>
                <a:gd name="T5" fmla="*/ 18046 h 117"/>
                <a:gd name="T6" fmla="*/ 55562 w 124"/>
                <a:gd name="T7" fmla="*/ 23202 h 117"/>
                <a:gd name="T8" fmla="*/ 55562 w 124"/>
                <a:gd name="T9" fmla="*/ 27842 h 117"/>
                <a:gd name="T10" fmla="*/ 55562 w 124"/>
                <a:gd name="T11" fmla="*/ 30420 h 117"/>
                <a:gd name="T12" fmla="*/ 55114 w 124"/>
                <a:gd name="T13" fmla="*/ 32998 h 117"/>
                <a:gd name="T14" fmla="*/ 54666 w 124"/>
                <a:gd name="T15" fmla="*/ 35576 h 117"/>
                <a:gd name="T16" fmla="*/ 53322 w 124"/>
                <a:gd name="T17" fmla="*/ 37639 h 117"/>
                <a:gd name="T18" fmla="*/ 51081 w 124"/>
                <a:gd name="T19" fmla="*/ 37123 h 117"/>
                <a:gd name="T20" fmla="*/ 48393 w 124"/>
                <a:gd name="T21" fmla="*/ 36607 h 117"/>
                <a:gd name="T22" fmla="*/ 46152 w 124"/>
                <a:gd name="T23" fmla="*/ 37123 h 117"/>
                <a:gd name="T24" fmla="*/ 43016 w 124"/>
                <a:gd name="T25" fmla="*/ 37639 h 117"/>
                <a:gd name="T26" fmla="*/ 37191 w 124"/>
                <a:gd name="T27" fmla="*/ 40217 h 117"/>
                <a:gd name="T28" fmla="*/ 31814 w 124"/>
                <a:gd name="T29" fmla="*/ 43826 h 117"/>
                <a:gd name="T30" fmla="*/ 20612 w 124"/>
                <a:gd name="T31" fmla="*/ 53107 h 117"/>
                <a:gd name="T32" fmla="*/ 11650 w 124"/>
                <a:gd name="T33" fmla="*/ 60325 h 117"/>
                <a:gd name="T34" fmla="*/ 10306 w 124"/>
                <a:gd name="T35" fmla="*/ 57747 h 117"/>
                <a:gd name="T36" fmla="*/ 5825 w 124"/>
                <a:gd name="T37" fmla="*/ 52075 h 117"/>
                <a:gd name="T38" fmla="*/ 1792 w 124"/>
                <a:gd name="T39" fmla="*/ 45888 h 117"/>
                <a:gd name="T40" fmla="*/ 0 w 124"/>
                <a:gd name="T41" fmla="*/ 40732 h 117"/>
                <a:gd name="T42" fmla="*/ 448 w 124"/>
                <a:gd name="T43" fmla="*/ 39185 h 117"/>
                <a:gd name="T44" fmla="*/ 896 w 124"/>
                <a:gd name="T45" fmla="*/ 37123 h 117"/>
                <a:gd name="T46" fmla="*/ 2240 w 124"/>
                <a:gd name="T47" fmla="*/ 34545 h 117"/>
                <a:gd name="T48" fmla="*/ 4033 w 124"/>
                <a:gd name="T49" fmla="*/ 31967 h 117"/>
                <a:gd name="T50" fmla="*/ 7617 w 124"/>
                <a:gd name="T51" fmla="*/ 26811 h 117"/>
                <a:gd name="T52" fmla="*/ 12098 w 124"/>
                <a:gd name="T53" fmla="*/ 21655 h 117"/>
                <a:gd name="T54" fmla="*/ 21508 w 124"/>
                <a:gd name="T55" fmla="*/ 11343 h 117"/>
                <a:gd name="T56" fmla="*/ 26885 w 124"/>
                <a:gd name="T57" fmla="*/ 6187 h 117"/>
                <a:gd name="T58" fmla="*/ 32710 w 124"/>
                <a:gd name="T59" fmla="*/ 6187 h 117"/>
                <a:gd name="T60" fmla="*/ 38535 w 124"/>
                <a:gd name="T61" fmla="*/ 6187 h 117"/>
                <a:gd name="T62" fmla="*/ 44808 w 124"/>
                <a:gd name="T63" fmla="*/ 3094 h 117"/>
                <a:gd name="T64" fmla="*/ 50633 w 124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5" name="Freeform 256">
              <a:extLst>
                <a:ext uri="{FF2B5EF4-FFF2-40B4-BE49-F238E27FC236}">
                  <a16:creationId xmlns:a16="http://schemas.microsoft.com/office/drawing/2014/main" id="{61EA9251-0FA8-44AB-B80F-FABD6F976765}"/>
                </a:ext>
              </a:extLst>
            </p:cNvPr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6565900" y="2395539"/>
              <a:ext cx="503238" cy="473075"/>
            </a:xfrm>
            <a:custGeom>
              <a:avLst/>
              <a:gdLst>
                <a:gd name="T0" fmla="*/ 403983 w 1156"/>
                <a:gd name="T1" fmla="*/ 100397 h 900"/>
                <a:gd name="T2" fmla="*/ 373946 w 1156"/>
                <a:gd name="T3" fmla="*/ 85154 h 900"/>
                <a:gd name="T4" fmla="*/ 336508 w 1156"/>
                <a:gd name="T5" fmla="*/ 58346 h 900"/>
                <a:gd name="T6" fmla="*/ 268597 w 1156"/>
                <a:gd name="T7" fmla="*/ 54666 h 900"/>
                <a:gd name="T8" fmla="*/ 239865 w 1156"/>
                <a:gd name="T9" fmla="*/ 80948 h 900"/>
                <a:gd name="T10" fmla="*/ 219405 w 1156"/>
                <a:gd name="T11" fmla="*/ 94089 h 900"/>
                <a:gd name="T12" fmla="*/ 185449 w 1156"/>
                <a:gd name="T13" fmla="*/ 103551 h 900"/>
                <a:gd name="T14" fmla="*/ 166730 w 1156"/>
                <a:gd name="T15" fmla="*/ 104602 h 900"/>
                <a:gd name="T16" fmla="*/ 154541 w 1156"/>
                <a:gd name="T17" fmla="*/ 90936 h 900"/>
                <a:gd name="T18" fmla="*/ 113185 w 1156"/>
                <a:gd name="T19" fmla="*/ 71487 h 900"/>
                <a:gd name="T20" fmla="*/ 99255 w 1156"/>
                <a:gd name="T21" fmla="*/ 45205 h 900"/>
                <a:gd name="T22" fmla="*/ 95772 w 1156"/>
                <a:gd name="T23" fmla="*/ 12090 h 900"/>
                <a:gd name="T24" fmla="*/ 81841 w 1156"/>
                <a:gd name="T25" fmla="*/ 526 h 900"/>
                <a:gd name="T26" fmla="*/ 67476 w 1156"/>
                <a:gd name="T27" fmla="*/ 11038 h 900"/>
                <a:gd name="T28" fmla="*/ 59204 w 1156"/>
                <a:gd name="T29" fmla="*/ 35218 h 900"/>
                <a:gd name="T30" fmla="*/ 34391 w 1156"/>
                <a:gd name="T31" fmla="*/ 28385 h 900"/>
                <a:gd name="T32" fmla="*/ 1741 w 1156"/>
                <a:gd name="T33" fmla="*/ 8410 h 900"/>
                <a:gd name="T34" fmla="*/ 2177 w 1156"/>
                <a:gd name="T35" fmla="*/ 37846 h 900"/>
                <a:gd name="T36" fmla="*/ 19590 w 1156"/>
                <a:gd name="T37" fmla="*/ 76743 h 900"/>
                <a:gd name="T38" fmla="*/ 31779 w 1156"/>
                <a:gd name="T39" fmla="*/ 107756 h 900"/>
                <a:gd name="T40" fmla="*/ 58769 w 1156"/>
                <a:gd name="T41" fmla="*/ 149281 h 900"/>
                <a:gd name="T42" fmla="*/ 53110 w 1156"/>
                <a:gd name="T43" fmla="*/ 166102 h 900"/>
                <a:gd name="T44" fmla="*/ 57898 w 1156"/>
                <a:gd name="T45" fmla="*/ 194486 h 900"/>
                <a:gd name="T46" fmla="*/ 81841 w 1156"/>
                <a:gd name="T47" fmla="*/ 224973 h 900"/>
                <a:gd name="T48" fmla="*/ 112750 w 1156"/>
                <a:gd name="T49" fmla="*/ 239691 h 900"/>
                <a:gd name="T50" fmla="*/ 112750 w 1156"/>
                <a:gd name="T51" fmla="*/ 275435 h 900"/>
                <a:gd name="T52" fmla="*/ 145835 w 1156"/>
                <a:gd name="T53" fmla="*/ 305396 h 900"/>
                <a:gd name="T54" fmla="*/ 184143 w 1156"/>
                <a:gd name="T55" fmla="*/ 349024 h 900"/>
                <a:gd name="T56" fmla="*/ 205039 w 1156"/>
                <a:gd name="T57" fmla="*/ 378460 h 900"/>
                <a:gd name="T58" fmla="*/ 219405 w 1156"/>
                <a:gd name="T59" fmla="*/ 385293 h 900"/>
                <a:gd name="T60" fmla="*/ 235947 w 1156"/>
                <a:gd name="T61" fmla="*/ 396857 h 900"/>
                <a:gd name="T62" fmla="*/ 260326 w 1156"/>
                <a:gd name="T63" fmla="*/ 413678 h 900"/>
                <a:gd name="T64" fmla="*/ 298199 w 1156"/>
                <a:gd name="T65" fmla="*/ 417883 h 900"/>
                <a:gd name="T66" fmla="*/ 318659 w 1156"/>
                <a:gd name="T67" fmla="*/ 409998 h 900"/>
                <a:gd name="T68" fmla="*/ 339120 w 1156"/>
                <a:gd name="T69" fmla="*/ 401588 h 900"/>
                <a:gd name="T70" fmla="*/ 348697 w 1156"/>
                <a:gd name="T71" fmla="*/ 418409 h 900"/>
                <a:gd name="T72" fmla="*/ 353921 w 1156"/>
                <a:gd name="T73" fmla="*/ 450473 h 900"/>
                <a:gd name="T74" fmla="*/ 380476 w 1156"/>
                <a:gd name="T75" fmla="*/ 459408 h 900"/>
                <a:gd name="T76" fmla="*/ 440116 w 1156"/>
                <a:gd name="T77" fmla="*/ 468870 h 900"/>
                <a:gd name="T78" fmla="*/ 474942 w 1156"/>
                <a:gd name="T79" fmla="*/ 462037 h 900"/>
                <a:gd name="T80" fmla="*/ 478424 w 1156"/>
                <a:gd name="T81" fmla="*/ 436806 h 900"/>
                <a:gd name="T82" fmla="*/ 503238 w 1156"/>
                <a:gd name="T83" fmla="*/ 404742 h 900"/>
                <a:gd name="T84" fmla="*/ 492790 w 1156"/>
                <a:gd name="T85" fmla="*/ 394229 h 900"/>
                <a:gd name="T86" fmla="*/ 477118 w 1156"/>
                <a:gd name="T87" fmla="*/ 372152 h 900"/>
                <a:gd name="T88" fmla="*/ 448822 w 1156"/>
                <a:gd name="T89" fmla="*/ 337986 h 900"/>
                <a:gd name="T90" fmla="*/ 443163 w 1156"/>
                <a:gd name="T91" fmla="*/ 316960 h 900"/>
                <a:gd name="T92" fmla="*/ 454481 w 1156"/>
                <a:gd name="T93" fmla="*/ 293832 h 900"/>
                <a:gd name="T94" fmla="*/ 456223 w 1156"/>
                <a:gd name="T95" fmla="*/ 276486 h 900"/>
                <a:gd name="T96" fmla="*/ 448387 w 1156"/>
                <a:gd name="T97" fmla="*/ 269127 h 900"/>
                <a:gd name="T98" fmla="*/ 427926 w 1156"/>
                <a:gd name="T99" fmla="*/ 266499 h 900"/>
                <a:gd name="T100" fmla="*/ 415302 w 1156"/>
                <a:gd name="T101" fmla="*/ 238114 h 900"/>
                <a:gd name="T102" fmla="*/ 407901 w 1156"/>
                <a:gd name="T103" fmla="*/ 196063 h 900"/>
                <a:gd name="T104" fmla="*/ 402242 w 1156"/>
                <a:gd name="T105" fmla="*/ 187653 h 900"/>
                <a:gd name="T106" fmla="*/ 409207 w 1156"/>
                <a:gd name="T107" fmla="*/ 175563 h 900"/>
                <a:gd name="T108" fmla="*/ 417914 w 1156"/>
                <a:gd name="T109" fmla="*/ 154012 h 9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6" name="Freeform 257">
              <a:extLst>
                <a:ext uri="{FF2B5EF4-FFF2-40B4-BE49-F238E27FC236}">
                  <a16:creationId xmlns:a16="http://schemas.microsoft.com/office/drawing/2014/main" id="{1765F580-500C-4CE3-90A1-533BF7BB1240}"/>
                </a:ext>
              </a:extLst>
            </p:cNvPr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6589713" y="3052763"/>
              <a:ext cx="247650" cy="228600"/>
            </a:xfrm>
            <a:custGeom>
              <a:avLst/>
              <a:gdLst>
                <a:gd name="T0" fmla="*/ 11277 w 571"/>
                <a:gd name="T1" fmla="*/ 98045 h 443"/>
                <a:gd name="T2" fmla="*/ 16047 w 571"/>
                <a:gd name="T3" fmla="*/ 91337 h 443"/>
                <a:gd name="T4" fmla="*/ 17782 w 571"/>
                <a:gd name="T5" fmla="*/ 84628 h 443"/>
                <a:gd name="T6" fmla="*/ 16915 w 571"/>
                <a:gd name="T7" fmla="*/ 66567 h 443"/>
                <a:gd name="T8" fmla="*/ 19083 w 571"/>
                <a:gd name="T9" fmla="*/ 61923 h 443"/>
                <a:gd name="T10" fmla="*/ 23854 w 571"/>
                <a:gd name="T11" fmla="*/ 57795 h 443"/>
                <a:gd name="T12" fmla="*/ 29492 w 571"/>
                <a:gd name="T13" fmla="*/ 55215 h 443"/>
                <a:gd name="T14" fmla="*/ 34697 w 571"/>
                <a:gd name="T15" fmla="*/ 53667 h 443"/>
                <a:gd name="T16" fmla="*/ 44672 w 571"/>
                <a:gd name="T17" fmla="*/ 54699 h 443"/>
                <a:gd name="T18" fmla="*/ 53780 w 571"/>
                <a:gd name="T19" fmla="*/ 56247 h 443"/>
                <a:gd name="T20" fmla="*/ 68527 w 571"/>
                <a:gd name="T21" fmla="*/ 61923 h 443"/>
                <a:gd name="T22" fmla="*/ 79803 w 571"/>
                <a:gd name="T23" fmla="*/ 69664 h 443"/>
                <a:gd name="T24" fmla="*/ 89345 w 571"/>
                <a:gd name="T25" fmla="*/ 79468 h 443"/>
                <a:gd name="T26" fmla="*/ 110163 w 571"/>
                <a:gd name="T27" fmla="*/ 47474 h 443"/>
                <a:gd name="T28" fmla="*/ 123608 w 571"/>
                <a:gd name="T29" fmla="*/ 25285 h 443"/>
                <a:gd name="T30" fmla="*/ 233337 w 571"/>
                <a:gd name="T31" fmla="*/ 22189 h 443"/>
                <a:gd name="T32" fmla="*/ 241578 w 571"/>
                <a:gd name="T33" fmla="*/ 40250 h 443"/>
                <a:gd name="T34" fmla="*/ 243747 w 571"/>
                <a:gd name="T35" fmla="*/ 50571 h 443"/>
                <a:gd name="T36" fmla="*/ 244614 w 571"/>
                <a:gd name="T37" fmla="*/ 63471 h 443"/>
                <a:gd name="T38" fmla="*/ 246349 w 571"/>
                <a:gd name="T39" fmla="*/ 77920 h 443"/>
                <a:gd name="T40" fmla="*/ 247650 w 571"/>
                <a:gd name="T41" fmla="*/ 91853 h 443"/>
                <a:gd name="T42" fmla="*/ 244614 w 571"/>
                <a:gd name="T43" fmla="*/ 92885 h 443"/>
                <a:gd name="T44" fmla="*/ 243747 w 571"/>
                <a:gd name="T45" fmla="*/ 92369 h 443"/>
                <a:gd name="T46" fmla="*/ 242012 w 571"/>
                <a:gd name="T47" fmla="*/ 94949 h 443"/>
                <a:gd name="T48" fmla="*/ 237675 w 571"/>
                <a:gd name="T49" fmla="*/ 106818 h 443"/>
                <a:gd name="T50" fmla="*/ 231603 w 571"/>
                <a:gd name="T51" fmla="*/ 116106 h 443"/>
                <a:gd name="T52" fmla="*/ 223362 w 571"/>
                <a:gd name="T53" fmla="*/ 123330 h 443"/>
                <a:gd name="T54" fmla="*/ 214254 w 571"/>
                <a:gd name="T55" fmla="*/ 128491 h 443"/>
                <a:gd name="T56" fmla="*/ 175654 w 571"/>
                <a:gd name="T57" fmla="*/ 146036 h 443"/>
                <a:gd name="T58" fmla="*/ 150498 w 571"/>
                <a:gd name="T59" fmla="*/ 158420 h 443"/>
                <a:gd name="T60" fmla="*/ 127945 w 571"/>
                <a:gd name="T61" fmla="*/ 169257 h 443"/>
                <a:gd name="T62" fmla="*/ 106260 w 571"/>
                <a:gd name="T63" fmla="*/ 178029 h 443"/>
                <a:gd name="T64" fmla="*/ 80671 w 571"/>
                <a:gd name="T65" fmla="*/ 187318 h 443"/>
                <a:gd name="T66" fmla="*/ 72430 w 571"/>
                <a:gd name="T67" fmla="*/ 191446 h 443"/>
                <a:gd name="T68" fmla="*/ 64623 w 571"/>
                <a:gd name="T69" fmla="*/ 196606 h 443"/>
                <a:gd name="T70" fmla="*/ 51612 w 571"/>
                <a:gd name="T71" fmla="*/ 207959 h 443"/>
                <a:gd name="T72" fmla="*/ 39902 w 571"/>
                <a:gd name="T73" fmla="*/ 219828 h 443"/>
                <a:gd name="T74" fmla="*/ 29059 w 571"/>
                <a:gd name="T75" fmla="*/ 228600 h 443"/>
                <a:gd name="T76" fmla="*/ 21686 w 571"/>
                <a:gd name="T77" fmla="*/ 195058 h 443"/>
                <a:gd name="T78" fmla="*/ 14313 w 571"/>
                <a:gd name="T79" fmla="*/ 161516 h 443"/>
                <a:gd name="T80" fmla="*/ 6939 w 571"/>
                <a:gd name="T81" fmla="*/ 129523 h 443"/>
                <a:gd name="T82" fmla="*/ 0 w 571"/>
                <a:gd name="T83" fmla="*/ 101141 h 44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7" name="Freeform 258">
              <a:extLst>
                <a:ext uri="{FF2B5EF4-FFF2-40B4-BE49-F238E27FC236}">
                  <a16:creationId xmlns:a16="http://schemas.microsoft.com/office/drawing/2014/main" id="{B02C65DB-2EE0-4A09-A6AF-F0A698FE2D90}"/>
                </a:ext>
              </a:extLst>
            </p:cNvPr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6784975" y="2827338"/>
              <a:ext cx="120650" cy="120650"/>
            </a:xfrm>
            <a:custGeom>
              <a:avLst/>
              <a:gdLst>
                <a:gd name="T0" fmla="*/ 0 w 286"/>
                <a:gd name="T1" fmla="*/ 58737 h 228"/>
                <a:gd name="T2" fmla="*/ 1687 w 286"/>
                <a:gd name="T3" fmla="*/ 57679 h 228"/>
                <a:gd name="T4" fmla="*/ 2953 w 286"/>
                <a:gd name="T5" fmla="*/ 57679 h 228"/>
                <a:gd name="T6" fmla="*/ 4219 w 286"/>
                <a:gd name="T7" fmla="*/ 58208 h 228"/>
                <a:gd name="T8" fmla="*/ 4640 w 286"/>
                <a:gd name="T9" fmla="*/ 58737 h 228"/>
                <a:gd name="T10" fmla="*/ 5062 w 286"/>
                <a:gd name="T11" fmla="*/ 61912 h 228"/>
                <a:gd name="T12" fmla="*/ 5484 w 286"/>
                <a:gd name="T13" fmla="*/ 65087 h 228"/>
                <a:gd name="T14" fmla="*/ 5906 w 286"/>
                <a:gd name="T15" fmla="*/ 67733 h 228"/>
                <a:gd name="T16" fmla="*/ 6750 w 286"/>
                <a:gd name="T17" fmla="*/ 69321 h 228"/>
                <a:gd name="T18" fmla="*/ 8015 w 286"/>
                <a:gd name="T19" fmla="*/ 70908 h 228"/>
                <a:gd name="T20" fmla="*/ 10124 w 286"/>
                <a:gd name="T21" fmla="*/ 71967 h 228"/>
                <a:gd name="T22" fmla="*/ 12234 w 286"/>
                <a:gd name="T23" fmla="*/ 72496 h 228"/>
                <a:gd name="T24" fmla="*/ 15609 w 286"/>
                <a:gd name="T25" fmla="*/ 73025 h 228"/>
                <a:gd name="T26" fmla="*/ 20249 w 286"/>
                <a:gd name="T27" fmla="*/ 73025 h 228"/>
                <a:gd name="T28" fmla="*/ 25311 w 286"/>
                <a:gd name="T29" fmla="*/ 71967 h 228"/>
                <a:gd name="T30" fmla="*/ 41342 w 286"/>
                <a:gd name="T31" fmla="*/ 68792 h 228"/>
                <a:gd name="T32" fmla="*/ 54419 w 286"/>
                <a:gd name="T33" fmla="*/ 64558 h 228"/>
                <a:gd name="T34" fmla="*/ 60325 w 286"/>
                <a:gd name="T35" fmla="*/ 62442 h 228"/>
                <a:gd name="T36" fmla="*/ 65809 w 286"/>
                <a:gd name="T37" fmla="*/ 60325 h 228"/>
                <a:gd name="T38" fmla="*/ 70449 w 286"/>
                <a:gd name="T39" fmla="*/ 57679 h 228"/>
                <a:gd name="T40" fmla="*/ 75090 w 286"/>
                <a:gd name="T41" fmla="*/ 54504 h 228"/>
                <a:gd name="T42" fmla="*/ 79308 w 286"/>
                <a:gd name="T43" fmla="*/ 50800 h 228"/>
                <a:gd name="T44" fmla="*/ 83527 w 286"/>
                <a:gd name="T45" fmla="*/ 46038 h 228"/>
                <a:gd name="T46" fmla="*/ 87745 w 286"/>
                <a:gd name="T47" fmla="*/ 41275 h 228"/>
                <a:gd name="T48" fmla="*/ 92386 w 286"/>
                <a:gd name="T49" fmla="*/ 34396 h 228"/>
                <a:gd name="T50" fmla="*/ 96604 w 286"/>
                <a:gd name="T51" fmla="*/ 27517 h 228"/>
                <a:gd name="T52" fmla="*/ 101667 w 286"/>
                <a:gd name="T53" fmla="*/ 19579 h 228"/>
                <a:gd name="T54" fmla="*/ 106729 w 286"/>
                <a:gd name="T55" fmla="*/ 10583 h 228"/>
                <a:gd name="T56" fmla="*/ 112213 w 286"/>
                <a:gd name="T57" fmla="*/ 0 h 228"/>
                <a:gd name="T58" fmla="*/ 113900 w 286"/>
                <a:gd name="T59" fmla="*/ 3704 h 228"/>
                <a:gd name="T60" fmla="*/ 115588 w 286"/>
                <a:gd name="T61" fmla="*/ 6879 h 228"/>
                <a:gd name="T62" fmla="*/ 116431 w 286"/>
                <a:gd name="T63" fmla="*/ 10583 h 228"/>
                <a:gd name="T64" fmla="*/ 117697 w 286"/>
                <a:gd name="T65" fmla="*/ 14287 h 228"/>
                <a:gd name="T66" fmla="*/ 118963 w 286"/>
                <a:gd name="T67" fmla="*/ 22225 h 228"/>
                <a:gd name="T68" fmla="*/ 120650 w 286"/>
                <a:gd name="T69" fmla="*/ 32808 h 228"/>
                <a:gd name="T70" fmla="*/ 103776 w 286"/>
                <a:gd name="T71" fmla="*/ 104775 h 228"/>
                <a:gd name="T72" fmla="*/ 95339 w 286"/>
                <a:gd name="T73" fmla="*/ 120650 h 228"/>
                <a:gd name="T74" fmla="*/ 22358 w 286"/>
                <a:gd name="T75" fmla="*/ 111125 h 228"/>
                <a:gd name="T76" fmla="*/ 0 w 286"/>
                <a:gd name="T77" fmla="*/ 58737 h 22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8" name="Freeform 259">
              <a:extLst>
                <a:ext uri="{FF2B5EF4-FFF2-40B4-BE49-F238E27FC236}">
                  <a16:creationId xmlns:a16="http://schemas.microsoft.com/office/drawing/2014/main" id="{C728F53A-8046-4D96-9849-54D35FA390BE}"/>
                </a:ext>
              </a:extLst>
            </p:cNvPr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6472238" y="2479676"/>
              <a:ext cx="222250" cy="263525"/>
            </a:xfrm>
            <a:custGeom>
              <a:avLst/>
              <a:gdLst>
                <a:gd name="T0" fmla="*/ 202740 w 524"/>
                <a:gd name="T1" fmla="*/ 193078 h 505"/>
                <a:gd name="T2" fmla="*/ 205284 w 524"/>
                <a:gd name="T3" fmla="*/ 180554 h 505"/>
                <a:gd name="T4" fmla="*/ 204860 w 524"/>
                <a:gd name="T5" fmla="*/ 171683 h 505"/>
                <a:gd name="T6" fmla="*/ 202740 w 524"/>
                <a:gd name="T7" fmla="*/ 157593 h 505"/>
                <a:gd name="T8" fmla="*/ 192984 w 524"/>
                <a:gd name="T9" fmla="*/ 156028 h 505"/>
                <a:gd name="T10" fmla="*/ 182805 w 524"/>
                <a:gd name="T11" fmla="*/ 150288 h 505"/>
                <a:gd name="T12" fmla="*/ 172625 w 524"/>
                <a:gd name="T13" fmla="*/ 142982 h 505"/>
                <a:gd name="T14" fmla="*/ 163719 w 524"/>
                <a:gd name="T15" fmla="*/ 133589 h 505"/>
                <a:gd name="T16" fmla="*/ 155236 w 524"/>
                <a:gd name="T17" fmla="*/ 123674 h 505"/>
                <a:gd name="T18" fmla="*/ 149298 w 524"/>
                <a:gd name="T19" fmla="*/ 112716 h 505"/>
                <a:gd name="T20" fmla="*/ 145056 w 524"/>
                <a:gd name="T21" fmla="*/ 102279 h 505"/>
                <a:gd name="T22" fmla="*/ 143784 w 524"/>
                <a:gd name="T23" fmla="*/ 92886 h 505"/>
                <a:gd name="T24" fmla="*/ 144632 w 524"/>
                <a:gd name="T25" fmla="*/ 84537 h 505"/>
                <a:gd name="T26" fmla="*/ 148025 w 524"/>
                <a:gd name="T27" fmla="*/ 78275 h 505"/>
                <a:gd name="T28" fmla="*/ 154812 w 524"/>
                <a:gd name="T29" fmla="*/ 70969 h 505"/>
                <a:gd name="T30" fmla="*/ 150146 w 524"/>
                <a:gd name="T31" fmla="*/ 67838 h 505"/>
                <a:gd name="T32" fmla="*/ 144632 w 524"/>
                <a:gd name="T33" fmla="*/ 62098 h 505"/>
                <a:gd name="T34" fmla="*/ 133604 w 524"/>
                <a:gd name="T35" fmla="*/ 45399 h 505"/>
                <a:gd name="T36" fmla="*/ 123849 w 524"/>
                <a:gd name="T37" fmla="*/ 26613 h 505"/>
                <a:gd name="T38" fmla="*/ 118335 w 524"/>
                <a:gd name="T39" fmla="*/ 13046 h 505"/>
                <a:gd name="T40" fmla="*/ 110277 w 524"/>
                <a:gd name="T41" fmla="*/ 12524 h 505"/>
                <a:gd name="T42" fmla="*/ 101370 w 524"/>
                <a:gd name="T43" fmla="*/ 9915 h 505"/>
                <a:gd name="T44" fmla="*/ 92887 w 524"/>
                <a:gd name="T45" fmla="*/ 5740 h 505"/>
                <a:gd name="T46" fmla="*/ 83556 w 524"/>
                <a:gd name="T47" fmla="*/ 3131 h 505"/>
                <a:gd name="T48" fmla="*/ 72104 w 524"/>
                <a:gd name="T49" fmla="*/ 1565 h 505"/>
                <a:gd name="T50" fmla="*/ 63197 w 524"/>
                <a:gd name="T51" fmla="*/ 4175 h 505"/>
                <a:gd name="T52" fmla="*/ 48352 w 524"/>
                <a:gd name="T53" fmla="*/ 21395 h 505"/>
                <a:gd name="T54" fmla="*/ 41566 w 524"/>
                <a:gd name="T55" fmla="*/ 29744 h 505"/>
                <a:gd name="T56" fmla="*/ 39445 w 524"/>
                <a:gd name="T57" fmla="*/ 33397 h 505"/>
                <a:gd name="T58" fmla="*/ 39869 w 524"/>
                <a:gd name="T59" fmla="*/ 49052 h 505"/>
                <a:gd name="T60" fmla="*/ 40293 w 524"/>
                <a:gd name="T61" fmla="*/ 73056 h 505"/>
                <a:gd name="T62" fmla="*/ 39869 w 524"/>
                <a:gd name="T63" fmla="*/ 85580 h 505"/>
                <a:gd name="T64" fmla="*/ 36476 w 524"/>
                <a:gd name="T65" fmla="*/ 93930 h 505"/>
                <a:gd name="T66" fmla="*/ 28417 w 524"/>
                <a:gd name="T67" fmla="*/ 102801 h 505"/>
                <a:gd name="T68" fmla="*/ 16966 w 524"/>
                <a:gd name="T69" fmla="*/ 111672 h 505"/>
                <a:gd name="T70" fmla="*/ 5514 w 524"/>
                <a:gd name="T71" fmla="*/ 118978 h 505"/>
                <a:gd name="T72" fmla="*/ 848 w 524"/>
                <a:gd name="T73" fmla="*/ 128371 h 505"/>
                <a:gd name="T74" fmla="*/ 848 w 524"/>
                <a:gd name="T75" fmla="*/ 137764 h 505"/>
                <a:gd name="T76" fmla="*/ 0 w 524"/>
                <a:gd name="T77" fmla="*/ 145069 h 505"/>
                <a:gd name="T78" fmla="*/ 0 w 524"/>
                <a:gd name="T79" fmla="*/ 150809 h 505"/>
                <a:gd name="T80" fmla="*/ 2969 w 524"/>
                <a:gd name="T81" fmla="*/ 157071 h 505"/>
                <a:gd name="T82" fmla="*/ 11028 w 524"/>
                <a:gd name="T83" fmla="*/ 163855 h 505"/>
                <a:gd name="T84" fmla="*/ 26297 w 524"/>
                <a:gd name="T85" fmla="*/ 172726 h 505"/>
                <a:gd name="T86" fmla="*/ 50897 w 524"/>
                <a:gd name="T87" fmla="*/ 185250 h 505"/>
                <a:gd name="T88" fmla="*/ 76345 w 524"/>
                <a:gd name="T89" fmla="*/ 195165 h 505"/>
                <a:gd name="T90" fmla="*/ 90766 w 524"/>
                <a:gd name="T91" fmla="*/ 200905 h 505"/>
                <a:gd name="T92" fmla="*/ 100521 w 524"/>
                <a:gd name="T93" fmla="*/ 208733 h 505"/>
                <a:gd name="T94" fmla="*/ 106884 w 524"/>
                <a:gd name="T95" fmla="*/ 218126 h 505"/>
                <a:gd name="T96" fmla="*/ 111125 w 524"/>
                <a:gd name="T97" fmla="*/ 226997 h 505"/>
                <a:gd name="T98" fmla="*/ 112822 w 524"/>
                <a:gd name="T99" fmla="*/ 235346 h 505"/>
                <a:gd name="T100" fmla="*/ 114518 w 524"/>
                <a:gd name="T101" fmla="*/ 244739 h 505"/>
                <a:gd name="T102" fmla="*/ 117487 w 524"/>
                <a:gd name="T103" fmla="*/ 251001 h 505"/>
                <a:gd name="T104" fmla="*/ 121729 w 524"/>
                <a:gd name="T105" fmla="*/ 255176 h 505"/>
                <a:gd name="T106" fmla="*/ 130211 w 524"/>
                <a:gd name="T107" fmla="*/ 259350 h 505"/>
                <a:gd name="T108" fmla="*/ 139118 w 524"/>
                <a:gd name="T109" fmla="*/ 262481 h 505"/>
                <a:gd name="T110" fmla="*/ 142087 w 524"/>
                <a:gd name="T111" fmla="*/ 260916 h 505"/>
                <a:gd name="T112" fmla="*/ 146753 w 524"/>
                <a:gd name="T113" fmla="*/ 260394 h 505"/>
                <a:gd name="T114" fmla="*/ 155236 w 524"/>
                <a:gd name="T115" fmla="*/ 262481 h 505"/>
                <a:gd name="T116" fmla="*/ 162446 w 524"/>
                <a:gd name="T117" fmla="*/ 263525 h 505"/>
                <a:gd name="T118" fmla="*/ 185350 w 524"/>
                <a:gd name="T119" fmla="*/ 263525 h 505"/>
                <a:gd name="T120" fmla="*/ 197226 w 524"/>
                <a:gd name="T121" fmla="*/ 234302 h 505"/>
                <a:gd name="T122" fmla="*/ 208677 w 524"/>
                <a:gd name="T123" fmla="*/ 228040 h 50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9" name="Freeform 260">
              <a:extLst>
                <a:ext uri="{FF2B5EF4-FFF2-40B4-BE49-F238E27FC236}">
                  <a16:creationId xmlns:a16="http://schemas.microsoft.com/office/drawing/2014/main" id="{C491900E-93CD-410E-AFC5-EAF0D47F9A1E}"/>
                </a:ext>
              </a:extLst>
            </p:cNvPr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6972300" y="2439988"/>
              <a:ext cx="331788" cy="290512"/>
            </a:xfrm>
            <a:custGeom>
              <a:avLst/>
              <a:gdLst>
                <a:gd name="T0" fmla="*/ 26925 w 764"/>
                <a:gd name="T1" fmla="*/ 102595 h 555"/>
                <a:gd name="T2" fmla="*/ 40388 w 764"/>
                <a:gd name="T3" fmla="*/ 99455 h 555"/>
                <a:gd name="T4" fmla="*/ 55588 w 764"/>
                <a:gd name="T5" fmla="*/ 95267 h 555"/>
                <a:gd name="T6" fmla="*/ 75999 w 764"/>
                <a:gd name="T7" fmla="*/ 79040 h 555"/>
                <a:gd name="T8" fmla="*/ 84250 w 764"/>
                <a:gd name="T9" fmla="*/ 65954 h 555"/>
                <a:gd name="T10" fmla="*/ 86421 w 764"/>
                <a:gd name="T11" fmla="*/ 46063 h 555"/>
                <a:gd name="T12" fmla="*/ 90330 w 764"/>
                <a:gd name="T13" fmla="*/ 36118 h 555"/>
                <a:gd name="T14" fmla="*/ 104227 w 764"/>
                <a:gd name="T15" fmla="*/ 31407 h 555"/>
                <a:gd name="T16" fmla="*/ 127678 w 764"/>
                <a:gd name="T17" fmla="*/ 32454 h 555"/>
                <a:gd name="T18" fmla="*/ 142877 w 764"/>
                <a:gd name="T19" fmla="*/ 37165 h 555"/>
                <a:gd name="T20" fmla="*/ 157208 w 764"/>
                <a:gd name="T21" fmla="*/ 47110 h 555"/>
                <a:gd name="T22" fmla="*/ 167631 w 764"/>
                <a:gd name="T23" fmla="*/ 48680 h 555"/>
                <a:gd name="T24" fmla="*/ 181962 w 764"/>
                <a:gd name="T25" fmla="*/ 43969 h 555"/>
                <a:gd name="T26" fmla="*/ 199768 w 764"/>
                <a:gd name="T27" fmla="*/ 31930 h 555"/>
                <a:gd name="T28" fmla="*/ 208019 w 764"/>
                <a:gd name="T29" fmla="*/ 17274 h 555"/>
                <a:gd name="T30" fmla="*/ 220613 w 764"/>
                <a:gd name="T31" fmla="*/ 2094 h 555"/>
                <a:gd name="T32" fmla="*/ 230167 w 764"/>
                <a:gd name="T33" fmla="*/ 9945 h 555"/>
                <a:gd name="T34" fmla="*/ 238853 w 764"/>
                <a:gd name="T35" fmla="*/ 23555 h 555"/>
                <a:gd name="T36" fmla="*/ 243630 w 764"/>
                <a:gd name="T37" fmla="*/ 45540 h 555"/>
                <a:gd name="T38" fmla="*/ 247538 w 764"/>
                <a:gd name="T39" fmla="*/ 52868 h 555"/>
                <a:gd name="T40" fmla="*/ 255789 w 764"/>
                <a:gd name="T41" fmla="*/ 54438 h 555"/>
                <a:gd name="T42" fmla="*/ 270121 w 764"/>
                <a:gd name="T43" fmla="*/ 38211 h 555"/>
                <a:gd name="T44" fmla="*/ 322668 w 764"/>
                <a:gd name="T45" fmla="*/ 34547 h 555"/>
                <a:gd name="T46" fmla="*/ 329617 w 764"/>
                <a:gd name="T47" fmla="*/ 45540 h 555"/>
                <a:gd name="T48" fmla="*/ 294874 w 764"/>
                <a:gd name="T49" fmla="*/ 52345 h 555"/>
                <a:gd name="T50" fmla="*/ 262738 w 764"/>
                <a:gd name="T51" fmla="*/ 58626 h 555"/>
                <a:gd name="T52" fmla="*/ 249275 w 764"/>
                <a:gd name="T53" fmla="*/ 68048 h 555"/>
                <a:gd name="T54" fmla="*/ 247972 w 764"/>
                <a:gd name="T55" fmla="*/ 76946 h 555"/>
                <a:gd name="T56" fmla="*/ 252749 w 764"/>
                <a:gd name="T57" fmla="*/ 85845 h 555"/>
                <a:gd name="T58" fmla="*/ 261001 w 764"/>
                <a:gd name="T59" fmla="*/ 94220 h 555"/>
                <a:gd name="T60" fmla="*/ 262304 w 764"/>
                <a:gd name="T61" fmla="*/ 102072 h 555"/>
                <a:gd name="T62" fmla="*/ 257961 w 764"/>
                <a:gd name="T63" fmla="*/ 111494 h 555"/>
                <a:gd name="T64" fmla="*/ 249275 w 764"/>
                <a:gd name="T65" fmla="*/ 124056 h 555"/>
                <a:gd name="T66" fmla="*/ 245367 w 764"/>
                <a:gd name="T67" fmla="*/ 133478 h 555"/>
                <a:gd name="T68" fmla="*/ 235378 w 764"/>
                <a:gd name="T69" fmla="*/ 140807 h 555"/>
                <a:gd name="T70" fmla="*/ 225390 w 764"/>
                <a:gd name="T71" fmla="*/ 162268 h 555"/>
                <a:gd name="T72" fmla="*/ 220613 w 764"/>
                <a:gd name="T73" fmla="*/ 190011 h 555"/>
                <a:gd name="T74" fmla="*/ 215836 w 764"/>
                <a:gd name="T75" fmla="*/ 222464 h 555"/>
                <a:gd name="T76" fmla="*/ 207150 w 764"/>
                <a:gd name="T77" fmla="*/ 215659 h 555"/>
                <a:gd name="T78" fmla="*/ 199768 w 764"/>
                <a:gd name="T79" fmla="*/ 213042 h 555"/>
                <a:gd name="T80" fmla="*/ 190648 w 764"/>
                <a:gd name="T81" fmla="*/ 218800 h 555"/>
                <a:gd name="T82" fmla="*/ 178488 w 764"/>
                <a:gd name="T83" fmla="*/ 230316 h 555"/>
                <a:gd name="T84" fmla="*/ 170671 w 764"/>
                <a:gd name="T85" fmla="*/ 232410 h 555"/>
                <a:gd name="T86" fmla="*/ 162854 w 764"/>
                <a:gd name="T87" fmla="*/ 242355 h 555"/>
                <a:gd name="T88" fmla="*/ 158511 w 764"/>
                <a:gd name="T89" fmla="*/ 267480 h 555"/>
                <a:gd name="T90" fmla="*/ 151997 w 764"/>
                <a:gd name="T91" fmla="*/ 274809 h 555"/>
                <a:gd name="T92" fmla="*/ 117255 w 764"/>
                <a:gd name="T93" fmla="*/ 285801 h 555"/>
                <a:gd name="T94" fmla="*/ 84250 w 764"/>
                <a:gd name="T95" fmla="*/ 289989 h 555"/>
                <a:gd name="T96" fmla="*/ 49073 w 764"/>
                <a:gd name="T97" fmla="*/ 283707 h 555"/>
                <a:gd name="T98" fmla="*/ 41256 w 764"/>
                <a:gd name="T99" fmla="*/ 271145 h 555"/>
                <a:gd name="T100" fmla="*/ 49942 w 764"/>
                <a:gd name="T101" fmla="*/ 255441 h 555"/>
                <a:gd name="T102" fmla="*/ 54285 w 764"/>
                <a:gd name="T103" fmla="*/ 241832 h 555"/>
                <a:gd name="T104" fmla="*/ 53416 w 764"/>
                <a:gd name="T105" fmla="*/ 231363 h 555"/>
                <a:gd name="T106" fmla="*/ 48205 w 764"/>
                <a:gd name="T107" fmla="*/ 226652 h 555"/>
                <a:gd name="T108" fmla="*/ 29965 w 764"/>
                <a:gd name="T109" fmla="*/ 225605 h 555"/>
                <a:gd name="T110" fmla="*/ 22582 w 764"/>
                <a:gd name="T111" fmla="*/ 220370 h 555"/>
                <a:gd name="T112" fmla="*/ 14765 w 764"/>
                <a:gd name="T113" fmla="*/ 201003 h 555"/>
                <a:gd name="T114" fmla="*/ 8251 w 764"/>
                <a:gd name="T115" fmla="*/ 161745 h 555"/>
                <a:gd name="T116" fmla="*/ 4343 w 764"/>
                <a:gd name="T117" fmla="*/ 152323 h 555"/>
                <a:gd name="T118" fmla="*/ 0 w 764"/>
                <a:gd name="T119" fmla="*/ 146565 h 555"/>
                <a:gd name="T120" fmla="*/ 869 w 764"/>
                <a:gd name="T121" fmla="*/ 140283 h 555"/>
                <a:gd name="T122" fmla="*/ 9554 w 764"/>
                <a:gd name="T123" fmla="*/ 129814 h 555"/>
                <a:gd name="T124" fmla="*/ 14765 w 764"/>
                <a:gd name="T125" fmla="*/ 115681 h 55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0" name="Freeform 261">
              <a:extLst>
                <a:ext uri="{FF2B5EF4-FFF2-40B4-BE49-F238E27FC236}">
                  <a16:creationId xmlns:a16="http://schemas.microsoft.com/office/drawing/2014/main" id="{0C007DA8-2B24-4D13-9147-65B8D7B8E9E8}"/>
                </a:ext>
              </a:extLst>
            </p:cNvPr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7004051" y="2489201"/>
              <a:ext cx="365125" cy="423863"/>
            </a:xfrm>
            <a:custGeom>
              <a:avLst/>
              <a:gdLst>
                <a:gd name="T0" fmla="*/ 342277 w 831"/>
                <a:gd name="T1" fmla="*/ 42804 h 812"/>
                <a:gd name="T2" fmla="*/ 310642 w 831"/>
                <a:gd name="T3" fmla="*/ 15138 h 812"/>
                <a:gd name="T4" fmla="*/ 246932 w 831"/>
                <a:gd name="T5" fmla="*/ 5220 h 812"/>
                <a:gd name="T6" fmla="*/ 219251 w 831"/>
                <a:gd name="T7" fmla="*/ 15138 h 812"/>
                <a:gd name="T8" fmla="*/ 213539 w 831"/>
                <a:gd name="T9" fmla="*/ 25578 h 812"/>
                <a:gd name="T10" fmla="*/ 218372 w 831"/>
                <a:gd name="T11" fmla="*/ 37062 h 812"/>
                <a:gd name="T12" fmla="*/ 227160 w 831"/>
                <a:gd name="T13" fmla="*/ 46980 h 812"/>
                <a:gd name="T14" fmla="*/ 226720 w 831"/>
                <a:gd name="T15" fmla="*/ 57942 h 812"/>
                <a:gd name="T16" fmla="*/ 215736 w 831"/>
                <a:gd name="T17" fmla="*/ 73080 h 812"/>
                <a:gd name="T18" fmla="*/ 210903 w 831"/>
                <a:gd name="T19" fmla="*/ 84564 h 812"/>
                <a:gd name="T20" fmla="*/ 197721 w 831"/>
                <a:gd name="T21" fmla="*/ 96048 h 812"/>
                <a:gd name="T22" fmla="*/ 187615 w 831"/>
                <a:gd name="T23" fmla="*/ 126846 h 812"/>
                <a:gd name="T24" fmla="*/ 184540 w 831"/>
                <a:gd name="T25" fmla="*/ 173304 h 812"/>
                <a:gd name="T26" fmla="*/ 172237 w 831"/>
                <a:gd name="T27" fmla="*/ 166518 h 812"/>
                <a:gd name="T28" fmla="*/ 162571 w 831"/>
                <a:gd name="T29" fmla="*/ 164430 h 812"/>
                <a:gd name="T30" fmla="*/ 148511 w 831"/>
                <a:gd name="T31" fmla="*/ 176958 h 812"/>
                <a:gd name="T32" fmla="*/ 137526 w 831"/>
                <a:gd name="T33" fmla="*/ 183222 h 812"/>
                <a:gd name="T34" fmla="*/ 127420 w 831"/>
                <a:gd name="T35" fmla="*/ 193140 h 812"/>
                <a:gd name="T36" fmla="*/ 123026 w 831"/>
                <a:gd name="T37" fmla="*/ 221327 h 812"/>
                <a:gd name="T38" fmla="*/ 103254 w 831"/>
                <a:gd name="T39" fmla="*/ 230723 h 812"/>
                <a:gd name="T40" fmla="*/ 55801 w 831"/>
                <a:gd name="T41" fmla="*/ 241163 h 812"/>
                <a:gd name="T42" fmla="*/ 11424 w 831"/>
                <a:gd name="T43" fmla="*/ 234377 h 812"/>
                <a:gd name="T44" fmla="*/ 22408 w 831"/>
                <a:gd name="T45" fmla="*/ 263609 h 812"/>
                <a:gd name="T46" fmla="*/ 42181 w 831"/>
                <a:gd name="T47" fmla="*/ 281879 h 812"/>
                <a:gd name="T48" fmla="*/ 54044 w 831"/>
                <a:gd name="T49" fmla="*/ 301193 h 812"/>
                <a:gd name="T50" fmla="*/ 62392 w 831"/>
                <a:gd name="T51" fmla="*/ 311111 h 812"/>
                <a:gd name="T52" fmla="*/ 43499 w 831"/>
                <a:gd name="T53" fmla="*/ 337733 h 812"/>
                <a:gd name="T54" fmla="*/ 38226 w 831"/>
                <a:gd name="T55" fmla="*/ 350261 h 812"/>
                <a:gd name="T56" fmla="*/ 47892 w 831"/>
                <a:gd name="T57" fmla="*/ 375839 h 812"/>
                <a:gd name="T58" fmla="*/ 97542 w 831"/>
                <a:gd name="T59" fmla="*/ 370619 h 812"/>
                <a:gd name="T60" fmla="*/ 132693 w 831"/>
                <a:gd name="T61" fmla="*/ 368009 h 812"/>
                <a:gd name="T62" fmla="*/ 144995 w 831"/>
                <a:gd name="T63" fmla="*/ 376361 h 812"/>
                <a:gd name="T64" fmla="*/ 157738 w 831"/>
                <a:gd name="T65" fmla="*/ 394631 h 812"/>
                <a:gd name="T66" fmla="*/ 179267 w 831"/>
                <a:gd name="T67" fmla="*/ 409769 h 812"/>
                <a:gd name="T68" fmla="*/ 197282 w 831"/>
                <a:gd name="T69" fmla="*/ 419165 h 812"/>
                <a:gd name="T70" fmla="*/ 202115 w 831"/>
                <a:gd name="T71" fmla="*/ 412901 h 812"/>
                <a:gd name="T72" fmla="*/ 213978 w 831"/>
                <a:gd name="T73" fmla="*/ 404027 h 812"/>
                <a:gd name="T74" fmla="*/ 243417 w 831"/>
                <a:gd name="T75" fmla="*/ 398807 h 812"/>
                <a:gd name="T76" fmla="*/ 262310 w 831"/>
                <a:gd name="T77" fmla="*/ 391499 h 812"/>
                <a:gd name="T78" fmla="*/ 271537 w 831"/>
                <a:gd name="T79" fmla="*/ 379493 h 812"/>
                <a:gd name="T80" fmla="*/ 256598 w 831"/>
                <a:gd name="T81" fmla="*/ 365399 h 812"/>
                <a:gd name="T82" fmla="*/ 238144 w 831"/>
                <a:gd name="T83" fmla="*/ 334601 h 812"/>
                <a:gd name="T84" fmla="*/ 231114 w 831"/>
                <a:gd name="T85" fmla="*/ 325727 h 812"/>
                <a:gd name="T86" fmla="*/ 231114 w 831"/>
                <a:gd name="T87" fmla="*/ 301715 h 812"/>
                <a:gd name="T88" fmla="*/ 255719 w 831"/>
                <a:gd name="T89" fmla="*/ 293885 h 812"/>
                <a:gd name="T90" fmla="*/ 273295 w 831"/>
                <a:gd name="T91" fmla="*/ 277181 h 812"/>
                <a:gd name="T92" fmla="*/ 302294 w 831"/>
                <a:gd name="T93" fmla="*/ 217673 h 812"/>
                <a:gd name="T94" fmla="*/ 320748 w 831"/>
                <a:gd name="T95" fmla="*/ 192096 h 812"/>
                <a:gd name="T96" fmla="*/ 318551 w 831"/>
                <a:gd name="T97" fmla="*/ 172260 h 812"/>
                <a:gd name="T98" fmla="*/ 320308 w 831"/>
                <a:gd name="T99" fmla="*/ 159210 h 812"/>
                <a:gd name="T100" fmla="*/ 329975 w 831"/>
                <a:gd name="T101" fmla="*/ 150858 h 812"/>
                <a:gd name="T102" fmla="*/ 294385 w 831"/>
                <a:gd name="T103" fmla="*/ 108054 h 812"/>
                <a:gd name="T104" fmla="*/ 333050 w 831"/>
                <a:gd name="T105" fmla="*/ 73080 h 812"/>
                <a:gd name="T106" fmla="*/ 353701 w 831"/>
                <a:gd name="T107" fmla="*/ 64206 h 8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1" name="Freeform 262">
              <a:extLst>
                <a:ext uri="{FF2B5EF4-FFF2-40B4-BE49-F238E27FC236}">
                  <a16:creationId xmlns:a16="http://schemas.microsoft.com/office/drawing/2014/main" id="{25A89A99-A449-460D-BA0D-235CC3A53529}"/>
                </a:ext>
              </a:extLst>
            </p:cNvPr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7794626" y="2757489"/>
              <a:ext cx="220663" cy="585787"/>
            </a:xfrm>
            <a:custGeom>
              <a:avLst/>
              <a:gdLst>
                <a:gd name="T0" fmla="*/ 191387 w 505"/>
                <a:gd name="T1" fmla="*/ 557569 h 1121"/>
                <a:gd name="T2" fmla="*/ 193572 w 505"/>
                <a:gd name="T3" fmla="*/ 537189 h 1121"/>
                <a:gd name="T4" fmla="*/ 174346 w 505"/>
                <a:gd name="T5" fmla="*/ 534054 h 1121"/>
                <a:gd name="T6" fmla="*/ 176967 w 505"/>
                <a:gd name="T7" fmla="*/ 500088 h 1121"/>
                <a:gd name="T8" fmla="*/ 183085 w 505"/>
                <a:gd name="T9" fmla="*/ 486501 h 1121"/>
                <a:gd name="T10" fmla="*/ 180463 w 505"/>
                <a:gd name="T11" fmla="*/ 469779 h 1121"/>
                <a:gd name="T12" fmla="*/ 173909 w 505"/>
                <a:gd name="T13" fmla="*/ 466644 h 1121"/>
                <a:gd name="T14" fmla="*/ 166917 w 505"/>
                <a:gd name="T15" fmla="*/ 437903 h 1121"/>
                <a:gd name="T16" fmla="*/ 141574 w 505"/>
                <a:gd name="T17" fmla="*/ 375719 h 1121"/>
                <a:gd name="T18" fmla="*/ 129339 w 505"/>
                <a:gd name="T19" fmla="*/ 367358 h 1121"/>
                <a:gd name="T20" fmla="*/ 123222 w 505"/>
                <a:gd name="T21" fmla="*/ 375196 h 1121"/>
                <a:gd name="T22" fmla="*/ 98752 w 505"/>
                <a:gd name="T23" fmla="*/ 387738 h 1121"/>
                <a:gd name="T24" fmla="*/ 73846 w 505"/>
                <a:gd name="T25" fmla="*/ 384602 h 1121"/>
                <a:gd name="T26" fmla="*/ 58115 w 505"/>
                <a:gd name="T27" fmla="*/ 296290 h 1121"/>
                <a:gd name="T28" fmla="*/ 44133 w 505"/>
                <a:gd name="T29" fmla="*/ 271730 h 1121"/>
                <a:gd name="T30" fmla="*/ 22285 w 505"/>
                <a:gd name="T31" fmla="*/ 262324 h 1121"/>
                <a:gd name="T32" fmla="*/ 3496 w 505"/>
                <a:gd name="T33" fmla="*/ 246125 h 1121"/>
                <a:gd name="T34" fmla="*/ 10050 w 505"/>
                <a:gd name="T35" fmla="*/ 232538 h 1121"/>
                <a:gd name="T36" fmla="*/ 25343 w 505"/>
                <a:gd name="T37" fmla="*/ 188643 h 1121"/>
                <a:gd name="T38" fmla="*/ 29276 w 505"/>
                <a:gd name="T39" fmla="*/ 144748 h 1121"/>
                <a:gd name="T40" fmla="*/ 34957 w 505"/>
                <a:gd name="T41" fmla="*/ 138478 h 1121"/>
                <a:gd name="T42" fmla="*/ 49376 w 505"/>
                <a:gd name="T43" fmla="*/ 134820 h 1121"/>
                <a:gd name="T44" fmla="*/ 58552 w 505"/>
                <a:gd name="T45" fmla="*/ 116008 h 1121"/>
                <a:gd name="T46" fmla="*/ 61174 w 505"/>
                <a:gd name="T47" fmla="*/ 61139 h 1121"/>
                <a:gd name="T48" fmla="*/ 69476 w 505"/>
                <a:gd name="T49" fmla="*/ 51211 h 1121"/>
                <a:gd name="T50" fmla="*/ 93072 w 505"/>
                <a:gd name="T51" fmla="*/ 38669 h 1121"/>
                <a:gd name="T52" fmla="*/ 102248 w 505"/>
                <a:gd name="T53" fmla="*/ 10974 h 1121"/>
                <a:gd name="T54" fmla="*/ 121037 w 505"/>
                <a:gd name="T55" fmla="*/ 16199 h 1121"/>
                <a:gd name="T56" fmla="*/ 136330 w 505"/>
                <a:gd name="T57" fmla="*/ 25605 h 1121"/>
                <a:gd name="T58" fmla="*/ 147254 w 505"/>
                <a:gd name="T59" fmla="*/ 63752 h 1121"/>
                <a:gd name="T60" fmla="*/ 146380 w 505"/>
                <a:gd name="T61" fmla="*/ 87267 h 1121"/>
                <a:gd name="T62" fmla="*/ 131087 w 505"/>
                <a:gd name="T63" fmla="*/ 112872 h 1121"/>
                <a:gd name="T64" fmla="*/ 128028 w 505"/>
                <a:gd name="T65" fmla="*/ 128027 h 1121"/>
                <a:gd name="T66" fmla="*/ 135020 w 505"/>
                <a:gd name="T67" fmla="*/ 136388 h 1121"/>
                <a:gd name="T68" fmla="*/ 151187 w 505"/>
                <a:gd name="T69" fmla="*/ 141091 h 1121"/>
                <a:gd name="T70" fmla="*/ 162111 w 505"/>
                <a:gd name="T71" fmla="*/ 152064 h 1121"/>
                <a:gd name="T72" fmla="*/ 173909 w 505"/>
                <a:gd name="T73" fmla="*/ 180282 h 1121"/>
                <a:gd name="T74" fmla="*/ 187891 w 505"/>
                <a:gd name="T75" fmla="*/ 209023 h 1121"/>
                <a:gd name="T76" fmla="*/ 202748 w 505"/>
                <a:gd name="T77" fmla="*/ 218429 h 1121"/>
                <a:gd name="T78" fmla="*/ 220663 w 505"/>
                <a:gd name="T79" fmla="*/ 218429 h 1121"/>
                <a:gd name="T80" fmla="*/ 207991 w 505"/>
                <a:gd name="T81" fmla="*/ 258143 h 1121"/>
                <a:gd name="T82" fmla="*/ 186580 w 505"/>
                <a:gd name="T83" fmla="*/ 266504 h 1121"/>
                <a:gd name="T84" fmla="*/ 167354 w 505"/>
                <a:gd name="T85" fmla="*/ 275910 h 1121"/>
                <a:gd name="T86" fmla="*/ 157304 w 505"/>
                <a:gd name="T87" fmla="*/ 298903 h 1121"/>
                <a:gd name="T88" fmla="*/ 161674 w 505"/>
                <a:gd name="T89" fmla="*/ 332869 h 1121"/>
                <a:gd name="T90" fmla="*/ 175656 w 505"/>
                <a:gd name="T91" fmla="*/ 356907 h 1121"/>
                <a:gd name="T92" fmla="*/ 187891 w 505"/>
                <a:gd name="T93" fmla="*/ 384080 h 1121"/>
                <a:gd name="T94" fmla="*/ 187017 w 505"/>
                <a:gd name="T95" fmla="*/ 405505 h 1121"/>
                <a:gd name="T96" fmla="*/ 183085 w 505"/>
                <a:gd name="T97" fmla="*/ 418569 h 1121"/>
                <a:gd name="T98" fmla="*/ 190076 w 505"/>
                <a:gd name="T99" fmla="*/ 444696 h 1121"/>
                <a:gd name="T100" fmla="*/ 211050 w 505"/>
                <a:gd name="T101" fmla="*/ 504268 h 1121"/>
                <a:gd name="T102" fmla="*/ 200126 w 505"/>
                <a:gd name="T103" fmla="*/ 565407 h 112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02" name="Freeform 263">
              <a:extLst>
                <a:ext uri="{FF2B5EF4-FFF2-40B4-BE49-F238E27FC236}">
                  <a16:creationId xmlns:a16="http://schemas.microsoft.com/office/drawing/2014/main" id="{B036EA64-7173-4198-95F2-A832E37F4866}"/>
                </a:ext>
              </a:extLst>
            </p:cNvPr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5118101" y="3267075"/>
              <a:ext cx="80963" cy="58738"/>
            </a:xfrm>
            <a:custGeom>
              <a:avLst/>
              <a:gdLst>
                <a:gd name="T0" fmla="*/ 80963 w 180"/>
                <a:gd name="T1" fmla="*/ 3671 h 112"/>
                <a:gd name="T2" fmla="*/ 76915 w 180"/>
                <a:gd name="T3" fmla="*/ 12587 h 112"/>
                <a:gd name="T4" fmla="*/ 73316 w 180"/>
                <a:gd name="T5" fmla="*/ 20453 h 112"/>
                <a:gd name="T6" fmla="*/ 68369 w 180"/>
                <a:gd name="T7" fmla="*/ 27796 h 112"/>
                <a:gd name="T8" fmla="*/ 63421 w 180"/>
                <a:gd name="T9" fmla="*/ 34613 h 112"/>
                <a:gd name="T10" fmla="*/ 58023 w 180"/>
                <a:gd name="T11" fmla="*/ 41956 h 112"/>
                <a:gd name="T12" fmla="*/ 51726 w 180"/>
                <a:gd name="T13" fmla="*/ 48249 h 112"/>
                <a:gd name="T14" fmla="*/ 45429 w 180"/>
                <a:gd name="T15" fmla="*/ 53494 h 112"/>
                <a:gd name="T16" fmla="*/ 39132 w 180"/>
                <a:gd name="T17" fmla="*/ 58738 h 112"/>
                <a:gd name="T18" fmla="*/ 36883 w 180"/>
                <a:gd name="T19" fmla="*/ 56116 h 112"/>
                <a:gd name="T20" fmla="*/ 35534 w 180"/>
                <a:gd name="T21" fmla="*/ 52969 h 112"/>
                <a:gd name="T22" fmla="*/ 34184 w 180"/>
                <a:gd name="T23" fmla="*/ 49822 h 112"/>
                <a:gd name="T24" fmla="*/ 33285 w 180"/>
                <a:gd name="T25" fmla="*/ 46151 h 112"/>
                <a:gd name="T26" fmla="*/ 31486 w 180"/>
                <a:gd name="T27" fmla="*/ 42480 h 112"/>
                <a:gd name="T28" fmla="*/ 30586 w 180"/>
                <a:gd name="T29" fmla="*/ 38809 h 112"/>
                <a:gd name="T30" fmla="*/ 29237 w 180"/>
                <a:gd name="T31" fmla="*/ 36187 h 112"/>
                <a:gd name="T32" fmla="*/ 26988 w 180"/>
                <a:gd name="T33" fmla="*/ 33040 h 112"/>
                <a:gd name="T34" fmla="*/ 20241 w 180"/>
                <a:gd name="T35" fmla="*/ 25173 h 112"/>
                <a:gd name="T36" fmla="*/ 16193 w 180"/>
                <a:gd name="T37" fmla="*/ 19929 h 112"/>
                <a:gd name="T38" fmla="*/ 13494 w 180"/>
                <a:gd name="T39" fmla="*/ 17307 h 112"/>
                <a:gd name="T40" fmla="*/ 11245 w 180"/>
                <a:gd name="T41" fmla="*/ 16258 h 112"/>
                <a:gd name="T42" fmla="*/ 8096 w 180"/>
                <a:gd name="T43" fmla="*/ 15733 h 112"/>
                <a:gd name="T44" fmla="*/ 0 w 180"/>
                <a:gd name="T45" fmla="*/ 13636 h 112"/>
                <a:gd name="T46" fmla="*/ 11695 w 180"/>
                <a:gd name="T47" fmla="*/ 7342 h 112"/>
                <a:gd name="T48" fmla="*/ 18442 w 180"/>
                <a:gd name="T49" fmla="*/ 4720 h 112"/>
                <a:gd name="T50" fmla="*/ 25188 w 180"/>
                <a:gd name="T51" fmla="*/ 2622 h 112"/>
                <a:gd name="T52" fmla="*/ 33285 w 180"/>
                <a:gd name="T53" fmla="*/ 1573 h 112"/>
                <a:gd name="T54" fmla="*/ 41831 w 180"/>
                <a:gd name="T55" fmla="*/ 524 h 112"/>
                <a:gd name="T56" fmla="*/ 51277 w 180"/>
                <a:gd name="T57" fmla="*/ 0 h 112"/>
                <a:gd name="T58" fmla="*/ 60722 w 180"/>
                <a:gd name="T59" fmla="*/ 524 h 112"/>
                <a:gd name="T60" fmla="*/ 70618 w 180"/>
                <a:gd name="T61" fmla="*/ 1573 h 112"/>
                <a:gd name="T62" fmla="*/ 80963 w 180"/>
                <a:gd name="T63" fmla="*/ 3671 h 11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3" name="Freeform 264">
              <a:extLst>
                <a:ext uri="{FF2B5EF4-FFF2-40B4-BE49-F238E27FC236}">
                  <a16:creationId xmlns:a16="http://schemas.microsoft.com/office/drawing/2014/main" id="{459D9ECE-6084-496F-B5B3-D235698AEF14}"/>
                </a:ext>
              </a:extLst>
            </p:cNvPr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5202238" y="3349626"/>
              <a:ext cx="74612" cy="100013"/>
            </a:xfrm>
            <a:custGeom>
              <a:avLst/>
              <a:gdLst>
                <a:gd name="T0" fmla="*/ 0 w 173"/>
                <a:gd name="T1" fmla="*/ 35421 h 192"/>
                <a:gd name="T2" fmla="*/ 11645 w 173"/>
                <a:gd name="T3" fmla="*/ 21878 h 192"/>
                <a:gd name="T4" fmla="*/ 21995 w 173"/>
                <a:gd name="T5" fmla="*/ 10939 h 192"/>
                <a:gd name="T6" fmla="*/ 24152 w 173"/>
                <a:gd name="T7" fmla="*/ 8334 h 192"/>
                <a:gd name="T8" fmla="*/ 27171 w 173"/>
                <a:gd name="T9" fmla="*/ 6251 h 192"/>
                <a:gd name="T10" fmla="*/ 30190 w 173"/>
                <a:gd name="T11" fmla="*/ 4167 h 192"/>
                <a:gd name="T12" fmla="*/ 32778 w 173"/>
                <a:gd name="T13" fmla="*/ 3125 h 192"/>
                <a:gd name="T14" fmla="*/ 35797 w 173"/>
                <a:gd name="T15" fmla="*/ 1563 h 192"/>
                <a:gd name="T16" fmla="*/ 38815 w 173"/>
                <a:gd name="T17" fmla="*/ 1042 h 192"/>
                <a:gd name="T18" fmla="*/ 42266 w 173"/>
                <a:gd name="T19" fmla="*/ 521 h 192"/>
                <a:gd name="T20" fmla="*/ 46147 w 173"/>
                <a:gd name="T21" fmla="*/ 0 h 192"/>
                <a:gd name="T22" fmla="*/ 50029 w 173"/>
                <a:gd name="T23" fmla="*/ 521 h 192"/>
                <a:gd name="T24" fmla="*/ 53479 w 173"/>
                <a:gd name="T25" fmla="*/ 1042 h 192"/>
                <a:gd name="T26" fmla="*/ 56929 w 173"/>
                <a:gd name="T27" fmla="*/ 2605 h 192"/>
                <a:gd name="T28" fmla="*/ 59948 w 173"/>
                <a:gd name="T29" fmla="*/ 4167 h 192"/>
                <a:gd name="T30" fmla="*/ 62536 w 173"/>
                <a:gd name="T31" fmla="*/ 6772 h 192"/>
                <a:gd name="T32" fmla="*/ 65124 w 173"/>
                <a:gd name="T33" fmla="*/ 9897 h 192"/>
                <a:gd name="T34" fmla="*/ 66849 w 173"/>
                <a:gd name="T35" fmla="*/ 12502 h 192"/>
                <a:gd name="T36" fmla="*/ 69005 w 173"/>
                <a:gd name="T37" fmla="*/ 15627 h 192"/>
                <a:gd name="T38" fmla="*/ 70299 w 173"/>
                <a:gd name="T39" fmla="*/ 19273 h 192"/>
                <a:gd name="T40" fmla="*/ 71593 w 173"/>
                <a:gd name="T41" fmla="*/ 22399 h 192"/>
                <a:gd name="T42" fmla="*/ 72456 w 173"/>
                <a:gd name="T43" fmla="*/ 26045 h 192"/>
                <a:gd name="T44" fmla="*/ 72887 w 173"/>
                <a:gd name="T45" fmla="*/ 29691 h 192"/>
                <a:gd name="T46" fmla="*/ 74181 w 173"/>
                <a:gd name="T47" fmla="*/ 37505 h 192"/>
                <a:gd name="T48" fmla="*/ 74612 w 173"/>
                <a:gd name="T49" fmla="*/ 45318 h 192"/>
                <a:gd name="T50" fmla="*/ 67711 w 173"/>
                <a:gd name="T51" fmla="*/ 59383 h 192"/>
                <a:gd name="T52" fmla="*/ 62967 w 173"/>
                <a:gd name="T53" fmla="*/ 71363 h 192"/>
                <a:gd name="T54" fmla="*/ 59948 w 173"/>
                <a:gd name="T55" fmla="*/ 77093 h 192"/>
                <a:gd name="T56" fmla="*/ 56067 w 173"/>
                <a:gd name="T57" fmla="*/ 83344 h 192"/>
                <a:gd name="T58" fmla="*/ 50460 w 173"/>
                <a:gd name="T59" fmla="*/ 90637 h 192"/>
                <a:gd name="T60" fmla="*/ 42697 w 173"/>
                <a:gd name="T61" fmla="*/ 100013 h 192"/>
                <a:gd name="T62" fmla="*/ 37090 w 173"/>
                <a:gd name="T63" fmla="*/ 95325 h 192"/>
                <a:gd name="T64" fmla="*/ 31915 w 173"/>
                <a:gd name="T65" fmla="*/ 91679 h 192"/>
                <a:gd name="T66" fmla="*/ 27171 w 173"/>
                <a:gd name="T67" fmla="*/ 88032 h 192"/>
                <a:gd name="T68" fmla="*/ 23289 w 173"/>
                <a:gd name="T69" fmla="*/ 84907 h 192"/>
                <a:gd name="T70" fmla="*/ 19839 w 173"/>
                <a:gd name="T71" fmla="*/ 81261 h 192"/>
                <a:gd name="T72" fmla="*/ 17251 w 173"/>
                <a:gd name="T73" fmla="*/ 78135 h 192"/>
                <a:gd name="T74" fmla="*/ 14664 w 173"/>
                <a:gd name="T75" fmla="*/ 75010 h 192"/>
                <a:gd name="T76" fmla="*/ 12938 w 173"/>
                <a:gd name="T77" fmla="*/ 71363 h 192"/>
                <a:gd name="T78" fmla="*/ 9488 w 173"/>
                <a:gd name="T79" fmla="*/ 64071 h 192"/>
                <a:gd name="T80" fmla="*/ 6901 w 173"/>
                <a:gd name="T81" fmla="*/ 55736 h 192"/>
                <a:gd name="T82" fmla="*/ 3882 w 173"/>
                <a:gd name="T83" fmla="*/ 46881 h 192"/>
                <a:gd name="T84" fmla="*/ 0 w 173"/>
                <a:gd name="T85" fmla="*/ 35421 h 19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4" name="Freeform 265">
              <a:extLst>
                <a:ext uri="{FF2B5EF4-FFF2-40B4-BE49-F238E27FC236}">
                  <a16:creationId xmlns:a16="http://schemas.microsoft.com/office/drawing/2014/main" id="{26BDFCBA-EDC9-4561-95B9-81842DCECE2B}"/>
                </a:ext>
              </a:extLst>
            </p:cNvPr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5245101" y="3400426"/>
              <a:ext cx="104775" cy="131763"/>
            </a:xfrm>
            <a:custGeom>
              <a:avLst/>
              <a:gdLst>
                <a:gd name="T0" fmla="*/ 33276 w 233"/>
                <a:gd name="T1" fmla="*/ 0 h 252"/>
                <a:gd name="T2" fmla="*/ 37323 w 233"/>
                <a:gd name="T3" fmla="*/ 1046 h 252"/>
                <a:gd name="T4" fmla="*/ 40021 w 233"/>
                <a:gd name="T5" fmla="*/ 1569 h 252"/>
                <a:gd name="T6" fmla="*/ 42719 w 233"/>
                <a:gd name="T7" fmla="*/ 1569 h 252"/>
                <a:gd name="T8" fmla="*/ 44518 w 233"/>
                <a:gd name="T9" fmla="*/ 1046 h 252"/>
                <a:gd name="T10" fmla="*/ 47666 w 233"/>
                <a:gd name="T11" fmla="*/ 523 h 252"/>
                <a:gd name="T12" fmla="*/ 50814 w 233"/>
                <a:gd name="T13" fmla="*/ 0 h 252"/>
                <a:gd name="T14" fmla="*/ 56210 w 233"/>
                <a:gd name="T15" fmla="*/ 8889 h 252"/>
                <a:gd name="T16" fmla="*/ 62955 w 233"/>
                <a:gd name="T17" fmla="*/ 19346 h 252"/>
                <a:gd name="T18" fmla="*/ 64754 w 233"/>
                <a:gd name="T19" fmla="*/ 21961 h 252"/>
                <a:gd name="T20" fmla="*/ 66552 w 233"/>
                <a:gd name="T21" fmla="*/ 24052 h 252"/>
                <a:gd name="T22" fmla="*/ 68801 w 233"/>
                <a:gd name="T23" fmla="*/ 25621 h 252"/>
                <a:gd name="T24" fmla="*/ 70599 w 233"/>
                <a:gd name="T25" fmla="*/ 27189 h 252"/>
                <a:gd name="T26" fmla="*/ 73298 w 233"/>
                <a:gd name="T27" fmla="*/ 28235 h 252"/>
                <a:gd name="T28" fmla="*/ 75546 w 233"/>
                <a:gd name="T29" fmla="*/ 29281 h 252"/>
                <a:gd name="T30" fmla="*/ 78244 w 233"/>
                <a:gd name="T31" fmla="*/ 29281 h 252"/>
                <a:gd name="T32" fmla="*/ 80942 w 233"/>
                <a:gd name="T33" fmla="*/ 29281 h 252"/>
                <a:gd name="T34" fmla="*/ 80942 w 233"/>
                <a:gd name="T35" fmla="*/ 41830 h 252"/>
                <a:gd name="T36" fmla="*/ 86788 w 233"/>
                <a:gd name="T37" fmla="*/ 53856 h 252"/>
                <a:gd name="T38" fmla="*/ 95332 w 233"/>
                <a:gd name="T39" fmla="*/ 66927 h 252"/>
                <a:gd name="T40" fmla="*/ 96681 w 233"/>
                <a:gd name="T41" fmla="*/ 70587 h 252"/>
                <a:gd name="T42" fmla="*/ 98929 w 233"/>
                <a:gd name="T43" fmla="*/ 74247 h 252"/>
                <a:gd name="T44" fmla="*/ 100278 w 233"/>
                <a:gd name="T45" fmla="*/ 78953 h 252"/>
                <a:gd name="T46" fmla="*/ 101627 w 233"/>
                <a:gd name="T47" fmla="*/ 83659 h 252"/>
                <a:gd name="T48" fmla="*/ 103426 w 233"/>
                <a:gd name="T49" fmla="*/ 88888 h 252"/>
                <a:gd name="T50" fmla="*/ 104325 w 233"/>
                <a:gd name="T51" fmla="*/ 94116 h 252"/>
                <a:gd name="T52" fmla="*/ 104775 w 233"/>
                <a:gd name="T53" fmla="*/ 99868 h 252"/>
                <a:gd name="T54" fmla="*/ 104775 w 233"/>
                <a:gd name="T55" fmla="*/ 106665 h 252"/>
                <a:gd name="T56" fmla="*/ 104325 w 233"/>
                <a:gd name="T57" fmla="*/ 112940 h 252"/>
                <a:gd name="T58" fmla="*/ 103426 w 233"/>
                <a:gd name="T59" fmla="*/ 119214 h 252"/>
                <a:gd name="T60" fmla="*/ 102077 w 233"/>
                <a:gd name="T61" fmla="*/ 125489 h 252"/>
                <a:gd name="T62" fmla="*/ 101627 w 233"/>
                <a:gd name="T63" fmla="*/ 131763 h 252"/>
                <a:gd name="T64" fmla="*/ 99829 w 233"/>
                <a:gd name="T65" fmla="*/ 131763 h 252"/>
                <a:gd name="T66" fmla="*/ 96681 w 233"/>
                <a:gd name="T67" fmla="*/ 130717 h 252"/>
                <a:gd name="T68" fmla="*/ 93533 w 233"/>
                <a:gd name="T69" fmla="*/ 128626 h 252"/>
                <a:gd name="T70" fmla="*/ 89036 w 233"/>
                <a:gd name="T71" fmla="*/ 126011 h 252"/>
                <a:gd name="T72" fmla="*/ 79143 w 233"/>
                <a:gd name="T73" fmla="*/ 118168 h 252"/>
                <a:gd name="T74" fmla="*/ 67901 w 233"/>
                <a:gd name="T75" fmla="*/ 108757 h 252"/>
                <a:gd name="T76" fmla="*/ 56210 w 233"/>
                <a:gd name="T77" fmla="*/ 97254 h 252"/>
                <a:gd name="T78" fmla="*/ 44968 w 233"/>
                <a:gd name="T79" fmla="*/ 86273 h 252"/>
                <a:gd name="T80" fmla="*/ 35075 w 233"/>
                <a:gd name="T81" fmla="*/ 75816 h 252"/>
                <a:gd name="T82" fmla="*/ 27430 w 233"/>
                <a:gd name="T83" fmla="*/ 67450 h 252"/>
                <a:gd name="T84" fmla="*/ 24732 w 233"/>
                <a:gd name="T85" fmla="*/ 65359 h 252"/>
                <a:gd name="T86" fmla="*/ 21585 w 233"/>
                <a:gd name="T87" fmla="*/ 62744 h 252"/>
                <a:gd name="T88" fmla="*/ 18437 w 233"/>
                <a:gd name="T89" fmla="*/ 60653 h 252"/>
                <a:gd name="T90" fmla="*/ 14839 w 233"/>
                <a:gd name="T91" fmla="*/ 58561 h 252"/>
                <a:gd name="T92" fmla="*/ 7645 w 233"/>
                <a:gd name="T93" fmla="*/ 54378 h 252"/>
                <a:gd name="T94" fmla="*/ 0 w 233"/>
                <a:gd name="T95" fmla="*/ 51764 h 252"/>
                <a:gd name="T96" fmla="*/ 17987 w 233"/>
                <a:gd name="T97" fmla="*/ 32941 h 252"/>
                <a:gd name="T98" fmla="*/ 26531 w 233"/>
                <a:gd name="T99" fmla="*/ 22483 h 252"/>
                <a:gd name="T100" fmla="*/ 29229 w 233"/>
                <a:gd name="T101" fmla="*/ 17255 h 252"/>
                <a:gd name="T102" fmla="*/ 31028 w 233"/>
                <a:gd name="T103" fmla="*/ 13072 h 252"/>
                <a:gd name="T104" fmla="*/ 32377 w 233"/>
                <a:gd name="T105" fmla="*/ 7320 h 252"/>
                <a:gd name="T106" fmla="*/ 33276 w 233"/>
                <a:gd name="T107" fmla="*/ 0 h 2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5" name="Freeform 266">
              <a:extLst>
                <a:ext uri="{FF2B5EF4-FFF2-40B4-BE49-F238E27FC236}">
                  <a16:creationId xmlns:a16="http://schemas.microsoft.com/office/drawing/2014/main" id="{0985737C-0C84-4097-8071-E63B52E0199A}"/>
                </a:ext>
              </a:extLst>
            </p:cNvPr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5459414" y="3319463"/>
              <a:ext cx="104775" cy="201612"/>
            </a:xfrm>
            <a:custGeom>
              <a:avLst/>
              <a:gdLst>
                <a:gd name="T0" fmla="*/ 5537 w 246"/>
                <a:gd name="T1" fmla="*/ 199490 h 380"/>
                <a:gd name="T2" fmla="*/ 5963 w 246"/>
                <a:gd name="T3" fmla="*/ 194715 h 380"/>
                <a:gd name="T4" fmla="*/ 6389 w 246"/>
                <a:gd name="T5" fmla="*/ 190470 h 380"/>
                <a:gd name="T6" fmla="*/ 7666 w 246"/>
                <a:gd name="T7" fmla="*/ 186226 h 380"/>
                <a:gd name="T8" fmla="*/ 8518 w 246"/>
                <a:gd name="T9" fmla="*/ 182512 h 380"/>
                <a:gd name="T10" fmla="*/ 10648 w 246"/>
                <a:gd name="T11" fmla="*/ 176676 h 380"/>
                <a:gd name="T12" fmla="*/ 11074 w 246"/>
                <a:gd name="T13" fmla="*/ 173492 h 380"/>
                <a:gd name="T14" fmla="*/ 10648 w 246"/>
                <a:gd name="T15" fmla="*/ 170309 h 380"/>
                <a:gd name="T16" fmla="*/ 9796 w 246"/>
                <a:gd name="T17" fmla="*/ 166595 h 380"/>
                <a:gd name="T18" fmla="*/ 8092 w 246"/>
                <a:gd name="T19" fmla="*/ 161820 h 380"/>
                <a:gd name="T20" fmla="*/ 5537 w 246"/>
                <a:gd name="T21" fmla="*/ 156515 h 380"/>
                <a:gd name="T22" fmla="*/ 3833 w 246"/>
                <a:gd name="T23" fmla="*/ 151209 h 380"/>
                <a:gd name="T24" fmla="*/ 1704 w 246"/>
                <a:gd name="T25" fmla="*/ 145903 h 380"/>
                <a:gd name="T26" fmla="*/ 426 w 246"/>
                <a:gd name="T27" fmla="*/ 141659 h 380"/>
                <a:gd name="T28" fmla="*/ 0 w 246"/>
                <a:gd name="T29" fmla="*/ 137414 h 380"/>
                <a:gd name="T30" fmla="*/ 426 w 246"/>
                <a:gd name="T31" fmla="*/ 133170 h 380"/>
                <a:gd name="T32" fmla="*/ 852 w 246"/>
                <a:gd name="T33" fmla="*/ 128926 h 380"/>
                <a:gd name="T34" fmla="*/ 1278 w 246"/>
                <a:gd name="T35" fmla="*/ 125212 h 380"/>
                <a:gd name="T36" fmla="*/ 2555 w 246"/>
                <a:gd name="T37" fmla="*/ 122028 h 380"/>
                <a:gd name="T38" fmla="*/ 4685 w 246"/>
                <a:gd name="T39" fmla="*/ 115662 h 380"/>
                <a:gd name="T40" fmla="*/ 8092 w 246"/>
                <a:gd name="T41" fmla="*/ 109825 h 380"/>
                <a:gd name="T42" fmla="*/ 11074 w 246"/>
                <a:gd name="T43" fmla="*/ 104520 h 380"/>
                <a:gd name="T44" fmla="*/ 14481 w 246"/>
                <a:gd name="T45" fmla="*/ 98153 h 380"/>
                <a:gd name="T46" fmla="*/ 17463 w 246"/>
                <a:gd name="T47" fmla="*/ 91787 h 380"/>
                <a:gd name="T48" fmla="*/ 20018 w 246"/>
                <a:gd name="T49" fmla="*/ 84889 h 380"/>
                <a:gd name="T50" fmla="*/ 11074 w 246"/>
                <a:gd name="T51" fmla="*/ 38731 h 380"/>
                <a:gd name="T52" fmla="*/ 11074 w 246"/>
                <a:gd name="T53" fmla="*/ 26528 h 380"/>
                <a:gd name="T54" fmla="*/ 10222 w 246"/>
                <a:gd name="T55" fmla="*/ 17508 h 380"/>
                <a:gd name="T56" fmla="*/ 10222 w 246"/>
                <a:gd name="T57" fmla="*/ 13264 h 380"/>
                <a:gd name="T58" fmla="*/ 10222 w 246"/>
                <a:gd name="T59" fmla="*/ 8489 h 380"/>
                <a:gd name="T60" fmla="*/ 10648 w 246"/>
                <a:gd name="T61" fmla="*/ 4244 h 380"/>
                <a:gd name="T62" fmla="*/ 11074 w 246"/>
                <a:gd name="T63" fmla="*/ 0 h 380"/>
                <a:gd name="T64" fmla="*/ 76665 w 246"/>
                <a:gd name="T65" fmla="*/ 0 h 380"/>
                <a:gd name="T66" fmla="*/ 93701 w 246"/>
                <a:gd name="T67" fmla="*/ 68442 h 380"/>
                <a:gd name="T68" fmla="*/ 93701 w 246"/>
                <a:gd name="T69" fmla="*/ 111417 h 380"/>
                <a:gd name="T70" fmla="*/ 93701 w 246"/>
                <a:gd name="T71" fmla="*/ 116723 h 380"/>
                <a:gd name="T72" fmla="*/ 94127 w 246"/>
                <a:gd name="T73" fmla="*/ 122028 h 380"/>
                <a:gd name="T74" fmla="*/ 94979 w 246"/>
                <a:gd name="T75" fmla="*/ 127334 h 380"/>
                <a:gd name="T76" fmla="*/ 95831 w 246"/>
                <a:gd name="T77" fmla="*/ 132639 h 380"/>
                <a:gd name="T78" fmla="*/ 97109 w 246"/>
                <a:gd name="T79" fmla="*/ 137414 h 380"/>
                <a:gd name="T80" fmla="*/ 99664 w 246"/>
                <a:gd name="T81" fmla="*/ 142190 h 380"/>
                <a:gd name="T82" fmla="*/ 101794 w 246"/>
                <a:gd name="T83" fmla="*/ 147495 h 380"/>
                <a:gd name="T84" fmla="*/ 104775 w 246"/>
                <a:gd name="T85" fmla="*/ 153331 h 380"/>
                <a:gd name="T86" fmla="*/ 95405 w 246"/>
                <a:gd name="T87" fmla="*/ 156515 h 380"/>
                <a:gd name="T88" fmla="*/ 86035 w 246"/>
                <a:gd name="T89" fmla="*/ 160228 h 380"/>
                <a:gd name="T90" fmla="*/ 77091 w 246"/>
                <a:gd name="T91" fmla="*/ 164473 h 380"/>
                <a:gd name="T92" fmla="*/ 68146 w 246"/>
                <a:gd name="T93" fmla="*/ 169248 h 380"/>
                <a:gd name="T94" fmla="*/ 60054 w 246"/>
                <a:gd name="T95" fmla="*/ 174023 h 380"/>
                <a:gd name="T96" fmla="*/ 51110 w 246"/>
                <a:gd name="T97" fmla="*/ 179329 h 380"/>
                <a:gd name="T98" fmla="*/ 42591 w 246"/>
                <a:gd name="T99" fmla="*/ 184104 h 380"/>
                <a:gd name="T100" fmla="*/ 34073 w 246"/>
                <a:gd name="T101" fmla="*/ 189940 h 380"/>
                <a:gd name="T102" fmla="*/ 31944 w 246"/>
                <a:gd name="T103" fmla="*/ 192593 h 380"/>
                <a:gd name="T104" fmla="*/ 29388 w 246"/>
                <a:gd name="T105" fmla="*/ 194715 h 380"/>
                <a:gd name="T106" fmla="*/ 26407 w 246"/>
                <a:gd name="T107" fmla="*/ 197368 h 380"/>
                <a:gd name="T108" fmla="*/ 22999 w 246"/>
                <a:gd name="T109" fmla="*/ 199490 h 380"/>
                <a:gd name="T110" fmla="*/ 19592 w 246"/>
                <a:gd name="T111" fmla="*/ 201081 h 380"/>
                <a:gd name="T112" fmla="*/ 15333 w 246"/>
                <a:gd name="T113" fmla="*/ 201612 h 380"/>
                <a:gd name="T114" fmla="*/ 13203 w 246"/>
                <a:gd name="T115" fmla="*/ 201612 h 380"/>
                <a:gd name="T116" fmla="*/ 10648 w 246"/>
                <a:gd name="T117" fmla="*/ 201081 h 380"/>
                <a:gd name="T118" fmla="*/ 8518 w 246"/>
                <a:gd name="T119" fmla="*/ 200551 h 380"/>
                <a:gd name="T120" fmla="*/ 5537 w 246"/>
                <a:gd name="T121" fmla="*/ 199490 h 38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6" name="Freeform 267">
              <a:extLst>
                <a:ext uri="{FF2B5EF4-FFF2-40B4-BE49-F238E27FC236}">
                  <a16:creationId xmlns:a16="http://schemas.microsoft.com/office/drawing/2014/main" id="{57038A34-0011-4859-B5C4-8FCDE255960B}"/>
                </a:ext>
              </a:extLst>
            </p:cNvPr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5111751" y="3235325"/>
              <a:ext cx="87313" cy="58738"/>
            </a:xfrm>
            <a:custGeom>
              <a:avLst/>
              <a:gdLst>
                <a:gd name="T0" fmla="*/ 3167 w 193"/>
                <a:gd name="T1" fmla="*/ 30915 h 38"/>
                <a:gd name="T2" fmla="*/ 17191 w 193"/>
                <a:gd name="T3" fmla="*/ 17003 h 38"/>
                <a:gd name="T4" fmla="*/ 30311 w 193"/>
                <a:gd name="T5" fmla="*/ 7729 h 38"/>
                <a:gd name="T6" fmla="*/ 36192 w 193"/>
                <a:gd name="T7" fmla="*/ 4637 h 38"/>
                <a:gd name="T8" fmla="*/ 42526 w 193"/>
                <a:gd name="T9" fmla="*/ 3091 h 38"/>
                <a:gd name="T10" fmla="*/ 49764 w 193"/>
                <a:gd name="T11" fmla="*/ 1546 h 38"/>
                <a:gd name="T12" fmla="*/ 57002 w 193"/>
                <a:gd name="T13" fmla="*/ 0 h 38"/>
                <a:gd name="T14" fmla="*/ 62431 w 193"/>
                <a:gd name="T15" fmla="*/ 1546 h 38"/>
                <a:gd name="T16" fmla="*/ 67407 w 193"/>
                <a:gd name="T17" fmla="*/ 1546 h 38"/>
                <a:gd name="T18" fmla="*/ 72384 w 193"/>
                <a:gd name="T19" fmla="*/ 3091 h 38"/>
                <a:gd name="T20" fmla="*/ 76455 w 193"/>
                <a:gd name="T21" fmla="*/ 6183 h 38"/>
                <a:gd name="T22" fmla="*/ 80527 w 193"/>
                <a:gd name="T23" fmla="*/ 9274 h 38"/>
                <a:gd name="T24" fmla="*/ 83241 w 193"/>
                <a:gd name="T25" fmla="*/ 17003 h 38"/>
                <a:gd name="T26" fmla="*/ 84599 w 193"/>
                <a:gd name="T27" fmla="*/ 20095 h 38"/>
                <a:gd name="T28" fmla="*/ 85503 w 193"/>
                <a:gd name="T29" fmla="*/ 27823 h 38"/>
                <a:gd name="T30" fmla="*/ 86408 w 193"/>
                <a:gd name="T31" fmla="*/ 32460 h 38"/>
                <a:gd name="T32" fmla="*/ 87313 w 193"/>
                <a:gd name="T33" fmla="*/ 40189 h 38"/>
                <a:gd name="T34" fmla="*/ 82789 w 193"/>
                <a:gd name="T35" fmla="*/ 41735 h 38"/>
                <a:gd name="T36" fmla="*/ 78265 w 193"/>
                <a:gd name="T37" fmla="*/ 43281 h 38"/>
                <a:gd name="T38" fmla="*/ 74646 w 193"/>
                <a:gd name="T39" fmla="*/ 43281 h 38"/>
                <a:gd name="T40" fmla="*/ 70574 w 193"/>
                <a:gd name="T41" fmla="*/ 43281 h 38"/>
                <a:gd name="T42" fmla="*/ 62431 w 193"/>
                <a:gd name="T43" fmla="*/ 41735 h 38"/>
                <a:gd name="T44" fmla="*/ 54288 w 193"/>
                <a:gd name="T45" fmla="*/ 40189 h 38"/>
                <a:gd name="T46" fmla="*/ 46597 w 193"/>
                <a:gd name="T47" fmla="*/ 40189 h 38"/>
                <a:gd name="T48" fmla="*/ 40264 w 193"/>
                <a:gd name="T49" fmla="*/ 43281 h 38"/>
                <a:gd name="T50" fmla="*/ 34382 w 193"/>
                <a:gd name="T51" fmla="*/ 46372 h 38"/>
                <a:gd name="T52" fmla="*/ 28501 w 193"/>
                <a:gd name="T53" fmla="*/ 49464 h 38"/>
                <a:gd name="T54" fmla="*/ 22168 w 193"/>
                <a:gd name="T55" fmla="*/ 52555 h 38"/>
                <a:gd name="T56" fmla="*/ 15834 w 193"/>
                <a:gd name="T57" fmla="*/ 55647 h 38"/>
                <a:gd name="T58" fmla="*/ 8596 w 193"/>
                <a:gd name="T59" fmla="*/ 57192 h 38"/>
                <a:gd name="T60" fmla="*/ 0 w 193"/>
                <a:gd name="T61" fmla="*/ 58738 h 38"/>
                <a:gd name="T62" fmla="*/ 0 w 193"/>
                <a:gd name="T63" fmla="*/ 51009 h 38"/>
                <a:gd name="T64" fmla="*/ 452 w 193"/>
                <a:gd name="T65" fmla="*/ 44826 h 38"/>
                <a:gd name="T66" fmla="*/ 1357 w 193"/>
                <a:gd name="T67" fmla="*/ 37098 h 38"/>
                <a:gd name="T68" fmla="*/ 3167 w 193"/>
                <a:gd name="T69" fmla="*/ 30915 h 3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7" name="Freeform 268">
              <a:extLst>
                <a:ext uri="{FF2B5EF4-FFF2-40B4-BE49-F238E27FC236}">
                  <a16:creationId xmlns:a16="http://schemas.microsoft.com/office/drawing/2014/main" id="{328FB802-0FA8-4A2C-BA82-DA3DF63164AB}"/>
                </a:ext>
              </a:extLst>
            </p:cNvPr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5537201" y="3313114"/>
              <a:ext cx="42863" cy="155575"/>
            </a:xfrm>
            <a:custGeom>
              <a:avLst/>
              <a:gdLst>
                <a:gd name="T0" fmla="*/ 22947 w 99"/>
                <a:gd name="T1" fmla="*/ 6202 h 301"/>
                <a:gd name="T2" fmla="*/ 25545 w 99"/>
                <a:gd name="T3" fmla="*/ 6202 h 301"/>
                <a:gd name="T4" fmla="*/ 25545 w 99"/>
                <a:gd name="T5" fmla="*/ 9820 h 301"/>
                <a:gd name="T6" fmla="*/ 26843 w 99"/>
                <a:gd name="T7" fmla="*/ 13438 h 301"/>
                <a:gd name="T8" fmla="*/ 27276 w 99"/>
                <a:gd name="T9" fmla="*/ 17056 h 301"/>
                <a:gd name="T10" fmla="*/ 28575 w 99"/>
                <a:gd name="T11" fmla="*/ 21708 h 301"/>
                <a:gd name="T12" fmla="*/ 31173 w 99"/>
                <a:gd name="T13" fmla="*/ 29978 h 301"/>
                <a:gd name="T14" fmla="*/ 34204 w 99"/>
                <a:gd name="T15" fmla="*/ 38765 h 301"/>
                <a:gd name="T16" fmla="*/ 37667 w 99"/>
                <a:gd name="T17" fmla="*/ 48068 h 301"/>
                <a:gd name="T18" fmla="*/ 40265 w 99"/>
                <a:gd name="T19" fmla="*/ 57372 h 301"/>
                <a:gd name="T20" fmla="*/ 41564 w 99"/>
                <a:gd name="T21" fmla="*/ 62023 h 301"/>
                <a:gd name="T22" fmla="*/ 42430 w 99"/>
                <a:gd name="T23" fmla="*/ 66675 h 301"/>
                <a:gd name="T24" fmla="*/ 42863 w 99"/>
                <a:gd name="T25" fmla="*/ 71327 h 301"/>
                <a:gd name="T26" fmla="*/ 42863 w 99"/>
                <a:gd name="T27" fmla="*/ 76495 h 301"/>
                <a:gd name="T28" fmla="*/ 42863 w 99"/>
                <a:gd name="T29" fmla="*/ 149373 h 301"/>
                <a:gd name="T30" fmla="*/ 38533 w 99"/>
                <a:gd name="T31" fmla="*/ 149890 h 301"/>
                <a:gd name="T32" fmla="*/ 34637 w 99"/>
                <a:gd name="T33" fmla="*/ 151440 h 301"/>
                <a:gd name="T34" fmla="*/ 31606 w 99"/>
                <a:gd name="T35" fmla="*/ 153508 h 301"/>
                <a:gd name="T36" fmla="*/ 28575 w 99"/>
                <a:gd name="T37" fmla="*/ 155575 h 301"/>
                <a:gd name="T38" fmla="*/ 25545 w 99"/>
                <a:gd name="T39" fmla="*/ 149890 h 301"/>
                <a:gd name="T40" fmla="*/ 23380 w 99"/>
                <a:gd name="T41" fmla="*/ 144721 h 301"/>
                <a:gd name="T42" fmla="*/ 20782 w 99"/>
                <a:gd name="T43" fmla="*/ 140069 h 301"/>
                <a:gd name="T44" fmla="*/ 19483 w 99"/>
                <a:gd name="T45" fmla="*/ 135417 h 301"/>
                <a:gd name="T46" fmla="*/ 18617 w 99"/>
                <a:gd name="T47" fmla="*/ 130249 h 301"/>
                <a:gd name="T48" fmla="*/ 17751 w 99"/>
                <a:gd name="T49" fmla="*/ 125080 h 301"/>
                <a:gd name="T50" fmla="*/ 17318 w 99"/>
                <a:gd name="T51" fmla="*/ 119912 h 301"/>
                <a:gd name="T52" fmla="*/ 17318 w 99"/>
                <a:gd name="T53" fmla="*/ 114743 h 301"/>
                <a:gd name="T54" fmla="*/ 17318 w 99"/>
                <a:gd name="T55" fmla="*/ 72877 h 301"/>
                <a:gd name="T56" fmla="*/ 0 w 99"/>
                <a:gd name="T57" fmla="*/ 3101 h 301"/>
                <a:gd name="T58" fmla="*/ 2165 w 99"/>
                <a:gd name="T59" fmla="*/ 1034 h 301"/>
                <a:gd name="T60" fmla="*/ 4330 w 99"/>
                <a:gd name="T61" fmla="*/ 0 h 301"/>
                <a:gd name="T62" fmla="*/ 6061 w 99"/>
                <a:gd name="T63" fmla="*/ 0 h 301"/>
                <a:gd name="T64" fmla="*/ 8659 w 99"/>
                <a:gd name="T65" fmla="*/ 0 h 301"/>
                <a:gd name="T66" fmla="*/ 11257 w 99"/>
                <a:gd name="T67" fmla="*/ 0 h 301"/>
                <a:gd name="T68" fmla="*/ 13855 w 99"/>
                <a:gd name="T69" fmla="*/ 1034 h 301"/>
                <a:gd name="T70" fmla="*/ 16020 w 99"/>
                <a:gd name="T71" fmla="*/ 2067 h 301"/>
                <a:gd name="T72" fmla="*/ 17751 w 99"/>
                <a:gd name="T73" fmla="*/ 3101 h 301"/>
                <a:gd name="T74" fmla="*/ 20349 w 99"/>
                <a:gd name="T75" fmla="*/ 5169 h 301"/>
                <a:gd name="T76" fmla="*/ 22947 w 99"/>
                <a:gd name="T77" fmla="*/ 6202 h 30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8" name="Freeform 269">
              <a:extLst>
                <a:ext uri="{FF2B5EF4-FFF2-40B4-BE49-F238E27FC236}">
                  <a16:creationId xmlns:a16="http://schemas.microsoft.com/office/drawing/2014/main" id="{2E92D1B4-E0F3-4F34-B390-6BF3A5A93102}"/>
                </a:ext>
              </a:extLst>
            </p:cNvPr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5562600" y="3275013"/>
              <a:ext cx="76200" cy="188912"/>
            </a:xfrm>
            <a:custGeom>
              <a:avLst/>
              <a:gdLst>
                <a:gd name="T0" fmla="*/ 0 w 173"/>
                <a:gd name="T1" fmla="*/ 42333 h 357"/>
                <a:gd name="T2" fmla="*/ 3964 w 173"/>
                <a:gd name="T3" fmla="*/ 38100 h 357"/>
                <a:gd name="T4" fmla="*/ 7488 w 173"/>
                <a:gd name="T5" fmla="*/ 34396 h 357"/>
                <a:gd name="T6" fmla="*/ 11012 w 173"/>
                <a:gd name="T7" fmla="*/ 31750 h 357"/>
                <a:gd name="T8" fmla="*/ 14535 w 173"/>
                <a:gd name="T9" fmla="*/ 29633 h 357"/>
                <a:gd name="T10" fmla="*/ 17618 w 173"/>
                <a:gd name="T11" fmla="*/ 26458 h 357"/>
                <a:gd name="T12" fmla="*/ 29511 w 173"/>
                <a:gd name="T13" fmla="*/ 26458 h 357"/>
                <a:gd name="T14" fmla="*/ 41403 w 173"/>
                <a:gd name="T15" fmla="*/ 0 h 357"/>
                <a:gd name="T16" fmla="*/ 44487 w 173"/>
                <a:gd name="T17" fmla="*/ 1587 h 357"/>
                <a:gd name="T18" fmla="*/ 47570 w 173"/>
                <a:gd name="T19" fmla="*/ 3704 h 357"/>
                <a:gd name="T20" fmla="*/ 51094 w 173"/>
                <a:gd name="T21" fmla="*/ 6350 h 357"/>
                <a:gd name="T22" fmla="*/ 54177 w 173"/>
                <a:gd name="T23" fmla="*/ 9525 h 357"/>
                <a:gd name="T24" fmla="*/ 57701 w 173"/>
                <a:gd name="T25" fmla="*/ 11642 h 357"/>
                <a:gd name="T26" fmla="*/ 61224 w 173"/>
                <a:gd name="T27" fmla="*/ 14287 h 357"/>
                <a:gd name="T28" fmla="*/ 63867 w 173"/>
                <a:gd name="T29" fmla="*/ 15346 h 357"/>
                <a:gd name="T30" fmla="*/ 67391 w 173"/>
                <a:gd name="T31" fmla="*/ 15875 h 357"/>
                <a:gd name="T32" fmla="*/ 71795 w 173"/>
                <a:gd name="T33" fmla="*/ 20637 h 357"/>
                <a:gd name="T34" fmla="*/ 76200 w 173"/>
                <a:gd name="T35" fmla="*/ 26458 h 357"/>
                <a:gd name="T36" fmla="*/ 76200 w 173"/>
                <a:gd name="T37" fmla="*/ 32279 h 357"/>
                <a:gd name="T38" fmla="*/ 76200 w 173"/>
                <a:gd name="T39" fmla="*/ 36512 h 357"/>
                <a:gd name="T40" fmla="*/ 76200 w 173"/>
                <a:gd name="T41" fmla="*/ 42333 h 357"/>
                <a:gd name="T42" fmla="*/ 76200 w 173"/>
                <a:gd name="T43" fmla="*/ 51858 h 357"/>
                <a:gd name="T44" fmla="*/ 76200 w 173"/>
                <a:gd name="T45" fmla="*/ 57679 h 357"/>
                <a:gd name="T46" fmla="*/ 75319 w 173"/>
                <a:gd name="T47" fmla="*/ 62442 h 357"/>
                <a:gd name="T48" fmla="*/ 73557 w 173"/>
                <a:gd name="T49" fmla="*/ 67204 h 357"/>
                <a:gd name="T50" fmla="*/ 71795 w 173"/>
                <a:gd name="T51" fmla="*/ 71437 h 357"/>
                <a:gd name="T52" fmla="*/ 66950 w 173"/>
                <a:gd name="T53" fmla="*/ 79904 h 357"/>
                <a:gd name="T54" fmla="*/ 61665 w 173"/>
                <a:gd name="T55" fmla="*/ 88371 h 357"/>
                <a:gd name="T56" fmla="*/ 56379 w 173"/>
                <a:gd name="T57" fmla="*/ 96837 h 357"/>
                <a:gd name="T58" fmla="*/ 51534 w 173"/>
                <a:gd name="T59" fmla="*/ 105833 h 357"/>
                <a:gd name="T60" fmla="*/ 49332 w 173"/>
                <a:gd name="T61" fmla="*/ 110596 h 357"/>
                <a:gd name="T62" fmla="*/ 48010 w 173"/>
                <a:gd name="T63" fmla="*/ 115887 h 357"/>
                <a:gd name="T64" fmla="*/ 47570 w 173"/>
                <a:gd name="T65" fmla="*/ 121179 h 357"/>
                <a:gd name="T66" fmla="*/ 47129 w 173"/>
                <a:gd name="T67" fmla="*/ 127000 h 357"/>
                <a:gd name="T68" fmla="*/ 47570 w 173"/>
                <a:gd name="T69" fmla="*/ 144462 h 357"/>
                <a:gd name="T70" fmla="*/ 48010 w 173"/>
                <a:gd name="T71" fmla="*/ 155045 h 357"/>
                <a:gd name="T72" fmla="*/ 48451 w 173"/>
                <a:gd name="T73" fmla="*/ 159808 h 357"/>
                <a:gd name="T74" fmla="*/ 48010 w 173"/>
                <a:gd name="T75" fmla="*/ 165629 h 357"/>
                <a:gd name="T76" fmla="*/ 48010 w 173"/>
                <a:gd name="T77" fmla="*/ 173037 h 357"/>
                <a:gd name="T78" fmla="*/ 47129 w 173"/>
                <a:gd name="T79" fmla="*/ 182562 h 357"/>
                <a:gd name="T80" fmla="*/ 42725 w 173"/>
                <a:gd name="T81" fmla="*/ 183091 h 357"/>
                <a:gd name="T82" fmla="*/ 38761 w 173"/>
                <a:gd name="T83" fmla="*/ 183620 h 357"/>
                <a:gd name="T84" fmla="*/ 34797 w 173"/>
                <a:gd name="T85" fmla="*/ 184679 h 357"/>
                <a:gd name="T86" fmla="*/ 31273 w 173"/>
                <a:gd name="T87" fmla="*/ 185737 h 357"/>
                <a:gd name="T88" fmla="*/ 27749 w 173"/>
                <a:gd name="T89" fmla="*/ 186795 h 357"/>
                <a:gd name="T90" fmla="*/ 24225 w 173"/>
                <a:gd name="T91" fmla="*/ 187854 h 357"/>
                <a:gd name="T92" fmla="*/ 21142 w 173"/>
                <a:gd name="T93" fmla="*/ 188912 h 357"/>
                <a:gd name="T94" fmla="*/ 17618 w 173"/>
                <a:gd name="T95" fmla="*/ 188912 h 357"/>
                <a:gd name="T96" fmla="*/ 17618 w 173"/>
                <a:gd name="T97" fmla="*/ 114300 h 357"/>
                <a:gd name="T98" fmla="*/ 17618 w 173"/>
                <a:gd name="T99" fmla="*/ 109008 h 357"/>
                <a:gd name="T100" fmla="*/ 17178 w 173"/>
                <a:gd name="T101" fmla="*/ 104246 h 357"/>
                <a:gd name="T102" fmla="*/ 16297 w 173"/>
                <a:gd name="T103" fmla="*/ 99483 h 357"/>
                <a:gd name="T104" fmla="*/ 14976 w 173"/>
                <a:gd name="T105" fmla="*/ 94721 h 357"/>
                <a:gd name="T106" fmla="*/ 12333 w 173"/>
                <a:gd name="T107" fmla="*/ 85196 h 357"/>
                <a:gd name="T108" fmla="*/ 8809 w 173"/>
                <a:gd name="T109" fmla="*/ 75671 h 357"/>
                <a:gd name="T110" fmla="*/ 5726 w 173"/>
                <a:gd name="T111" fmla="*/ 66675 h 357"/>
                <a:gd name="T112" fmla="*/ 3083 w 173"/>
                <a:gd name="T113" fmla="*/ 58208 h 357"/>
                <a:gd name="T114" fmla="*/ 1762 w 173"/>
                <a:gd name="T115" fmla="*/ 53446 h 357"/>
                <a:gd name="T116" fmla="*/ 1321 w 173"/>
                <a:gd name="T117" fmla="*/ 49742 h 357"/>
                <a:gd name="T118" fmla="*/ 0 w 173"/>
                <a:gd name="T119" fmla="*/ 46037 h 357"/>
                <a:gd name="T120" fmla="*/ 0 w 173"/>
                <a:gd name="T121" fmla="*/ 42333 h 35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9" name="Freeform 270">
              <a:extLst>
                <a:ext uri="{FF2B5EF4-FFF2-40B4-BE49-F238E27FC236}">
                  <a16:creationId xmlns:a16="http://schemas.microsoft.com/office/drawing/2014/main" id="{0CB611BF-7E57-4F0B-9314-BC68789C7C65}"/>
                </a:ext>
              </a:extLst>
            </p:cNvPr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6291263" y="4479926"/>
              <a:ext cx="25400" cy="60325"/>
            </a:xfrm>
            <a:custGeom>
              <a:avLst/>
              <a:gdLst>
                <a:gd name="T0" fmla="*/ 5080 w 50"/>
                <a:gd name="T1" fmla="*/ 0 h 74"/>
                <a:gd name="T2" fmla="*/ 3048 w 50"/>
                <a:gd name="T3" fmla="*/ 11413 h 74"/>
                <a:gd name="T4" fmla="*/ 1016 w 50"/>
                <a:gd name="T5" fmla="*/ 21195 h 74"/>
                <a:gd name="T6" fmla="*/ 0 w 50"/>
                <a:gd name="T7" fmla="*/ 29347 h 74"/>
                <a:gd name="T8" fmla="*/ 0 w 50"/>
                <a:gd name="T9" fmla="*/ 35054 h 74"/>
                <a:gd name="T10" fmla="*/ 0 w 50"/>
                <a:gd name="T11" fmla="*/ 40760 h 74"/>
                <a:gd name="T12" fmla="*/ 1016 w 50"/>
                <a:gd name="T13" fmla="*/ 45651 h 74"/>
                <a:gd name="T14" fmla="*/ 3048 w 50"/>
                <a:gd name="T15" fmla="*/ 49727 h 74"/>
                <a:gd name="T16" fmla="*/ 5080 w 50"/>
                <a:gd name="T17" fmla="*/ 55434 h 74"/>
                <a:gd name="T18" fmla="*/ 25400 w 50"/>
                <a:gd name="T19" fmla="*/ 60325 h 74"/>
                <a:gd name="T20" fmla="*/ 25400 w 50"/>
                <a:gd name="T21" fmla="*/ 41575 h 74"/>
                <a:gd name="T22" fmla="*/ 25400 w 50"/>
                <a:gd name="T23" fmla="*/ 27717 h 74"/>
                <a:gd name="T24" fmla="*/ 25400 w 50"/>
                <a:gd name="T25" fmla="*/ 15489 h 74"/>
                <a:gd name="T26" fmla="*/ 25400 w 50"/>
                <a:gd name="T27" fmla="*/ 0 h 74"/>
                <a:gd name="T28" fmla="*/ 19304 w 50"/>
                <a:gd name="T29" fmla="*/ 0 h 74"/>
                <a:gd name="T30" fmla="*/ 12700 w 50"/>
                <a:gd name="T31" fmla="*/ 0 h 74"/>
                <a:gd name="T32" fmla="*/ 7112 w 50"/>
                <a:gd name="T33" fmla="*/ 0 h 74"/>
                <a:gd name="T34" fmla="*/ 5080 w 50"/>
                <a:gd name="T35" fmla="*/ 0 h 7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0" name="Freeform 271">
              <a:extLst>
                <a:ext uri="{FF2B5EF4-FFF2-40B4-BE49-F238E27FC236}">
                  <a16:creationId xmlns:a16="http://schemas.microsoft.com/office/drawing/2014/main" id="{18BA53BC-C022-4366-B2B2-2BE352F4E48D}"/>
                </a:ext>
              </a:extLst>
            </p:cNvPr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6186488" y="4576763"/>
              <a:ext cx="61912" cy="57150"/>
            </a:xfrm>
            <a:custGeom>
              <a:avLst/>
              <a:gdLst>
                <a:gd name="T0" fmla="*/ 1376 w 135"/>
                <a:gd name="T1" fmla="*/ 32074 h 98"/>
                <a:gd name="T2" fmla="*/ 5045 w 135"/>
                <a:gd name="T3" fmla="*/ 31491 h 98"/>
                <a:gd name="T4" fmla="*/ 8255 w 135"/>
                <a:gd name="T5" fmla="*/ 30908 h 98"/>
                <a:gd name="T6" fmla="*/ 11007 w 135"/>
                <a:gd name="T7" fmla="*/ 29158 h 98"/>
                <a:gd name="T8" fmla="*/ 14217 w 135"/>
                <a:gd name="T9" fmla="*/ 27409 h 98"/>
                <a:gd name="T10" fmla="*/ 19262 w 135"/>
                <a:gd name="T11" fmla="*/ 22160 h 98"/>
                <a:gd name="T12" fmla="*/ 23848 w 135"/>
                <a:gd name="T13" fmla="*/ 16329 h 98"/>
                <a:gd name="T14" fmla="*/ 27975 w 135"/>
                <a:gd name="T15" fmla="*/ 10497 h 98"/>
                <a:gd name="T16" fmla="*/ 32561 w 135"/>
                <a:gd name="T17" fmla="*/ 4665 h 98"/>
                <a:gd name="T18" fmla="*/ 34854 w 135"/>
                <a:gd name="T19" fmla="*/ 2916 h 98"/>
                <a:gd name="T20" fmla="*/ 37606 w 135"/>
                <a:gd name="T21" fmla="*/ 1166 h 98"/>
                <a:gd name="T22" fmla="*/ 40357 w 135"/>
                <a:gd name="T23" fmla="*/ 0 h 98"/>
                <a:gd name="T24" fmla="*/ 44026 w 135"/>
                <a:gd name="T25" fmla="*/ 0 h 98"/>
                <a:gd name="T26" fmla="*/ 46778 w 135"/>
                <a:gd name="T27" fmla="*/ 0 h 98"/>
                <a:gd name="T28" fmla="*/ 50447 w 135"/>
                <a:gd name="T29" fmla="*/ 1749 h 98"/>
                <a:gd name="T30" fmla="*/ 53657 w 135"/>
                <a:gd name="T31" fmla="*/ 3499 h 98"/>
                <a:gd name="T32" fmla="*/ 56409 w 135"/>
                <a:gd name="T33" fmla="*/ 6415 h 98"/>
                <a:gd name="T34" fmla="*/ 58702 w 135"/>
                <a:gd name="T35" fmla="*/ 9331 h 98"/>
                <a:gd name="T36" fmla="*/ 60536 w 135"/>
                <a:gd name="T37" fmla="*/ 13996 h 98"/>
                <a:gd name="T38" fmla="*/ 61453 w 135"/>
                <a:gd name="T39" fmla="*/ 17495 h 98"/>
                <a:gd name="T40" fmla="*/ 61912 w 135"/>
                <a:gd name="T41" fmla="*/ 21577 h 98"/>
                <a:gd name="T42" fmla="*/ 61453 w 135"/>
                <a:gd name="T43" fmla="*/ 23327 h 98"/>
                <a:gd name="T44" fmla="*/ 60536 w 135"/>
                <a:gd name="T45" fmla="*/ 25076 h 98"/>
                <a:gd name="T46" fmla="*/ 59160 w 135"/>
                <a:gd name="T47" fmla="*/ 27409 h 98"/>
                <a:gd name="T48" fmla="*/ 56867 w 135"/>
                <a:gd name="T49" fmla="*/ 29741 h 98"/>
                <a:gd name="T50" fmla="*/ 51823 w 135"/>
                <a:gd name="T51" fmla="*/ 35573 h 98"/>
                <a:gd name="T52" fmla="*/ 45861 w 135"/>
                <a:gd name="T53" fmla="*/ 41988 h 98"/>
                <a:gd name="T54" fmla="*/ 39899 w 135"/>
                <a:gd name="T55" fmla="*/ 47819 h 98"/>
                <a:gd name="T56" fmla="*/ 33937 w 135"/>
                <a:gd name="T57" fmla="*/ 53068 h 98"/>
                <a:gd name="T58" fmla="*/ 28892 w 135"/>
                <a:gd name="T59" fmla="*/ 55984 h 98"/>
                <a:gd name="T60" fmla="*/ 25223 w 135"/>
                <a:gd name="T61" fmla="*/ 57150 h 98"/>
                <a:gd name="T62" fmla="*/ 23389 w 135"/>
                <a:gd name="T63" fmla="*/ 56567 h 98"/>
                <a:gd name="T64" fmla="*/ 19720 w 135"/>
                <a:gd name="T65" fmla="*/ 53651 h 98"/>
                <a:gd name="T66" fmla="*/ 14675 w 135"/>
                <a:gd name="T67" fmla="*/ 49569 h 98"/>
                <a:gd name="T68" fmla="*/ 9631 w 135"/>
                <a:gd name="T69" fmla="*/ 44904 h 98"/>
                <a:gd name="T70" fmla="*/ 5045 w 135"/>
                <a:gd name="T71" fmla="*/ 39655 h 98"/>
                <a:gd name="T72" fmla="*/ 2293 w 135"/>
                <a:gd name="T73" fmla="*/ 36156 h 98"/>
                <a:gd name="T74" fmla="*/ 459 w 135"/>
                <a:gd name="T75" fmla="*/ 34407 h 98"/>
                <a:gd name="T76" fmla="*/ 0 w 135"/>
                <a:gd name="T77" fmla="*/ 33240 h 98"/>
                <a:gd name="T78" fmla="*/ 0 w 135"/>
                <a:gd name="T79" fmla="*/ 32657 h 98"/>
                <a:gd name="T80" fmla="*/ 1376 w 135"/>
                <a:gd name="T81" fmla="*/ 32074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1" name="Freeform 272">
              <a:extLst>
                <a:ext uri="{FF2B5EF4-FFF2-40B4-BE49-F238E27FC236}">
                  <a16:creationId xmlns:a16="http://schemas.microsoft.com/office/drawing/2014/main" id="{5139BE0F-90FB-4A1A-A2EA-2EE41ABE1013}"/>
                </a:ext>
              </a:extLst>
            </p:cNvPr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8404225" y="2290763"/>
              <a:ext cx="120650" cy="171450"/>
            </a:xfrm>
            <a:custGeom>
              <a:avLst/>
              <a:gdLst>
                <a:gd name="T0" fmla="*/ 108857 w 266"/>
                <a:gd name="T1" fmla="*/ 4733 h 326"/>
                <a:gd name="T2" fmla="*/ 108857 w 266"/>
                <a:gd name="T3" fmla="*/ 14726 h 326"/>
                <a:gd name="T4" fmla="*/ 112939 w 266"/>
                <a:gd name="T5" fmla="*/ 22089 h 326"/>
                <a:gd name="T6" fmla="*/ 111125 w 266"/>
                <a:gd name="T7" fmla="*/ 28926 h 326"/>
                <a:gd name="T8" fmla="*/ 102054 w 266"/>
                <a:gd name="T9" fmla="*/ 26296 h 326"/>
                <a:gd name="T10" fmla="*/ 95250 w 266"/>
                <a:gd name="T11" fmla="*/ 26822 h 326"/>
                <a:gd name="T12" fmla="*/ 88446 w 266"/>
                <a:gd name="T13" fmla="*/ 34185 h 326"/>
                <a:gd name="T14" fmla="*/ 87539 w 266"/>
                <a:gd name="T15" fmla="*/ 41022 h 326"/>
                <a:gd name="T16" fmla="*/ 89807 w 266"/>
                <a:gd name="T17" fmla="*/ 46807 h 326"/>
                <a:gd name="T18" fmla="*/ 97518 w 266"/>
                <a:gd name="T19" fmla="*/ 57851 h 326"/>
                <a:gd name="T20" fmla="*/ 101600 w 266"/>
                <a:gd name="T21" fmla="*/ 64162 h 326"/>
                <a:gd name="T22" fmla="*/ 102054 w 266"/>
                <a:gd name="T23" fmla="*/ 69947 h 326"/>
                <a:gd name="T24" fmla="*/ 100693 w 266"/>
                <a:gd name="T25" fmla="*/ 75207 h 326"/>
                <a:gd name="T26" fmla="*/ 93889 w 266"/>
                <a:gd name="T27" fmla="*/ 80992 h 326"/>
                <a:gd name="T28" fmla="*/ 90714 w 266"/>
                <a:gd name="T29" fmla="*/ 84147 h 326"/>
                <a:gd name="T30" fmla="*/ 82096 w 266"/>
                <a:gd name="T31" fmla="*/ 87303 h 326"/>
                <a:gd name="T32" fmla="*/ 74386 w 266"/>
                <a:gd name="T33" fmla="*/ 93614 h 326"/>
                <a:gd name="T34" fmla="*/ 72571 w 266"/>
                <a:gd name="T35" fmla="*/ 100451 h 326"/>
                <a:gd name="T36" fmla="*/ 78468 w 266"/>
                <a:gd name="T37" fmla="*/ 108865 h 326"/>
                <a:gd name="T38" fmla="*/ 85725 w 266"/>
                <a:gd name="T39" fmla="*/ 113073 h 326"/>
                <a:gd name="T40" fmla="*/ 97064 w 266"/>
                <a:gd name="T41" fmla="*/ 119384 h 326"/>
                <a:gd name="T42" fmla="*/ 111125 w 266"/>
                <a:gd name="T43" fmla="*/ 136213 h 326"/>
                <a:gd name="T44" fmla="*/ 113846 w 266"/>
                <a:gd name="T45" fmla="*/ 149887 h 326"/>
                <a:gd name="T46" fmla="*/ 99786 w 266"/>
                <a:gd name="T47" fmla="*/ 153043 h 326"/>
                <a:gd name="T48" fmla="*/ 93889 w 266"/>
                <a:gd name="T49" fmla="*/ 156724 h 326"/>
                <a:gd name="T50" fmla="*/ 89807 w 266"/>
                <a:gd name="T51" fmla="*/ 164087 h 326"/>
                <a:gd name="T52" fmla="*/ 85725 w 266"/>
                <a:gd name="T53" fmla="*/ 171450 h 326"/>
                <a:gd name="T54" fmla="*/ 77107 w 266"/>
                <a:gd name="T55" fmla="*/ 168820 h 326"/>
                <a:gd name="T56" fmla="*/ 75746 w 266"/>
                <a:gd name="T57" fmla="*/ 166191 h 326"/>
                <a:gd name="T58" fmla="*/ 69850 w 266"/>
                <a:gd name="T59" fmla="*/ 163035 h 326"/>
                <a:gd name="T60" fmla="*/ 63046 w 266"/>
                <a:gd name="T61" fmla="*/ 158302 h 326"/>
                <a:gd name="T62" fmla="*/ 57150 w 266"/>
                <a:gd name="T63" fmla="*/ 155146 h 326"/>
                <a:gd name="T64" fmla="*/ 44450 w 266"/>
                <a:gd name="T65" fmla="*/ 152517 h 326"/>
                <a:gd name="T66" fmla="*/ 28575 w 266"/>
                <a:gd name="T67" fmla="*/ 145680 h 326"/>
                <a:gd name="T68" fmla="*/ 24493 w 266"/>
                <a:gd name="T69" fmla="*/ 140947 h 326"/>
                <a:gd name="T70" fmla="*/ 24946 w 266"/>
                <a:gd name="T71" fmla="*/ 134636 h 326"/>
                <a:gd name="T72" fmla="*/ 31750 w 266"/>
                <a:gd name="T73" fmla="*/ 128325 h 326"/>
                <a:gd name="T74" fmla="*/ 26761 w 266"/>
                <a:gd name="T75" fmla="*/ 116228 h 326"/>
                <a:gd name="T76" fmla="*/ 15421 w 266"/>
                <a:gd name="T77" fmla="*/ 102029 h 326"/>
                <a:gd name="T78" fmla="*/ 5896 w 266"/>
                <a:gd name="T79" fmla="*/ 95717 h 326"/>
                <a:gd name="T80" fmla="*/ 1814 w 266"/>
                <a:gd name="T81" fmla="*/ 89932 h 326"/>
                <a:gd name="T82" fmla="*/ 8618 w 266"/>
                <a:gd name="T83" fmla="*/ 79940 h 326"/>
                <a:gd name="T84" fmla="*/ 24493 w 266"/>
                <a:gd name="T85" fmla="*/ 65214 h 326"/>
                <a:gd name="T86" fmla="*/ 33111 w 266"/>
                <a:gd name="T87" fmla="*/ 55222 h 326"/>
                <a:gd name="T88" fmla="*/ 39914 w 266"/>
                <a:gd name="T89" fmla="*/ 48385 h 326"/>
                <a:gd name="T90" fmla="*/ 49893 w 266"/>
                <a:gd name="T91" fmla="*/ 46281 h 326"/>
                <a:gd name="T92" fmla="*/ 65314 w 266"/>
                <a:gd name="T93" fmla="*/ 36814 h 326"/>
                <a:gd name="T94" fmla="*/ 76200 w 266"/>
                <a:gd name="T95" fmla="*/ 24192 h 326"/>
                <a:gd name="T96" fmla="*/ 86632 w 266"/>
                <a:gd name="T97" fmla="*/ 11044 h 326"/>
                <a:gd name="T98" fmla="*/ 99786 w 266"/>
                <a:gd name="T99" fmla="*/ 2104 h 326"/>
                <a:gd name="T100" fmla="*/ 107950 w 266"/>
                <a:gd name="T101" fmla="*/ 0 h 32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2" name="Freeform 273">
              <a:extLst>
                <a:ext uri="{FF2B5EF4-FFF2-40B4-BE49-F238E27FC236}">
                  <a16:creationId xmlns:a16="http://schemas.microsoft.com/office/drawing/2014/main" id="{B2FBBB60-63C4-4C1D-8B5F-BD38E3A9C5FB}"/>
                </a:ext>
              </a:extLst>
            </p:cNvPr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7475539" y="2705101"/>
              <a:ext cx="206375" cy="123825"/>
            </a:xfrm>
            <a:custGeom>
              <a:avLst/>
              <a:gdLst>
                <a:gd name="T0" fmla="*/ 37682 w 471"/>
                <a:gd name="T1" fmla="*/ 0 h 237"/>
                <a:gd name="T2" fmla="*/ 40311 w 471"/>
                <a:gd name="T3" fmla="*/ 3657 h 237"/>
                <a:gd name="T4" fmla="*/ 44693 w 471"/>
                <a:gd name="T5" fmla="*/ 6792 h 237"/>
                <a:gd name="T6" fmla="*/ 54770 w 471"/>
                <a:gd name="T7" fmla="*/ 12017 h 237"/>
                <a:gd name="T8" fmla="*/ 69668 w 471"/>
                <a:gd name="T9" fmla="*/ 19331 h 237"/>
                <a:gd name="T10" fmla="*/ 97710 w 471"/>
                <a:gd name="T11" fmla="*/ 40230 h 237"/>
                <a:gd name="T12" fmla="*/ 110855 w 471"/>
                <a:gd name="T13" fmla="*/ 50679 h 237"/>
                <a:gd name="T14" fmla="*/ 124000 w 471"/>
                <a:gd name="T15" fmla="*/ 59039 h 237"/>
                <a:gd name="T16" fmla="*/ 138460 w 471"/>
                <a:gd name="T17" fmla="*/ 66353 h 237"/>
                <a:gd name="T18" fmla="*/ 155548 w 471"/>
                <a:gd name="T19" fmla="*/ 72623 h 237"/>
                <a:gd name="T20" fmla="*/ 174827 w 471"/>
                <a:gd name="T21" fmla="*/ 76280 h 237"/>
                <a:gd name="T22" fmla="*/ 197612 w 471"/>
                <a:gd name="T23" fmla="*/ 77325 h 237"/>
                <a:gd name="T24" fmla="*/ 198050 w 471"/>
                <a:gd name="T25" fmla="*/ 97702 h 237"/>
                <a:gd name="T26" fmla="*/ 201117 w 471"/>
                <a:gd name="T27" fmla="*/ 110241 h 237"/>
                <a:gd name="T28" fmla="*/ 204622 w 471"/>
                <a:gd name="T29" fmla="*/ 118600 h 237"/>
                <a:gd name="T30" fmla="*/ 204622 w 471"/>
                <a:gd name="T31" fmla="*/ 123303 h 237"/>
                <a:gd name="T32" fmla="*/ 197612 w 471"/>
                <a:gd name="T33" fmla="*/ 123303 h 237"/>
                <a:gd name="T34" fmla="*/ 182276 w 471"/>
                <a:gd name="T35" fmla="*/ 120690 h 237"/>
                <a:gd name="T36" fmla="*/ 158615 w 471"/>
                <a:gd name="T37" fmla="*/ 114421 h 237"/>
                <a:gd name="T38" fmla="*/ 138021 w 471"/>
                <a:gd name="T39" fmla="*/ 108151 h 237"/>
                <a:gd name="T40" fmla="*/ 128820 w 471"/>
                <a:gd name="T41" fmla="*/ 106061 h 237"/>
                <a:gd name="T42" fmla="*/ 125753 w 471"/>
                <a:gd name="T43" fmla="*/ 103971 h 237"/>
                <a:gd name="T44" fmla="*/ 121371 w 471"/>
                <a:gd name="T45" fmla="*/ 99269 h 237"/>
                <a:gd name="T46" fmla="*/ 116990 w 471"/>
                <a:gd name="T47" fmla="*/ 92999 h 237"/>
                <a:gd name="T48" fmla="*/ 111732 w 471"/>
                <a:gd name="T49" fmla="*/ 86730 h 237"/>
                <a:gd name="T50" fmla="*/ 105159 w 471"/>
                <a:gd name="T51" fmla="*/ 83072 h 237"/>
                <a:gd name="T52" fmla="*/ 99463 w 471"/>
                <a:gd name="T53" fmla="*/ 83072 h 237"/>
                <a:gd name="T54" fmla="*/ 89824 w 471"/>
                <a:gd name="T55" fmla="*/ 85162 h 237"/>
                <a:gd name="T56" fmla="*/ 80184 w 471"/>
                <a:gd name="T57" fmla="*/ 87252 h 237"/>
                <a:gd name="T58" fmla="*/ 74050 w 471"/>
                <a:gd name="T59" fmla="*/ 87775 h 237"/>
                <a:gd name="T60" fmla="*/ 69230 w 471"/>
                <a:gd name="T61" fmla="*/ 85685 h 237"/>
                <a:gd name="T62" fmla="*/ 64848 w 471"/>
                <a:gd name="T63" fmla="*/ 80983 h 237"/>
                <a:gd name="T64" fmla="*/ 60905 w 471"/>
                <a:gd name="T65" fmla="*/ 77325 h 237"/>
                <a:gd name="T66" fmla="*/ 53456 w 471"/>
                <a:gd name="T67" fmla="*/ 75758 h 237"/>
                <a:gd name="T68" fmla="*/ 40311 w 471"/>
                <a:gd name="T69" fmla="*/ 70533 h 237"/>
                <a:gd name="T70" fmla="*/ 21032 w 471"/>
                <a:gd name="T71" fmla="*/ 61129 h 237"/>
                <a:gd name="T72" fmla="*/ 5258 w 471"/>
                <a:gd name="T73" fmla="*/ 50157 h 237"/>
                <a:gd name="T74" fmla="*/ 3067 w 471"/>
                <a:gd name="T75" fmla="*/ 0 h 2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3" name="Freeform 274">
              <a:extLst>
                <a:ext uri="{FF2B5EF4-FFF2-40B4-BE49-F238E27FC236}">
                  <a16:creationId xmlns:a16="http://schemas.microsoft.com/office/drawing/2014/main" id="{7A51308D-A5B9-4B3B-AAD3-674295E007EE}"/>
                </a:ext>
              </a:extLst>
            </p:cNvPr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7691439" y="2760664"/>
              <a:ext cx="73025" cy="65087"/>
            </a:xfrm>
            <a:custGeom>
              <a:avLst/>
              <a:gdLst>
                <a:gd name="T0" fmla="*/ 73025 w 167"/>
                <a:gd name="T1" fmla="*/ 22754 h 123"/>
                <a:gd name="T2" fmla="*/ 71713 w 167"/>
                <a:gd name="T3" fmla="*/ 28575 h 123"/>
                <a:gd name="T4" fmla="*/ 70401 w 167"/>
                <a:gd name="T5" fmla="*/ 34925 h 123"/>
                <a:gd name="T6" fmla="*/ 67778 w 167"/>
                <a:gd name="T7" fmla="*/ 41804 h 123"/>
                <a:gd name="T8" fmla="*/ 65591 w 167"/>
                <a:gd name="T9" fmla="*/ 49212 h 123"/>
                <a:gd name="T10" fmla="*/ 63842 w 167"/>
                <a:gd name="T11" fmla="*/ 52387 h 123"/>
                <a:gd name="T12" fmla="*/ 62093 w 167"/>
                <a:gd name="T13" fmla="*/ 55562 h 123"/>
                <a:gd name="T14" fmla="*/ 60344 w 167"/>
                <a:gd name="T15" fmla="*/ 58208 h 123"/>
                <a:gd name="T16" fmla="*/ 57720 w 167"/>
                <a:gd name="T17" fmla="*/ 60325 h 123"/>
                <a:gd name="T18" fmla="*/ 55534 w 167"/>
                <a:gd name="T19" fmla="*/ 62441 h 123"/>
                <a:gd name="T20" fmla="*/ 52910 w 167"/>
                <a:gd name="T21" fmla="*/ 64029 h 123"/>
                <a:gd name="T22" fmla="*/ 50287 w 167"/>
                <a:gd name="T23" fmla="*/ 64558 h 123"/>
                <a:gd name="T24" fmla="*/ 46788 w 167"/>
                <a:gd name="T25" fmla="*/ 65087 h 123"/>
                <a:gd name="T26" fmla="*/ 43728 w 167"/>
                <a:gd name="T27" fmla="*/ 64558 h 123"/>
                <a:gd name="T28" fmla="*/ 40229 w 167"/>
                <a:gd name="T29" fmla="*/ 62970 h 123"/>
                <a:gd name="T30" fmla="*/ 38043 w 167"/>
                <a:gd name="T31" fmla="*/ 61383 h 123"/>
                <a:gd name="T32" fmla="*/ 36731 w 167"/>
                <a:gd name="T33" fmla="*/ 59795 h 123"/>
                <a:gd name="T34" fmla="*/ 35857 w 167"/>
                <a:gd name="T35" fmla="*/ 57679 h 123"/>
                <a:gd name="T36" fmla="*/ 35419 w 167"/>
                <a:gd name="T37" fmla="*/ 55562 h 123"/>
                <a:gd name="T38" fmla="*/ 31047 w 167"/>
                <a:gd name="T39" fmla="*/ 55033 h 123"/>
                <a:gd name="T40" fmla="*/ 26674 w 167"/>
                <a:gd name="T41" fmla="*/ 54504 h 123"/>
                <a:gd name="T42" fmla="*/ 22301 w 167"/>
                <a:gd name="T43" fmla="*/ 53445 h 123"/>
                <a:gd name="T44" fmla="*/ 17928 w 167"/>
                <a:gd name="T45" fmla="*/ 51858 h 123"/>
                <a:gd name="T46" fmla="*/ 9183 w 167"/>
                <a:gd name="T47" fmla="*/ 48683 h 123"/>
                <a:gd name="T48" fmla="*/ 0 w 167"/>
                <a:gd name="T49" fmla="*/ 45508 h 123"/>
                <a:gd name="T50" fmla="*/ 875 w 167"/>
                <a:gd name="T51" fmla="*/ 40746 h 123"/>
                <a:gd name="T52" fmla="*/ 2186 w 167"/>
                <a:gd name="T53" fmla="*/ 35454 h 123"/>
                <a:gd name="T54" fmla="*/ 3935 w 167"/>
                <a:gd name="T55" fmla="*/ 29633 h 123"/>
                <a:gd name="T56" fmla="*/ 6559 w 167"/>
                <a:gd name="T57" fmla="*/ 22754 h 123"/>
                <a:gd name="T58" fmla="*/ 8746 w 167"/>
                <a:gd name="T59" fmla="*/ 22754 h 123"/>
                <a:gd name="T60" fmla="*/ 11369 w 167"/>
                <a:gd name="T61" fmla="*/ 22225 h 123"/>
                <a:gd name="T62" fmla="*/ 13118 w 167"/>
                <a:gd name="T63" fmla="*/ 21696 h 123"/>
                <a:gd name="T64" fmla="*/ 14430 w 167"/>
                <a:gd name="T65" fmla="*/ 20108 h 123"/>
                <a:gd name="T66" fmla="*/ 17491 w 167"/>
                <a:gd name="T67" fmla="*/ 17462 h 123"/>
                <a:gd name="T68" fmla="*/ 19677 w 167"/>
                <a:gd name="T69" fmla="*/ 13758 h 123"/>
                <a:gd name="T70" fmla="*/ 22738 w 167"/>
                <a:gd name="T71" fmla="*/ 6350 h 123"/>
                <a:gd name="T72" fmla="*/ 26674 w 167"/>
                <a:gd name="T73" fmla="*/ 0 h 123"/>
                <a:gd name="T74" fmla="*/ 27986 w 167"/>
                <a:gd name="T75" fmla="*/ 2117 h 123"/>
                <a:gd name="T76" fmla="*/ 29297 w 167"/>
                <a:gd name="T77" fmla="*/ 3704 h 123"/>
                <a:gd name="T78" fmla="*/ 31921 w 167"/>
                <a:gd name="T79" fmla="*/ 5821 h 123"/>
                <a:gd name="T80" fmla="*/ 34107 w 167"/>
                <a:gd name="T81" fmla="*/ 7408 h 123"/>
                <a:gd name="T82" fmla="*/ 40229 w 167"/>
                <a:gd name="T83" fmla="*/ 11112 h 123"/>
                <a:gd name="T84" fmla="*/ 46788 w 167"/>
                <a:gd name="T85" fmla="*/ 14817 h 123"/>
                <a:gd name="T86" fmla="*/ 53348 w 167"/>
                <a:gd name="T87" fmla="*/ 18521 h 123"/>
                <a:gd name="T88" fmla="*/ 60781 w 167"/>
                <a:gd name="T89" fmla="*/ 20637 h 123"/>
                <a:gd name="T90" fmla="*/ 66903 w 167"/>
                <a:gd name="T91" fmla="*/ 22225 h 123"/>
                <a:gd name="T92" fmla="*/ 73025 w 167"/>
                <a:gd name="T93" fmla="*/ 22754 h 12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4" name="Freeform 275">
              <a:extLst>
                <a:ext uri="{FF2B5EF4-FFF2-40B4-BE49-F238E27FC236}">
                  <a16:creationId xmlns:a16="http://schemas.microsoft.com/office/drawing/2014/main" id="{731F73B5-3399-462C-9316-4605E71A9AA5}"/>
                </a:ext>
              </a:extLst>
            </p:cNvPr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7681913" y="2832100"/>
              <a:ext cx="133350" cy="166688"/>
            </a:xfrm>
            <a:custGeom>
              <a:avLst/>
              <a:gdLst>
                <a:gd name="T0" fmla="*/ 112868 w 306"/>
                <a:gd name="T1" fmla="*/ 83084 h 321"/>
                <a:gd name="T2" fmla="*/ 109818 w 306"/>
                <a:gd name="T3" fmla="*/ 89835 h 321"/>
                <a:gd name="T4" fmla="*/ 105896 w 306"/>
                <a:gd name="T5" fmla="*/ 94508 h 321"/>
                <a:gd name="T6" fmla="*/ 101538 w 306"/>
                <a:gd name="T7" fmla="*/ 96586 h 321"/>
                <a:gd name="T8" fmla="*/ 97180 w 306"/>
                <a:gd name="T9" fmla="*/ 95547 h 321"/>
                <a:gd name="T10" fmla="*/ 93258 w 306"/>
                <a:gd name="T11" fmla="*/ 92431 h 321"/>
                <a:gd name="T12" fmla="*/ 91079 w 306"/>
                <a:gd name="T13" fmla="*/ 87758 h 321"/>
                <a:gd name="T14" fmla="*/ 89772 w 306"/>
                <a:gd name="T15" fmla="*/ 83084 h 321"/>
                <a:gd name="T16" fmla="*/ 91079 w 306"/>
                <a:gd name="T17" fmla="*/ 76853 h 321"/>
                <a:gd name="T18" fmla="*/ 92822 w 306"/>
                <a:gd name="T19" fmla="*/ 70622 h 321"/>
                <a:gd name="T20" fmla="*/ 100230 w 306"/>
                <a:gd name="T21" fmla="*/ 59198 h 321"/>
                <a:gd name="T22" fmla="*/ 107203 w 306"/>
                <a:gd name="T23" fmla="*/ 48293 h 321"/>
                <a:gd name="T24" fmla="*/ 108946 w 306"/>
                <a:gd name="T25" fmla="*/ 42581 h 321"/>
                <a:gd name="T26" fmla="*/ 110253 w 306"/>
                <a:gd name="T27" fmla="*/ 35830 h 321"/>
                <a:gd name="T28" fmla="*/ 56216 w 306"/>
                <a:gd name="T29" fmla="*/ 35311 h 321"/>
                <a:gd name="T30" fmla="*/ 51858 w 306"/>
                <a:gd name="T31" fmla="*/ 30637 h 321"/>
                <a:gd name="T32" fmla="*/ 48808 w 306"/>
                <a:gd name="T33" fmla="*/ 23367 h 321"/>
                <a:gd name="T34" fmla="*/ 47065 w 306"/>
                <a:gd name="T35" fmla="*/ 14540 h 321"/>
                <a:gd name="T36" fmla="*/ 44014 w 306"/>
                <a:gd name="T37" fmla="*/ 9866 h 321"/>
                <a:gd name="T38" fmla="*/ 39221 w 306"/>
                <a:gd name="T39" fmla="*/ 8828 h 321"/>
                <a:gd name="T40" fmla="*/ 34863 w 306"/>
                <a:gd name="T41" fmla="*/ 6231 h 321"/>
                <a:gd name="T42" fmla="*/ 32684 w 306"/>
                <a:gd name="T43" fmla="*/ 2077 h 321"/>
                <a:gd name="T44" fmla="*/ 28326 w 306"/>
                <a:gd name="T45" fmla="*/ 0 h 321"/>
                <a:gd name="T46" fmla="*/ 21353 w 306"/>
                <a:gd name="T47" fmla="*/ 0 h 321"/>
                <a:gd name="T48" fmla="*/ 14817 w 306"/>
                <a:gd name="T49" fmla="*/ 519 h 321"/>
                <a:gd name="T50" fmla="*/ 9587 w 306"/>
                <a:gd name="T51" fmla="*/ 2596 h 321"/>
                <a:gd name="T52" fmla="*/ 4358 w 306"/>
                <a:gd name="T53" fmla="*/ 7270 h 321"/>
                <a:gd name="T54" fmla="*/ 436 w 306"/>
                <a:gd name="T55" fmla="*/ 12982 h 321"/>
                <a:gd name="T56" fmla="*/ 872 w 306"/>
                <a:gd name="T57" fmla="*/ 18175 h 321"/>
                <a:gd name="T58" fmla="*/ 6537 w 306"/>
                <a:gd name="T59" fmla="*/ 23887 h 321"/>
                <a:gd name="T60" fmla="*/ 15252 w 306"/>
                <a:gd name="T61" fmla="*/ 30118 h 321"/>
                <a:gd name="T62" fmla="*/ 23532 w 306"/>
                <a:gd name="T63" fmla="*/ 34792 h 321"/>
                <a:gd name="T64" fmla="*/ 20482 w 306"/>
                <a:gd name="T65" fmla="*/ 41023 h 321"/>
                <a:gd name="T66" fmla="*/ 10895 w 306"/>
                <a:gd name="T67" fmla="*/ 50370 h 321"/>
                <a:gd name="T68" fmla="*/ 7408 w 306"/>
                <a:gd name="T69" fmla="*/ 55563 h 321"/>
                <a:gd name="T70" fmla="*/ 6101 w 306"/>
                <a:gd name="T71" fmla="*/ 59198 h 321"/>
                <a:gd name="T72" fmla="*/ 6101 w 306"/>
                <a:gd name="T73" fmla="*/ 63352 h 321"/>
                <a:gd name="T74" fmla="*/ 7844 w 306"/>
                <a:gd name="T75" fmla="*/ 66987 h 321"/>
                <a:gd name="T76" fmla="*/ 12202 w 306"/>
                <a:gd name="T77" fmla="*/ 73218 h 321"/>
                <a:gd name="T78" fmla="*/ 20482 w 306"/>
                <a:gd name="T79" fmla="*/ 81007 h 321"/>
                <a:gd name="T80" fmla="*/ 27890 w 306"/>
                <a:gd name="T81" fmla="*/ 85161 h 321"/>
                <a:gd name="T82" fmla="*/ 32684 w 306"/>
                <a:gd name="T83" fmla="*/ 86200 h 321"/>
                <a:gd name="T84" fmla="*/ 46629 w 306"/>
                <a:gd name="T85" fmla="*/ 140724 h 321"/>
                <a:gd name="T86" fmla="*/ 47065 w 306"/>
                <a:gd name="T87" fmla="*/ 136570 h 321"/>
                <a:gd name="T88" fmla="*/ 48808 w 306"/>
                <a:gd name="T89" fmla="*/ 132935 h 321"/>
                <a:gd name="T90" fmla="*/ 55345 w 306"/>
                <a:gd name="T91" fmla="*/ 127742 h 321"/>
                <a:gd name="T92" fmla="*/ 64496 w 306"/>
                <a:gd name="T93" fmla="*/ 124627 h 321"/>
                <a:gd name="T94" fmla="*/ 75826 w 306"/>
                <a:gd name="T95" fmla="*/ 122030 h 321"/>
                <a:gd name="T96" fmla="*/ 75826 w 306"/>
                <a:gd name="T97" fmla="*/ 109048 h 321"/>
                <a:gd name="T98" fmla="*/ 79749 w 306"/>
                <a:gd name="T99" fmla="*/ 110087 h 321"/>
                <a:gd name="T100" fmla="*/ 84106 w 306"/>
                <a:gd name="T101" fmla="*/ 110087 h 321"/>
                <a:gd name="T102" fmla="*/ 92822 w 306"/>
                <a:gd name="T103" fmla="*/ 109048 h 321"/>
                <a:gd name="T104" fmla="*/ 101102 w 306"/>
                <a:gd name="T105" fmla="*/ 135531 h 321"/>
                <a:gd name="T106" fmla="*/ 112868 w 306"/>
                <a:gd name="T107" fmla="*/ 166688 h 321"/>
                <a:gd name="T108" fmla="*/ 118533 w 306"/>
                <a:gd name="T109" fmla="*/ 161495 h 321"/>
                <a:gd name="T110" fmla="*/ 122891 w 306"/>
                <a:gd name="T111" fmla="*/ 156822 h 321"/>
                <a:gd name="T112" fmla="*/ 128556 w 306"/>
                <a:gd name="T113" fmla="*/ 145398 h 321"/>
                <a:gd name="T114" fmla="*/ 133350 w 306"/>
                <a:gd name="T115" fmla="*/ 122030 h 3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5" name="Freeform 276">
              <a:extLst>
                <a:ext uri="{FF2B5EF4-FFF2-40B4-BE49-F238E27FC236}">
                  <a16:creationId xmlns:a16="http://schemas.microsoft.com/office/drawing/2014/main" id="{645EB1C5-914A-459A-87E7-A8E79E15DC6A}"/>
                </a:ext>
              </a:extLst>
            </p:cNvPr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7999413" y="2947989"/>
              <a:ext cx="201612" cy="269875"/>
            </a:xfrm>
            <a:custGeom>
              <a:avLst/>
              <a:gdLst>
                <a:gd name="T0" fmla="*/ 40237 w 471"/>
                <a:gd name="T1" fmla="*/ 6252 h 518"/>
                <a:gd name="T2" fmla="*/ 28679 w 471"/>
                <a:gd name="T3" fmla="*/ 16672 h 518"/>
                <a:gd name="T4" fmla="*/ 17122 w 471"/>
                <a:gd name="T5" fmla="*/ 25529 h 518"/>
                <a:gd name="T6" fmla="*/ 11557 w 471"/>
                <a:gd name="T7" fmla="*/ 42722 h 518"/>
                <a:gd name="T8" fmla="*/ 3424 w 471"/>
                <a:gd name="T9" fmla="*/ 61477 h 518"/>
                <a:gd name="T10" fmla="*/ 2996 w 471"/>
                <a:gd name="T11" fmla="*/ 70855 h 518"/>
                <a:gd name="T12" fmla="*/ 12842 w 471"/>
                <a:gd name="T13" fmla="*/ 79712 h 518"/>
                <a:gd name="T14" fmla="*/ 21403 w 471"/>
                <a:gd name="T15" fmla="*/ 87527 h 518"/>
                <a:gd name="T16" fmla="*/ 26539 w 471"/>
                <a:gd name="T17" fmla="*/ 89611 h 518"/>
                <a:gd name="T18" fmla="*/ 32104 w 471"/>
                <a:gd name="T19" fmla="*/ 109930 h 518"/>
                <a:gd name="T20" fmla="*/ 35956 w 471"/>
                <a:gd name="T21" fmla="*/ 141710 h 518"/>
                <a:gd name="T22" fmla="*/ 40237 w 471"/>
                <a:gd name="T23" fmla="*/ 155777 h 518"/>
                <a:gd name="T24" fmla="*/ 44517 w 471"/>
                <a:gd name="T25" fmla="*/ 157340 h 518"/>
                <a:gd name="T26" fmla="*/ 47942 w 471"/>
                <a:gd name="T27" fmla="*/ 154735 h 518"/>
                <a:gd name="T28" fmla="*/ 54791 w 471"/>
                <a:gd name="T29" fmla="*/ 139626 h 518"/>
                <a:gd name="T30" fmla="*/ 62067 w 471"/>
                <a:gd name="T31" fmla="*/ 136500 h 518"/>
                <a:gd name="T32" fmla="*/ 68488 w 471"/>
                <a:gd name="T33" fmla="*/ 141710 h 518"/>
                <a:gd name="T34" fmla="*/ 74053 w 471"/>
                <a:gd name="T35" fmla="*/ 144315 h 518"/>
                <a:gd name="T36" fmla="*/ 78333 w 471"/>
                <a:gd name="T37" fmla="*/ 142752 h 518"/>
                <a:gd name="T38" fmla="*/ 82186 w 471"/>
                <a:gd name="T39" fmla="*/ 134938 h 518"/>
                <a:gd name="T40" fmla="*/ 86894 w 471"/>
                <a:gd name="T41" fmla="*/ 127123 h 518"/>
                <a:gd name="T42" fmla="*/ 90747 w 471"/>
                <a:gd name="T43" fmla="*/ 125560 h 518"/>
                <a:gd name="T44" fmla="*/ 103160 w 471"/>
                <a:gd name="T45" fmla="*/ 128686 h 518"/>
                <a:gd name="T46" fmla="*/ 110865 w 471"/>
                <a:gd name="T47" fmla="*/ 141189 h 518"/>
                <a:gd name="T48" fmla="*/ 131840 w 471"/>
                <a:gd name="T49" fmla="*/ 175054 h 518"/>
                <a:gd name="T50" fmla="*/ 145965 w 471"/>
                <a:gd name="T51" fmla="*/ 199020 h 518"/>
                <a:gd name="T52" fmla="*/ 153242 w 471"/>
                <a:gd name="T53" fmla="*/ 218297 h 518"/>
                <a:gd name="T54" fmla="*/ 156667 w 471"/>
                <a:gd name="T55" fmla="*/ 238094 h 518"/>
                <a:gd name="T56" fmla="*/ 153670 w 471"/>
                <a:gd name="T57" fmla="*/ 244867 h 518"/>
                <a:gd name="T58" fmla="*/ 145109 w 471"/>
                <a:gd name="T59" fmla="*/ 253724 h 518"/>
                <a:gd name="T60" fmla="*/ 155382 w 471"/>
                <a:gd name="T61" fmla="*/ 258413 h 518"/>
                <a:gd name="T62" fmla="*/ 167796 w 471"/>
                <a:gd name="T63" fmla="*/ 269875 h 518"/>
                <a:gd name="T64" fmla="*/ 171648 w 471"/>
                <a:gd name="T65" fmla="*/ 259976 h 518"/>
                <a:gd name="T66" fmla="*/ 176785 w 471"/>
                <a:gd name="T67" fmla="*/ 254766 h 518"/>
                <a:gd name="T68" fmla="*/ 190055 w 471"/>
                <a:gd name="T69" fmla="*/ 251640 h 518"/>
                <a:gd name="T70" fmla="*/ 200328 w 471"/>
                <a:gd name="T71" fmla="*/ 228195 h 518"/>
                <a:gd name="T72" fmla="*/ 192195 w 471"/>
                <a:gd name="T73" fmla="*/ 201625 h 518"/>
                <a:gd name="T74" fmla="*/ 180209 w 471"/>
                <a:gd name="T75" fmla="*/ 180785 h 518"/>
                <a:gd name="T76" fmla="*/ 147678 w 471"/>
                <a:gd name="T77" fmla="*/ 144315 h 518"/>
                <a:gd name="T78" fmla="*/ 119426 w 471"/>
                <a:gd name="T79" fmla="*/ 113577 h 518"/>
                <a:gd name="T80" fmla="*/ 95883 w 471"/>
                <a:gd name="T81" fmla="*/ 84401 h 518"/>
                <a:gd name="T82" fmla="*/ 76621 w 471"/>
                <a:gd name="T83" fmla="*/ 54704 h 518"/>
                <a:gd name="T84" fmla="*/ 54362 w 471"/>
                <a:gd name="T85" fmla="*/ 20840 h 518"/>
                <a:gd name="T86" fmla="*/ 49226 w 471"/>
                <a:gd name="T87" fmla="*/ 7294 h 51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6" name="Freeform 277">
              <a:extLst>
                <a:ext uri="{FF2B5EF4-FFF2-40B4-BE49-F238E27FC236}">
                  <a16:creationId xmlns:a16="http://schemas.microsoft.com/office/drawing/2014/main" id="{F4F48F38-2AD6-4872-96EF-2FBE039AD43B}"/>
                </a:ext>
              </a:extLst>
            </p:cNvPr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8081963" y="3198814"/>
              <a:ext cx="133350" cy="130175"/>
            </a:xfrm>
            <a:custGeom>
              <a:avLst/>
              <a:gdLst>
                <a:gd name="T0" fmla="*/ 69178 w 293"/>
                <a:gd name="T1" fmla="*/ 10054 h 246"/>
                <a:gd name="T2" fmla="*/ 81466 w 293"/>
                <a:gd name="T3" fmla="*/ 15875 h 246"/>
                <a:gd name="T4" fmla="*/ 89203 w 293"/>
                <a:gd name="T5" fmla="*/ 15875 h 246"/>
                <a:gd name="T6" fmla="*/ 91934 w 293"/>
                <a:gd name="T7" fmla="*/ 9525 h 246"/>
                <a:gd name="T8" fmla="*/ 95575 w 293"/>
                <a:gd name="T9" fmla="*/ 5292 h 246"/>
                <a:gd name="T10" fmla="*/ 99671 w 293"/>
                <a:gd name="T11" fmla="*/ 3175 h 246"/>
                <a:gd name="T12" fmla="*/ 111504 w 293"/>
                <a:gd name="T13" fmla="*/ 1058 h 246"/>
                <a:gd name="T14" fmla="*/ 133350 w 293"/>
                <a:gd name="T15" fmla="*/ 42333 h 246"/>
                <a:gd name="T16" fmla="*/ 121062 w 293"/>
                <a:gd name="T17" fmla="*/ 56621 h 246"/>
                <a:gd name="T18" fmla="*/ 107863 w 293"/>
                <a:gd name="T19" fmla="*/ 74613 h 246"/>
                <a:gd name="T20" fmla="*/ 102402 w 293"/>
                <a:gd name="T21" fmla="*/ 84138 h 246"/>
                <a:gd name="T22" fmla="*/ 97851 w 293"/>
                <a:gd name="T23" fmla="*/ 94192 h 246"/>
                <a:gd name="T24" fmla="*/ 95120 w 293"/>
                <a:gd name="T25" fmla="*/ 104246 h 246"/>
                <a:gd name="T26" fmla="*/ 93755 w 293"/>
                <a:gd name="T27" fmla="*/ 114300 h 246"/>
                <a:gd name="T28" fmla="*/ 89203 w 293"/>
                <a:gd name="T29" fmla="*/ 114829 h 246"/>
                <a:gd name="T30" fmla="*/ 84652 w 293"/>
                <a:gd name="T31" fmla="*/ 116417 h 246"/>
                <a:gd name="T32" fmla="*/ 77370 w 293"/>
                <a:gd name="T33" fmla="*/ 121179 h 246"/>
                <a:gd name="T34" fmla="*/ 70088 w 293"/>
                <a:gd name="T35" fmla="*/ 126471 h 246"/>
                <a:gd name="T36" fmla="*/ 60531 w 293"/>
                <a:gd name="T37" fmla="*/ 130175 h 246"/>
                <a:gd name="T38" fmla="*/ 46422 w 293"/>
                <a:gd name="T39" fmla="*/ 127000 h 246"/>
                <a:gd name="T40" fmla="*/ 32313 w 293"/>
                <a:gd name="T41" fmla="*/ 122767 h 246"/>
                <a:gd name="T42" fmla="*/ 26852 w 293"/>
                <a:gd name="T43" fmla="*/ 119592 h 246"/>
                <a:gd name="T44" fmla="*/ 22301 w 293"/>
                <a:gd name="T45" fmla="*/ 116417 h 246"/>
                <a:gd name="T46" fmla="*/ 19570 w 293"/>
                <a:gd name="T47" fmla="*/ 112183 h 246"/>
                <a:gd name="T48" fmla="*/ 18660 w 293"/>
                <a:gd name="T49" fmla="*/ 107950 h 246"/>
                <a:gd name="T50" fmla="*/ 21391 w 293"/>
                <a:gd name="T51" fmla="*/ 94192 h 246"/>
                <a:gd name="T52" fmla="*/ 20480 w 293"/>
                <a:gd name="T53" fmla="*/ 85725 h 246"/>
                <a:gd name="T54" fmla="*/ 18205 w 293"/>
                <a:gd name="T55" fmla="*/ 77788 h 246"/>
                <a:gd name="T56" fmla="*/ 10923 w 293"/>
                <a:gd name="T57" fmla="*/ 62971 h 246"/>
                <a:gd name="T58" fmla="*/ 3641 w 293"/>
                <a:gd name="T59" fmla="*/ 48154 h 246"/>
                <a:gd name="T60" fmla="*/ 910 w 293"/>
                <a:gd name="T61" fmla="*/ 39158 h 246"/>
                <a:gd name="T62" fmla="*/ 0 w 293"/>
                <a:gd name="T63" fmla="*/ 29104 h 246"/>
                <a:gd name="T64" fmla="*/ 910 w 293"/>
                <a:gd name="T65" fmla="*/ 23813 h 246"/>
                <a:gd name="T66" fmla="*/ 3641 w 293"/>
                <a:gd name="T67" fmla="*/ 19050 h 246"/>
                <a:gd name="T68" fmla="*/ 7737 w 293"/>
                <a:gd name="T69" fmla="*/ 15346 h 246"/>
                <a:gd name="T70" fmla="*/ 11833 w 293"/>
                <a:gd name="T71" fmla="*/ 11642 h 246"/>
                <a:gd name="T72" fmla="*/ 21846 w 293"/>
                <a:gd name="T73" fmla="*/ 7408 h 246"/>
                <a:gd name="T74" fmla="*/ 30493 w 293"/>
                <a:gd name="T75" fmla="*/ 6350 h 246"/>
                <a:gd name="T76" fmla="*/ 43691 w 293"/>
                <a:gd name="T77" fmla="*/ 6350 h 246"/>
                <a:gd name="T78" fmla="*/ 60531 w 293"/>
                <a:gd name="T79" fmla="*/ 6350 h 2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7" name="Freeform 278">
              <a:extLst>
                <a:ext uri="{FF2B5EF4-FFF2-40B4-BE49-F238E27FC236}">
                  <a16:creationId xmlns:a16="http://schemas.microsoft.com/office/drawing/2014/main" id="{F24F580B-F394-4E6B-91FB-B63D9A65A7B9}"/>
                </a:ext>
              </a:extLst>
            </p:cNvPr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8483601" y="2435226"/>
              <a:ext cx="85725" cy="130175"/>
            </a:xfrm>
            <a:custGeom>
              <a:avLst/>
              <a:gdLst>
                <a:gd name="T0" fmla="*/ 7715 w 200"/>
                <a:gd name="T1" fmla="*/ 21696 h 246"/>
                <a:gd name="T2" fmla="*/ 12002 w 200"/>
                <a:gd name="T3" fmla="*/ 13758 h 246"/>
                <a:gd name="T4" fmla="*/ 16288 w 200"/>
                <a:gd name="T5" fmla="*/ 8467 h 246"/>
                <a:gd name="T6" fmla="*/ 21431 w 200"/>
                <a:gd name="T7" fmla="*/ 4763 h 246"/>
                <a:gd name="T8" fmla="*/ 31290 w 200"/>
                <a:gd name="T9" fmla="*/ 529 h 246"/>
                <a:gd name="T10" fmla="*/ 37719 w 200"/>
                <a:gd name="T11" fmla="*/ 6350 h 246"/>
                <a:gd name="T12" fmla="*/ 46292 w 200"/>
                <a:gd name="T13" fmla="*/ 17992 h 246"/>
                <a:gd name="T14" fmla="*/ 53578 w 200"/>
                <a:gd name="T15" fmla="*/ 26458 h 246"/>
                <a:gd name="T16" fmla="*/ 59579 w 200"/>
                <a:gd name="T17" fmla="*/ 30692 h 246"/>
                <a:gd name="T18" fmla="*/ 65151 w 200"/>
                <a:gd name="T19" fmla="*/ 33867 h 246"/>
                <a:gd name="T20" fmla="*/ 71152 w 200"/>
                <a:gd name="T21" fmla="*/ 35454 h 246"/>
                <a:gd name="T22" fmla="*/ 78867 w 200"/>
                <a:gd name="T23" fmla="*/ 50800 h 246"/>
                <a:gd name="T24" fmla="*/ 83582 w 200"/>
                <a:gd name="T25" fmla="*/ 72496 h 246"/>
                <a:gd name="T26" fmla="*/ 85296 w 200"/>
                <a:gd name="T27" fmla="*/ 87313 h 246"/>
                <a:gd name="T28" fmla="*/ 85725 w 200"/>
                <a:gd name="T29" fmla="*/ 97896 h 246"/>
                <a:gd name="T30" fmla="*/ 84868 w 200"/>
                <a:gd name="T31" fmla="*/ 104246 h 246"/>
                <a:gd name="T32" fmla="*/ 83582 w 200"/>
                <a:gd name="T33" fmla="*/ 109537 h 246"/>
                <a:gd name="T34" fmla="*/ 81010 w 200"/>
                <a:gd name="T35" fmla="*/ 113242 h 246"/>
                <a:gd name="T36" fmla="*/ 76724 w 200"/>
                <a:gd name="T37" fmla="*/ 116417 h 246"/>
                <a:gd name="T38" fmla="*/ 70295 w 200"/>
                <a:gd name="T39" fmla="*/ 118533 h 246"/>
                <a:gd name="T40" fmla="*/ 60008 w 200"/>
                <a:gd name="T41" fmla="*/ 118533 h 246"/>
                <a:gd name="T42" fmla="*/ 50578 w 200"/>
                <a:gd name="T43" fmla="*/ 121179 h 246"/>
                <a:gd name="T44" fmla="*/ 47577 w 200"/>
                <a:gd name="T45" fmla="*/ 124354 h 246"/>
                <a:gd name="T46" fmla="*/ 46292 w 200"/>
                <a:gd name="T47" fmla="*/ 128058 h 246"/>
                <a:gd name="T48" fmla="*/ 42005 w 200"/>
                <a:gd name="T49" fmla="*/ 129646 h 246"/>
                <a:gd name="T50" fmla="*/ 36433 w 200"/>
                <a:gd name="T51" fmla="*/ 127000 h 246"/>
                <a:gd name="T52" fmla="*/ 33004 w 200"/>
                <a:gd name="T53" fmla="*/ 121708 h 246"/>
                <a:gd name="T54" fmla="*/ 31290 w 200"/>
                <a:gd name="T55" fmla="*/ 114300 h 246"/>
                <a:gd name="T56" fmla="*/ 30861 w 200"/>
                <a:gd name="T57" fmla="*/ 101600 h 246"/>
                <a:gd name="T58" fmla="*/ 30432 w 200"/>
                <a:gd name="T59" fmla="*/ 88900 h 246"/>
                <a:gd name="T60" fmla="*/ 29575 w 200"/>
                <a:gd name="T61" fmla="*/ 81492 h 246"/>
                <a:gd name="T62" fmla="*/ 27432 w 200"/>
                <a:gd name="T63" fmla="*/ 75142 h 246"/>
                <a:gd name="T64" fmla="*/ 24003 w 200"/>
                <a:gd name="T65" fmla="*/ 70908 h 246"/>
                <a:gd name="T66" fmla="*/ 17145 w 200"/>
                <a:gd name="T67" fmla="*/ 66146 h 246"/>
                <a:gd name="T68" fmla="*/ 7715 w 200"/>
                <a:gd name="T69" fmla="*/ 60854 h 246"/>
                <a:gd name="T70" fmla="*/ 2572 w 200"/>
                <a:gd name="T71" fmla="*/ 56092 h 246"/>
                <a:gd name="T72" fmla="*/ 429 w 200"/>
                <a:gd name="T73" fmla="*/ 51858 h 246"/>
                <a:gd name="T74" fmla="*/ 429 w 200"/>
                <a:gd name="T75" fmla="*/ 46038 h 246"/>
                <a:gd name="T76" fmla="*/ 2143 w 200"/>
                <a:gd name="T77" fmla="*/ 41275 h 246"/>
                <a:gd name="T78" fmla="*/ 4286 w 200"/>
                <a:gd name="T79" fmla="*/ 35983 h 246"/>
                <a:gd name="T80" fmla="*/ 5572 w 200"/>
                <a:gd name="T81" fmla="*/ 29633 h 24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8" name="Freeform 279">
              <a:extLst>
                <a:ext uri="{FF2B5EF4-FFF2-40B4-BE49-F238E27FC236}">
                  <a16:creationId xmlns:a16="http://schemas.microsoft.com/office/drawing/2014/main" id="{E0506145-11D0-4B64-9043-06A7DD92AB73}"/>
                </a:ext>
              </a:extLst>
            </p:cNvPr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9051926" y="3732213"/>
              <a:ext cx="231775" cy="254000"/>
            </a:xfrm>
            <a:custGeom>
              <a:avLst/>
              <a:gdLst>
                <a:gd name="T0" fmla="*/ 39204 w 538"/>
                <a:gd name="T1" fmla="*/ 10953 h 487"/>
                <a:gd name="T2" fmla="*/ 68929 w 538"/>
                <a:gd name="T3" fmla="*/ 24513 h 487"/>
                <a:gd name="T4" fmla="*/ 87023 w 538"/>
                <a:gd name="T5" fmla="*/ 36509 h 487"/>
                <a:gd name="T6" fmla="*/ 108995 w 538"/>
                <a:gd name="T7" fmla="*/ 57372 h 487"/>
                <a:gd name="T8" fmla="*/ 129243 w 538"/>
                <a:gd name="T9" fmla="*/ 70932 h 487"/>
                <a:gd name="T10" fmla="*/ 128812 w 538"/>
                <a:gd name="T11" fmla="*/ 83971 h 487"/>
                <a:gd name="T12" fmla="*/ 149491 w 538"/>
                <a:gd name="T13" fmla="*/ 106920 h 487"/>
                <a:gd name="T14" fmla="*/ 169308 w 538"/>
                <a:gd name="T15" fmla="*/ 129347 h 487"/>
                <a:gd name="T16" fmla="*/ 163276 w 538"/>
                <a:gd name="T17" fmla="*/ 130390 h 487"/>
                <a:gd name="T18" fmla="*/ 160261 w 538"/>
                <a:gd name="T19" fmla="*/ 133520 h 487"/>
                <a:gd name="T20" fmla="*/ 160261 w 538"/>
                <a:gd name="T21" fmla="*/ 144994 h 487"/>
                <a:gd name="T22" fmla="*/ 162415 w 538"/>
                <a:gd name="T23" fmla="*/ 156990 h 487"/>
                <a:gd name="T24" fmla="*/ 167585 w 538"/>
                <a:gd name="T25" fmla="*/ 169507 h 487"/>
                <a:gd name="T26" fmla="*/ 175339 w 538"/>
                <a:gd name="T27" fmla="*/ 181503 h 487"/>
                <a:gd name="T28" fmla="*/ 184386 w 538"/>
                <a:gd name="T29" fmla="*/ 190891 h 487"/>
                <a:gd name="T30" fmla="*/ 194295 w 538"/>
                <a:gd name="T31" fmla="*/ 196107 h 487"/>
                <a:gd name="T32" fmla="*/ 198603 w 538"/>
                <a:gd name="T33" fmla="*/ 203409 h 487"/>
                <a:gd name="T34" fmla="*/ 203342 w 538"/>
                <a:gd name="T35" fmla="*/ 211754 h 487"/>
                <a:gd name="T36" fmla="*/ 210665 w 538"/>
                <a:gd name="T37" fmla="*/ 217491 h 487"/>
                <a:gd name="T38" fmla="*/ 221005 w 538"/>
                <a:gd name="T39" fmla="*/ 225314 h 487"/>
                <a:gd name="T40" fmla="*/ 223159 w 538"/>
                <a:gd name="T41" fmla="*/ 231573 h 487"/>
                <a:gd name="T42" fmla="*/ 226174 w 538"/>
                <a:gd name="T43" fmla="*/ 234702 h 487"/>
                <a:gd name="T44" fmla="*/ 231775 w 538"/>
                <a:gd name="T45" fmla="*/ 237832 h 487"/>
                <a:gd name="T46" fmla="*/ 230052 w 538"/>
                <a:gd name="T47" fmla="*/ 246177 h 487"/>
                <a:gd name="T48" fmla="*/ 223590 w 538"/>
                <a:gd name="T49" fmla="*/ 252435 h 487"/>
                <a:gd name="T50" fmla="*/ 211096 w 538"/>
                <a:gd name="T51" fmla="*/ 254000 h 487"/>
                <a:gd name="T52" fmla="*/ 193002 w 538"/>
                <a:gd name="T53" fmla="*/ 250349 h 487"/>
                <a:gd name="T54" fmla="*/ 178355 w 538"/>
                <a:gd name="T55" fmla="*/ 243047 h 487"/>
                <a:gd name="T56" fmla="*/ 166292 w 538"/>
                <a:gd name="T57" fmla="*/ 232616 h 487"/>
                <a:gd name="T58" fmla="*/ 152937 w 538"/>
                <a:gd name="T59" fmla="*/ 216448 h 487"/>
                <a:gd name="T60" fmla="*/ 134412 w 538"/>
                <a:gd name="T61" fmla="*/ 190370 h 487"/>
                <a:gd name="T62" fmla="*/ 118042 w 538"/>
                <a:gd name="T63" fmla="*/ 172115 h 487"/>
                <a:gd name="T64" fmla="*/ 105979 w 538"/>
                <a:gd name="T65" fmla="*/ 164813 h 487"/>
                <a:gd name="T66" fmla="*/ 91331 w 538"/>
                <a:gd name="T67" fmla="*/ 161162 h 487"/>
                <a:gd name="T68" fmla="*/ 77546 w 538"/>
                <a:gd name="T69" fmla="*/ 161684 h 487"/>
                <a:gd name="T70" fmla="*/ 65914 w 538"/>
                <a:gd name="T71" fmla="*/ 165335 h 487"/>
                <a:gd name="T72" fmla="*/ 48681 w 538"/>
                <a:gd name="T73" fmla="*/ 179938 h 487"/>
                <a:gd name="T74" fmla="*/ 58590 w 538"/>
                <a:gd name="T75" fmla="*/ 188283 h 487"/>
                <a:gd name="T76" fmla="*/ 60313 w 538"/>
                <a:gd name="T77" fmla="*/ 192977 h 487"/>
                <a:gd name="T78" fmla="*/ 53420 w 538"/>
                <a:gd name="T79" fmla="*/ 209146 h 487"/>
                <a:gd name="T80" fmla="*/ 48681 w 538"/>
                <a:gd name="T81" fmla="*/ 215926 h 487"/>
                <a:gd name="T82" fmla="*/ 20248 w 538"/>
                <a:gd name="T83" fmla="*/ 210189 h 487"/>
                <a:gd name="T84" fmla="*/ 8616 w 538"/>
                <a:gd name="T85" fmla="*/ 135084 h 487"/>
                <a:gd name="T86" fmla="*/ 8616 w 538"/>
                <a:gd name="T87" fmla="*/ 0 h 48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9" name="Freeform 280">
              <a:extLst>
                <a:ext uri="{FF2B5EF4-FFF2-40B4-BE49-F238E27FC236}">
                  <a16:creationId xmlns:a16="http://schemas.microsoft.com/office/drawing/2014/main" id="{63D78776-FBE1-4994-B693-051D5A78922F}"/>
                </a:ext>
              </a:extLst>
            </p:cNvPr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9244013" y="3716339"/>
              <a:ext cx="106362" cy="128587"/>
            </a:xfrm>
            <a:custGeom>
              <a:avLst/>
              <a:gdLst>
                <a:gd name="T0" fmla="*/ 57175 w 253"/>
                <a:gd name="T1" fmla="*/ 523 h 246"/>
                <a:gd name="T2" fmla="*/ 66003 w 253"/>
                <a:gd name="T3" fmla="*/ 4182 h 246"/>
                <a:gd name="T4" fmla="*/ 75252 w 253"/>
                <a:gd name="T5" fmla="*/ 10977 h 246"/>
                <a:gd name="T6" fmla="*/ 83660 w 253"/>
                <a:gd name="T7" fmla="*/ 19340 h 246"/>
                <a:gd name="T8" fmla="*/ 91648 w 253"/>
                <a:gd name="T9" fmla="*/ 29795 h 246"/>
                <a:gd name="T10" fmla="*/ 98374 w 253"/>
                <a:gd name="T11" fmla="*/ 39726 h 246"/>
                <a:gd name="T12" fmla="*/ 102999 w 253"/>
                <a:gd name="T13" fmla="*/ 49135 h 246"/>
                <a:gd name="T14" fmla="*/ 105942 w 253"/>
                <a:gd name="T15" fmla="*/ 58021 h 246"/>
                <a:gd name="T16" fmla="*/ 105942 w 253"/>
                <a:gd name="T17" fmla="*/ 66907 h 246"/>
                <a:gd name="T18" fmla="*/ 102158 w 253"/>
                <a:gd name="T19" fmla="*/ 78929 h 246"/>
                <a:gd name="T20" fmla="*/ 96272 w 253"/>
                <a:gd name="T21" fmla="*/ 90952 h 246"/>
                <a:gd name="T22" fmla="*/ 87864 w 253"/>
                <a:gd name="T23" fmla="*/ 101929 h 246"/>
                <a:gd name="T24" fmla="*/ 77354 w 253"/>
                <a:gd name="T25" fmla="*/ 111860 h 246"/>
                <a:gd name="T26" fmla="*/ 66003 w 253"/>
                <a:gd name="T27" fmla="*/ 119701 h 246"/>
                <a:gd name="T28" fmla="*/ 54232 w 253"/>
                <a:gd name="T29" fmla="*/ 125451 h 246"/>
                <a:gd name="T30" fmla="*/ 42040 w 253"/>
                <a:gd name="T31" fmla="*/ 128064 h 246"/>
                <a:gd name="T32" fmla="*/ 31110 w 253"/>
                <a:gd name="T33" fmla="*/ 128064 h 246"/>
                <a:gd name="T34" fmla="*/ 22281 w 253"/>
                <a:gd name="T35" fmla="*/ 125451 h 246"/>
                <a:gd name="T36" fmla="*/ 13873 w 253"/>
                <a:gd name="T37" fmla="*/ 122314 h 246"/>
                <a:gd name="T38" fmla="*/ 4624 w 253"/>
                <a:gd name="T39" fmla="*/ 119701 h 246"/>
                <a:gd name="T40" fmla="*/ 1261 w 253"/>
                <a:gd name="T41" fmla="*/ 114474 h 246"/>
                <a:gd name="T42" fmla="*/ 4204 w 253"/>
                <a:gd name="T43" fmla="*/ 107156 h 246"/>
                <a:gd name="T44" fmla="*/ 9249 w 253"/>
                <a:gd name="T45" fmla="*/ 102451 h 246"/>
                <a:gd name="T46" fmla="*/ 15555 w 253"/>
                <a:gd name="T47" fmla="*/ 99838 h 246"/>
                <a:gd name="T48" fmla="*/ 21020 w 253"/>
                <a:gd name="T49" fmla="*/ 102974 h 246"/>
                <a:gd name="T50" fmla="*/ 25224 w 253"/>
                <a:gd name="T51" fmla="*/ 108201 h 246"/>
                <a:gd name="T52" fmla="*/ 28587 w 253"/>
                <a:gd name="T53" fmla="*/ 105065 h 246"/>
                <a:gd name="T54" fmla="*/ 31530 w 253"/>
                <a:gd name="T55" fmla="*/ 99315 h 246"/>
                <a:gd name="T56" fmla="*/ 35314 w 253"/>
                <a:gd name="T57" fmla="*/ 94088 h 246"/>
                <a:gd name="T58" fmla="*/ 38257 w 253"/>
                <a:gd name="T59" fmla="*/ 94611 h 246"/>
                <a:gd name="T60" fmla="*/ 41200 w 253"/>
                <a:gd name="T61" fmla="*/ 93565 h 246"/>
                <a:gd name="T62" fmla="*/ 44563 w 253"/>
                <a:gd name="T63" fmla="*/ 93043 h 246"/>
                <a:gd name="T64" fmla="*/ 50448 w 253"/>
                <a:gd name="T65" fmla="*/ 90952 h 246"/>
                <a:gd name="T66" fmla="*/ 62640 w 253"/>
                <a:gd name="T67" fmla="*/ 85725 h 246"/>
                <a:gd name="T68" fmla="*/ 75252 w 253"/>
                <a:gd name="T69" fmla="*/ 76839 h 246"/>
                <a:gd name="T70" fmla="*/ 82819 w 253"/>
                <a:gd name="T71" fmla="*/ 70566 h 246"/>
                <a:gd name="T72" fmla="*/ 88285 w 253"/>
                <a:gd name="T73" fmla="*/ 64294 h 246"/>
                <a:gd name="T74" fmla="*/ 91648 w 253"/>
                <a:gd name="T75" fmla="*/ 58021 h 246"/>
                <a:gd name="T76" fmla="*/ 92068 w 253"/>
                <a:gd name="T77" fmla="*/ 51226 h 246"/>
                <a:gd name="T78" fmla="*/ 89966 w 253"/>
                <a:gd name="T79" fmla="*/ 45999 h 246"/>
                <a:gd name="T80" fmla="*/ 88285 w 253"/>
                <a:gd name="T81" fmla="*/ 41817 h 246"/>
                <a:gd name="T82" fmla="*/ 87023 w 253"/>
                <a:gd name="T83" fmla="*/ 37635 h 246"/>
                <a:gd name="T84" fmla="*/ 84501 w 253"/>
                <a:gd name="T85" fmla="*/ 35022 h 246"/>
                <a:gd name="T86" fmla="*/ 80297 w 253"/>
                <a:gd name="T87" fmla="*/ 33976 h 246"/>
                <a:gd name="T88" fmla="*/ 77354 w 253"/>
                <a:gd name="T89" fmla="*/ 31885 h 246"/>
                <a:gd name="T90" fmla="*/ 75673 w 253"/>
                <a:gd name="T91" fmla="*/ 28226 h 246"/>
                <a:gd name="T92" fmla="*/ 58856 w 253"/>
                <a:gd name="T93" fmla="*/ 25613 h 246"/>
                <a:gd name="T94" fmla="*/ 57175 w 253"/>
                <a:gd name="T95" fmla="*/ 22999 h 246"/>
                <a:gd name="T96" fmla="*/ 57175 w 253"/>
                <a:gd name="T97" fmla="*/ 18818 h 246"/>
                <a:gd name="T98" fmla="*/ 58856 w 253"/>
                <a:gd name="T99" fmla="*/ 9409 h 246"/>
                <a:gd name="T100" fmla="*/ 46244 w 253"/>
                <a:gd name="T101" fmla="*/ 5750 h 246"/>
                <a:gd name="T102" fmla="*/ 40779 w 253"/>
                <a:gd name="T103" fmla="*/ 6273 h 246"/>
                <a:gd name="T104" fmla="*/ 36155 w 253"/>
                <a:gd name="T105" fmla="*/ 9409 h 246"/>
                <a:gd name="T106" fmla="*/ 43722 w 253"/>
                <a:gd name="T107" fmla="*/ 2614 h 246"/>
                <a:gd name="T108" fmla="*/ 47506 w 253"/>
                <a:gd name="T109" fmla="*/ 523 h 246"/>
                <a:gd name="T110" fmla="*/ 53391 w 253"/>
                <a:gd name="T111" fmla="*/ 0 h 24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20" name="Freeform 281">
              <a:extLst>
                <a:ext uri="{FF2B5EF4-FFF2-40B4-BE49-F238E27FC236}">
                  <a16:creationId xmlns:a16="http://schemas.microsoft.com/office/drawing/2014/main" id="{D9A3DC45-E2BB-4BCE-A822-C14DC8515B0F}"/>
                </a:ext>
              </a:extLst>
            </p:cNvPr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7519988" y="3349626"/>
              <a:ext cx="63500" cy="119063"/>
            </a:xfrm>
            <a:custGeom>
              <a:avLst/>
              <a:gdLst>
                <a:gd name="T0" fmla="*/ 18465 w 141"/>
                <a:gd name="T1" fmla="*/ 119063 h 228"/>
                <a:gd name="T2" fmla="*/ 16213 w 141"/>
                <a:gd name="T3" fmla="*/ 114885 h 228"/>
                <a:gd name="T4" fmla="*/ 13060 w 141"/>
                <a:gd name="T5" fmla="*/ 108619 h 228"/>
                <a:gd name="T6" fmla="*/ 9908 w 141"/>
                <a:gd name="T7" fmla="*/ 101308 h 228"/>
                <a:gd name="T8" fmla="*/ 7206 w 141"/>
                <a:gd name="T9" fmla="*/ 92953 h 228"/>
                <a:gd name="T10" fmla="*/ 4504 w 141"/>
                <a:gd name="T11" fmla="*/ 85120 h 228"/>
                <a:gd name="T12" fmla="*/ 2252 w 141"/>
                <a:gd name="T13" fmla="*/ 77287 h 228"/>
                <a:gd name="T14" fmla="*/ 901 w 141"/>
                <a:gd name="T15" fmla="*/ 70498 h 228"/>
                <a:gd name="T16" fmla="*/ 0 w 141"/>
                <a:gd name="T17" fmla="*/ 64231 h 228"/>
                <a:gd name="T18" fmla="*/ 901 w 141"/>
                <a:gd name="T19" fmla="*/ 54309 h 228"/>
                <a:gd name="T20" fmla="*/ 1801 w 141"/>
                <a:gd name="T21" fmla="*/ 45432 h 228"/>
                <a:gd name="T22" fmla="*/ 2702 w 141"/>
                <a:gd name="T23" fmla="*/ 36554 h 228"/>
                <a:gd name="T24" fmla="*/ 4053 w 141"/>
                <a:gd name="T25" fmla="*/ 28721 h 228"/>
                <a:gd name="T26" fmla="*/ 8106 w 141"/>
                <a:gd name="T27" fmla="*/ 14622 h 228"/>
                <a:gd name="T28" fmla="*/ 12610 w 141"/>
                <a:gd name="T29" fmla="*/ 0 h 228"/>
                <a:gd name="T30" fmla="*/ 20266 w 141"/>
                <a:gd name="T31" fmla="*/ 8355 h 228"/>
                <a:gd name="T32" fmla="*/ 27922 w 141"/>
                <a:gd name="T33" fmla="*/ 14622 h 228"/>
                <a:gd name="T34" fmla="*/ 34227 w 141"/>
                <a:gd name="T35" fmla="*/ 19322 h 228"/>
                <a:gd name="T36" fmla="*/ 40082 w 141"/>
                <a:gd name="T37" fmla="*/ 25066 h 228"/>
                <a:gd name="T38" fmla="*/ 42784 w 141"/>
                <a:gd name="T39" fmla="*/ 28721 h 228"/>
                <a:gd name="T40" fmla="*/ 45486 w 141"/>
                <a:gd name="T41" fmla="*/ 32899 h 228"/>
                <a:gd name="T42" fmla="*/ 48188 w 141"/>
                <a:gd name="T43" fmla="*/ 38643 h 228"/>
                <a:gd name="T44" fmla="*/ 51340 w 141"/>
                <a:gd name="T45" fmla="*/ 44910 h 228"/>
                <a:gd name="T46" fmla="*/ 54043 w 141"/>
                <a:gd name="T47" fmla="*/ 52221 h 228"/>
                <a:gd name="T48" fmla="*/ 57195 w 141"/>
                <a:gd name="T49" fmla="*/ 61098 h 228"/>
                <a:gd name="T50" fmla="*/ 59897 w 141"/>
                <a:gd name="T51" fmla="*/ 72064 h 228"/>
                <a:gd name="T52" fmla="*/ 63500 w 141"/>
                <a:gd name="T53" fmla="*/ 84075 h 228"/>
                <a:gd name="T54" fmla="*/ 63050 w 141"/>
                <a:gd name="T55" fmla="*/ 88253 h 228"/>
                <a:gd name="T56" fmla="*/ 62149 w 141"/>
                <a:gd name="T57" fmla="*/ 92430 h 228"/>
                <a:gd name="T58" fmla="*/ 60798 w 141"/>
                <a:gd name="T59" fmla="*/ 97130 h 228"/>
                <a:gd name="T60" fmla="*/ 58996 w 141"/>
                <a:gd name="T61" fmla="*/ 100264 h 228"/>
                <a:gd name="T62" fmla="*/ 57195 w 141"/>
                <a:gd name="T63" fmla="*/ 103919 h 228"/>
                <a:gd name="T64" fmla="*/ 54493 w 141"/>
                <a:gd name="T65" fmla="*/ 106530 h 228"/>
                <a:gd name="T66" fmla="*/ 51791 w 141"/>
                <a:gd name="T67" fmla="*/ 109141 h 228"/>
                <a:gd name="T68" fmla="*/ 48638 w 141"/>
                <a:gd name="T69" fmla="*/ 111230 h 228"/>
                <a:gd name="T70" fmla="*/ 45035 w 141"/>
                <a:gd name="T71" fmla="*/ 113319 h 228"/>
                <a:gd name="T72" fmla="*/ 41883 w 141"/>
                <a:gd name="T73" fmla="*/ 114885 h 228"/>
                <a:gd name="T74" fmla="*/ 38280 w 141"/>
                <a:gd name="T75" fmla="*/ 116452 h 228"/>
                <a:gd name="T76" fmla="*/ 34227 w 141"/>
                <a:gd name="T77" fmla="*/ 117496 h 228"/>
                <a:gd name="T78" fmla="*/ 26571 w 141"/>
                <a:gd name="T79" fmla="*/ 118541 h 228"/>
                <a:gd name="T80" fmla="*/ 18465 w 141"/>
                <a:gd name="T81" fmla="*/ 119063 h 22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221" name="Group 282">
              <a:extLst>
                <a:ext uri="{FF2B5EF4-FFF2-40B4-BE49-F238E27FC236}">
                  <a16:creationId xmlns:a16="http://schemas.microsoft.com/office/drawing/2014/main" id="{296376C8-7770-4604-98D2-59C22E5ADB09}"/>
                </a:ext>
              </a:extLst>
            </p:cNvPr>
            <p:cNvGrpSpPr>
              <a:grpSpLocks/>
            </p:cNvGrpSpPr>
            <p:nvPr>
              <p:custDataLst>
                <p:tags r:id="rId209"/>
              </p:custDataLst>
            </p:nvPr>
          </p:nvGrpSpPr>
          <p:grpSpPr bwMode="auto">
            <a:xfrm>
              <a:off x="8459788" y="3060700"/>
              <a:ext cx="233362" cy="439738"/>
              <a:chOff x="5062" y="2295"/>
              <a:chExt cx="177" cy="279"/>
            </a:xfrm>
          </p:grpSpPr>
          <p:sp>
            <p:nvSpPr>
              <p:cNvPr id="466" name="Freeform 283">
                <a:extLst>
                  <a:ext uri="{FF2B5EF4-FFF2-40B4-BE49-F238E27FC236}">
                    <a16:creationId xmlns:a16="http://schemas.microsoft.com/office/drawing/2014/main" id="{C671523A-3685-4570-8F0E-0F480D018A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12 w 60"/>
                  <a:gd name="T1" fmla="*/ 37 h 110"/>
                  <a:gd name="T2" fmla="*/ 13 w 60"/>
                  <a:gd name="T3" fmla="*/ 37 h 110"/>
                  <a:gd name="T4" fmla="*/ 15 w 60"/>
                  <a:gd name="T5" fmla="*/ 36 h 110"/>
                  <a:gd name="T6" fmla="*/ 16 w 60"/>
                  <a:gd name="T7" fmla="*/ 34 h 110"/>
                  <a:gd name="T8" fmla="*/ 16 w 60"/>
                  <a:gd name="T9" fmla="*/ 32 h 110"/>
                  <a:gd name="T10" fmla="*/ 17 w 60"/>
                  <a:gd name="T11" fmla="*/ 30 h 110"/>
                  <a:gd name="T12" fmla="*/ 18 w 60"/>
                  <a:gd name="T13" fmla="*/ 28 h 110"/>
                  <a:gd name="T14" fmla="*/ 19 w 60"/>
                  <a:gd name="T15" fmla="*/ 26 h 110"/>
                  <a:gd name="T16" fmla="*/ 19 w 60"/>
                  <a:gd name="T17" fmla="*/ 25 h 110"/>
                  <a:gd name="T18" fmla="*/ 19 w 60"/>
                  <a:gd name="T19" fmla="*/ 20 h 110"/>
                  <a:gd name="T20" fmla="*/ 18 w 60"/>
                  <a:gd name="T21" fmla="*/ 16 h 110"/>
                  <a:gd name="T22" fmla="*/ 18 w 60"/>
                  <a:gd name="T23" fmla="*/ 13 h 110"/>
                  <a:gd name="T24" fmla="*/ 17 w 60"/>
                  <a:gd name="T25" fmla="*/ 10 h 110"/>
                  <a:gd name="T26" fmla="*/ 16 w 60"/>
                  <a:gd name="T27" fmla="*/ 7 h 110"/>
                  <a:gd name="T28" fmla="*/ 15 w 60"/>
                  <a:gd name="T29" fmla="*/ 4 h 110"/>
                  <a:gd name="T30" fmla="*/ 14 w 60"/>
                  <a:gd name="T31" fmla="*/ 2 h 110"/>
                  <a:gd name="T32" fmla="*/ 12 w 60"/>
                  <a:gd name="T33" fmla="*/ 0 h 110"/>
                  <a:gd name="T34" fmla="*/ 11 w 60"/>
                  <a:gd name="T35" fmla="*/ 1 h 110"/>
                  <a:gd name="T36" fmla="*/ 10 w 60"/>
                  <a:gd name="T37" fmla="*/ 3 h 110"/>
                  <a:gd name="T38" fmla="*/ 9 w 60"/>
                  <a:gd name="T39" fmla="*/ 4 h 110"/>
                  <a:gd name="T40" fmla="*/ 8 w 60"/>
                  <a:gd name="T41" fmla="*/ 6 h 110"/>
                  <a:gd name="T42" fmla="*/ 6 w 60"/>
                  <a:gd name="T43" fmla="*/ 10 h 110"/>
                  <a:gd name="T44" fmla="*/ 5 w 60"/>
                  <a:gd name="T45" fmla="*/ 13 h 110"/>
                  <a:gd name="T46" fmla="*/ 3 w 60"/>
                  <a:gd name="T47" fmla="*/ 17 h 110"/>
                  <a:gd name="T48" fmla="*/ 2 w 60"/>
                  <a:gd name="T49" fmla="*/ 21 h 110"/>
                  <a:gd name="T50" fmla="*/ 2 w 60"/>
                  <a:gd name="T51" fmla="*/ 22 h 110"/>
                  <a:gd name="T52" fmla="*/ 1 w 60"/>
                  <a:gd name="T53" fmla="*/ 23 h 110"/>
                  <a:gd name="T54" fmla="*/ 1 w 60"/>
                  <a:gd name="T55" fmla="*/ 24 h 110"/>
                  <a:gd name="T56" fmla="*/ 0 w 60"/>
                  <a:gd name="T57" fmla="*/ 25 h 110"/>
                  <a:gd name="T58" fmla="*/ 0 w 60"/>
                  <a:gd name="T59" fmla="*/ 26 h 110"/>
                  <a:gd name="T60" fmla="*/ 1 w 60"/>
                  <a:gd name="T61" fmla="*/ 28 h 110"/>
                  <a:gd name="T62" fmla="*/ 2 w 60"/>
                  <a:gd name="T63" fmla="*/ 30 h 110"/>
                  <a:gd name="T64" fmla="*/ 4 w 60"/>
                  <a:gd name="T65" fmla="*/ 32 h 110"/>
                  <a:gd name="T66" fmla="*/ 6 w 60"/>
                  <a:gd name="T67" fmla="*/ 34 h 110"/>
                  <a:gd name="T68" fmla="*/ 8 w 60"/>
                  <a:gd name="T69" fmla="*/ 36 h 110"/>
                  <a:gd name="T70" fmla="*/ 10 w 60"/>
                  <a:gd name="T71" fmla="*/ 37 h 110"/>
                  <a:gd name="T72" fmla="*/ 12 w 60"/>
                  <a:gd name="T73" fmla="*/ 37 h 11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7" name="Freeform 284">
                <a:extLst>
                  <a:ext uri="{FF2B5EF4-FFF2-40B4-BE49-F238E27FC236}">
                    <a16:creationId xmlns:a16="http://schemas.microsoft.com/office/drawing/2014/main" id="{B61E63E4-2168-4498-93BE-A75748CF5D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4 h 75"/>
                  <a:gd name="T2" fmla="*/ 3 w 72"/>
                  <a:gd name="T3" fmla="*/ 6 h 75"/>
                  <a:gd name="T4" fmla="*/ 5 w 72"/>
                  <a:gd name="T5" fmla="*/ 8 h 75"/>
                  <a:gd name="T6" fmla="*/ 8 w 72"/>
                  <a:gd name="T7" fmla="*/ 11 h 75"/>
                  <a:gd name="T8" fmla="*/ 10 w 72"/>
                  <a:gd name="T9" fmla="*/ 13 h 75"/>
                  <a:gd name="T10" fmla="*/ 12 w 72"/>
                  <a:gd name="T11" fmla="*/ 16 h 75"/>
                  <a:gd name="T12" fmla="*/ 14 w 72"/>
                  <a:gd name="T13" fmla="*/ 19 h 75"/>
                  <a:gd name="T14" fmla="*/ 15 w 72"/>
                  <a:gd name="T15" fmla="*/ 22 h 75"/>
                  <a:gd name="T16" fmla="*/ 15 w 72"/>
                  <a:gd name="T17" fmla="*/ 25 h 75"/>
                  <a:gd name="T18" fmla="*/ 24 w 72"/>
                  <a:gd name="T19" fmla="*/ 25 h 75"/>
                  <a:gd name="T20" fmla="*/ 22 w 72"/>
                  <a:gd name="T21" fmla="*/ 17 h 75"/>
                  <a:gd name="T22" fmla="*/ 20 w 72"/>
                  <a:gd name="T23" fmla="*/ 11 h 75"/>
                  <a:gd name="T24" fmla="*/ 20 w 72"/>
                  <a:gd name="T25" fmla="*/ 9 h 75"/>
                  <a:gd name="T26" fmla="*/ 21 w 72"/>
                  <a:gd name="T27" fmla="*/ 6 h 75"/>
                  <a:gd name="T28" fmla="*/ 22 w 72"/>
                  <a:gd name="T29" fmla="*/ 4 h 75"/>
                  <a:gd name="T30" fmla="*/ 24 w 72"/>
                  <a:gd name="T31" fmla="*/ 0 h 75"/>
                  <a:gd name="T32" fmla="*/ 17 w 72"/>
                  <a:gd name="T33" fmla="*/ 0 h 75"/>
                  <a:gd name="T34" fmla="*/ 11 w 72"/>
                  <a:gd name="T35" fmla="*/ 0 h 75"/>
                  <a:gd name="T36" fmla="*/ 7 w 72"/>
                  <a:gd name="T37" fmla="*/ 0 h 75"/>
                  <a:gd name="T38" fmla="*/ 4 w 72"/>
                  <a:gd name="T39" fmla="*/ 1 h 75"/>
                  <a:gd name="T40" fmla="*/ 3 w 72"/>
                  <a:gd name="T41" fmla="*/ 2 h 75"/>
                  <a:gd name="T42" fmla="*/ 2 w 72"/>
                  <a:gd name="T43" fmla="*/ 2 h 75"/>
                  <a:gd name="T44" fmla="*/ 1 w 72"/>
                  <a:gd name="T45" fmla="*/ 3 h 75"/>
                  <a:gd name="T46" fmla="*/ 0 w 72"/>
                  <a:gd name="T47" fmla="*/ 4 h 7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8" name="Freeform 285">
                <a:extLst>
                  <a:ext uri="{FF2B5EF4-FFF2-40B4-BE49-F238E27FC236}">
                    <a16:creationId xmlns:a16="http://schemas.microsoft.com/office/drawing/2014/main" id="{7CA33A70-E4F4-41E6-90C6-633936FA1D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5 w 15"/>
                  <a:gd name="T1" fmla="*/ 16 h 49"/>
                  <a:gd name="T2" fmla="*/ 5 w 15"/>
                  <a:gd name="T3" fmla="*/ 11 h 49"/>
                  <a:gd name="T4" fmla="*/ 5 w 15"/>
                  <a:gd name="T5" fmla="*/ 6 h 49"/>
                  <a:gd name="T6" fmla="*/ 5 w 15"/>
                  <a:gd name="T7" fmla="*/ 4 h 49"/>
                  <a:gd name="T8" fmla="*/ 4 w 15"/>
                  <a:gd name="T9" fmla="*/ 2 h 49"/>
                  <a:gd name="T10" fmla="*/ 4 w 15"/>
                  <a:gd name="T11" fmla="*/ 1 h 49"/>
                  <a:gd name="T12" fmla="*/ 3 w 15"/>
                  <a:gd name="T13" fmla="*/ 0 h 49"/>
                  <a:gd name="T14" fmla="*/ 1 w 15"/>
                  <a:gd name="T15" fmla="*/ 2 h 49"/>
                  <a:gd name="T16" fmla="*/ 1 w 15"/>
                  <a:gd name="T17" fmla="*/ 5 h 49"/>
                  <a:gd name="T18" fmla="*/ 0 w 15"/>
                  <a:gd name="T19" fmla="*/ 8 h 49"/>
                  <a:gd name="T20" fmla="*/ 0 w 15"/>
                  <a:gd name="T21" fmla="*/ 10 h 49"/>
                  <a:gd name="T22" fmla="*/ 0 w 15"/>
                  <a:gd name="T23" fmla="*/ 12 h 49"/>
                  <a:gd name="T24" fmla="*/ 1 w 15"/>
                  <a:gd name="T25" fmla="*/ 14 h 49"/>
                  <a:gd name="T26" fmla="*/ 2 w 15"/>
                  <a:gd name="T27" fmla="*/ 14 h 49"/>
                  <a:gd name="T28" fmla="*/ 3 w 15"/>
                  <a:gd name="T29" fmla="*/ 15 h 49"/>
                  <a:gd name="T30" fmla="*/ 4 w 15"/>
                  <a:gd name="T31" fmla="*/ 16 h 49"/>
                  <a:gd name="T32" fmla="*/ 5 w 15"/>
                  <a:gd name="T33" fmla="*/ 16 h 4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9" name="Freeform 286">
                <a:extLst>
                  <a:ext uri="{FF2B5EF4-FFF2-40B4-BE49-F238E27FC236}">
                    <a16:creationId xmlns:a16="http://schemas.microsoft.com/office/drawing/2014/main" id="{464F7D70-5DBF-4F1C-8369-A61C802E5D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6 w 47"/>
                  <a:gd name="T1" fmla="*/ 2 h 40"/>
                  <a:gd name="T2" fmla="*/ 0 w 47"/>
                  <a:gd name="T3" fmla="*/ 12 h 40"/>
                  <a:gd name="T4" fmla="*/ 2 w 47"/>
                  <a:gd name="T5" fmla="*/ 13 h 40"/>
                  <a:gd name="T6" fmla="*/ 4 w 47"/>
                  <a:gd name="T7" fmla="*/ 13 h 40"/>
                  <a:gd name="T8" fmla="*/ 6 w 47"/>
                  <a:gd name="T9" fmla="*/ 13 h 40"/>
                  <a:gd name="T10" fmla="*/ 8 w 47"/>
                  <a:gd name="T11" fmla="*/ 12 h 40"/>
                  <a:gd name="T12" fmla="*/ 10 w 47"/>
                  <a:gd name="T13" fmla="*/ 12 h 40"/>
                  <a:gd name="T14" fmla="*/ 12 w 47"/>
                  <a:gd name="T15" fmla="*/ 11 h 40"/>
                  <a:gd name="T16" fmla="*/ 14 w 47"/>
                  <a:gd name="T17" fmla="*/ 10 h 40"/>
                  <a:gd name="T18" fmla="*/ 15 w 47"/>
                  <a:gd name="T19" fmla="*/ 8 h 40"/>
                  <a:gd name="T20" fmla="*/ 15 w 47"/>
                  <a:gd name="T21" fmla="*/ 0 h 40"/>
                  <a:gd name="T22" fmla="*/ 13 w 47"/>
                  <a:gd name="T23" fmla="*/ 0 h 40"/>
                  <a:gd name="T24" fmla="*/ 11 w 47"/>
                  <a:gd name="T25" fmla="*/ 0 h 40"/>
                  <a:gd name="T26" fmla="*/ 8 w 47"/>
                  <a:gd name="T27" fmla="*/ 1 h 40"/>
                  <a:gd name="T28" fmla="*/ 6 w 47"/>
                  <a:gd name="T29" fmla="*/ 2 h 4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0" name="Freeform 287">
                <a:extLst>
                  <a:ext uri="{FF2B5EF4-FFF2-40B4-BE49-F238E27FC236}">
                    <a16:creationId xmlns:a16="http://schemas.microsoft.com/office/drawing/2014/main" id="{DD2A6BB3-133F-45F9-A320-A2987C8718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1 w 39"/>
                  <a:gd name="T3" fmla="*/ 3 h 31"/>
                  <a:gd name="T4" fmla="*/ 2 w 39"/>
                  <a:gd name="T5" fmla="*/ 4 h 31"/>
                  <a:gd name="T6" fmla="*/ 4 w 39"/>
                  <a:gd name="T7" fmla="*/ 6 h 31"/>
                  <a:gd name="T8" fmla="*/ 6 w 39"/>
                  <a:gd name="T9" fmla="*/ 7 h 31"/>
                  <a:gd name="T10" fmla="*/ 8 w 39"/>
                  <a:gd name="T11" fmla="*/ 8 h 31"/>
                  <a:gd name="T12" fmla="*/ 9 w 39"/>
                  <a:gd name="T13" fmla="*/ 9 h 31"/>
                  <a:gd name="T14" fmla="*/ 11 w 39"/>
                  <a:gd name="T15" fmla="*/ 10 h 31"/>
                  <a:gd name="T16" fmla="*/ 13 w 39"/>
                  <a:gd name="T17" fmla="*/ 10 h 31"/>
                  <a:gd name="T18" fmla="*/ 11 w 39"/>
                  <a:gd name="T19" fmla="*/ 7 h 31"/>
                  <a:gd name="T20" fmla="*/ 8 w 39"/>
                  <a:gd name="T21" fmla="*/ 5 h 31"/>
                  <a:gd name="T22" fmla="*/ 5 w 39"/>
                  <a:gd name="T23" fmla="*/ 2 h 31"/>
                  <a:gd name="T24" fmla="*/ 2 w 39"/>
                  <a:gd name="T25" fmla="*/ 0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1" name="Freeform 288">
                <a:extLst>
                  <a:ext uri="{FF2B5EF4-FFF2-40B4-BE49-F238E27FC236}">
                    <a16:creationId xmlns:a16="http://schemas.microsoft.com/office/drawing/2014/main" id="{7812150C-6E22-484E-BBE6-25ECC56121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10 w 34"/>
                  <a:gd name="T3" fmla="*/ 6 h 19"/>
                  <a:gd name="T4" fmla="*/ 10 w 34"/>
                  <a:gd name="T5" fmla="*/ 0 h 19"/>
                  <a:gd name="T6" fmla="*/ 7 w 34"/>
                  <a:gd name="T7" fmla="*/ 0 h 19"/>
                  <a:gd name="T8" fmla="*/ 4 w 34"/>
                  <a:gd name="T9" fmla="*/ 0 h 19"/>
                  <a:gd name="T10" fmla="*/ 2 w 34"/>
                  <a:gd name="T11" fmla="*/ 0 h 19"/>
                  <a:gd name="T12" fmla="*/ 0 w 34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2" name="Freeform 289">
                <a:extLst>
                  <a:ext uri="{FF2B5EF4-FFF2-40B4-BE49-F238E27FC236}">
                    <a16:creationId xmlns:a16="http://schemas.microsoft.com/office/drawing/2014/main" id="{6EFB7B62-CE4E-43EB-B932-C7CDE3D47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6 w 19"/>
                  <a:gd name="T3" fmla="*/ 4 h 12"/>
                  <a:gd name="T4" fmla="*/ 4 w 19"/>
                  <a:gd name="T5" fmla="*/ 2 h 12"/>
                  <a:gd name="T6" fmla="*/ 2 w 19"/>
                  <a:gd name="T7" fmla="*/ 2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3" name="Freeform 290">
                <a:extLst>
                  <a:ext uri="{FF2B5EF4-FFF2-40B4-BE49-F238E27FC236}">
                    <a16:creationId xmlns:a16="http://schemas.microsoft.com/office/drawing/2014/main" id="{6B09A87A-4CEA-451F-B7F8-E6B87AA5E2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38 w 126"/>
                  <a:gd name="T1" fmla="*/ 0 h 166"/>
                  <a:gd name="T2" fmla="*/ 39 w 126"/>
                  <a:gd name="T3" fmla="*/ 2 h 166"/>
                  <a:gd name="T4" fmla="*/ 40 w 126"/>
                  <a:gd name="T5" fmla="*/ 3 h 166"/>
                  <a:gd name="T6" fmla="*/ 41 w 126"/>
                  <a:gd name="T7" fmla="*/ 4 h 166"/>
                  <a:gd name="T8" fmla="*/ 42 w 126"/>
                  <a:gd name="T9" fmla="*/ 6 h 166"/>
                  <a:gd name="T10" fmla="*/ 42 w 126"/>
                  <a:gd name="T11" fmla="*/ 7 h 166"/>
                  <a:gd name="T12" fmla="*/ 42 w 126"/>
                  <a:gd name="T13" fmla="*/ 8 h 166"/>
                  <a:gd name="T14" fmla="*/ 41 w 126"/>
                  <a:gd name="T15" fmla="*/ 11 h 166"/>
                  <a:gd name="T16" fmla="*/ 39 w 126"/>
                  <a:gd name="T17" fmla="*/ 14 h 166"/>
                  <a:gd name="T18" fmla="*/ 38 w 126"/>
                  <a:gd name="T19" fmla="*/ 17 h 166"/>
                  <a:gd name="T20" fmla="*/ 35 w 126"/>
                  <a:gd name="T21" fmla="*/ 20 h 166"/>
                  <a:gd name="T22" fmla="*/ 30 w 126"/>
                  <a:gd name="T23" fmla="*/ 28 h 166"/>
                  <a:gd name="T24" fmla="*/ 24 w 126"/>
                  <a:gd name="T25" fmla="*/ 34 h 166"/>
                  <a:gd name="T26" fmla="*/ 18 w 126"/>
                  <a:gd name="T27" fmla="*/ 42 h 166"/>
                  <a:gd name="T28" fmla="*/ 11 w 126"/>
                  <a:gd name="T29" fmla="*/ 48 h 166"/>
                  <a:gd name="T30" fmla="*/ 8 w 126"/>
                  <a:gd name="T31" fmla="*/ 50 h 166"/>
                  <a:gd name="T32" fmla="*/ 5 w 126"/>
                  <a:gd name="T33" fmla="*/ 52 h 166"/>
                  <a:gd name="T34" fmla="*/ 2 w 126"/>
                  <a:gd name="T35" fmla="*/ 54 h 166"/>
                  <a:gd name="T36" fmla="*/ 0 w 126"/>
                  <a:gd name="T37" fmla="*/ 55 h 166"/>
                  <a:gd name="T38" fmla="*/ 0 w 126"/>
                  <a:gd name="T39" fmla="*/ 53 h 166"/>
                  <a:gd name="T40" fmla="*/ 0 w 126"/>
                  <a:gd name="T41" fmla="*/ 51 h 166"/>
                  <a:gd name="T42" fmla="*/ 0 w 126"/>
                  <a:gd name="T43" fmla="*/ 48 h 166"/>
                  <a:gd name="T44" fmla="*/ 0 w 126"/>
                  <a:gd name="T45" fmla="*/ 45 h 166"/>
                  <a:gd name="T46" fmla="*/ 1 w 126"/>
                  <a:gd name="T47" fmla="*/ 43 h 166"/>
                  <a:gd name="T48" fmla="*/ 2 w 126"/>
                  <a:gd name="T49" fmla="*/ 42 h 166"/>
                  <a:gd name="T50" fmla="*/ 4 w 126"/>
                  <a:gd name="T51" fmla="*/ 41 h 166"/>
                  <a:gd name="T52" fmla="*/ 5 w 126"/>
                  <a:gd name="T53" fmla="*/ 40 h 166"/>
                  <a:gd name="T54" fmla="*/ 9 w 126"/>
                  <a:gd name="T55" fmla="*/ 38 h 166"/>
                  <a:gd name="T56" fmla="*/ 11 w 126"/>
                  <a:gd name="T57" fmla="*/ 36 h 166"/>
                  <a:gd name="T58" fmla="*/ 13 w 126"/>
                  <a:gd name="T59" fmla="*/ 34 h 166"/>
                  <a:gd name="T60" fmla="*/ 16 w 126"/>
                  <a:gd name="T61" fmla="*/ 32 h 166"/>
                  <a:gd name="T62" fmla="*/ 18 w 126"/>
                  <a:gd name="T63" fmla="*/ 29 h 166"/>
                  <a:gd name="T64" fmla="*/ 19 w 126"/>
                  <a:gd name="T65" fmla="*/ 27 h 166"/>
                  <a:gd name="T66" fmla="*/ 22 w 126"/>
                  <a:gd name="T67" fmla="*/ 22 h 166"/>
                  <a:gd name="T68" fmla="*/ 24 w 126"/>
                  <a:gd name="T69" fmla="*/ 17 h 166"/>
                  <a:gd name="T70" fmla="*/ 26 w 126"/>
                  <a:gd name="T71" fmla="*/ 12 h 166"/>
                  <a:gd name="T72" fmla="*/ 29 w 126"/>
                  <a:gd name="T73" fmla="*/ 8 h 166"/>
                  <a:gd name="T74" fmla="*/ 31 w 126"/>
                  <a:gd name="T75" fmla="*/ 5 h 166"/>
                  <a:gd name="T76" fmla="*/ 32 w 126"/>
                  <a:gd name="T77" fmla="*/ 4 h 166"/>
                  <a:gd name="T78" fmla="*/ 35 w 126"/>
                  <a:gd name="T79" fmla="*/ 2 h 166"/>
                  <a:gd name="T80" fmla="*/ 38 w 126"/>
                  <a:gd name="T81" fmla="*/ 0 h 16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4" name="Freeform 291">
                <a:extLst>
                  <a:ext uri="{FF2B5EF4-FFF2-40B4-BE49-F238E27FC236}">
                    <a16:creationId xmlns:a16="http://schemas.microsoft.com/office/drawing/2014/main" id="{F3A6AA3F-D441-4517-BDCA-D390AC3E09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3 w 259"/>
                  <a:gd name="T1" fmla="*/ 60 h 259"/>
                  <a:gd name="T2" fmla="*/ 0 w 259"/>
                  <a:gd name="T3" fmla="*/ 54 h 259"/>
                  <a:gd name="T4" fmla="*/ 0 w 259"/>
                  <a:gd name="T5" fmla="*/ 47 h 259"/>
                  <a:gd name="T6" fmla="*/ 2 w 259"/>
                  <a:gd name="T7" fmla="*/ 43 h 259"/>
                  <a:gd name="T8" fmla="*/ 6 w 259"/>
                  <a:gd name="T9" fmla="*/ 42 h 259"/>
                  <a:gd name="T10" fmla="*/ 11 w 259"/>
                  <a:gd name="T11" fmla="*/ 39 h 259"/>
                  <a:gd name="T12" fmla="*/ 16 w 259"/>
                  <a:gd name="T13" fmla="*/ 33 h 259"/>
                  <a:gd name="T14" fmla="*/ 20 w 259"/>
                  <a:gd name="T15" fmla="*/ 30 h 259"/>
                  <a:gd name="T16" fmla="*/ 22 w 259"/>
                  <a:gd name="T17" fmla="*/ 29 h 259"/>
                  <a:gd name="T18" fmla="*/ 27 w 259"/>
                  <a:gd name="T19" fmla="*/ 29 h 259"/>
                  <a:gd name="T20" fmla="*/ 31 w 259"/>
                  <a:gd name="T21" fmla="*/ 31 h 259"/>
                  <a:gd name="T22" fmla="*/ 33 w 259"/>
                  <a:gd name="T23" fmla="*/ 35 h 259"/>
                  <a:gd name="T24" fmla="*/ 35 w 259"/>
                  <a:gd name="T25" fmla="*/ 37 h 259"/>
                  <a:gd name="T26" fmla="*/ 39 w 259"/>
                  <a:gd name="T27" fmla="*/ 37 h 259"/>
                  <a:gd name="T28" fmla="*/ 44 w 259"/>
                  <a:gd name="T29" fmla="*/ 35 h 259"/>
                  <a:gd name="T30" fmla="*/ 49 w 259"/>
                  <a:gd name="T31" fmla="*/ 31 h 259"/>
                  <a:gd name="T32" fmla="*/ 53 w 259"/>
                  <a:gd name="T33" fmla="*/ 26 h 259"/>
                  <a:gd name="T34" fmla="*/ 57 w 259"/>
                  <a:gd name="T35" fmla="*/ 17 h 259"/>
                  <a:gd name="T36" fmla="*/ 62 w 259"/>
                  <a:gd name="T37" fmla="*/ 5 h 259"/>
                  <a:gd name="T38" fmla="*/ 64 w 259"/>
                  <a:gd name="T39" fmla="*/ 1 h 259"/>
                  <a:gd name="T40" fmla="*/ 66 w 259"/>
                  <a:gd name="T41" fmla="*/ 4 h 259"/>
                  <a:gd name="T42" fmla="*/ 70 w 259"/>
                  <a:gd name="T43" fmla="*/ 6 h 259"/>
                  <a:gd name="T44" fmla="*/ 72 w 259"/>
                  <a:gd name="T45" fmla="*/ 11 h 259"/>
                  <a:gd name="T46" fmla="*/ 72 w 259"/>
                  <a:gd name="T47" fmla="*/ 17 h 259"/>
                  <a:gd name="T48" fmla="*/ 74 w 259"/>
                  <a:gd name="T49" fmla="*/ 20 h 259"/>
                  <a:gd name="T50" fmla="*/ 77 w 259"/>
                  <a:gd name="T51" fmla="*/ 23 h 259"/>
                  <a:gd name="T52" fmla="*/ 77 w 259"/>
                  <a:gd name="T53" fmla="*/ 29 h 259"/>
                  <a:gd name="T54" fmla="*/ 77 w 259"/>
                  <a:gd name="T55" fmla="*/ 35 h 259"/>
                  <a:gd name="T56" fmla="*/ 78 w 259"/>
                  <a:gd name="T57" fmla="*/ 37 h 259"/>
                  <a:gd name="T58" fmla="*/ 80 w 259"/>
                  <a:gd name="T59" fmla="*/ 40 h 259"/>
                  <a:gd name="T60" fmla="*/ 82 w 259"/>
                  <a:gd name="T61" fmla="*/ 45 h 259"/>
                  <a:gd name="T62" fmla="*/ 83 w 259"/>
                  <a:gd name="T63" fmla="*/ 53 h 259"/>
                  <a:gd name="T64" fmla="*/ 80 w 259"/>
                  <a:gd name="T65" fmla="*/ 78 h 259"/>
                  <a:gd name="T66" fmla="*/ 78 w 259"/>
                  <a:gd name="T67" fmla="*/ 74 h 259"/>
                  <a:gd name="T68" fmla="*/ 78 w 259"/>
                  <a:gd name="T69" fmla="*/ 69 h 259"/>
                  <a:gd name="T70" fmla="*/ 78 w 259"/>
                  <a:gd name="T71" fmla="*/ 64 h 259"/>
                  <a:gd name="T72" fmla="*/ 73 w 259"/>
                  <a:gd name="T73" fmla="*/ 62 h 259"/>
                  <a:gd name="T74" fmla="*/ 68 w 259"/>
                  <a:gd name="T75" fmla="*/ 59 h 259"/>
                  <a:gd name="T76" fmla="*/ 64 w 259"/>
                  <a:gd name="T77" fmla="*/ 66 h 259"/>
                  <a:gd name="T78" fmla="*/ 62 w 259"/>
                  <a:gd name="T79" fmla="*/ 73 h 259"/>
                  <a:gd name="T80" fmla="*/ 61 w 259"/>
                  <a:gd name="T81" fmla="*/ 86 h 259"/>
                  <a:gd name="T82" fmla="*/ 41 w 259"/>
                  <a:gd name="T83" fmla="*/ 80 h 259"/>
                  <a:gd name="T84" fmla="*/ 36 w 259"/>
                  <a:gd name="T85" fmla="*/ 73 h 259"/>
                  <a:gd name="T86" fmla="*/ 32 w 259"/>
                  <a:gd name="T87" fmla="*/ 69 h 259"/>
                  <a:gd name="T88" fmla="*/ 32 w 259"/>
                  <a:gd name="T89" fmla="*/ 65 h 259"/>
                  <a:gd name="T90" fmla="*/ 34 w 259"/>
                  <a:gd name="T91" fmla="*/ 62 h 259"/>
                  <a:gd name="T92" fmla="*/ 37 w 259"/>
                  <a:gd name="T93" fmla="*/ 60 h 259"/>
                  <a:gd name="T94" fmla="*/ 38 w 259"/>
                  <a:gd name="T95" fmla="*/ 57 h 259"/>
                  <a:gd name="T96" fmla="*/ 31 w 259"/>
                  <a:gd name="T97" fmla="*/ 51 h 259"/>
                  <a:gd name="T98" fmla="*/ 9 w 259"/>
                  <a:gd name="T99" fmla="*/ 51 h 259"/>
                  <a:gd name="T100" fmla="*/ 7 w 259"/>
                  <a:gd name="T101" fmla="*/ 54 h 259"/>
                  <a:gd name="T102" fmla="*/ 5 w 259"/>
                  <a:gd name="T103" fmla="*/ 58 h 259"/>
                  <a:gd name="T104" fmla="*/ 4 w 259"/>
                  <a:gd name="T105" fmla="*/ 62 h 25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5" name="Freeform 292">
                <a:extLst>
                  <a:ext uri="{FF2B5EF4-FFF2-40B4-BE49-F238E27FC236}">
                    <a16:creationId xmlns:a16="http://schemas.microsoft.com/office/drawing/2014/main" id="{E5368EDD-6D3F-4EDF-9A18-304995F444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23 w 72"/>
                  <a:gd name="T1" fmla="*/ 14 h 92"/>
                  <a:gd name="T2" fmla="*/ 23 w 72"/>
                  <a:gd name="T3" fmla="*/ 31 h 92"/>
                  <a:gd name="T4" fmla="*/ 21 w 72"/>
                  <a:gd name="T5" fmla="*/ 29 h 92"/>
                  <a:gd name="T6" fmla="*/ 19 w 72"/>
                  <a:gd name="T7" fmla="*/ 27 h 92"/>
                  <a:gd name="T8" fmla="*/ 16 w 72"/>
                  <a:gd name="T9" fmla="*/ 25 h 92"/>
                  <a:gd name="T10" fmla="*/ 15 w 72"/>
                  <a:gd name="T11" fmla="*/ 23 h 92"/>
                  <a:gd name="T12" fmla="*/ 12 w 72"/>
                  <a:gd name="T13" fmla="*/ 20 h 92"/>
                  <a:gd name="T14" fmla="*/ 10 w 72"/>
                  <a:gd name="T15" fmla="*/ 16 h 92"/>
                  <a:gd name="T16" fmla="*/ 8 w 72"/>
                  <a:gd name="T17" fmla="*/ 11 h 92"/>
                  <a:gd name="T18" fmla="*/ 6 w 72"/>
                  <a:gd name="T19" fmla="*/ 8 h 92"/>
                  <a:gd name="T20" fmla="*/ 4 w 72"/>
                  <a:gd name="T21" fmla="*/ 4 h 92"/>
                  <a:gd name="T22" fmla="*/ 0 w 72"/>
                  <a:gd name="T23" fmla="*/ 0 h 92"/>
                  <a:gd name="T24" fmla="*/ 8 w 72"/>
                  <a:gd name="T25" fmla="*/ 4 h 92"/>
                  <a:gd name="T26" fmla="*/ 14 w 72"/>
                  <a:gd name="T27" fmla="*/ 7 h 92"/>
                  <a:gd name="T28" fmla="*/ 16 w 72"/>
                  <a:gd name="T29" fmla="*/ 9 h 92"/>
                  <a:gd name="T30" fmla="*/ 19 w 72"/>
                  <a:gd name="T31" fmla="*/ 10 h 92"/>
                  <a:gd name="T32" fmla="*/ 21 w 72"/>
                  <a:gd name="T33" fmla="*/ 12 h 92"/>
                  <a:gd name="T34" fmla="*/ 23 w 72"/>
                  <a:gd name="T35" fmla="*/ 14 h 9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6" name="Freeform 293">
                <a:extLst>
                  <a:ext uri="{FF2B5EF4-FFF2-40B4-BE49-F238E27FC236}">
                    <a16:creationId xmlns:a16="http://schemas.microsoft.com/office/drawing/2014/main" id="{647A9692-557F-45EC-9C8A-EEFD6202DD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2 w 46"/>
                  <a:gd name="T1" fmla="*/ 2 h 62"/>
                  <a:gd name="T2" fmla="*/ 7 w 46"/>
                  <a:gd name="T3" fmla="*/ 2 h 62"/>
                  <a:gd name="T4" fmla="*/ 11 w 46"/>
                  <a:gd name="T5" fmla="*/ 1 h 62"/>
                  <a:gd name="T6" fmla="*/ 14 w 46"/>
                  <a:gd name="T7" fmla="*/ 0 h 62"/>
                  <a:gd name="T8" fmla="*/ 16 w 46"/>
                  <a:gd name="T9" fmla="*/ 0 h 62"/>
                  <a:gd name="T10" fmla="*/ 16 w 46"/>
                  <a:gd name="T11" fmla="*/ 3 h 62"/>
                  <a:gd name="T12" fmla="*/ 16 w 46"/>
                  <a:gd name="T13" fmla="*/ 6 h 62"/>
                  <a:gd name="T14" fmla="*/ 16 w 46"/>
                  <a:gd name="T15" fmla="*/ 9 h 62"/>
                  <a:gd name="T16" fmla="*/ 16 w 46"/>
                  <a:gd name="T17" fmla="*/ 13 h 62"/>
                  <a:gd name="T18" fmla="*/ 16 w 46"/>
                  <a:gd name="T19" fmla="*/ 16 h 62"/>
                  <a:gd name="T20" fmla="*/ 14 w 46"/>
                  <a:gd name="T21" fmla="*/ 18 h 62"/>
                  <a:gd name="T22" fmla="*/ 14 w 46"/>
                  <a:gd name="T23" fmla="*/ 19 h 62"/>
                  <a:gd name="T24" fmla="*/ 13 w 46"/>
                  <a:gd name="T25" fmla="*/ 20 h 62"/>
                  <a:gd name="T26" fmla="*/ 12 w 46"/>
                  <a:gd name="T27" fmla="*/ 21 h 62"/>
                  <a:gd name="T28" fmla="*/ 11 w 46"/>
                  <a:gd name="T29" fmla="*/ 21 h 62"/>
                  <a:gd name="T30" fmla="*/ 9 w 46"/>
                  <a:gd name="T31" fmla="*/ 21 h 62"/>
                  <a:gd name="T32" fmla="*/ 8 w 46"/>
                  <a:gd name="T33" fmla="*/ 20 h 62"/>
                  <a:gd name="T34" fmla="*/ 6 w 46"/>
                  <a:gd name="T35" fmla="*/ 20 h 62"/>
                  <a:gd name="T36" fmla="*/ 5 w 46"/>
                  <a:gd name="T37" fmla="*/ 19 h 62"/>
                  <a:gd name="T38" fmla="*/ 4 w 46"/>
                  <a:gd name="T39" fmla="*/ 18 h 62"/>
                  <a:gd name="T40" fmla="*/ 2 w 46"/>
                  <a:gd name="T41" fmla="*/ 17 h 62"/>
                  <a:gd name="T42" fmla="*/ 2 w 46"/>
                  <a:gd name="T43" fmla="*/ 16 h 62"/>
                  <a:gd name="T44" fmla="*/ 1 w 46"/>
                  <a:gd name="T45" fmla="*/ 15 h 62"/>
                  <a:gd name="T46" fmla="*/ 0 w 46"/>
                  <a:gd name="T47" fmla="*/ 12 h 62"/>
                  <a:gd name="T48" fmla="*/ 0 w 46"/>
                  <a:gd name="T49" fmla="*/ 8 h 62"/>
                  <a:gd name="T50" fmla="*/ 0 w 46"/>
                  <a:gd name="T51" fmla="*/ 5 h 62"/>
                  <a:gd name="T52" fmla="*/ 0 w 46"/>
                  <a:gd name="T53" fmla="*/ 2 h 62"/>
                  <a:gd name="T54" fmla="*/ 2 w 46"/>
                  <a:gd name="T55" fmla="*/ 2 h 62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7" name="Freeform 294">
                <a:extLst>
                  <a:ext uri="{FF2B5EF4-FFF2-40B4-BE49-F238E27FC236}">
                    <a16:creationId xmlns:a16="http://schemas.microsoft.com/office/drawing/2014/main" id="{FC2709A0-2547-4AF2-A271-AA2BACF2CC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19 w 152"/>
                  <a:gd name="T1" fmla="*/ 0 h 296"/>
                  <a:gd name="T2" fmla="*/ 22 w 152"/>
                  <a:gd name="T3" fmla="*/ 3 h 296"/>
                  <a:gd name="T4" fmla="*/ 25 w 152"/>
                  <a:gd name="T5" fmla="*/ 6 h 296"/>
                  <a:gd name="T6" fmla="*/ 29 w 152"/>
                  <a:gd name="T7" fmla="*/ 8 h 296"/>
                  <a:gd name="T8" fmla="*/ 33 w 152"/>
                  <a:gd name="T9" fmla="*/ 8 h 296"/>
                  <a:gd name="T10" fmla="*/ 36 w 152"/>
                  <a:gd name="T11" fmla="*/ 7 h 296"/>
                  <a:gd name="T12" fmla="*/ 39 w 152"/>
                  <a:gd name="T13" fmla="*/ 4 h 296"/>
                  <a:gd name="T14" fmla="*/ 40 w 152"/>
                  <a:gd name="T15" fmla="*/ 12 h 296"/>
                  <a:gd name="T16" fmla="*/ 43 w 152"/>
                  <a:gd name="T17" fmla="*/ 21 h 296"/>
                  <a:gd name="T18" fmla="*/ 46 w 152"/>
                  <a:gd name="T19" fmla="*/ 28 h 296"/>
                  <a:gd name="T20" fmla="*/ 48 w 152"/>
                  <a:gd name="T21" fmla="*/ 31 h 296"/>
                  <a:gd name="T22" fmla="*/ 50 w 152"/>
                  <a:gd name="T23" fmla="*/ 33 h 296"/>
                  <a:gd name="T24" fmla="*/ 47 w 152"/>
                  <a:gd name="T25" fmla="*/ 40 h 296"/>
                  <a:gd name="T26" fmla="*/ 42 w 152"/>
                  <a:gd name="T27" fmla="*/ 46 h 296"/>
                  <a:gd name="T28" fmla="*/ 38 w 152"/>
                  <a:gd name="T29" fmla="*/ 52 h 296"/>
                  <a:gd name="T30" fmla="*/ 37 w 152"/>
                  <a:gd name="T31" fmla="*/ 57 h 296"/>
                  <a:gd name="T32" fmla="*/ 38 w 152"/>
                  <a:gd name="T33" fmla="*/ 65 h 296"/>
                  <a:gd name="T34" fmla="*/ 38 w 152"/>
                  <a:gd name="T35" fmla="*/ 68 h 296"/>
                  <a:gd name="T36" fmla="*/ 37 w 152"/>
                  <a:gd name="T37" fmla="*/ 72 h 296"/>
                  <a:gd name="T38" fmla="*/ 41 w 152"/>
                  <a:gd name="T39" fmla="*/ 72 h 296"/>
                  <a:gd name="T40" fmla="*/ 48 w 152"/>
                  <a:gd name="T41" fmla="*/ 72 h 296"/>
                  <a:gd name="T42" fmla="*/ 45 w 152"/>
                  <a:gd name="T43" fmla="*/ 83 h 296"/>
                  <a:gd name="T44" fmla="*/ 45 w 152"/>
                  <a:gd name="T45" fmla="*/ 88 h 296"/>
                  <a:gd name="T46" fmla="*/ 48 w 152"/>
                  <a:gd name="T47" fmla="*/ 94 h 296"/>
                  <a:gd name="T48" fmla="*/ 41 w 152"/>
                  <a:gd name="T49" fmla="*/ 96 h 296"/>
                  <a:gd name="T50" fmla="*/ 35 w 152"/>
                  <a:gd name="T51" fmla="*/ 98 h 296"/>
                  <a:gd name="T52" fmla="*/ 28 w 152"/>
                  <a:gd name="T53" fmla="*/ 97 h 296"/>
                  <a:gd name="T54" fmla="*/ 24 w 152"/>
                  <a:gd name="T55" fmla="*/ 95 h 296"/>
                  <a:gd name="T56" fmla="*/ 22 w 152"/>
                  <a:gd name="T57" fmla="*/ 93 h 296"/>
                  <a:gd name="T58" fmla="*/ 22 w 152"/>
                  <a:gd name="T59" fmla="*/ 90 h 296"/>
                  <a:gd name="T60" fmla="*/ 28 w 152"/>
                  <a:gd name="T61" fmla="*/ 84 h 296"/>
                  <a:gd name="T62" fmla="*/ 23 w 152"/>
                  <a:gd name="T63" fmla="*/ 82 h 296"/>
                  <a:gd name="T64" fmla="*/ 17 w 152"/>
                  <a:gd name="T65" fmla="*/ 80 h 296"/>
                  <a:gd name="T66" fmla="*/ 13 w 152"/>
                  <a:gd name="T67" fmla="*/ 76 h 296"/>
                  <a:gd name="T68" fmla="*/ 8 w 152"/>
                  <a:gd name="T69" fmla="*/ 73 h 296"/>
                  <a:gd name="T70" fmla="*/ 5 w 152"/>
                  <a:gd name="T71" fmla="*/ 68 h 296"/>
                  <a:gd name="T72" fmla="*/ 2 w 152"/>
                  <a:gd name="T73" fmla="*/ 63 h 296"/>
                  <a:gd name="T74" fmla="*/ 0 w 152"/>
                  <a:gd name="T75" fmla="*/ 57 h 296"/>
                  <a:gd name="T76" fmla="*/ 0 w 152"/>
                  <a:gd name="T77" fmla="*/ 51 h 296"/>
                  <a:gd name="T78" fmla="*/ 0 w 152"/>
                  <a:gd name="T79" fmla="*/ 43 h 296"/>
                  <a:gd name="T80" fmla="*/ 9 w 152"/>
                  <a:gd name="T81" fmla="*/ 35 h 296"/>
                  <a:gd name="T82" fmla="*/ 11 w 152"/>
                  <a:gd name="T83" fmla="*/ 15 h 296"/>
                  <a:gd name="T84" fmla="*/ 10 w 152"/>
                  <a:gd name="T85" fmla="*/ 6 h 296"/>
                  <a:gd name="T86" fmla="*/ 9 w 152"/>
                  <a:gd name="T87" fmla="*/ 1 h 29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8" name="Freeform 295">
                <a:extLst>
                  <a:ext uri="{FF2B5EF4-FFF2-40B4-BE49-F238E27FC236}">
                    <a16:creationId xmlns:a16="http://schemas.microsoft.com/office/drawing/2014/main" id="{63DEBBD0-2360-4CFC-964F-0587548951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8 w 26"/>
                  <a:gd name="T1" fmla="*/ 13 h 38"/>
                  <a:gd name="T2" fmla="*/ 8 w 26"/>
                  <a:gd name="T3" fmla="*/ 0 h 38"/>
                  <a:gd name="T4" fmla="*/ 6 w 26"/>
                  <a:gd name="T5" fmla="*/ 0 h 38"/>
                  <a:gd name="T6" fmla="*/ 4 w 26"/>
                  <a:gd name="T7" fmla="*/ 1 h 38"/>
                  <a:gd name="T8" fmla="*/ 2 w 26"/>
                  <a:gd name="T9" fmla="*/ 3 h 38"/>
                  <a:gd name="T10" fmla="*/ 0 w 26"/>
                  <a:gd name="T11" fmla="*/ 4 h 38"/>
                  <a:gd name="T12" fmla="*/ 6 w 26"/>
                  <a:gd name="T13" fmla="*/ 10 h 38"/>
                  <a:gd name="T14" fmla="*/ 8 w 26"/>
                  <a:gd name="T15" fmla="*/ 13 h 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9" name="Freeform 296">
                <a:extLst>
                  <a:ext uri="{FF2B5EF4-FFF2-40B4-BE49-F238E27FC236}">
                    <a16:creationId xmlns:a16="http://schemas.microsoft.com/office/drawing/2014/main" id="{DEC3FE6F-FE76-483E-A70E-51649E31E1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6 h 31"/>
                  <a:gd name="T2" fmla="*/ 2 w 34"/>
                  <a:gd name="T3" fmla="*/ 7 h 31"/>
                  <a:gd name="T4" fmla="*/ 5 w 34"/>
                  <a:gd name="T5" fmla="*/ 8 h 31"/>
                  <a:gd name="T6" fmla="*/ 8 w 34"/>
                  <a:gd name="T7" fmla="*/ 10 h 31"/>
                  <a:gd name="T8" fmla="*/ 10 w 34"/>
                  <a:gd name="T9" fmla="*/ 10 h 31"/>
                  <a:gd name="T10" fmla="*/ 10 w 34"/>
                  <a:gd name="T11" fmla="*/ 8 h 31"/>
                  <a:gd name="T12" fmla="*/ 9 w 34"/>
                  <a:gd name="T13" fmla="*/ 5 h 31"/>
                  <a:gd name="T14" fmla="*/ 8 w 34"/>
                  <a:gd name="T15" fmla="*/ 2 h 31"/>
                  <a:gd name="T16" fmla="*/ 6 w 34"/>
                  <a:gd name="T17" fmla="*/ 0 h 31"/>
                  <a:gd name="T18" fmla="*/ 5 w 34"/>
                  <a:gd name="T19" fmla="*/ 2 h 31"/>
                  <a:gd name="T20" fmla="*/ 3 w 34"/>
                  <a:gd name="T21" fmla="*/ 4 h 31"/>
                  <a:gd name="T22" fmla="*/ 2 w 34"/>
                  <a:gd name="T23" fmla="*/ 5 h 31"/>
                  <a:gd name="T24" fmla="*/ 2 w 34"/>
                  <a:gd name="T25" fmla="*/ 5 h 31"/>
                  <a:gd name="T26" fmla="*/ 1 w 34"/>
                  <a:gd name="T27" fmla="*/ 6 h 31"/>
                  <a:gd name="T28" fmla="*/ 0 w 34"/>
                  <a:gd name="T29" fmla="*/ 6 h 3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80" name="Freeform 297">
                <a:extLst>
                  <a:ext uri="{FF2B5EF4-FFF2-40B4-BE49-F238E27FC236}">
                    <a16:creationId xmlns:a16="http://schemas.microsoft.com/office/drawing/2014/main" id="{FE0C0ED0-5892-41A9-9A3D-1B5EE8DAD6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2 h 37"/>
                  <a:gd name="T2" fmla="*/ 0 w 20"/>
                  <a:gd name="T3" fmla="*/ 12 h 37"/>
                  <a:gd name="T4" fmla="*/ 2 w 20"/>
                  <a:gd name="T5" fmla="*/ 11 h 37"/>
                  <a:gd name="T6" fmla="*/ 6 w 20"/>
                  <a:gd name="T7" fmla="*/ 10 h 37"/>
                  <a:gd name="T8" fmla="*/ 6 w 20"/>
                  <a:gd name="T9" fmla="*/ 0 h 37"/>
                  <a:gd name="T10" fmla="*/ 0 w 20"/>
                  <a:gd name="T11" fmla="*/ 2 h 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81" name="Line 298">
                <a:extLst>
                  <a:ext uri="{FF2B5EF4-FFF2-40B4-BE49-F238E27FC236}">
                    <a16:creationId xmlns:a16="http://schemas.microsoft.com/office/drawing/2014/main" id="{C3D44DD8-1AFB-49FC-8BAB-7A2C0AD2CC0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82" name="Freeform 299">
                <a:extLst>
                  <a:ext uri="{FF2B5EF4-FFF2-40B4-BE49-F238E27FC236}">
                    <a16:creationId xmlns:a16="http://schemas.microsoft.com/office/drawing/2014/main" id="{5E132D68-9732-4067-9D47-75E8F99E2D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6 h 18"/>
                  <a:gd name="T2" fmla="*/ 0 w 13"/>
                  <a:gd name="T3" fmla="*/ 4 h 18"/>
                  <a:gd name="T4" fmla="*/ 1 w 13"/>
                  <a:gd name="T5" fmla="*/ 3 h 18"/>
                  <a:gd name="T6" fmla="*/ 2 w 13"/>
                  <a:gd name="T7" fmla="*/ 1 h 18"/>
                  <a:gd name="T8" fmla="*/ 4 w 13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83" name="Line 300">
                <a:extLst>
                  <a:ext uri="{FF2B5EF4-FFF2-40B4-BE49-F238E27FC236}">
                    <a16:creationId xmlns:a16="http://schemas.microsoft.com/office/drawing/2014/main" id="{93479A4E-BB72-4E67-AB6D-9DCAA821CBB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84" name="Freeform 301">
                <a:extLst>
                  <a:ext uri="{FF2B5EF4-FFF2-40B4-BE49-F238E27FC236}">
                    <a16:creationId xmlns:a16="http://schemas.microsoft.com/office/drawing/2014/main" id="{45860F6F-C532-46E6-995C-FDA69AFC39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7 w 27"/>
                  <a:gd name="T3" fmla="*/ 10 h 31"/>
                  <a:gd name="T4" fmla="*/ 9 w 27"/>
                  <a:gd name="T5" fmla="*/ 4 h 3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85" name="Freeform 302">
                <a:extLst>
                  <a:ext uri="{FF2B5EF4-FFF2-40B4-BE49-F238E27FC236}">
                    <a16:creationId xmlns:a16="http://schemas.microsoft.com/office/drawing/2014/main" id="{BDA4DDC5-909A-4589-9391-13660DA98B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6 w 20"/>
                  <a:gd name="T1" fmla="*/ 0 h 1"/>
                  <a:gd name="T2" fmla="*/ 3 w 20"/>
                  <a:gd name="T3" fmla="*/ 0 h 1"/>
                  <a:gd name="T4" fmla="*/ 0 w 20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86" name="Freeform 303">
                <a:extLst>
                  <a:ext uri="{FF2B5EF4-FFF2-40B4-BE49-F238E27FC236}">
                    <a16:creationId xmlns:a16="http://schemas.microsoft.com/office/drawing/2014/main" id="{17DC03AF-327F-434C-9E12-C5F48D6C19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5 h 13"/>
                  <a:gd name="T2" fmla="*/ 2 w 34"/>
                  <a:gd name="T3" fmla="*/ 5 h 13"/>
                  <a:gd name="T4" fmla="*/ 4 w 34"/>
                  <a:gd name="T5" fmla="*/ 4 h 13"/>
                  <a:gd name="T6" fmla="*/ 6 w 34"/>
                  <a:gd name="T7" fmla="*/ 4 h 13"/>
                  <a:gd name="T8" fmla="*/ 7 w 34"/>
                  <a:gd name="T9" fmla="*/ 3 h 13"/>
                  <a:gd name="T10" fmla="*/ 10 w 34"/>
                  <a:gd name="T11" fmla="*/ 1 h 13"/>
                  <a:gd name="T12" fmla="*/ 12 w 34"/>
                  <a:gd name="T13" fmla="*/ 0 h 13"/>
                  <a:gd name="T14" fmla="*/ 9 w 34"/>
                  <a:gd name="T15" fmla="*/ 0 h 13"/>
                  <a:gd name="T16" fmla="*/ 5 w 34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87" name="Freeform 304">
                <a:extLst>
                  <a:ext uri="{FF2B5EF4-FFF2-40B4-BE49-F238E27FC236}">
                    <a16:creationId xmlns:a16="http://schemas.microsoft.com/office/drawing/2014/main" id="{E36459CF-52F0-4D43-BD5C-E6178DC581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12 w 34"/>
                  <a:gd name="T1" fmla="*/ 6 h 18"/>
                  <a:gd name="T2" fmla="*/ 12 w 34"/>
                  <a:gd name="T3" fmla="*/ 0 h 18"/>
                  <a:gd name="T4" fmla="*/ 10 w 34"/>
                  <a:gd name="T5" fmla="*/ 0 h 18"/>
                  <a:gd name="T6" fmla="*/ 7 w 34"/>
                  <a:gd name="T7" fmla="*/ 0 h 18"/>
                  <a:gd name="T8" fmla="*/ 4 w 34"/>
                  <a:gd name="T9" fmla="*/ 0 h 18"/>
                  <a:gd name="T10" fmla="*/ 0 w 34"/>
                  <a:gd name="T11" fmla="*/ 0 h 18"/>
                  <a:gd name="T12" fmla="*/ 12 w 34"/>
                  <a:gd name="T13" fmla="*/ 6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88" name="Freeform 305">
                <a:extLst>
                  <a:ext uri="{FF2B5EF4-FFF2-40B4-BE49-F238E27FC236}">
                    <a16:creationId xmlns:a16="http://schemas.microsoft.com/office/drawing/2014/main" id="{F2C8D598-01FB-4E64-AFE5-BA81EC7072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18 w 59"/>
                  <a:gd name="T1" fmla="*/ 8 h 25"/>
                  <a:gd name="T2" fmla="*/ 19 w 59"/>
                  <a:gd name="T3" fmla="*/ 4 h 25"/>
                  <a:gd name="T4" fmla="*/ 20 w 59"/>
                  <a:gd name="T5" fmla="*/ 0 h 25"/>
                  <a:gd name="T6" fmla="*/ 15 w 59"/>
                  <a:gd name="T7" fmla="*/ 0 h 25"/>
                  <a:gd name="T8" fmla="*/ 9 w 59"/>
                  <a:gd name="T9" fmla="*/ 0 h 25"/>
                  <a:gd name="T10" fmla="*/ 6 w 59"/>
                  <a:gd name="T11" fmla="*/ 0 h 25"/>
                  <a:gd name="T12" fmla="*/ 4 w 59"/>
                  <a:gd name="T13" fmla="*/ 1 h 25"/>
                  <a:gd name="T14" fmla="*/ 2 w 59"/>
                  <a:gd name="T15" fmla="*/ 1 h 25"/>
                  <a:gd name="T16" fmla="*/ 0 w 59"/>
                  <a:gd name="T17" fmla="*/ 2 h 25"/>
                  <a:gd name="T18" fmla="*/ 4 w 59"/>
                  <a:gd name="T19" fmla="*/ 4 h 25"/>
                  <a:gd name="T20" fmla="*/ 9 w 59"/>
                  <a:gd name="T21" fmla="*/ 6 h 25"/>
                  <a:gd name="T22" fmla="*/ 11 w 59"/>
                  <a:gd name="T23" fmla="*/ 7 h 25"/>
                  <a:gd name="T24" fmla="*/ 13 w 59"/>
                  <a:gd name="T25" fmla="*/ 8 h 25"/>
                  <a:gd name="T26" fmla="*/ 16 w 59"/>
                  <a:gd name="T27" fmla="*/ 8 h 25"/>
                  <a:gd name="T28" fmla="*/ 18 w 59"/>
                  <a:gd name="T29" fmla="*/ 8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89" name="Line 306">
                <a:extLst>
                  <a:ext uri="{FF2B5EF4-FFF2-40B4-BE49-F238E27FC236}">
                    <a16:creationId xmlns:a16="http://schemas.microsoft.com/office/drawing/2014/main" id="{84256136-58EB-4D03-8CBC-DF833722869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222" name="Freeform 307">
              <a:extLst>
                <a:ext uri="{FF2B5EF4-FFF2-40B4-BE49-F238E27FC236}">
                  <a16:creationId xmlns:a16="http://schemas.microsoft.com/office/drawing/2014/main" id="{E93D6E25-3D7E-4641-9A72-419074361E46}"/>
                </a:ext>
              </a:extLst>
            </p:cNvPr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8804275" y="3879851"/>
              <a:ext cx="14288" cy="55563"/>
            </a:xfrm>
            <a:custGeom>
              <a:avLst/>
              <a:gdLst>
                <a:gd name="T0" fmla="*/ 0 w 33"/>
                <a:gd name="T1" fmla="*/ 55563 h 43"/>
                <a:gd name="T2" fmla="*/ 433 w 33"/>
                <a:gd name="T3" fmla="*/ 43934 h 43"/>
                <a:gd name="T4" fmla="*/ 866 w 33"/>
                <a:gd name="T5" fmla="*/ 34888 h 43"/>
                <a:gd name="T6" fmla="*/ 2165 w 33"/>
                <a:gd name="T7" fmla="*/ 27135 h 43"/>
                <a:gd name="T8" fmla="*/ 3897 w 33"/>
                <a:gd name="T9" fmla="*/ 19382 h 43"/>
                <a:gd name="T10" fmla="*/ 6062 w 33"/>
                <a:gd name="T11" fmla="*/ 11629 h 43"/>
                <a:gd name="T12" fmla="*/ 8659 w 33"/>
                <a:gd name="T13" fmla="*/ 6461 h 43"/>
                <a:gd name="T14" fmla="*/ 11257 w 33"/>
                <a:gd name="T15" fmla="*/ 2584 h 43"/>
                <a:gd name="T16" fmla="*/ 14288 w 33"/>
                <a:gd name="T17" fmla="*/ 0 h 43"/>
                <a:gd name="T18" fmla="*/ 14288 w 33"/>
                <a:gd name="T19" fmla="*/ 32304 h 43"/>
                <a:gd name="T20" fmla="*/ 9958 w 33"/>
                <a:gd name="T21" fmla="*/ 34888 h 43"/>
                <a:gd name="T22" fmla="*/ 7793 w 33"/>
                <a:gd name="T23" fmla="*/ 37473 h 43"/>
                <a:gd name="T24" fmla="*/ 6928 w 33"/>
                <a:gd name="T25" fmla="*/ 41349 h 43"/>
                <a:gd name="T26" fmla="*/ 6928 w 33"/>
                <a:gd name="T27" fmla="*/ 43934 h 43"/>
                <a:gd name="T28" fmla="*/ 6928 w 33"/>
                <a:gd name="T29" fmla="*/ 46518 h 43"/>
                <a:gd name="T30" fmla="*/ 6062 w 33"/>
                <a:gd name="T31" fmla="*/ 49102 h 43"/>
                <a:gd name="T32" fmla="*/ 4330 w 33"/>
                <a:gd name="T33" fmla="*/ 52979 h 43"/>
                <a:gd name="T34" fmla="*/ 0 w 33"/>
                <a:gd name="T35" fmla="*/ 55563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3" name="Freeform 308">
              <a:extLst>
                <a:ext uri="{FF2B5EF4-FFF2-40B4-BE49-F238E27FC236}">
                  <a16:creationId xmlns:a16="http://schemas.microsoft.com/office/drawing/2014/main" id="{383BB8BB-76A0-4606-9643-BC1FF3461024}"/>
                </a:ext>
              </a:extLst>
            </p:cNvPr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8880476" y="3819525"/>
              <a:ext cx="22225" cy="58738"/>
            </a:xfrm>
            <a:custGeom>
              <a:avLst/>
              <a:gdLst>
                <a:gd name="T0" fmla="*/ 0 w 54"/>
                <a:gd name="T1" fmla="*/ 35115 h 92"/>
                <a:gd name="T2" fmla="*/ 412 w 54"/>
                <a:gd name="T3" fmla="*/ 32561 h 92"/>
                <a:gd name="T4" fmla="*/ 823 w 54"/>
                <a:gd name="T5" fmla="*/ 29369 h 92"/>
                <a:gd name="T6" fmla="*/ 1235 w 54"/>
                <a:gd name="T7" fmla="*/ 26815 h 92"/>
                <a:gd name="T8" fmla="*/ 2469 w 54"/>
                <a:gd name="T9" fmla="*/ 23623 h 92"/>
                <a:gd name="T10" fmla="*/ 4527 w 54"/>
                <a:gd name="T11" fmla="*/ 18515 h 92"/>
                <a:gd name="T12" fmla="*/ 7408 w 54"/>
                <a:gd name="T13" fmla="*/ 13408 h 92"/>
                <a:gd name="T14" fmla="*/ 12759 w 54"/>
                <a:gd name="T15" fmla="*/ 4469 h 92"/>
                <a:gd name="T16" fmla="*/ 16875 w 54"/>
                <a:gd name="T17" fmla="*/ 0 h 92"/>
                <a:gd name="T18" fmla="*/ 22225 w 54"/>
                <a:gd name="T19" fmla="*/ 7661 h 92"/>
                <a:gd name="T20" fmla="*/ 20990 w 54"/>
                <a:gd name="T21" fmla="*/ 13408 h 92"/>
                <a:gd name="T22" fmla="*/ 19344 w 54"/>
                <a:gd name="T23" fmla="*/ 18515 h 92"/>
                <a:gd name="T24" fmla="*/ 18109 w 54"/>
                <a:gd name="T25" fmla="*/ 22346 h 92"/>
                <a:gd name="T26" fmla="*/ 16875 w 54"/>
                <a:gd name="T27" fmla="*/ 26177 h 92"/>
                <a:gd name="T28" fmla="*/ 13582 w 54"/>
                <a:gd name="T29" fmla="*/ 31284 h 92"/>
                <a:gd name="T30" fmla="*/ 11524 w 54"/>
                <a:gd name="T31" fmla="*/ 35115 h 92"/>
                <a:gd name="T32" fmla="*/ 10701 w 54"/>
                <a:gd name="T33" fmla="*/ 40861 h 92"/>
                <a:gd name="T34" fmla="*/ 10701 w 54"/>
                <a:gd name="T35" fmla="*/ 47246 h 92"/>
                <a:gd name="T36" fmla="*/ 9878 w 54"/>
                <a:gd name="T37" fmla="*/ 52992 h 92"/>
                <a:gd name="T38" fmla="*/ 8231 w 54"/>
                <a:gd name="T39" fmla="*/ 58738 h 92"/>
                <a:gd name="T40" fmla="*/ 5762 w 54"/>
                <a:gd name="T41" fmla="*/ 52992 h 92"/>
                <a:gd name="T42" fmla="*/ 3293 w 54"/>
                <a:gd name="T43" fmla="*/ 47246 h 92"/>
                <a:gd name="T44" fmla="*/ 2058 w 54"/>
                <a:gd name="T45" fmla="*/ 44692 h 92"/>
                <a:gd name="T46" fmla="*/ 823 w 54"/>
                <a:gd name="T47" fmla="*/ 40861 h 92"/>
                <a:gd name="T48" fmla="*/ 412 w 54"/>
                <a:gd name="T49" fmla="*/ 38307 h 92"/>
                <a:gd name="T50" fmla="*/ 0 w 54"/>
                <a:gd name="T51" fmla="*/ 35115 h 9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4" name="Freeform 309">
              <a:extLst>
                <a:ext uri="{FF2B5EF4-FFF2-40B4-BE49-F238E27FC236}">
                  <a16:creationId xmlns:a16="http://schemas.microsoft.com/office/drawing/2014/main" id="{760EF1CD-A710-47A3-B2D5-099E5676A72F}"/>
                </a:ext>
              </a:extLst>
            </p:cNvPr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8928101" y="3698875"/>
              <a:ext cx="23813" cy="57150"/>
            </a:xfrm>
            <a:custGeom>
              <a:avLst/>
              <a:gdLst>
                <a:gd name="T0" fmla="*/ 0 w 60"/>
                <a:gd name="T1" fmla="*/ 0 h 18"/>
                <a:gd name="T2" fmla="*/ 7541 w 60"/>
                <a:gd name="T3" fmla="*/ 12700 h 18"/>
                <a:gd name="T4" fmla="*/ 14685 w 60"/>
                <a:gd name="T5" fmla="*/ 28575 h 18"/>
                <a:gd name="T6" fmla="*/ 17860 w 60"/>
                <a:gd name="T7" fmla="*/ 34925 h 18"/>
                <a:gd name="T8" fmla="*/ 20241 w 60"/>
                <a:gd name="T9" fmla="*/ 41275 h 18"/>
                <a:gd name="T10" fmla="*/ 22225 w 60"/>
                <a:gd name="T11" fmla="*/ 50800 h 18"/>
                <a:gd name="T12" fmla="*/ 23813 w 60"/>
                <a:gd name="T13" fmla="*/ 57150 h 18"/>
                <a:gd name="T14" fmla="*/ 15082 w 60"/>
                <a:gd name="T15" fmla="*/ 57150 h 18"/>
                <a:gd name="T16" fmla="*/ 9128 w 60"/>
                <a:gd name="T17" fmla="*/ 57150 h 18"/>
                <a:gd name="T18" fmla="*/ 3969 w 60"/>
                <a:gd name="T19" fmla="*/ 57150 h 18"/>
                <a:gd name="T20" fmla="*/ 0 w 60"/>
                <a:gd name="T21" fmla="*/ 57150 h 18"/>
                <a:gd name="T22" fmla="*/ 0 w 6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5" name="Freeform 310">
              <a:extLst>
                <a:ext uri="{FF2B5EF4-FFF2-40B4-BE49-F238E27FC236}">
                  <a16:creationId xmlns:a16="http://schemas.microsoft.com/office/drawing/2014/main" id="{742A1F9B-A17E-4BE5-83C5-195BF2BBD0DF}"/>
                </a:ext>
              </a:extLst>
            </p:cNvPr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8912225" y="3668713"/>
              <a:ext cx="25400" cy="57150"/>
            </a:xfrm>
            <a:custGeom>
              <a:avLst/>
              <a:gdLst>
                <a:gd name="T0" fmla="*/ 0 w 66"/>
                <a:gd name="T1" fmla="*/ 57150 h 18"/>
                <a:gd name="T2" fmla="*/ 25400 w 66"/>
                <a:gd name="T3" fmla="*/ 57150 h 18"/>
                <a:gd name="T4" fmla="*/ 20012 w 66"/>
                <a:gd name="T5" fmla="*/ 41275 h 18"/>
                <a:gd name="T6" fmla="*/ 15394 w 66"/>
                <a:gd name="T7" fmla="*/ 22225 h 18"/>
                <a:gd name="T8" fmla="*/ 13470 w 66"/>
                <a:gd name="T9" fmla="*/ 12700 h 18"/>
                <a:gd name="T10" fmla="*/ 11161 w 66"/>
                <a:gd name="T11" fmla="*/ 6350 h 18"/>
                <a:gd name="T12" fmla="*/ 9621 w 66"/>
                <a:gd name="T13" fmla="*/ 3175 h 18"/>
                <a:gd name="T14" fmla="*/ 7312 w 66"/>
                <a:gd name="T15" fmla="*/ 0 h 18"/>
                <a:gd name="T16" fmla="*/ 0 w 66"/>
                <a:gd name="T17" fmla="*/ 57150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6" name="Freeform 311">
              <a:extLst>
                <a:ext uri="{FF2B5EF4-FFF2-40B4-BE49-F238E27FC236}">
                  <a16:creationId xmlns:a16="http://schemas.microsoft.com/office/drawing/2014/main" id="{8BD84C0F-8562-423A-874D-A2FD9DD545AC}"/>
                </a:ext>
              </a:extLst>
            </p:cNvPr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8737600" y="3565525"/>
              <a:ext cx="7938" cy="57150"/>
            </a:xfrm>
            <a:custGeom>
              <a:avLst/>
              <a:gdLst>
                <a:gd name="T0" fmla="*/ 0 w 17"/>
                <a:gd name="T1" fmla="*/ 48986 h 42"/>
                <a:gd name="T2" fmla="*/ 6070 w 17"/>
                <a:gd name="T3" fmla="*/ 57150 h 42"/>
                <a:gd name="T4" fmla="*/ 6537 w 17"/>
                <a:gd name="T5" fmla="*/ 44904 h 42"/>
                <a:gd name="T6" fmla="*/ 7471 w 17"/>
                <a:gd name="T7" fmla="*/ 31296 h 42"/>
                <a:gd name="T8" fmla="*/ 7938 w 17"/>
                <a:gd name="T9" fmla="*/ 24493 h 42"/>
                <a:gd name="T10" fmla="*/ 7471 w 17"/>
                <a:gd name="T11" fmla="*/ 16329 h 42"/>
                <a:gd name="T12" fmla="*/ 7471 w 17"/>
                <a:gd name="T13" fmla="*/ 8164 h 42"/>
                <a:gd name="T14" fmla="*/ 6070 w 17"/>
                <a:gd name="T15" fmla="*/ 0 h 42"/>
                <a:gd name="T16" fmla="*/ 0 w 17"/>
                <a:gd name="T17" fmla="*/ 48986 h 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7" name="Freeform 312">
              <a:extLst>
                <a:ext uri="{FF2B5EF4-FFF2-40B4-BE49-F238E27FC236}">
                  <a16:creationId xmlns:a16="http://schemas.microsoft.com/office/drawing/2014/main" id="{DF62A55E-8BB9-4801-AB6B-28715C13C8D6}"/>
                </a:ext>
              </a:extLst>
            </p:cNvPr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8664576" y="3700464"/>
              <a:ext cx="30163" cy="58737"/>
            </a:xfrm>
            <a:custGeom>
              <a:avLst/>
              <a:gdLst>
                <a:gd name="T0" fmla="*/ 2514 w 72"/>
                <a:gd name="T1" fmla="*/ 58737 h 29"/>
                <a:gd name="T2" fmla="*/ 6284 w 72"/>
                <a:gd name="T3" fmla="*/ 52661 h 29"/>
                <a:gd name="T4" fmla="*/ 10054 w 72"/>
                <a:gd name="T5" fmla="*/ 48610 h 29"/>
                <a:gd name="T6" fmla="*/ 13406 w 72"/>
                <a:gd name="T7" fmla="*/ 48610 h 29"/>
                <a:gd name="T8" fmla="*/ 16338 w 72"/>
                <a:gd name="T9" fmla="*/ 48610 h 29"/>
                <a:gd name="T10" fmla="*/ 23041 w 72"/>
                <a:gd name="T11" fmla="*/ 54686 h 29"/>
                <a:gd name="T12" fmla="*/ 30163 w 72"/>
                <a:gd name="T13" fmla="*/ 58737 h 29"/>
                <a:gd name="T14" fmla="*/ 30163 w 72"/>
                <a:gd name="T15" fmla="*/ 8102 h 29"/>
                <a:gd name="T16" fmla="*/ 24298 w 72"/>
                <a:gd name="T17" fmla="*/ 2025 h 29"/>
                <a:gd name="T18" fmla="*/ 19690 w 72"/>
                <a:gd name="T19" fmla="*/ 0 h 29"/>
                <a:gd name="T20" fmla="*/ 16338 w 72"/>
                <a:gd name="T21" fmla="*/ 0 h 29"/>
                <a:gd name="T22" fmla="*/ 14244 w 72"/>
                <a:gd name="T23" fmla="*/ 4051 h 29"/>
                <a:gd name="T24" fmla="*/ 11311 w 72"/>
                <a:gd name="T25" fmla="*/ 6076 h 29"/>
                <a:gd name="T26" fmla="*/ 8798 w 72"/>
                <a:gd name="T27" fmla="*/ 10127 h 29"/>
                <a:gd name="T28" fmla="*/ 5027 w 72"/>
                <a:gd name="T29" fmla="*/ 10127 h 29"/>
                <a:gd name="T30" fmla="*/ 0 w 72"/>
                <a:gd name="T31" fmla="*/ 8102 h 29"/>
                <a:gd name="T32" fmla="*/ 1257 w 72"/>
                <a:gd name="T33" fmla="*/ 32407 h 29"/>
                <a:gd name="T34" fmla="*/ 2514 w 72"/>
                <a:gd name="T35" fmla="*/ 58737 h 2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8" name="Freeform 313">
              <a:extLst>
                <a:ext uri="{FF2B5EF4-FFF2-40B4-BE49-F238E27FC236}">
                  <a16:creationId xmlns:a16="http://schemas.microsoft.com/office/drawing/2014/main" id="{F5E380D0-664C-41C0-B0D0-21869FA1EA9A}"/>
                </a:ext>
              </a:extLst>
            </p:cNvPr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8672513" y="3886201"/>
              <a:ext cx="19050" cy="55563"/>
            </a:xfrm>
            <a:custGeom>
              <a:avLst/>
              <a:gdLst>
                <a:gd name="T0" fmla="*/ 0 w 46"/>
                <a:gd name="T1" fmla="*/ 0 h 37"/>
                <a:gd name="T2" fmla="*/ 3727 w 46"/>
                <a:gd name="T3" fmla="*/ 13515 h 37"/>
                <a:gd name="T4" fmla="*/ 8283 w 46"/>
                <a:gd name="T5" fmla="*/ 22526 h 37"/>
                <a:gd name="T6" fmla="*/ 12838 w 46"/>
                <a:gd name="T7" fmla="*/ 30034 h 37"/>
                <a:gd name="T8" fmla="*/ 19050 w 46"/>
                <a:gd name="T9" fmla="*/ 37543 h 37"/>
                <a:gd name="T10" fmla="*/ 15323 w 46"/>
                <a:gd name="T11" fmla="*/ 43549 h 37"/>
                <a:gd name="T12" fmla="*/ 12010 w 46"/>
                <a:gd name="T13" fmla="*/ 49556 h 37"/>
                <a:gd name="T14" fmla="*/ 8697 w 46"/>
                <a:gd name="T15" fmla="*/ 54061 h 37"/>
                <a:gd name="T16" fmla="*/ 5384 w 46"/>
                <a:gd name="T17" fmla="*/ 55563 h 37"/>
                <a:gd name="T18" fmla="*/ 3727 w 46"/>
                <a:gd name="T19" fmla="*/ 54061 h 37"/>
                <a:gd name="T20" fmla="*/ 2899 w 46"/>
                <a:gd name="T21" fmla="*/ 49556 h 37"/>
                <a:gd name="T22" fmla="*/ 2071 w 46"/>
                <a:gd name="T23" fmla="*/ 43549 h 37"/>
                <a:gd name="T24" fmla="*/ 1242 w 46"/>
                <a:gd name="T25" fmla="*/ 34539 h 37"/>
                <a:gd name="T26" fmla="*/ 414 w 46"/>
                <a:gd name="T27" fmla="*/ 18020 h 37"/>
                <a:gd name="T28" fmla="*/ 0 w 46"/>
                <a:gd name="T29" fmla="*/ 0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9" name="Freeform 314">
              <a:extLst>
                <a:ext uri="{FF2B5EF4-FFF2-40B4-BE49-F238E27FC236}">
                  <a16:creationId xmlns:a16="http://schemas.microsoft.com/office/drawing/2014/main" id="{2DE93E45-7090-4351-A287-73DDF4E2AFC3}"/>
                </a:ext>
              </a:extLst>
            </p:cNvPr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8785226" y="3705225"/>
              <a:ext cx="11113" cy="57150"/>
            </a:xfrm>
            <a:custGeom>
              <a:avLst/>
              <a:gdLst>
                <a:gd name="T0" fmla="*/ 0 w 26"/>
                <a:gd name="T1" fmla="*/ 0 h 19"/>
                <a:gd name="T2" fmla="*/ 11113 w 26"/>
                <a:gd name="T3" fmla="*/ 57150 h 19"/>
                <a:gd name="T4" fmla="*/ 11113 w 26"/>
                <a:gd name="T5" fmla="*/ 27071 h 19"/>
                <a:gd name="T6" fmla="*/ 11113 w 26"/>
                <a:gd name="T7" fmla="*/ 0 h 19"/>
                <a:gd name="T8" fmla="*/ 6411 w 26"/>
                <a:gd name="T9" fmla="*/ 0 h 19"/>
                <a:gd name="T10" fmla="*/ 0 w 26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0" name="Freeform 315">
              <a:extLst>
                <a:ext uri="{FF2B5EF4-FFF2-40B4-BE49-F238E27FC236}">
                  <a16:creationId xmlns:a16="http://schemas.microsoft.com/office/drawing/2014/main" id="{9869757F-5A69-4EB7-A35D-73C9B3BAA46E}"/>
                </a:ext>
              </a:extLst>
            </p:cNvPr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8645525" y="3700464"/>
              <a:ext cx="19050" cy="58737"/>
            </a:xfrm>
            <a:custGeom>
              <a:avLst/>
              <a:gdLst>
                <a:gd name="T0" fmla="*/ 886 w 43"/>
                <a:gd name="T1" fmla="*/ 0 h 31"/>
                <a:gd name="T2" fmla="*/ 443 w 43"/>
                <a:gd name="T3" fmla="*/ 22737 h 31"/>
                <a:gd name="T4" fmla="*/ 0 w 43"/>
                <a:gd name="T5" fmla="*/ 43579 h 31"/>
                <a:gd name="T6" fmla="*/ 0 w 43"/>
                <a:gd name="T7" fmla="*/ 49263 h 31"/>
                <a:gd name="T8" fmla="*/ 0 w 43"/>
                <a:gd name="T9" fmla="*/ 54948 h 31"/>
                <a:gd name="T10" fmla="*/ 0 w 43"/>
                <a:gd name="T11" fmla="*/ 58737 h 31"/>
                <a:gd name="T12" fmla="*/ 886 w 43"/>
                <a:gd name="T13" fmla="*/ 58737 h 31"/>
                <a:gd name="T14" fmla="*/ 5759 w 43"/>
                <a:gd name="T15" fmla="*/ 41684 h 31"/>
                <a:gd name="T16" fmla="*/ 11076 w 43"/>
                <a:gd name="T17" fmla="*/ 24632 h 31"/>
                <a:gd name="T18" fmla="*/ 15506 w 43"/>
                <a:gd name="T19" fmla="*/ 9474 h 31"/>
                <a:gd name="T20" fmla="*/ 19050 w 43"/>
                <a:gd name="T21" fmla="*/ 0 h 31"/>
                <a:gd name="T22" fmla="*/ 886 w 43"/>
                <a:gd name="T23" fmla="*/ 0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1" name="Freeform 316">
              <a:extLst>
                <a:ext uri="{FF2B5EF4-FFF2-40B4-BE49-F238E27FC236}">
                  <a16:creationId xmlns:a16="http://schemas.microsoft.com/office/drawing/2014/main" id="{233E9156-DD0B-4F5D-BAD9-5389BB4F08C2}"/>
                </a:ext>
              </a:extLst>
            </p:cNvPr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8689976" y="3748088"/>
              <a:ext cx="30163" cy="57150"/>
            </a:xfrm>
            <a:custGeom>
              <a:avLst/>
              <a:gdLst>
                <a:gd name="T0" fmla="*/ 1699 w 71"/>
                <a:gd name="T1" fmla="*/ 13996 h 49"/>
                <a:gd name="T2" fmla="*/ 1699 w 71"/>
                <a:gd name="T3" fmla="*/ 20994 h 49"/>
                <a:gd name="T4" fmla="*/ 2124 w 71"/>
                <a:gd name="T5" fmla="*/ 29158 h 49"/>
                <a:gd name="T6" fmla="*/ 2974 w 71"/>
                <a:gd name="T7" fmla="*/ 36156 h 49"/>
                <a:gd name="T8" fmla="*/ 3823 w 71"/>
                <a:gd name="T9" fmla="*/ 43154 h 49"/>
                <a:gd name="T10" fmla="*/ 5948 w 71"/>
                <a:gd name="T11" fmla="*/ 47819 h 49"/>
                <a:gd name="T12" fmla="*/ 7647 w 71"/>
                <a:gd name="T13" fmla="*/ 53651 h 49"/>
                <a:gd name="T14" fmla="*/ 9771 w 71"/>
                <a:gd name="T15" fmla="*/ 55984 h 49"/>
                <a:gd name="T16" fmla="*/ 12745 w 71"/>
                <a:gd name="T17" fmla="*/ 57150 h 49"/>
                <a:gd name="T18" fmla="*/ 14869 w 71"/>
                <a:gd name="T19" fmla="*/ 55984 h 49"/>
                <a:gd name="T20" fmla="*/ 16993 w 71"/>
                <a:gd name="T21" fmla="*/ 53651 h 49"/>
                <a:gd name="T22" fmla="*/ 19117 w 71"/>
                <a:gd name="T23" fmla="*/ 48986 h 49"/>
                <a:gd name="T24" fmla="*/ 21242 w 71"/>
                <a:gd name="T25" fmla="*/ 43154 h 49"/>
                <a:gd name="T26" fmla="*/ 25490 w 71"/>
                <a:gd name="T27" fmla="*/ 32657 h 49"/>
                <a:gd name="T28" fmla="*/ 30163 w 71"/>
                <a:gd name="T29" fmla="*/ 20994 h 49"/>
                <a:gd name="T30" fmla="*/ 25915 w 71"/>
                <a:gd name="T31" fmla="*/ 13996 h 49"/>
                <a:gd name="T32" fmla="*/ 22091 w 71"/>
                <a:gd name="T33" fmla="*/ 10497 h 49"/>
                <a:gd name="T34" fmla="*/ 18693 w 71"/>
                <a:gd name="T35" fmla="*/ 8164 h 49"/>
                <a:gd name="T36" fmla="*/ 15719 w 71"/>
                <a:gd name="T37" fmla="*/ 6998 h 49"/>
                <a:gd name="T38" fmla="*/ 12320 w 71"/>
                <a:gd name="T39" fmla="*/ 6998 h 49"/>
                <a:gd name="T40" fmla="*/ 8921 w 71"/>
                <a:gd name="T41" fmla="*/ 5832 h 49"/>
                <a:gd name="T42" fmla="*/ 5948 w 71"/>
                <a:gd name="T43" fmla="*/ 3499 h 49"/>
                <a:gd name="T44" fmla="*/ 1699 w 71"/>
                <a:gd name="T45" fmla="*/ 0 h 49"/>
                <a:gd name="T46" fmla="*/ 1274 w 71"/>
                <a:gd name="T47" fmla="*/ 1166 h 49"/>
                <a:gd name="T48" fmla="*/ 425 w 71"/>
                <a:gd name="T49" fmla="*/ 6998 h 49"/>
                <a:gd name="T50" fmla="*/ 0 w 71"/>
                <a:gd name="T51" fmla="*/ 9331 h 49"/>
                <a:gd name="T52" fmla="*/ 0 w 71"/>
                <a:gd name="T53" fmla="*/ 11663 h 49"/>
                <a:gd name="T54" fmla="*/ 425 w 71"/>
                <a:gd name="T55" fmla="*/ 12830 h 49"/>
                <a:gd name="T56" fmla="*/ 1699 w 71"/>
                <a:gd name="T57" fmla="*/ 13996 h 4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2" name="Freeform 317">
              <a:extLst>
                <a:ext uri="{FF2B5EF4-FFF2-40B4-BE49-F238E27FC236}">
                  <a16:creationId xmlns:a16="http://schemas.microsoft.com/office/drawing/2014/main" id="{BB2CDA8C-00D0-41F0-A538-060819E4D22A}"/>
                </a:ext>
              </a:extLst>
            </p:cNvPr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8491539" y="3951289"/>
              <a:ext cx="46037" cy="58737"/>
            </a:xfrm>
            <a:custGeom>
              <a:avLst/>
              <a:gdLst>
                <a:gd name="T0" fmla="*/ 18908 w 112"/>
                <a:gd name="T1" fmla="*/ 4518 h 26"/>
                <a:gd name="T2" fmla="*/ 23019 w 112"/>
                <a:gd name="T3" fmla="*/ 4518 h 26"/>
                <a:gd name="T4" fmla="*/ 27129 w 112"/>
                <a:gd name="T5" fmla="*/ 6777 h 26"/>
                <a:gd name="T6" fmla="*/ 30417 w 112"/>
                <a:gd name="T7" fmla="*/ 9036 h 26"/>
                <a:gd name="T8" fmla="*/ 34528 w 112"/>
                <a:gd name="T9" fmla="*/ 13555 h 26"/>
                <a:gd name="T10" fmla="*/ 37816 w 112"/>
                <a:gd name="T11" fmla="*/ 20332 h 26"/>
                <a:gd name="T12" fmla="*/ 41104 w 112"/>
                <a:gd name="T13" fmla="*/ 27109 h 26"/>
                <a:gd name="T14" fmla="*/ 43571 w 112"/>
                <a:gd name="T15" fmla="*/ 36146 h 26"/>
                <a:gd name="T16" fmla="*/ 46037 w 112"/>
                <a:gd name="T17" fmla="*/ 45182 h 26"/>
                <a:gd name="T18" fmla="*/ 45215 w 112"/>
                <a:gd name="T19" fmla="*/ 49701 h 26"/>
                <a:gd name="T20" fmla="*/ 43160 w 112"/>
                <a:gd name="T21" fmla="*/ 51960 h 26"/>
                <a:gd name="T22" fmla="*/ 41516 w 112"/>
                <a:gd name="T23" fmla="*/ 56478 h 26"/>
                <a:gd name="T24" fmla="*/ 39049 w 112"/>
                <a:gd name="T25" fmla="*/ 56478 h 26"/>
                <a:gd name="T26" fmla="*/ 35761 w 112"/>
                <a:gd name="T27" fmla="*/ 58737 h 26"/>
                <a:gd name="T28" fmla="*/ 32473 w 112"/>
                <a:gd name="T29" fmla="*/ 58737 h 26"/>
                <a:gd name="T30" fmla="*/ 27129 w 112"/>
                <a:gd name="T31" fmla="*/ 54219 h 26"/>
                <a:gd name="T32" fmla="*/ 16853 w 112"/>
                <a:gd name="T33" fmla="*/ 42923 h 26"/>
                <a:gd name="T34" fmla="*/ 6577 w 112"/>
                <a:gd name="T35" fmla="*/ 29369 h 26"/>
                <a:gd name="T36" fmla="*/ 0 w 112"/>
                <a:gd name="T37" fmla="*/ 18073 h 26"/>
                <a:gd name="T38" fmla="*/ 2055 w 112"/>
                <a:gd name="T39" fmla="*/ 9036 h 26"/>
                <a:gd name="T40" fmla="*/ 4521 w 112"/>
                <a:gd name="T41" fmla="*/ 4518 h 26"/>
                <a:gd name="T42" fmla="*/ 7399 w 112"/>
                <a:gd name="T43" fmla="*/ 2259 h 26"/>
                <a:gd name="T44" fmla="*/ 10276 w 112"/>
                <a:gd name="T45" fmla="*/ 0 h 26"/>
                <a:gd name="T46" fmla="*/ 15209 w 112"/>
                <a:gd name="T47" fmla="*/ 2259 h 26"/>
                <a:gd name="T48" fmla="*/ 18908 w 112"/>
                <a:gd name="T49" fmla="*/ 4518 h 2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3" name="Freeform 318">
              <a:extLst>
                <a:ext uri="{FF2B5EF4-FFF2-40B4-BE49-F238E27FC236}">
                  <a16:creationId xmlns:a16="http://schemas.microsoft.com/office/drawing/2014/main" id="{4820671B-5248-4B26-8413-5F14AC3C19DE}"/>
                </a:ext>
              </a:extLst>
            </p:cNvPr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8589964" y="3989389"/>
              <a:ext cx="14287" cy="58737"/>
            </a:xfrm>
            <a:custGeom>
              <a:avLst/>
              <a:gdLst>
                <a:gd name="T0" fmla="*/ 0 w 41"/>
                <a:gd name="T1" fmla="*/ 0 h 25"/>
                <a:gd name="T2" fmla="*/ 14287 w 41"/>
                <a:gd name="T3" fmla="*/ 0 h 25"/>
                <a:gd name="T4" fmla="*/ 9757 w 41"/>
                <a:gd name="T5" fmla="*/ 18796 h 25"/>
                <a:gd name="T6" fmla="*/ 6272 w 41"/>
                <a:gd name="T7" fmla="*/ 35242 h 25"/>
                <a:gd name="T8" fmla="*/ 3136 w 41"/>
                <a:gd name="T9" fmla="*/ 46990 h 25"/>
                <a:gd name="T10" fmla="*/ 0 w 41"/>
                <a:gd name="T11" fmla="*/ 58737 h 25"/>
                <a:gd name="T12" fmla="*/ 0 w 41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4" name="Freeform 319">
              <a:extLst>
                <a:ext uri="{FF2B5EF4-FFF2-40B4-BE49-F238E27FC236}">
                  <a16:creationId xmlns:a16="http://schemas.microsoft.com/office/drawing/2014/main" id="{892872BB-4760-4AFF-87AC-29EBDE9E5E01}"/>
                </a:ext>
              </a:extLst>
            </p:cNvPr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8423276" y="3921126"/>
              <a:ext cx="36513" cy="55563"/>
            </a:xfrm>
            <a:custGeom>
              <a:avLst/>
              <a:gdLst>
                <a:gd name="T0" fmla="*/ 0 w 81"/>
                <a:gd name="T1" fmla="*/ 55563 h 31"/>
                <a:gd name="T2" fmla="*/ 0 w 81"/>
                <a:gd name="T3" fmla="*/ 39432 h 31"/>
                <a:gd name="T4" fmla="*/ 0 w 81"/>
                <a:gd name="T5" fmla="*/ 23301 h 31"/>
                <a:gd name="T6" fmla="*/ 0 w 81"/>
                <a:gd name="T7" fmla="*/ 17924 h 31"/>
                <a:gd name="T8" fmla="*/ 902 w 81"/>
                <a:gd name="T9" fmla="*/ 14339 h 31"/>
                <a:gd name="T10" fmla="*/ 1352 w 81"/>
                <a:gd name="T11" fmla="*/ 10754 h 31"/>
                <a:gd name="T12" fmla="*/ 1803 w 81"/>
                <a:gd name="T13" fmla="*/ 7169 h 31"/>
                <a:gd name="T14" fmla="*/ 3606 w 81"/>
                <a:gd name="T15" fmla="*/ 3585 h 31"/>
                <a:gd name="T16" fmla="*/ 6311 w 81"/>
                <a:gd name="T17" fmla="*/ 0 h 31"/>
                <a:gd name="T18" fmla="*/ 11720 w 81"/>
                <a:gd name="T19" fmla="*/ 1792 h 31"/>
                <a:gd name="T20" fmla="*/ 18482 w 81"/>
                <a:gd name="T21" fmla="*/ 1792 h 31"/>
                <a:gd name="T22" fmla="*/ 25244 w 81"/>
                <a:gd name="T23" fmla="*/ 1792 h 31"/>
                <a:gd name="T24" fmla="*/ 29301 w 81"/>
                <a:gd name="T25" fmla="*/ 1792 h 31"/>
                <a:gd name="T26" fmla="*/ 32907 w 81"/>
                <a:gd name="T27" fmla="*/ 1792 h 31"/>
                <a:gd name="T28" fmla="*/ 36513 w 81"/>
                <a:gd name="T29" fmla="*/ 1792 h 31"/>
                <a:gd name="T30" fmla="*/ 32907 w 81"/>
                <a:gd name="T31" fmla="*/ 10754 h 31"/>
                <a:gd name="T32" fmla="*/ 30202 w 81"/>
                <a:gd name="T33" fmla="*/ 17924 h 31"/>
                <a:gd name="T34" fmla="*/ 28850 w 81"/>
                <a:gd name="T35" fmla="*/ 25093 h 31"/>
                <a:gd name="T36" fmla="*/ 27948 w 81"/>
                <a:gd name="T37" fmla="*/ 32262 h 31"/>
                <a:gd name="T38" fmla="*/ 26596 w 81"/>
                <a:gd name="T39" fmla="*/ 37639 h 31"/>
                <a:gd name="T40" fmla="*/ 24342 w 81"/>
                <a:gd name="T41" fmla="*/ 41224 h 31"/>
                <a:gd name="T42" fmla="*/ 21187 w 81"/>
                <a:gd name="T43" fmla="*/ 44809 h 31"/>
                <a:gd name="T44" fmla="*/ 15326 w 81"/>
                <a:gd name="T45" fmla="*/ 44809 h 31"/>
                <a:gd name="T46" fmla="*/ 0 w 81"/>
                <a:gd name="T47" fmla="*/ 55563 h 3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5" name="Freeform 320">
              <a:extLst>
                <a:ext uri="{FF2B5EF4-FFF2-40B4-BE49-F238E27FC236}">
                  <a16:creationId xmlns:a16="http://schemas.microsoft.com/office/drawing/2014/main" id="{73D94DBA-0936-4B0E-90FD-9102DAADE16E}"/>
                </a:ext>
              </a:extLst>
            </p:cNvPr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8467725" y="3906838"/>
              <a:ext cx="39688" cy="55562"/>
            </a:xfrm>
            <a:custGeom>
              <a:avLst/>
              <a:gdLst>
                <a:gd name="T0" fmla="*/ 892 w 89"/>
                <a:gd name="T1" fmla="*/ 55562 h 49"/>
                <a:gd name="T2" fmla="*/ 39688 w 89"/>
                <a:gd name="T3" fmla="*/ 55562 h 49"/>
                <a:gd name="T4" fmla="*/ 34783 w 89"/>
                <a:gd name="T5" fmla="*/ 46491 h 49"/>
                <a:gd name="T6" fmla="*/ 30323 w 89"/>
                <a:gd name="T7" fmla="*/ 39687 h 49"/>
                <a:gd name="T8" fmla="*/ 25418 w 89"/>
                <a:gd name="T9" fmla="*/ 34018 h 49"/>
                <a:gd name="T10" fmla="*/ 20513 w 89"/>
                <a:gd name="T11" fmla="*/ 28348 h 49"/>
                <a:gd name="T12" fmla="*/ 16054 w 89"/>
                <a:gd name="T13" fmla="*/ 23812 h 49"/>
                <a:gd name="T14" fmla="*/ 11594 w 89"/>
                <a:gd name="T15" fmla="*/ 15875 h 49"/>
                <a:gd name="T16" fmla="*/ 7135 w 89"/>
                <a:gd name="T17" fmla="*/ 9071 h 49"/>
                <a:gd name="T18" fmla="*/ 4013 w 89"/>
                <a:gd name="T19" fmla="*/ 0 h 49"/>
                <a:gd name="T20" fmla="*/ 1784 w 89"/>
                <a:gd name="T21" fmla="*/ 11339 h 49"/>
                <a:gd name="T22" fmla="*/ 446 w 89"/>
                <a:gd name="T23" fmla="*/ 26080 h 49"/>
                <a:gd name="T24" fmla="*/ 0 w 89"/>
                <a:gd name="T25" fmla="*/ 32884 h 49"/>
                <a:gd name="T26" fmla="*/ 0 w 89"/>
                <a:gd name="T27" fmla="*/ 40821 h 49"/>
                <a:gd name="T28" fmla="*/ 0 w 89"/>
                <a:gd name="T29" fmla="*/ 48758 h 49"/>
                <a:gd name="T30" fmla="*/ 892 w 89"/>
                <a:gd name="T31" fmla="*/ 55562 h 4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6" name="Freeform 321">
              <a:extLst>
                <a:ext uri="{FF2B5EF4-FFF2-40B4-BE49-F238E27FC236}">
                  <a16:creationId xmlns:a16="http://schemas.microsoft.com/office/drawing/2014/main" id="{4EEB6EE5-359F-478E-B3E6-C5BE72B2C369}"/>
                </a:ext>
              </a:extLst>
            </p:cNvPr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8520113" y="3916364"/>
              <a:ext cx="36512" cy="58737"/>
            </a:xfrm>
            <a:custGeom>
              <a:avLst/>
              <a:gdLst>
                <a:gd name="T0" fmla="*/ 0 w 86"/>
                <a:gd name="T1" fmla="*/ 26815 h 46"/>
                <a:gd name="T2" fmla="*/ 5944 w 86"/>
                <a:gd name="T3" fmla="*/ 33199 h 46"/>
                <a:gd name="T4" fmla="*/ 10614 w 86"/>
                <a:gd name="T5" fmla="*/ 37030 h 46"/>
                <a:gd name="T6" fmla="*/ 12737 w 86"/>
                <a:gd name="T7" fmla="*/ 38307 h 46"/>
                <a:gd name="T8" fmla="*/ 15284 w 86"/>
                <a:gd name="T9" fmla="*/ 38307 h 46"/>
                <a:gd name="T10" fmla="*/ 17407 w 86"/>
                <a:gd name="T11" fmla="*/ 37030 h 46"/>
                <a:gd name="T12" fmla="*/ 19530 w 86"/>
                <a:gd name="T13" fmla="*/ 34476 h 46"/>
                <a:gd name="T14" fmla="*/ 19530 w 86"/>
                <a:gd name="T15" fmla="*/ 45968 h 46"/>
                <a:gd name="T16" fmla="*/ 19530 w 86"/>
                <a:gd name="T17" fmla="*/ 58737 h 46"/>
                <a:gd name="T18" fmla="*/ 23775 w 86"/>
                <a:gd name="T19" fmla="*/ 57460 h 46"/>
                <a:gd name="T20" fmla="*/ 28445 w 86"/>
                <a:gd name="T21" fmla="*/ 54906 h 46"/>
                <a:gd name="T22" fmla="*/ 32691 w 86"/>
                <a:gd name="T23" fmla="*/ 51076 h 46"/>
                <a:gd name="T24" fmla="*/ 36512 w 86"/>
                <a:gd name="T25" fmla="*/ 51076 h 46"/>
                <a:gd name="T26" fmla="*/ 35238 w 86"/>
                <a:gd name="T27" fmla="*/ 40861 h 46"/>
                <a:gd name="T28" fmla="*/ 33965 w 86"/>
                <a:gd name="T29" fmla="*/ 31922 h 46"/>
                <a:gd name="T30" fmla="*/ 31417 w 86"/>
                <a:gd name="T31" fmla="*/ 24261 h 46"/>
                <a:gd name="T32" fmla="*/ 29719 w 86"/>
                <a:gd name="T33" fmla="*/ 17876 h 46"/>
                <a:gd name="T34" fmla="*/ 27172 w 86"/>
                <a:gd name="T35" fmla="*/ 11492 h 46"/>
                <a:gd name="T36" fmla="*/ 24624 w 86"/>
                <a:gd name="T37" fmla="*/ 7661 h 46"/>
                <a:gd name="T38" fmla="*/ 21652 w 86"/>
                <a:gd name="T39" fmla="*/ 3831 h 46"/>
                <a:gd name="T40" fmla="*/ 19530 w 86"/>
                <a:gd name="T41" fmla="*/ 1277 h 46"/>
                <a:gd name="T42" fmla="*/ 16558 w 86"/>
                <a:gd name="T43" fmla="*/ 0 h 46"/>
                <a:gd name="T44" fmla="*/ 14010 w 86"/>
                <a:gd name="T45" fmla="*/ 0 h 46"/>
                <a:gd name="T46" fmla="*/ 11039 w 86"/>
                <a:gd name="T47" fmla="*/ 1277 h 46"/>
                <a:gd name="T48" fmla="*/ 8067 w 86"/>
                <a:gd name="T49" fmla="*/ 3831 h 46"/>
                <a:gd name="T50" fmla="*/ 5944 w 86"/>
                <a:gd name="T51" fmla="*/ 7661 h 46"/>
                <a:gd name="T52" fmla="*/ 3396 w 86"/>
                <a:gd name="T53" fmla="*/ 12769 h 46"/>
                <a:gd name="T54" fmla="*/ 1698 w 86"/>
                <a:gd name="T55" fmla="*/ 19153 h 46"/>
                <a:gd name="T56" fmla="*/ 0 w 86"/>
                <a:gd name="T57" fmla="*/ 26815 h 4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7" name="Freeform 322">
              <a:extLst>
                <a:ext uri="{FF2B5EF4-FFF2-40B4-BE49-F238E27FC236}">
                  <a16:creationId xmlns:a16="http://schemas.microsoft.com/office/drawing/2014/main" id="{87D1D6E4-B92F-4FE2-A0FA-44B889BB8CFB}"/>
                </a:ext>
              </a:extLst>
            </p:cNvPr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8572500" y="3921126"/>
              <a:ext cx="25400" cy="55563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55563 h 18"/>
                <a:gd name="T4" fmla="*/ 16790 w 59"/>
                <a:gd name="T5" fmla="*/ 55563 h 18"/>
                <a:gd name="T6" fmla="*/ 25400 w 59"/>
                <a:gd name="T7" fmla="*/ 18521 h 18"/>
                <a:gd name="T8" fmla="*/ 21956 w 59"/>
                <a:gd name="T9" fmla="*/ 15434 h 18"/>
                <a:gd name="T10" fmla="*/ 19373 w 59"/>
                <a:gd name="T11" fmla="*/ 12347 h 18"/>
                <a:gd name="T12" fmla="*/ 15929 w 59"/>
                <a:gd name="T13" fmla="*/ 15434 h 18"/>
                <a:gd name="T14" fmla="*/ 12485 w 59"/>
                <a:gd name="T15" fmla="*/ 18521 h 18"/>
                <a:gd name="T16" fmla="*/ 9471 w 59"/>
                <a:gd name="T17" fmla="*/ 18521 h 18"/>
                <a:gd name="T18" fmla="*/ 6027 w 59"/>
                <a:gd name="T19" fmla="*/ 15434 h 18"/>
                <a:gd name="T20" fmla="*/ 3014 w 59"/>
                <a:gd name="T21" fmla="*/ 12347 h 18"/>
                <a:gd name="T22" fmla="*/ 0 w 59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8" name="Freeform 323">
              <a:extLst>
                <a:ext uri="{FF2B5EF4-FFF2-40B4-BE49-F238E27FC236}">
                  <a16:creationId xmlns:a16="http://schemas.microsoft.com/office/drawing/2014/main" id="{80D1B650-8D4E-4ECE-BEE6-061CD131CFA5}"/>
                </a:ext>
              </a:extLst>
            </p:cNvPr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8645525" y="3913188"/>
              <a:ext cx="1588" cy="55562"/>
            </a:xfrm>
            <a:custGeom>
              <a:avLst/>
              <a:gdLst>
                <a:gd name="T0" fmla="*/ 1588 w 4"/>
                <a:gd name="T1" fmla="*/ 55562 h 19"/>
                <a:gd name="T2" fmla="*/ 1588 w 4"/>
                <a:gd name="T3" fmla="*/ 0 h 19"/>
                <a:gd name="T4" fmla="*/ 794 w 4"/>
                <a:gd name="T5" fmla="*/ 2924 h 19"/>
                <a:gd name="T6" fmla="*/ 397 w 4"/>
                <a:gd name="T7" fmla="*/ 8773 h 19"/>
                <a:gd name="T8" fmla="*/ 0 w 4"/>
                <a:gd name="T9" fmla="*/ 17546 h 19"/>
                <a:gd name="T10" fmla="*/ 0 w 4"/>
                <a:gd name="T11" fmla="*/ 29243 h 19"/>
                <a:gd name="T12" fmla="*/ 0 w 4"/>
                <a:gd name="T13" fmla="*/ 40940 h 19"/>
                <a:gd name="T14" fmla="*/ 397 w 4"/>
                <a:gd name="T15" fmla="*/ 46789 h 19"/>
                <a:gd name="T16" fmla="*/ 794 w 4"/>
                <a:gd name="T17" fmla="*/ 55562 h 19"/>
                <a:gd name="T18" fmla="*/ 1588 w 4"/>
                <a:gd name="T19" fmla="*/ 55562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9" name="Freeform 324">
              <a:extLst>
                <a:ext uri="{FF2B5EF4-FFF2-40B4-BE49-F238E27FC236}">
                  <a16:creationId xmlns:a16="http://schemas.microsoft.com/office/drawing/2014/main" id="{F8780E3B-3C60-4CE4-BB06-5DB9BA749838}"/>
                </a:ext>
              </a:extLst>
            </p:cNvPr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8220075" y="3727450"/>
              <a:ext cx="20638" cy="58738"/>
            </a:xfrm>
            <a:custGeom>
              <a:avLst/>
              <a:gdLst>
                <a:gd name="T0" fmla="*/ 0 w 46"/>
                <a:gd name="T1" fmla="*/ 58738 h 50"/>
                <a:gd name="T2" fmla="*/ 3141 w 46"/>
                <a:gd name="T3" fmla="*/ 0 h 50"/>
                <a:gd name="T4" fmla="*/ 10319 w 46"/>
                <a:gd name="T5" fmla="*/ 9398 h 50"/>
                <a:gd name="T6" fmla="*/ 15254 w 46"/>
                <a:gd name="T7" fmla="*/ 16447 h 50"/>
                <a:gd name="T8" fmla="*/ 16600 w 46"/>
                <a:gd name="T9" fmla="*/ 21146 h 50"/>
                <a:gd name="T10" fmla="*/ 18395 w 46"/>
                <a:gd name="T11" fmla="*/ 25845 h 50"/>
                <a:gd name="T12" fmla="*/ 19741 w 46"/>
                <a:gd name="T13" fmla="*/ 35243 h 50"/>
                <a:gd name="T14" fmla="*/ 20638 w 46"/>
                <a:gd name="T15" fmla="*/ 44641 h 50"/>
                <a:gd name="T16" fmla="*/ 15254 w 46"/>
                <a:gd name="T17" fmla="*/ 49340 h 50"/>
                <a:gd name="T18" fmla="*/ 9422 w 46"/>
                <a:gd name="T19" fmla="*/ 54039 h 50"/>
                <a:gd name="T20" fmla="*/ 3589 w 46"/>
                <a:gd name="T21" fmla="*/ 57563 h 50"/>
                <a:gd name="T22" fmla="*/ 0 w 46"/>
                <a:gd name="T23" fmla="*/ 58738 h 5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0" name="Freeform 325">
              <a:extLst>
                <a:ext uri="{FF2B5EF4-FFF2-40B4-BE49-F238E27FC236}">
                  <a16:creationId xmlns:a16="http://schemas.microsoft.com/office/drawing/2014/main" id="{2C9D3445-E508-4319-B7EE-EDC8982E504B}"/>
                </a:ext>
              </a:extLst>
            </p:cNvPr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8166101" y="3700464"/>
              <a:ext cx="30163" cy="58737"/>
            </a:xfrm>
            <a:custGeom>
              <a:avLst/>
              <a:gdLst>
                <a:gd name="T0" fmla="*/ 0 w 66"/>
                <a:gd name="T1" fmla="*/ 0 h 80"/>
                <a:gd name="T2" fmla="*/ 4570 w 66"/>
                <a:gd name="T3" fmla="*/ 0 h 80"/>
                <a:gd name="T4" fmla="*/ 8226 w 66"/>
                <a:gd name="T5" fmla="*/ 0 h 80"/>
                <a:gd name="T6" fmla="*/ 11882 w 66"/>
                <a:gd name="T7" fmla="*/ 0 h 80"/>
                <a:gd name="T8" fmla="*/ 15082 w 66"/>
                <a:gd name="T9" fmla="*/ 0 h 80"/>
                <a:gd name="T10" fmla="*/ 15082 w 66"/>
                <a:gd name="T11" fmla="*/ 5139 h 80"/>
                <a:gd name="T12" fmla="*/ 15539 w 66"/>
                <a:gd name="T13" fmla="*/ 10279 h 80"/>
                <a:gd name="T14" fmla="*/ 16453 w 66"/>
                <a:gd name="T15" fmla="*/ 15418 h 80"/>
                <a:gd name="T16" fmla="*/ 17367 w 66"/>
                <a:gd name="T17" fmla="*/ 19824 h 80"/>
                <a:gd name="T18" fmla="*/ 20109 w 66"/>
                <a:gd name="T19" fmla="*/ 26432 h 80"/>
                <a:gd name="T20" fmla="*/ 22394 w 66"/>
                <a:gd name="T21" fmla="*/ 33040 h 80"/>
                <a:gd name="T22" fmla="*/ 25593 w 66"/>
                <a:gd name="T23" fmla="*/ 38179 h 80"/>
                <a:gd name="T24" fmla="*/ 27878 w 66"/>
                <a:gd name="T25" fmla="*/ 44053 h 80"/>
                <a:gd name="T26" fmla="*/ 28335 w 66"/>
                <a:gd name="T27" fmla="*/ 47724 h 80"/>
                <a:gd name="T28" fmla="*/ 29706 w 66"/>
                <a:gd name="T29" fmla="*/ 50661 h 80"/>
                <a:gd name="T30" fmla="*/ 30163 w 66"/>
                <a:gd name="T31" fmla="*/ 55066 h 80"/>
                <a:gd name="T32" fmla="*/ 30163 w 66"/>
                <a:gd name="T33" fmla="*/ 58737 h 80"/>
                <a:gd name="T34" fmla="*/ 0 w 66"/>
                <a:gd name="T35" fmla="*/ 13216 h 80"/>
                <a:gd name="T36" fmla="*/ 0 w 66"/>
                <a:gd name="T37" fmla="*/ 0 h 8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1" name="Freeform 326">
              <a:extLst>
                <a:ext uri="{FF2B5EF4-FFF2-40B4-BE49-F238E27FC236}">
                  <a16:creationId xmlns:a16="http://schemas.microsoft.com/office/drawing/2014/main" id="{A490D894-D4E4-481C-A90E-1A2F8F0234C6}"/>
                </a:ext>
              </a:extLst>
            </p:cNvPr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8001000" y="3684588"/>
              <a:ext cx="7938" cy="57150"/>
            </a:xfrm>
            <a:custGeom>
              <a:avLst/>
              <a:gdLst>
                <a:gd name="T0" fmla="*/ 7938 w 20"/>
                <a:gd name="T1" fmla="*/ 57150 h 48"/>
                <a:gd name="T2" fmla="*/ 7938 w 20"/>
                <a:gd name="T3" fmla="*/ 46434 h 48"/>
                <a:gd name="T4" fmla="*/ 7541 w 20"/>
                <a:gd name="T5" fmla="*/ 38100 h 48"/>
                <a:gd name="T6" fmla="*/ 6350 w 20"/>
                <a:gd name="T7" fmla="*/ 29766 h 48"/>
                <a:gd name="T8" fmla="*/ 5557 w 20"/>
                <a:gd name="T9" fmla="*/ 22622 h 48"/>
                <a:gd name="T10" fmla="*/ 4763 w 20"/>
                <a:gd name="T11" fmla="*/ 16669 h 48"/>
                <a:gd name="T12" fmla="*/ 3572 w 20"/>
                <a:gd name="T13" fmla="*/ 10716 h 48"/>
                <a:gd name="T14" fmla="*/ 1588 w 20"/>
                <a:gd name="T15" fmla="*/ 4763 h 48"/>
                <a:gd name="T16" fmla="*/ 0 w 20"/>
                <a:gd name="T17" fmla="*/ 0 h 48"/>
                <a:gd name="T18" fmla="*/ 0 w 20"/>
                <a:gd name="T19" fmla="*/ 9525 h 48"/>
                <a:gd name="T20" fmla="*/ 794 w 20"/>
                <a:gd name="T21" fmla="*/ 20241 h 48"/>
                <a:gd name="T22" fmla="*/ 1588 w 20"/>
                <a:gd name="T23" fmla="*/ 28575 h 48"/>
                <a:gd name="T24" fmla="*/ 3175 w 20"/>
                <a:gd name="T25" fmla="*/ 36909 h 48"/>
                <a:gd name="T26" fmla="*/ 5557 w 20"/>
                <a:gd name="T27" fmla="*/ 48816 h 48"/>
                <a:gd name="T28" fmla="*/ 7938 w 20"/>
                <a:gd name="T29" fmla="*/ 57150 h 4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2" name="Line 327" descr="Horizontal dunkel">
              <a:extLst>
                <a:ext uri="{FF2B5EF4-FFF2-40B4-BE49-F238E27FC236}">
                  <a16:creationId xmlns:a16="http://schemas.microsoft.com/office/drawing/2014/main" id="{20708FBB-26F3-4B3C-903A-DD332C59907F}"/>
                </a:ext>
              </a:extLst>
            </p:cNvPr>
            <p:cNvSpPr>
              <a:spLocks noChangeShapeType="1"/>
            </p:cNvSpPr>
            <p:nvPr>
              <p:custDataLst>
                <p:tags r:id="rId230"/>
              </p:custDataLst>
            </p:nvPr>
          </p:nvSpPr>
          <p:spPr bwMode="auto">
            <a:xfrm>
              <a:off x="8026401" y="3721100"/>
              <a:ext cx="4763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3" name="Freeform 328">
              <a:extLst>
                <a:ext uri="{FF2B5EF4-FFF2-40B4-BE49-F238E27FC236}">
                  <a16:creationId xmlns:a16="http://schemas.microsoft.com/office/drawing/2014/main" id="{FE63C1C5-22B8-4EAF-92BC-EFC0B6108284}"/>
                </a:ext>
              </a:extLst>
            </p:cNvPr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8023225" y="3721100"/>
              <a:ext cx="7938" cy="57150"/>
            </a:xfrm>
            <a:custGeom>
              <a:avLst/>
              <a:gdLst>
                <a:gd name="T0" fmla="*/ 7938 w 20"/>
                <a:gd name="T1" fmla="*/ 57150 h 12"/>
                <a:gd name="T2" fmla="*/ 7938 w 20"/>
                <a:gd name="T3" fmla="*/ 38100 h 12"/>
                <a:gd name="T4" fmla="*/ 7144 w 20"/>
                <a:gd name="T5" fmla="*/ 23813 h 12"/>
                <a:gd name="T6" fmla="*/ 5954 w 20"/>
                <a:gd name="T7" fmla="*/ 14288 h 12"/>
                <a:gd name="T8" fmla="*/ 5160 w 20"/>
                <a:gd name="T9" fmla="*/ 9525 h 12"/>
                <a:gd name="T10" fmla="*/ 2778 w 20"/>
                <a:gd name="T11" fmla="*/ 0 h 12"/>
                <a:gd name="T12" fmla="*/ 0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4" name="Freeform 329">
              <a:extLst>
                <a:ext uri="{FF2B5EF4-FFF2-40B4-BE49-F238E27FC236}">
                  <a16:creationId xmlns:a16="http://schemas.microsoft.com/office/drawing/2014/main" id="{FBDB758B-3F48-4448-976E-6805373404B7}"/>
                </a:ext>
              </a:extLst>
            </p:cNvPr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7924801" y="3565525"/>
              <a:ext cx="22225" cy="57150"/>
            </a:xfrm>
            <a:custGeom>
              <a:avLst/>
              <a:gdLst>
                <a:gd name="T0" fmla="*/ 2935 w 53"/>
                <a:gd name="T1" fmla="*/ 0 h 30"/>
                <a:gd name="T2" fmla="*/ 4613 w 53"/>
                <a:gd name="T3" fmla="*/ 7620 h 30"/>
                <a:gd name="T4" fmla="*/ 9645 w 53"/>
                <a:gd name="T5" fmla="*/ 24765 h 30"/>
                <a:gd name="T6" fmla="*/ 15516 w 53"/>
                <a:gd name="T7" fmla="*/ 43815 h 30"/>
                <a:gd name="T8" fmla="*/ 19290 w 53"/>
                <a:gd name="T9" fmla="*/ 57150 h 30"/>
                <a:gd name="T10" fmla="*/ 20548 w 53"/>
                <a:gd name="T11" fmla="*/ 34290 h 30"/>
                <a:gd name="T12" fmla="*/ 22225 w 53"/>
                <a:gd name="T13" fmla="*/ 11430 h 30"/>
                <a:gd name="T14" fmla="*/ 15516 w 53"/>
                <a:gd name="T15" fmla="*/ 9525 h 30"/>
                <a:gd name="T16" fmla="*/ 10903 w 53"/>
                <a:gd name="T17" fmla="*/ 5715 h 30"/>
                <a:gd name="T18" fmla="*/ 8806 w 53"/>
                <a:gd name="T19" fmla="*/ 5715 h 30"/>
                <a:gd name="T20" fmla="*/ 6290 w 53"/>
                <a:gd name="T21" fmla="*/ 5715 h 30"/>
                <a:gd name="T22" fmla="*/ 3774 w 53"/>
                <a:gd name="T23" fmla="*/ 7620 h 30"/>
                <a:gd name="T24" fmla="*/ 0 w 53"/>
                <a:gd name="T25" fmla="*/ 11430 h 30"/>
                <a:gd name="T26" fmla="*/ 2935 w 53"/>
                <a:gd name="T27" fmla="*/ 0 h 3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5" name="Freeform 330">
              <a:extLst>
                <a:ext uri="{FF2B5EF4-FFF2-40B4-BE49-F238E27FC236}">
                  <a16:creationId xmlns:a16="http://schemas.microsoft.com/office/drawing/2014/main" id="{16932B53-1EAA-4A22-809A-D69A2B780B5A}"/>
                </a:ext>
              </a:extLst>
            </p:cNvPr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8453438" y="3929063"/>
              <a:ext cx="11112" cy="57150"/>
            </a:xfrm>
            <a:custGeom>
              <a:avLst/>
              <a:gdLst>
                <a:gd name="T0" fmla="*/ 0 w 33"/>
                <a:gd name="T1" fmla="*/ 11061 h 31"/>
                <a:gd name="T2" fmla="*/ 1347 w 33"/>
                <a:gd name="T3" fmla="*/ 38715 h 31"/>
                <a:gd name="T4" fmla="*/ 2357 w 33"/>
                <a:gd name="T5" fmla="*/ 57150 h 31"/>
                <a:gd name="T6" fmla="*/ 7408 w 33"/>
                <a:gd name="T7" fmla="*/ 57150 h 31"/>
                <a:gd name="T8" fmla="*/ 11112 w 33"/>
                <a:gd name="T9" fmla="*/ 57150 h 31"/>
                <a:gd name="T10" fmla="*/ 11112 w 33"/>
                <a:gd name="T11" fmla="*/ 0 h 31"/>
                <a:gd name="T12" fmla="*/ 9092 w 33"/>
                <a:gd name="T13" fmla="*/ 0 h 31"/>
                <a:gd name="T14" fmla="*/ 6398 w 33"/>
                <a:gd name="T15" fmla="*/ 0 h 31"/>
                <a:gd name="T16" fmla="*/ 3367 w 33"/>
                <a:gd name="T17" fmla="*/ 0 h 31"/>
                <a:gd name="T18" fmla="*/ 0 w 33"/>
                <a:gd name="T19" fmla="*/ 0 h 31"/>
                <a:gd name="T20" fmla="*/ 0 w 33"/>
                <a:gd name="T21" fmla="*/ 11061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6" name="Freeform 331">
              <a:extLst>
                <a:ext uri="{FF2B5EF4-FFF2-40B4-BE49-F238E27FC236}">
                  <a16:creationId xmlns:a16="http://schemas.microsoft.com/office/drawing/2014/main" id="{662C5D48-7C92-4C39-B51F-5C6946D02752}"/>
                </a:ext>
              </a:extLst>
            </p:cNvPr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8969376" y="3886201"/>
              <a:ext cx="28575" cy="55563"/>
            </a:xfrm>
            <a:custGeom>
              <a:avLst/>
              <a:gdLst>
                <a:gd name="T0" fmla="*/ 8353 w 65"/>
                <a:gd name="T1" fmla="*/ 55563 h 68"/>
                <a:gd name="T2" fmla="*/ 7034 w 65"/>
                <a:gd name="T3" fmla="*/ 55563 h 68"/>
                <a:gd name="T4" fmla="*/ 6155 w 65"/>
                <a:gd name="T5" fmla="*/ 53929 h 68"/>
                <a:gd name="T6" fmla="*/ 4836 w 65"/>
                <a:gd name="T7" fmla="*/ 52295 h 68"/>
                <a:gd name="T8" fmla="*/ 3077 w 65"/>
                <a:gd name="T9" fmla="*/ 49843 h 68"/>
                <a:gd name="T10" fmla="*/ 1758 w 65"/>
                <a:gd name="T11" fmla="*/ 48209 h 68"/>
                <a:gd name="T12" fmla="*/ 879 w 65"/>
                <a:gd name="T13" fmla="*/ 44941 h 68"/>
                <a:gd name="T14" fmla="*/ 0 w 65"/>
                <a:gd name="T15" fmla="*/ 42489 h 68"/>
                <a:gd name="T16" fmla="*/ 0 w 65"/>
                <a:gd name="T17" fmla="*/ 40038 h 68"/>
                <a:gd name="T18" fmla="*/ 0 w 65"/>
                <a:gd name="T19" fmla="*/ 31050 h 68"/>
                <a:gd name="T20" fmla="*/ 879 w 65"/>
                <a:gd name="T21" fmla="*/ 23696 h 68"/>
                <a:gd name="T22" fmla="*/ 2198 w 65"/>
                <a:gd name="T23" fmla="*/ 17159 h 68"/>
                <a:gd name="T24" fmla="*/ 3957 w 65"/>
                <a:gd name="T25" fmla="*/ 11439 h 68"/>
                <a:gd name="T26" fmla="*/ 6594 w 65"/>
                <a:gd name="T27" fmla="*/ 6537 h 68"/>
                <a:gd name="T28" fmla="*/ 9672 w 65"/>
                <a:gd name="T29" fmla="*/ 3268 h 68"/>
                <a:gd name="T30" fmla="*/ 13188 w 65"/>
                <a:gd name="T31" fmla="*/ 1634 h 68"/>
                <a:gd name="T32" fmla="*/ 17145 w 65"/>
                <a:gd name="T33" fmla="*/ 0 h 68"/>
                <a:gd name="T34" fmla="*/ 22860 w 65"/>
                <a:gd name="T35" fmla="*/ 0 h 68"/>
                <a:gd name="T36" fmla="*/ 28575 w 65"/>
                <a:gd name="T37" fmla="*/ 0 h 68"/>
                <a:gd name="T38" fmla="*/ 28575 w 65"/>
                <a:gd name="T39" fmla="*/ 35135 h 68"/>
                <a:gd name="T40" fmla="*/ 24618 w 65"/>
                <a:gd name="T41" fmla="*/ 42489 h 68"/>
                <a:gd name="T42" fmla="*/ 19783 w 65"/>
                <a:gd name="T43" fmla="*/ 49843 h 68"/>
                <a:gd name="T44" fmla="*/ 17145 w 65"/>
                <a:gd name="T45" fmla="*/ 52295 h 68"/>
                <a:gd name="T46" fmla="*/ 14947 w 65"/>
                <a:gd name="T47" fmla="*/ 53929 h 68"/>
                <a:gd name="T48" fmla="*/ 11870 w 65"/>
                <a:gd name="T49" fmla="*/ 55563 h 68"/>
                <a:gd name="T50" fmla="*/ 8353 w 65"/>
                <a:gd name="T51" fmla="*/ 55563 h 6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7" name="Freeform 332">
              <a:extLst>
                <a:ext uri="{FF2B5EF4-FFF2-40B4-BE49-F238E27FC236}">
                  <a16:creationId xmlns:a16="http://schemas.microsoft.com/office/drawing/2014/main" id="{29E370B0-DB0D-435D-93C2-5DBEF09FF279}"/>
                </a:ext>
              </a:extLst>
            </p:cNvPr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7907339" y="3468688"/>
              <a:ext cx="274637" cy="368300"/>
            </a:xfrm>
            <a:custGeom>
              <a:avLst/>
              <a:gdLst>
                <a:gd name="T0" fmla="*/ 220588 w 625"/>
                <a:gd name="T1" fmla="*/ 178843 h 694"/>
                <a:gd name="T2" fmla="*/ 212679 w 625"/>
                <a:gd name="T3" fmla="*/ 180966 h 694"/>
                <a:gd name="T4" fmla="*/ 210482 w 625"/>
                <a:gd name="T5" fmla="*/ 202724 h 694"/>
                <a:gd name="T6" fmla="*/ 226301 w 625"/>
                <a:gd name="T7" fmla="*/ 214399 h 694"/>
                <a:gd name="T8" fmla="*/ 234650 w 625"/>
                <a:gd name="T9" fmla="*/ 214930 h 694"/>
                <a:gd name="T10" fmla="*/ 241681 w 625"/>
                <a:gd name="T11" fmla="*/ 225013 h 694"/>
                <a:gd name="T12" fmla="*/ 246075 w 625"/>
                <a:gd name="T13" fmla="*/ 243587 h 694"/>
                <a:gd name="T14" fmla="*/ 251348 w 625"/>
                <a:gd name="T15" fmla="*/ 251548 h 694"/>
                <a:gd name="T16" fmla="*/ 258378 w 625"/>
                <a:gd name="T17" fmla="*/ 256324 h 694"/>
                <a:gd name="T18" fmla="*/ 269803 w 625"/>
                <a:gd name="T19" fmla="*/ 258447 h 694"/>
                <a:gd name="T20" fmla="*/ 274637 w 625"/>
                <a:gd name="T21" fmla="*/ 267999 h 694"/>
                <a:gd name="T22" fmla="*/ 274637 w 625"/>
                <a:gd name="T23" fmla="*/ 286043 h 694"/>
                <a:gd name="T24" fmla="*/ 271561 w 625"/>
                <a:gd name="T25" fmla="*/ 320007 h 694"/>
                <a:gd name="T26" fmla="*/ 268485 w 625"/>
                <a:gd name="T27" fmla="*/ 356625 h 694"/>
                <a:gd name="T28" fmla="*/ 246954 w 625"/>
                <a:gd name="T29" fmla="*/ 367769 h 694"/>
                <a:gd name="T30" fmla="*/ 236847 w 625"/>
                <a:gd name="T31" fmla="*/ 367769 h 694"/>
                <a:gd name="T32" fmla="*/ 173131 w 625"/>
                <a:gd name="T33" fmla="*/ 299310 h 694"/>
                <a:gd name="T34" fmla="*/ 174449 w 625"/>
                <a:gd name="T35" fmla="*/ 292942 h 694"/>
                <a:gd name="T36" fmla="*/ 173131 w 625"/>
                <a:gd name="T37" fmla="*/ 286043 h 694"/>
                <a:gd name="T38" fmla="*/ 148524 w 625"/>
                <a:gd name="T39" fmla="*/ 258978 h 694"/>
                <a:gd name="T40" fmla="*/ 134023 w 625"/>
                <a:gd name="T41" fmla="*/ 240403 h 694"/>
                <a:gd name="T42" fmla="*/ 128750 w 625"/>
                <a:gd name="T43" fmla="*/ 222360 h 694"/>
                <a:gd name="T44" fmla="*/ 127871 w 625"/>
                <a:gd name="T45" fmla="*/ 202194 h 694"/>
                <a:gd name="T46" fmla="*/ 125234 w 625"/>
                <a:gd name="T47" fmla="*/ 191049 h 694"/>
                <a:gd name="T48" fmla="*/ 117764 w 625"/>
                <a:gd name="T49" fmla="*/ 181497 h 694"/>
                <a:gd name="T50" fmla="*/ 105900 w 625"/>
                <a:gd name="T51" fmla="*/ 164514 h 694"/>
                <a:gd name="T52" fmla="*/ 98430 w 625"/>
                <a:gd name="T53" fmla="*/ 142756 h 694"/>
                <a:gd name="T54" fmla="*/ 93596 w 625"/>
                <a:gd name="T55" fmla="*/ 126305 h 694"/>
                <a:gd name="T56" fmla="*/ 83490 w 625"/>
                <a:gd name="T57" fmla="*/ 112507 h 694"/>
                <a:gd name="T58" fmla="*/ 65913 w 625"/>
                <a:gd name="T59" fmla="*/ 90748 h 694"/>
                <a:gd name="T60" fmla="*/ 59761 w 625"/>
                <a:gd name="T61" fmla="*/ 77481 h 694"/>
                <a:gd name="T62" fmla="*/ 49215 w 625"/>
                <a:gd name="T63" fmla="*/ 70051 h 694"/>
                <a:gd name="T64" fmla="*/ 35154 w 625"/>
                <a:gd name="T65" fmla="*/ 59968 h 694"/>
                <a:gd name="T66" fmla="*/ 21532 w 625"/>
                <a:gd name="T67" fmla="*/ 45109 h 694"/>
                <a:gd name="T68" fmla="*/ 10107 w 625"/>
                <a:gd name="T69" fmla="*/ 27065 h 694"/>
                <a:gd name="T70" fmla="*/ 2197 w 625"/>
                <a:gd name="T71" fmla="*/ 10083 h 694"/>
                <a:gd name="T72" fmla="*/ 4394 w 625"/>
                <a:gd name="T73" fmla="*/ 2123 h 694"/>
                <a:gd name="T74" fmla="*/ 16259 w 625"/>
                <a:gd name="T75" fmla="*/ 6899 h 694"/>
                <a:gd name="T76" fmla="*/ 36911 w 625"/>
                <a:gd name="T77" fmla="*/ 8491 h 694"/>
                <a:gd name="T78" fmla="*/ 50973 w 625"/>
                <a:gd name="T79" fmla="*/ 10614 h 694"/>
                <a:gd name="T80" fmla="*/ 60640 w 625"/>
                <a:gd name="T81" fmla="*/ 14329 h 694"/>
                <a:gd name="T82" fmla="*/ 68549 w 625"/>
                <a:gd name="T83" fmla="*/ 22289 h 694"/>
                <a:gd name="T84" fmla="*/ 89642 w 625"/>
                <a:gd name="T85" fmla="*/ 57845 h 694"/>
                <a:gd name="T86" fmla="*/ 111612 w 625"/>
                <a:gd name="T87" fmla="*/ 86503 h 694"/>
                <a:gd name="T88" fmla="*/ 131386 w 625"/>
                <a:gd name="T89" fmla="*/ 107200 h 694"/>
                <a:gd name="T90" fmla="*/ 144569 w 625"/>
                <a:gd name="T91" fmla="*/ 116221 h 694"/>
                <a:gd name="T92" fmla="*/ 160827 w 625"/>
                <a:gd name="T93" fmla="*/ 120467 h 694"/>
                <a:gd name="T94" fmla="*/ 170495 w 625"/>
                <a:gd name="T95" fmla="*/ 122059 h 694"/>
                <a:gd name="T96" fmla="*/ 176207 w 625"/>
                <a:gd name="T97" fmla="*/ 127897 h 694"/>
                <a:gd name="T98" fmla="*/ 182798 w 625"/>
                <a:gd name="T99" fmla="*/ 137980 h 694"/>
                <a:gd name="T100" fmla="*/ 187632 w 625"/>
                <a:gd name="T101" fmla="*/ 140633 h 6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8" name="Freeform 333">
              <a:extLst>
                <a:ext uri="{FF2B5EF4-FFF2-40B4-BE49-F238E27FC236}">
                  <a16:creationId xmlns:a16="http://schemas.microsoft.com/office/drawing/2014/main" id="{E54EAC10-59EA-4561-A84B-4DDFBF6B3A32}"/>
                </a:ext>
              </a:extLst>
            </p:cNvPr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8248650" y="3517901"/>
              <a:ext cx="254000" cy="257175"/>
            </a:xfrm>
            <a:custGeom>
              <a:avLst/>
              <a:gdLst>
                <a:gd name="T0" fmla="*/ 224041 w 585"/>
                <a:gd name="T1" fmla="*/ 14606 h 493"/>
                <a:gd name="T2" fmla="*/ 214923 w 585"/>
                <a:gd name="T3" fmla="*/ 28691 h 493"/>
                <a:gd name="T4" fmla="*/ 222304 w 585"/>
                <a:gd name="T5" fmla="*/ 48514 h 493"/>
                <a:gd name="T6" fmla="*/ 231856 w 585"/>
                <a:gd name="T7" fmla="*/ 67815 h 493"/>
                <a:gd name="T8" fmla="*/ 248790 w 585"/>
                <a:gd name="T9" fmla="*/ 92333 h 493"/>
                <a:gd name="T10" fmla="*/ 251829 w 585"/>
                <a:gd name="T11" fmla="*/ 106939 h 493"/>
                <a:gd name="T12" fmla="*/ 237501 w 585"/>
                <a:gd name="T13" fmla="*/ 106417 h 493"/>
                <a:gd name="T14" fmla="*/ 224041 w 585"/>
                <a:gd name="T15" fmla="*/ 121545 h 493"/>
                <a:gd name="T16" fmla="*/ 219699 w 585"/>
                <a:gd name="T17" fmla="*/ 128327 h 493"/>
                <a:gd name="T18" fmla="*/ 224909 w 585"/>
                <a:gd name="T19" fmla="*/ 141368 h 493"/>
                <a:gd name="T20" fmla="*/ 227949 w 585"/>
                <a:gd name="T21" fmla="*/ 153366 h 493"/>
                <a:gd name="T22" fmla="*/ 219265 w 585"/>
                <a:gd name="T23" fmla="*/ 160669 h 493"/>
                <a:gd name="T24" fmla="*/ 199292 w 585"/>
                <a:gd name="T25" fmla="*/ 168494 h 493"/>
                <a:gd name="T26" fmla="*/ 192345 w 585"/>
                <a:gd name="T27" fmla="*/ 184665 h 493"/>
                <a:gd name="T28" fmla="*/ 193214 w 585"/>
                <a:gd name="T29" fmla="*/ 216486 h 493"/>
                <a:gd name="T30" fmla="*/ 186701 w 585"/>
                <a:gd name="T31" fmla="*/ 236831 h 493"/>
                <a:gd name="T32" fmla="*/ 173675 w 585"/>
                <a:gd name="T33" fmla="*/ 246220 h 493"/>
                <a:gd name="T34" fmla="*/ 160650 w 585"/>
                <a:gd name="T35" fmla="*/ 254567 h 493"/>
                <a:gd name="T36" fmla="*/ 148058 w 585"/>
                <a:gd name="T37" fmla="*/ 257175 h 493"/>
                <a:gd name="T38" fmla="*/ 142848 w 585"/>
                <a:gd name="T39" fmla="*/ 254045 h 493"/>
                <a:gd name="T40" fmla="*/ 141979 w 585"/>
                <a:gd name="T41" fmla="*/ 245699 h 493"/>
                <a:gd name="T42" fmla="*/ 131993 w 585"/>
                <a:gd name="T43" fmla="*/ 235266 h 493"/>
                <a:gd name="T44" fmla="*/ 108981 w 585"/>
                <a:gd name="T45" fmla="*/ 236831 h 493"/>
                <a:gd name="T46" fmla="*/ 95087 w 585"/>
                <a:gd name="T47" fmla="*/ 241004 h 493"/>
                <a:gd name="T48" fmla="*/ 76417 w 585"/>
                <a:gd name="T49" fmla="*/ 229527 h 493"/>
                <a:gd name="T50" fmla="*/ 52971 w 585"/>
                <a:gd name="T51" fmla="*/ 227441 h 493"/>
                <a:gd name="T52" fmla="*/ 41248 w 585"/>
                <a:gd name="T53" fmla="*/ 223789 h 493"/>
                <a:gd name="T54" fmla="*/ 35169 w 585"/>
                <a:gd name="T55" fmla="*/ 190925 h 493"/>
                <a:gd name="T56" fmla="*/ 25183 w 585"/>
                <a:gd name="T57" fmla="*/ 161712 h 493"/>
                <a:gd name="T58" fmla="*/ 15197 w 585"/>
                <a:gd name="T59" fmla="*/ 152323 h 493"/>
                <a:gd name="T60" fmla="*/ 5210 w 585"/>
                <a:gd name="T61" fmla="*/ 135630 h 493"/>
                <a:gd name="T62" fmla="*/ 2171 w 585"/>
                <a:gd name="T63" fmla="*/ 106417 h 493"/>
                <a:gd name="T64" fmla="*/ 13460 w 585"/>
                <a:gd name="T65" fmla="*/ 79813 h 493"/>
                <a:gd name="T66" fmla="*/ 23446 w 585"/>
                <a:gd name="T67" fmla="*/ 73553 h 493"/>
                <a:gd name="T68" fmla="*/ 32564 w 585"/>
                <a:gd name="T69" fmla="*/ 79291 h 493"/>
                <a:gd name="T70" fmla="*/ 42116 w 585"/>
                <a:gd name="T71" fmla="*/ 97549 h 493"/>
                <a:gd name="T72" fmla="*/ 56010 w 585"/>
                <a:gd name="T73" fmla="*/ 111634 h 493"/>
                <a:gd name="T74" fmla="*/ 73812 w 585"/>
                <a:gd name="T75" fmla="*/ 111112 h 493"/>
                <a:gd name="T76" fmla="*/ 95956 w 585"/>
                <a:gd name="T77" fmla="*/ 98592 h 493"/>
                <a:gd name="T78" fmla="*/ 101166 w 585"/>
                <a:gd name="T79" fmla="*/ 89724 h 493"/>
                <a:gd name="T80" fmla="*/ 125046 w 585"/>
                <a:gd name="T81" fmla="*/ 92854 h 493"/>
                <a:gd name="T82" fmla="*/ 141545 w 585"/>
                <a:gd name="T83" fmla="*/ 94419 h 493"/>
                <a:gd name="T84" fmla="*/ 146321 w 585"/>
                <a:gd name="T85" fmla="*/ 88681 h 493"/>
                <a:gd name="T86" fmla="*/ 157176 w 585"/>
                <a:gd name="T87" fmla="*/ 82421 h 493"/>
                <a:gd name="T88" fmla="*/ 166294 w 585"/>
                <a:gd name="T89" fmla="*/ 70945 h 493"/>
                <a:gd name="T90" fmla="*/ 180188 w 585"/>
                <a:gd name="T91" fmla="*/ 41211 h 493"/>
                <a:gd name="T92" fmla="*/ 185398 w 585"/>
                <a:gd name="T93" fmla="*/ 13041 h 493"/>
                <a:gd name="T94" fmla="*/ 194082 w 585"/>
                <a:gd name="T95" fmla="*/ 3130 h 493"/>
                <a:gd name="T96" fmla="*/ 207976 w 585"/>
                <a:gd name="T97" fmla="*/ 1043 h 4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9" name="Freeform 334">
              <a:extLst>
                <a:ext uri="{FF2B5EF4-FFF2-40B4-BE49-F238E27FC236}">
                  <a16:creationId xmlns:a16="http://schemas.microsoft.com/office/drawing/2014/main" id="{7DBB172F-F791-4BFC-B851-BBE6A695E329}"/>
                </a:ext>
              </a:extLst>
            </p:cNvPr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8604251" y="3924300"/>
              <a:ext cx="92075" cy="57150"/>
            </a:xfrm>
            <a:custGeom>
              <a:avLst/>
              <a:gdLst>
                <a:gd name="T0" fmla="*/ 0 w 212"/>
                <a:gd name="T1" fmla="*/ 57150 h 105"/>
                <a:gd name="T2" fmla="*/ 6949 w 212"/>
                <a:gd name="T3" fmla="*/ 46264 h 105"/>
                <a:gd name="T4" fmla="*/ 15201 w 212"/>
                <a:gd name="T5" fmla="*/ 37011 h 105"/>
                <a:gd name="T6" fmla="*/ 19110 w 212"/>
                <a:gd name="T7" fmla="*/ 32657 h 105"/>
                <a:gd name="T8" fmla="*/ 23453 w 212"/>
                <a:gd name="T9" fmla="*/ 28847 h 105"/>
                <a:gd name="T10" fmla="*/ 27796 w 212"/>
                <a:gd name="T11" fmla="*/ 25037 h 105"/>
                <a:gd name="T12" fmla="*/ 31705 w 212"/>
                <a:gd name="T13" fmla="*/ 20683 h 105"/>
                <a:gd name="T14" fmla="*/ 36048 w 212"/>
                <a:gd name="T15" fmla="*/ 17417 h 105"/>
                <a:gd name="T16" fmla="*/ 40826 w 212"/>
                <a:gd name="T17" fmla="*/ 14696 h 105"/>
                <a:gd name="T18" fmla="*/ 46038 w 212"/>
                <a:gd name="T19" fmla="*/ 11430 h 105"/>
                <a:gd name="T20" fmla="*/ 51249 w 212"/>
                <a:gd name="T21" fmla="*/ 8709 h 105"/>
                <a:gd name="T22" fmla="*/ 62542 w 212"/>
                <a:gd name="T23" fmla="*/ 4354 h 105"/>
                <a:gd name="T24" fmla="*/ 74702 w 212"/>
                <a:gd name="T25" fmla="*/ 0 h 105"/>
                <a:gd name="T26" fmla="*/ 92075 w 212"/>
                <a:gd name="T27" fmla="*/ 0 h 105"/>
                <a:gd name="T28" fmla="*/ 87732 w 212"/>
                <a:gd name="T29" fmla="*/ 4899 h 105"/>
                <a:gd name="T30" fmla="*/ 82520 w 212"/>
                <a:gd name="T31" fmla="*/ 9797 h 105"/>
                <a:gd name="T32" fmla="*/ 77308 w 212"/>
                <a:gd name="T33" fmla="*/ 14696 h 105"/>
                <a:gd name="T34" fmla="*/ 71662 w 212"/>
                <a:gd name="T35" fmla="*/ 19050 h 105"/>
                <a:gd name="T36" fmla="*/ 59501 w 212"/>
                <a:gd name="T37" fmla="*/ 28303 h 105"/>
                <a:gd name="T38" fmla="*/ 47340 w 212"/>
                <a:gd name="T39" fmla="*/ 35923 h 105"/>
                <a:gd name="T40" fmla="*/ 34311 w 212"/>
                <a:gd name="T41" fmla="*/ 42999 h 105"/>
                <a:gd name="T42" fmla="*/ 21716 w 212"/>
                <a:gd name="T43" fmla="*/ 48986 h 105"/>
                <a:gd name="T44" fmla="*/ 9989 w 212"/>
                <a:gd name="T45" fmla="*/ 53884 h 105"/>
                <a:gd name="T46" fmla="*/ 0 w 212"/>
                <a:gd name="T47" fmla="*/ 57150 h 10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0" name="Freeform 335">
              <a:extLst>
                <a:ext uri="{FF2B5EF4-FFF2-40B4-BE49-F238E27FC236}">
                  <a16:creationId xmlns:a16="http://schemas.microsoft.com/office/drawing/2014/main" id="{7108E268-E1BE-4583-B420-DB297DA46D51}"/>
                </a:ext>
              </a:extLst>
            </p:cNvPr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8720138" y="3590925"/>
              <a:ext cx="42862" cy="88900"/>
            </a:xfrm>
            <a:custGeom>
              <a:avLst/>
              <a:gdLst>
                <a:gd name="T0" fmla="*/ 0 w 92"/>
                <a:gd name="T1" fmla="*/ 43379 h 166"/>
                <a:gd name="T2" fmla="*/ 0 w 92"/>
                <a:gd name="T3" fmla="*/ 79260 h 166"/>
                <a:gd name="T4" fmla="*/ 2329 w 92"/>
                <a:gd name="T5" fmla="*/ 77118 h 166"/>
                <a:gd name="T6" fmla="*/ 5591 w 92"/>
                <a:gd name="T7" fmla="*/ 74440 h 166"/>
                <a:gd name="T8" fmla="*/ 6522 w 92"/>
                <a:gd name="T9" fmla="*/ 73369 h 166"/>
                <a:gd name="T10" fmla="*/ 7920 w 92"/>
                <a:gd name="T11" fmla="*/ 72298 h 166"/>
                <a:gd name="T12" fmla="*/ 8386 w 92"/>
                <a:gd name="T13" fmla="*/ 70692 h 166"/>
                <a:gd name="T14" fmla="*/ 8852 w 92"/>
                <a:gd name="T15" fmla="*/ 69620 h 166"/>
                <a:gd name="T16" fmla="*/ 9318 w 92"/>
                <a:gd name="T17" fmla="*/ 73905 h 166"/>
                <a:gd name="T18" fmla="*/ 11181 w 92"/>
                <a:gd name="T19" fmla="*/ 79260 h 166"/>
                <a:gd name="T20" fmla="*/ 12579 w 92"/>
                <a:gd name="T21" fmla="*/ 82473 h 166"/>
                <a:gd name="T22" fmla="*/ 13977 w 92"/>
                <a:gd name="T23" fmla="*/ 85151 h 166"/>
                <a:gd name="T24" fmla="*/ 16306 w 92"/>
                <a:gd name="T25" fmla="*/ 87293 h 166"/>
                <a:gd name="T26" fmla="*/ 18170 w 92"/>
                <a:gd name="T27" fmla="*/ 88900 h 166"/>
                <a:gd name="T28" fmla="*/ 19102 w 92"/>
                <a:gd name="T29" fmla="*/ 84616 h 166"/>
                <a:gd name="T30" fmla="*/ 19102 w 92"/>
                <a:gd name="T31" fmla="*/ 79260 h 166"/>
                <a:gd name="T32" fmla="*/ 19102 w 92"/>
                <a:gd name="T33" fmla="*/ 73369 h 166"/>
                <a:gd name="T34" fmla="*/ 19102 w 92"/>
                <a:gd name="T35" fmla="*/ 67478 h 166"/>
                <a:gd name="T36" fmla="*/ 18636 w 92"/>
                <a:gd name="T37" fmla="*/ 57303 h 166"/>
                <a:gd name="T38" fmla="*/ 18170 w 92"/>
                <a:gd name="T39" fmla="*/ 53019 h 166"/>
                <a:gd name="T40" fmla="*/ 22363 w 92"/>
                <a:gd name="T41" fmla="*/ 53554 h 166"/>
                <a:gd name="T42" fmla="*/ 26556 w 92"/>
                <a:gd name="T43" fmla="*/ 54625 h 166"/>
                <a:gd name="T44" fmla="*/ 29817 w 92"/>
                <a:gd name="T45" fmla="*/ 56232 h 166"/>
                <a:gd name="T46" fmla="*/ 33078 w 92"/>
                <a:gd name="T47" fmla="*/ 57839 h 166"/>
                <a:gd name="T48" fmla="*/ 35408 w 92"/>
                <a:gd name="T49" fmla="*/ 59445 h 166"/>
                <a:gd name="T50" fmla="*/ 38203 w 92"/>
                <a:gd name="T51" fmla="*/ 61052 h 166"/>
                <a:gd name="T52" fmla="*/ 40533 w 92"/>
                <a:gd name="T53" fmla="*/ 62123 h 166"/>
                <a:gd name="T54" fmla="*/ 42862 w 92"/>
                <a:gd name="T55" fmla="*/ 63194 h 166"/>
                <a:gd name="T56" fmla="*/ 39601 w 92"/>
                <a:gd name="T57" fmla="*/ 55161 h 166"/>
                <a:gd name="T58" fmla="*/ 37737 w 92"/>
                <a:gd name="T59" fmla="*/ 47663 h 166"/>
                <a:gd name="T60" fmla="*/ 35408 w 92"/>
                <a:gd name="T61" fmla="*/ 40166 h 166"/>
                <a:gd name="T62" fmla="*/ 34010 w 92"/>
                <a:gd name="T63" fmla="*/ 32133 h 166"/>
                <a:gd name="T64" fmla="*/ 32612 w 92"/>
                <a:gd name="T65" fmla="*/ 25170 h 166"/>
                <a:gd name="T66" fmla="*/ 31215 w 92"/>
                <a:gd name="T67" fmla="*/ 18208 h 166"/>
                <a:gd name="T68" fmla="*/ 29351 w 92"/>
                <a:gd name="T69" fmla="*/ 12317 h 166"/>
                <a:gd name="T70" fmla="*/ 27488 w 92"/>
                <a:gd name="T71" fmla="*/ 6962 h 166"/>
                <a:gd name="T72" fmla="*/ 27488 w 92"/>
                <a:gd name="T73" fmla="*/ 10175 h 166"/>
                <a:gd name="T74" fmla="*/ 27488 w 92"/>
                <a:gd name="T75" fmla="*/ 13389 h 166"/>
                <a:gd name="T76" fmla="*/ 23295 w 92"/>
                <a:gd name="T77" fmla="*/ 12317 h 166"/>
                <a:gd name="T78" fmla="*/ 19567 w 92"/>
                <a:gd name="T79" fmla="*/ 10175 h 166"/>
                <a:gd name="T80" fmla="*/ 16306 w 92"/>
                <a:gd name="T81" fmla="*/ 8033 h 166"/>
                <a:gd name="T82" fmla="*/ 13511 w 92"/>
                <a:gd name="T83" fmla="*/ 5891 h 166"/>
                <a:gd name="T84" fmla="*/ 10716 w 92"/>
                <a:gd name="T85" fmla="*/ 3749 h 166"/>
                <a:gd name="T86" fmla="*/ 7454 w 92"/>
                <a:gd name="T87" fmla="*/ 1607 h 166"/>
                <a:gd name="T88" fmla="*/ 3727 w 92"/>
                <a:gd name="T89" fmla="*/ 536 h 166"/>
                <a:gd name="T90" fmla="*/ 0 w 92"/>
                <a:gd name="T91" fmla="*/ 0 h 166"/>
                <a:gd name="T92" fmla="*/ 0 w 92"/>
                <a:gd name="T93" fmla="*/ 5355 h 166"/>
                <a:gd name="T94" fmla="*/ 0 w 92"/>
                <a:gd name="T95" fmla="*/ 10175 h 166"/>
                <a:gd name="T96" fmla="*/ 0 w 92"/>
                <a:gd name="T97" fmla="*/ 17673 h 166"/>
                <a:gd name="T98" fmla="*/ 0 w 92"/>
                <a:gd name="T99" fmla="*/ 27848 h 166"/>
                <a:gd name="T100" fmla="*/ 0 w 92"/>
                <a:gd name="T101" fmla="*/ 37488 h 166"/>
                <a:gd name="T102" fmla="*/ 0 w 92"/>
                <a:gd name="T103" fmla="*/ 43379 h 16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1" name="Freeform 336">
              <a:extLst>
                <a:ext uri="{FF2B5EF4-FFF2-40B4-BE49-F238E27FC236}">
                  <a16:creationId xmlns:a16="http://schemas.microsoft.com/office/drawing/2014/main" id="{864E7348-D881-4B49-8A67-834043BBB940}"/>
                </a:ext>
              </a:extLst>
            </p:cNvPr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8732839" y="3735388"/>
              <a:ext cx="71437" cy="55562"/>
            </a:xfrm>
            <a:custGeom>
              <a:avLst/>
              <a:gdLst>
                <a:gd name="T0" fmla="*/ 3012 w 166"/>
                <a:gd name="T1" fmla="*/ 0 h 62"/>
                <a:gd name="T2" fmla="*/ 6025 w 166"/>
                <a:gd name="T3" fmla="*/ 2688 h 62"/>
                <a:gd name="T4" fmla="*/ 9468 w 166"/>
                <a:gd name="T5" fmla="*/ 5377 h 62"/>
                <a:gd name="T6" fmla="*/ 12910 w 166"/>
                <a:gd name="T7" fmla="*/ 6273 h 62"/>
                <a:gd name="T8" fmla="*/ 15492 w 166"/>
                <a:gd name="T9" fmla="*/ 7169 h 62"/>
                <a:gd name="T10" fmla="*/ 20656 w 166"/>
                <a:gd name="T11" fmla="*/ 7169 h 62"/>
                <a:gd name="T12" fmla="*/ 24960 w 166"/>
                <a:gd name="T13" fmla="*/ 6273 h 62"/>
                <a:gd name="T14" fmla="*/ 29694 w 166"/>
                <a:gd name="T15" fmla="*/ 4481 h 62"/>
                <a:gd name="T16" fmla="*/ 34427 w 166"/>
                <a:gd name="T17" fmla="*/ 2688 h 62"/>
                <a:gd name="T18" fmla="*/ 39592 w 166"/>
                <a:gd name="T19" fmla="*/ 896 h 62"/>
                <a:gd name="T20" fmla="*/ 45616 w 166"/>
                <a:gd name="T21" fmla="*/ 0 h 62"/>
                <a:gd name="T22" fmla="*/ 47768 w 166"/>
                <a:gd name="T23" fmla="*/ 896 h 62"/>
                <a:gd name="T24" fmla="*/ 49489 w 166"/>
                <a:gd name="T25" fmla="*/ 1792 h 62"/>
                <a:gd name="T26" fmla="*/ 51641 w 166"/>
                <a:gd name="T27" fmla="*/ 4481 h 62"/>
                <a:gd name="T28" fmla="*/ 53363 w 166"/>
                <a:gd name="T29" fmla="*/ 7169 h 62"/>
                <a:gd name="T30" fmla="*/ 56805 w 166"/>
                <a:gd name="T31" fmla="*/ 15235 h 62"/>
                <a:gd name="T32" fmla="*/ 59387 w 166"/>
                <a:gd name="T33" fmla="*/ 23300 h 62"/>
                <a:gd name="T34" fmla="*/ 62400 w 166"/>
                <a:gd name="T35" fmla="*/ 32262 h 62"/>
                <a:gd name="T36" fmla="*/ 64982 w 166"/>
                <a:gd name="T37" fmla="*/ 40327 h 62"/>
                <a:gd name="T38" fmla="*/ 66703 w 166"/>
                <a:gd name="T39" fmla="*/ 43912 h 62"/>
                <a:gd name="T40" fmla="*/ 67994 w 166"/>
                <a:gd name="T41" fmla="*/ 46600 h 62"/>
                <a:gd name="T42" fmla="*/ 69716 w 166"/>
                <a:gd name="T43" fmla="*/ 48393 h 62"/>
                <a:gd name="T44" fmla="*/ 71437 w 166"/>
                <a:gd name="T45" fmla="*/ 50185 h 62"/>
                <a:gd name="T46" fmla="*/ 68425 w 166"/>
                <a:gd name="T47" fmla="*/ 51081 h 62"/>
                <a:gd name="T48" fmla="*/ 64982 w 166"/>
                <a:gd name="T49" fmla="*/ 52874 h 62"/>
                <a:gd name="T50" fmla="*/ 61539 w 166"/>
                <a:gd name="T51" fmla="*/ 54666 h 62"/>
                <a:gd name="T52" fmla="*/ 57236 w 166"/>
                <a:gd name="T53" fmla="*/ 55562 h 62"/>
                <a:gd name="T54" fmla="*/ 53793 w 166"/>
                <a:gd name="T55" fmla="*/ 54666 h 62"/>
                <a:gd name="T56" fmla="*/ 51211 w 166"/>
                <a:gd name="T57" fmla="*/ 51977 h 62"/>
                <a:gd name="T58" fmla="*/ 48198 w 166"/>
                <a:gd name="T59" fmla="*/ 48393 h 62"/>
                <a:gd name="T60" fmla="*/ 45616 w 166"/>
                <a:gd name="T61" fmla="*/ 44808 h 62"/>
                <a:gd name="T62" fmla="*/ 43034 w 166"/>
                <a:gd name="T63" fmla="*/ 40327 h 62"/>
                <a:gd name="T64" fmla="*/ 40022 w 166"/>
                <a:gd name="T65" fmla="*/ 36743 h 62"/>
                <a:gd name="T66" fmla="*/ 37440 w 166"/>
                <a:gd name="T67" fmla="*/ 34950 h 62"/>
                <a:gd name="T68" fmla="*/ 33997 w 166"/>
                <a:gd name="T69" fmla="*/ 34054 h 62"/>
                <a:gd name="T70" fmla="*/ 24099 w 166"/>
                <a:gd name="T71" fmla="*/ 34054 h 62"/>
                <a:gd name="T72" fmla="*/ 15062 w 166"/>
                <a:gd name="T73" fmla="*/ 34950 h 62"/>
                <a:gd name="T74" fmla="*/ 11189 w 166"/>
                <a:gd name="T75" fmla="*/ 36743 h 62"/>
                <a:gd name="T76" fmla="*/ 8177 w 166"/>
                <a:gd name="T77" fmla="*/ 38535 h 62"/>
                <a:gd name="T78" fmla="*/ 5164 w 166"/>
                <a:gd name="T79" fmla="*/ 41223 h 62"/>
                <a:gd name="T80" fmla="*/ 3012 w 166"/>
                <a:gd name="T81" fmla="*/ 44808 h 62"/>
                <a:gd name="T82" fmla="*/ 861 w 166"/>
                <a:gd name="T83" fmla="*/ 40327 h 62"/>
                <a:gd name="T84" fmla="*/ 430 w 166"/>
                <a:gd name="T85" fmla="*/ 35846 h 62"/>
                <a:gd name="T86" fmla="*/ 0 w 166"/>
                <a:gd name="T87" fmla="*/ 30469 h 62"/>
                <a:gd name="T88" fmla="*/ 430 w 166"/>
                <a:gd name="T89" fmla="*/ 25093 h 62"/>
                <a:gd name="T90" fmla="*/ 1721 w 166"/>
                <a:gd name="T91" fmla="*/ 13442 h 62"/>
                <a:gd name="T92" fmla="*/ 3012 w 166"/>
                <a:gd name="T93" fmla="*/ 0 h 6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2" name="Freeform 337">
              <a:extLst>
                <a:ext uri="{FF2B5EF4-FFF2-40B4-BE49-F238E27FC236}">
                  <a16:creationId xmlns:a16="http://schemas.microsoft.com/office/drawing/2014/main" id="{1455D9C4-5F17-41B9-A3DF-06B5685954DF}"/>
                </a:ext>
              </a:extLst>
            </p:cNvPr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8809039" y="3659188"/>
              <a:ext cx="85725" cy="63500"/>
            </a:xfrm>
            <a:custGeom>
              <a:avLst/>
              <a:gdLst>
                <a:gd name="T0" fmla="*/ 14658 w 193"/>
                <a:gd name="T1" fmla="*/ 18368 h 121"/>
                <a:gd name="T2" fmla="*/ 21320 w 193"/>
                <a:gd name="T3" fmla="*/ 13120 h 121"/>
                <a:gd name="T4" fmla="*/ 30204 w 193"/>
                <a:gd name="T5" fmla="*/ 6298 h 121"/>
                <a:gd name="T6" fmla="*/ 37310 w 193"/>
                <a:gd name="T7" fmla="*/ 2099 h 121"/>
                <a:gd name="T8" fmla="*/ 41752 w 193"/>
                <a:gd name="T9" fmla="*/ 525 h 121"/>
                <a:gd name="T10" fmla="*/ 46638 w 193"/>
                <a:gd name="T11" fmla="*/ 525 h 121"/>
                <a:gd name="T12" fmla="*/ 51524 w 193"/>
                <a:gd name="T13" fmla="*/ 1574 h 121"/>
                <a:gd name="T14" fmla="*/ 58186 w 193"/>
                <a:gd name="T15" fmla="*/ 5248 h 121"/>
                <a:gd name="T16" fmla="*/ 65737 w 193"/>
                <a:gd name="T17" fmla="*/ 11021 h 121"/>
                <a:gd name="T18" fmla="*/ 71956 w 193"/>
                <a:gd name="T19" fmla="*/ 14694 h 121"/>
                <a:gd name="T20" fmla="*/ 76842 w 193"/>
                <a:gd name="T21" fmla="*/ 15744 h 121"/>
                <a:gd name="T22" fmla="*/ 79507 w 193"/>
                <a:gd name="T23" fmla="*/ 25190 h 121"/>
                <a:gd name="T24" fmla="*/ 79062 w 193"/>
                <a:gd name="T25" fmla="*/ 34636 h 121"/>
                <a:gd name="T26" fmla="*/ 80839 w 193"/>
                <a:gd name="T27" fmla="*/ 39360 h 121"/>
                <a:gd name="T28" fmla="*/ 83060 w 193"/>
                <a:gd name="T29" fmla="*/ 46707 h 121"/>
                <a:gd name="T30" fmla="*/ 83504 w 193"/>
                <a:gd name="T31" fmla="*/ 53529 h 121"/>
                <a:gd name="T32" fmla="*/ 84837 w 193"/>
                <a:gd name="T33" fmla="*/ 57202 h 121"/>
                <a:gd name="T34" fmla="*/ 83504 w 193"/>
                <a:gd name="T35" fmla="*/ 59826 h 121"/>
                <a:gd name="T36" fmla="*/ 78618 w 193"/>
                <a:gd name="T37" fmla="*/ 61926 h 121"/>
                <a:gd name="T38" fmla="*/ 70623 w 193"/>
                <a:gd name="T39" fmla="*/ 63500 h 121"/>
                <a:gd name="T40" fmla="*/ 51524 w 193"/>
                <a:gd name="T41" fmla="*/ 62450 h 121"/>
                <a:gd name="T42" fmla="*/ 31980 w 193"/>
                <a:gd name="T43" fmla="*/ 60876 h 121"/>
                <a:gd name="T44" fmla="*/ 27983 w 193"/>
                <a:gd name="T45" fmla="*/ 57727 h 121"/>
                <a:gd name="T46" fmla="*/ 24874 w 193"/>
                <a:gd name="T47" fmla="*/ 52479 h 121"/>
                <a:gd name="T48" fmla="*/ 23985 w 193"/>
                <a:gd name="T49" fmla="*/ 45657 h 121"/>
                <a:gd name="T50" fmla="*/ 20876 w 193"/>
                <a:gd name="T51" fmla="*/ 41459 h 121"/>
                <a:gd name="T52" fmla="*/ 13769 w 193"/>
                <a:gd name="T53" fmla="*/ 39360 h 121"/>
                <a:gd name="T54" fmla="*/ 5774 w 193"/>
                <a:gd name="T55" fmla="*/ 36211 h 121"/>
                <a:gd name="T56" fmla="*/ 1333 w 193"/>
                <a:gd name="T57" fmla="*/ 32537 h 121"/>
                <a:gd name="T58" fmla="*/ 0 w 193"/>
                <a:gd name="T59" fmla="*/ 30438 h 121"/>
                <a:gd name="T60" fmla="*/ 444 w 193"/>
                <a:gd name="T61" fmla="*/ 26764 h 121"/>
                <a:gd name="T62" fmla="*/ 3109 w 193"/>
                <a:gd name="T63" fmla="*/ 23616 h 121"/>
                <a:gd name="T64" fmla="*/ 8883 w 193"/>
                <a:gd name="T65" fmla="*/ 19942 h 12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3" name="Freeform 338">
              <a:extLst>
                <a:ext uri="{FF2B5EF4-FFF2-40B4-BE49-F238E27FC236}">
                  <a16:creationId xmlns:a16="http://schemas.microsoft.com/office/drawing/2014/main" id="{CC52D768-4281-47CA-93D1-B5B77B7134F3}"/>
                </a:ext>
              </a:extLst>
            </p:cNvPr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8497889" y="3597275"/>
              <a:ext cx="166687" cy="230188"/>
            </a:xfrm>
            <a:custGeom>
              <a:avLst/>
              <a:gdLst>
                <a:gd name="T0" fmla="*/ 16273 w 379"/>
                <a:gd name="T1" fmla="*/ 220707 h 437"/>
                <a:gd name="T2" fmla="*/ 20231 w 379"/>
                <a:gd name="T3" fmla="*/ 214386 h 437"/>
                <a:gd name="T4" fmla="*/ 10555 w 379"/>
                <a:gd name="T5" fmla="*/ 163818 h 437"/>
                <a:gd name="T6" fmla="*/ 880 w 379"/>
                <a:gd name="T7" fmla="*/ 154863 h 437"/>
                <a:gd name="T8" fmla="*/ 6597 w 379"/>
                <a:gd name="T9" fmla="*/ 142221 h 437"/>
                <a:gd name="T10" fmla="*/ 13634 w 379"/>
                <a:gd name="T11" fmla="*/ 116411 h 437"/>
                <a:gd name="T12" fmla="*/ 17152 w 379"/>
                <a:gd name="T13" fmla="*/ 90600 h 437"/>
                <a:gd name="T14" fmla="*/ 25069 w 379"/>
                <a:gd name="T15" fmla="*/ 83753 h 437"/>
                <a:gd name="T16" fmla="*/ 28587 w 379"/>
                <a:gd name="T17" fmla="*/ 68477 h 437"/>
                <a:gd name="T18" fmla="*/ 33425 w 379"/>
                <a:gd name="T19" fmla="*/ 41086 h 437"/>
                <a:gd name="T20" fmla="*/ 39583 w 379"/>
                <a:gd name="T21" fmla="*/ 26864 h 437"/>
                <a:gd name="T22" fmla="*/ 50578 w 379"/>
                <a:gd name="T23" fmla="*/ 16329 h 437"/>
                <a:gd name="T24" fmla="*/ 67291 w 379"/>
                <a:gd name="T25" fmla="*/ 13169 h 437"/>
                <a:gd name="T26" fmla="*/ 95438 w 379"/>
                <a:gd name="T27" fmla="*/ 20016 h 437"/>
                <a:gd name="T28" fmla="*/ 115230 w 379"/>
                <a:gd name="T29" fmla="*/ 25284 h 437"/>
                <a:gd name="T30" fmla="*/ 133262 w 379"/>
                <a:gd name="T31" fmla="*/ 23704 h 437"/>
                <a:gd name="T32" fmla="*/ 144697 w 379"/>
                <a:gd name="T33" fmla="*/ 16329 h 437"/>
                <a:gd name="T34" fmla="*/ 156571 w 379"/>
                <a:gd name="T35" fmla="*/ 3687 h 437"/>
                <a:gd name="T36" fmla="*/ 164488 w 379"/>
                <a:gd name="T37" fmla="*/ 4741 h 437"/>
                <a:gd name="T38" fmla="*/ 163608 w 379"/>
                <a:gd name="T39" fmla="*/ 18436 h 437"/>
                <a:gd name="T40" fmla="*/ 144697 w 379"/>
                <a:gd name="T41" fmla="*/ 42140 h 437"/>
                <a:gd name="T42" fmla="*/ 128424 w 379"/>
                <a:gd name="T43" fmla="*/ 51094 h 437"/>
                <a:gd name="T44" fmla="*/ 119188 w 379"/>
                <a:gd name="T45" fmla="*/ 49514 h 437"/>
                <a:gd name="T46" fmla="*/ 104674 w 379"/>
                <a:gd name="T47" fmla="*/ 36345 h 437"/>
                <a:gd name="T48" fmla="*/ 93239 w 379"/>
                <a:gd name="T49" fmla="*/ 29498 h 437"/>
                <a:gd name="T50" fmla="*/ 77846 w 379"/>
                <a:gd name="T51" fmla="*/ 29498 h 437"/>
                <a:gd name="T52" fmla="*/ 60693 w 379"/>
                <a:gd name="T53" fmla="*/ 32132 h 437"/>
                <a:gd name="T54" fmla="*/ 50138 w 379"/>
                <a:gd name="T55" fmla="*/ 41613 h 437"/>
                <a:gd name="T56" fmla="*/ 34745 w 379"/>
                <a:gd name="T57" fmla="*/ 84806 h 437"/>
                <a:gd name="T58" fmla="*/ 52337 w 379"/>
                <a:gd name="T59" fmla="*/ 89020 h 437"/>
                <a:gd name="T60" fmla="*/ 58494 w 379"/>
                <a:gd name="T61" fmla="*/ 100608 h 437"/>
                <a:gd name="T62" fmla="*/ 68170 w 379"/>
                <a:gd name="T63" fmla="*/ 88493 h 437"/>
                <a:gd name="T64" fmla="*/ 75647 w 379"/>
                <a:gd name="T65" fmla="*/ 80592 h 437"/>
                <a:gd name="T66" fmla="*/ 97197 w 379"/>
                <a:gd name="T67" fmla="*/ 79012 h 437"/>
                <a:gd name="T68" fmla="*/ 109952 w 379"/>
                <a:gd name="T69" fmla="*/ 77432 h 437"/>
                <a:gd name="T70" fmla="*/ 120067 w 379"/>
                <a:gd name="T71" fmla="*/ 91127 h 437"/>
                <a:gd name="T72" fmla="*/ 122706 w 379"/>
                <a:gd name="T73" fmla="*/ 106929 h 437"/>
                <a:gd name="T74" fmla="*/ 108193 w 379"/>
                <a:gd name="T75" fmla="*/ 101135 h 437"/>
                <a:gd name="T76" fmla="*/ 95878 w 379"/>
                <a:gd name="T77" fmla="*/ 97448 h 437"/>
                <a:gd name="T78" fmla="*/ 84443 w 379"/>
                <a:gd name="T79" fmla="*/ 102715 h 437"/>
                <a:gd name="T80" fmla="*/ 81804 w 379"/>
                <a:gd name="T81" fmla="*/ 110090 h 437"/>
                <a:gd name="T82" fmla="*/ 84443 w 379"/>
                <a:gd name="T83" fmla="*/ 122732 h 437"/>
                <a:gd name="T84" fmla="*/ 96758 w 379"/>
                <a:gd name="T85" fmla="*/ 143275 h 437"/>
                <a:gd name="T86" fmla="*/ 98957 w 379"/>
                <a:gd name="T87" fmla="*/ 155917 h 437"/>
                <a:gd name="T88" fmla="*/ 94559 w 379"/>
                <a:gd name="T89" fmla="*/ 169612 h 437"/>
                <a:gd name="T90" fmla="*/ 90161 w 379"/>
                <a:gd name="T91" fmla="*/ 181727 h 437"/>
                <a:gd name="T92" fmla="*/ 92360 w 379"/>
                <a:gd name="T93" fmla="*/ 187522 h 437"/>
                <a:gd name="T94" fmla="*/ 103795 w 379"/>
                <a:gd name="T95" fmla="*/ 193843 h 437"/>
                <a:gd name="T96" fmla="*/ 110831 w 379"/>
                <a:gd name="T97" fmla="*/ 210698 h 437"/>
                <a:gd name="T98" fmla="*/ 105114 w 379"/>
                <a:gd name="T99" fmla="*/ 225974 h 437"/>
                <a:gd name="T100" fmla="*/ 97197 w 379"/>
                <a:gd name="T101" fmla="*/ 221760 h 437"/>
                <a:gd name="T102" fmla="*/ 88841 w 379"/>
                <a:gd name="T103" fmla="*/ 219653 h 437"/>
                <a:gd name="T104" fmla="*/ 77846 w 379"/>
                <a:gd name="T105" fmla="*/ 210698 h 437"/>
                <a:gd name="T106" fmla="*/ 67291 w 379"/>
                <a:gd name="T107" fmla="*/ 187522 h 437"/>
                <a:gd name="T108" fmla="*/ 60254 w 379"/>
                <a:gd name="T109" fmla="*/ 160131 h 437"/>
                <a:gd name="T110" fmla="*/ 50138 w 379"/>
                <a:gd name="T111" fmla="*/ 138534 h 437"/>
                <a:gd name="T112" fmla="*/ 42661 w 379"/>
                <a:gd name="T113" fmla="*/ 136427 h 437"/>
                <a:gd name="T114" fmla="*/ 46180 w 379"/>
                <a:gd name="T115" fmla="*/ 200690 h 437"/>
                <a:gd name="T116" fmla="*/ 40902 w 379"/>
                <a:gd name="T117" fmla="*/ 212805 h 437"/>
                <a:gd name="T118" fmla="*/ 25069 w 379"/>
                <a:gd name="T119" fmla="*/ 224394 h 437"/>
                <a:gd name="T120" fmla="*/ 25949 w 379"/>
                <a:gd name="T121" fmla="*/ 230188 h 43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4" name="Freeform 339">
              <a:extLst>
                <a:ext uri="{FF2B5EF4-FFF2-40B4-BE49-F238E27FC236}">
                  <a16:creationId xmlns:a16="http://schemas.microsoft.com/office/drawing/2014/main" id="{64B741B0-CD07-4A5D-94EF-364E050E5778}"/>
                </a:ext>
              </a:extLst>
            </p:cNvPr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8162926" y="3838575"/>
              <a:ext cx="250825" cy="95250"/>
            </a:xfrm>
            <a:custGeom>
              <a:avLst/>
              <a:gdLst>
                <a:gd name="T0" fmla="*/ 4773 w 578"/>
                <a:gd name="T1" fmla="*/ 25883 h 184"/>
                <a:gd name="T2" fmla="*/ 10415 w 578"/>
                <a:gd name="T3" fmla="*/ 16565 h 184"/>
                <a:gd name="T4" fmla="*/ 17792 w 578"/>
                <a:gd name="T5" fmla="*/ 3624 h 184"/>
                <a:gd name="T6" fmla="*/ 23433 w 578"/>
                <a:gd name="T7" fmla="*/ 0 h 184"/>
                <a:gd name="T8" fmla="*/ 34282 w 578"/>
                <a:gd name="T9" fmla="*/ 1035 h 184"/>
                <a:gd name="T10" fmla="*/ 41226 w 578"/>
                <a:gd name="T11" fmla="*/ 1035 h 184"/>
                <a:gd name="T12" fmla="*/ 43829 w 578"/>
                <a:gd name="T13" fmla="*/ 2588 h 184"/>
                <a:gd name="T14" fmla="*/ 49905 w 578"/>
                <a:gd name="T15" fmla="*/ 7765 h 184"/>
                <a:gd name="T16" fmla="*/ 63791 w 578"/>
                <a:gd name="T17" fmla="*/ 13977 h 184"/>
                <a:gd name="T18" fmla="*/ 72904 w 578"/>
                <a:gd name="T19" fmla="*/ 19154 h 184"/>
                <a:gd name="T20" fmla="*/ 77244 w 578"/>
                <a:gd name="T21" fmla="*/ 27436 h 184"/>
                <a:gd name="T22" fmla="*/ 83319 w 578"/>
                <a:gd name="T23" fmla="*/ 31577 h 184"/>
                <a:gd name="T24" fmla="*/ 100243 w 578"/>
                <a:gd name="T25" fmla="*/ 31060 h 184"/>
                <a:gd name="T26" fmla="*/ 120205 w 578"/>
                <a:gd name="T27" fmla="*/ 26401 h 184"/>
                <a:gd name="T28" fmla="*/ 129752 w 578"/>
                <a:gd name="T29" fmla="*/ 20189 h 184"/>
                <a:gd name="T30" fmla="*/ 136261 w 578"/>
                <a:gd name="T31" fmla="*/ 17601 h 184"/>
                <a:gd name="T32" fmla="*/ 141903 w 578"/>
                <a:gd name="T33" fmla="*/ 18118 h 184"/>
                <a:gd name="T34" fmla="*/ 147110 w 578"/>
                <a:gd name="T35" fmla="*/ 16048 h 184"/>
                <a:gd name="T36" fmla="*/ 158827 w 578"/>
                <a:gd name="T37" fmla="*/ 17601 h 184"/>
                <a:gd name="T38" fmla="*/ 173147 w 578"/>
                <a:gd name="T39" fmla="*/ 30542 h 184"/>
                <a:gd name="T40" fmla="*/ 185732 w 578"/>
                <a:gd name="T41" fmla="*/ 46072 h 184"/>
                <a:gd name="T42" fmla="*/ 197883 w 578"/>
                <a:gd name="T43" fmla="*/ 54355 h 184"/>
                <a:gd name="T44" fmla="*/ 207864 w 578"/>
                <a:gd name="T45" fmla="*/ 55390 h 184"/>
                <a:gd name="T46" fmla="*/ 213939 w 578"/>
                <a:gd name="T47" fmla="*/ 55908 h 184"/>
                <a:gd name="T48" fmla="*/ 219146 w 578"/>
                <a:gd name="T49" fmla="*/ 64708 h 184"/>
                <a:gd name="T50" fmla="*/ 226524 w 578"/>
                <a:gd name="T51" fmla="*/ 72473 h 184"/>
                <a:gd name="T52" fmla="*/ 231731 w 578"/>
                <a:gd name="T53" fmla="*/ 71955 h 184"/>
                <a:gd name="T54" fmla="*/ 236938 w 578"/>
                <a:gd name="T55" fmla="*/ 66261 h 184"/>
                <a:gd name="T56" fmla="*/ 242146 w 578"/>
                <a:gd name="T57" fmla="*/ 69367 h 184"/>
                <a:gd name="T58" fmla="*/ 247787 w 578"/>
                <a:gd name="T59" fmla="*/ 75061 h 184"/>
                <a:gd name="T60" fmla="*/ 250825 w 578"/>
                <a:gd name="T61" fmla="*/ 82826 h 184"/>
                <a:gd name="T62" fmla="*/ 249523 w 578"/>
                <a:gd name="T63" fmla="*/ 89556 h 184"/>
                <a:gd name="T64" fmla="*/ 246052 w 578"/>
                <a:gd name="T65" fmla="*/ 94215 h 184"/>
                <a:gd name="T66" fmla="*/ 239108 w 578"/>
                <a:gd name="T67" fmla="*/ 92144 h 184"/>
                <a:gd name="T68" fmla="*/ 228259 w 578"/>
                <a:gd name="T69" fmla="*/ 88003 h 184"/>
                <a:gd name="T70" fmla="*/ 213071 w 578"/>
                <a:gd name="T71" fmla="*/ 89038 h 184"/>
                <a:gd name="T72" fmla="*/ 200486 w 578"/>
                <a:gd name="T73" fmla="*/ 88003 h 184"/>
                <a:gd name="T74" fmla="*/ 195713 w 578"/>
                <a:gd name="T75" fmla="*/ 82826 h 184"/>
                <a:gd name="T76" fmla="*/ 190072 w 578"/>
                <a:gd name="T77" fmla="*/ 79720 h 184"/>
                <a:gd name="T78" fmla="*/ 184864 w 578"/>
                <a:gd name="T79" fmla="*/ 82826 h 184"/>
                <a:gd name="T80" fmla="*/ 180525 w 578"/>
                <a:gd name="T81" fmla="*/ 88003 h 184"/>
                <a:gd name="T82" fmla="*/ 172713 w 578"/>
                <a:gd name="T83" fmla="*/ 88520 h 184"/>
                <a:gd name="T84" fmla="*/ 142337 w 578"/>
                <a:gd name="T85" fmla="*/ 79202 h 184"/>
                <a:gd name="T86" fmla="*/ 120205 w 578"/>
                <a:gd name="T87" fmla="*/ 68332 h 184"/>
                <a:gd name="T88" fmla="*/ 115432 w 578"/>
                <a:gd name="T89" fmla="*/ 63673 h 184"/>
                <a:gd name="T90" fmla="*/ 99809 w 578"/>
                <a:gd name="T91" fmla="*/ 61602 h 184"/>
                <a:gd name="T92" fmla="*/ 87225 w 578"/>
                <a:gd name="T93" fmla="*/ 58496 h 184"/>
                <a:gd name="T94" fmla="*/ 72904 w 578"/>
                <a:gd name="T95" fmla="*/ 57461 h 184"/>
                <a:gd name="T96" fmla="*/ 63357 w 578"/>
                <a:gd name="T97" fmla="*/ 57461 h 184"/>
                <a:gd name="T98" fmla="*/ 53810 w 578"/>
                <a:gd name="T99" fmla="*/ 54355 h 184"/>
                <a:gd name="T100" fmla="*/ 52074 w 578"/>
                <a:gd name="T101" fmla="*/ 51249 h 184"/>
                <a:gd name="T102" fmla="*/ 29943 w 578"/>
                <a:gd name="T103" fmla="*/ 50213 h 184"/>
                <a:gd name="T104" fmla="*/ 19962 w 578"/>
                <a:gd name="T105" fmla="*/ 45554 h 184"/>
                <a:gd name="T106" fmla="*/ 0 w 578"/>
                <a:gd name="T107" fmla="*/ 28471 h 18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5" name="Freeform 340">
              <a:extLst>
                <a:ext uri="{FF2B5EF4-FFF2-40B4-BE49-F238E27FC236}">
                  <a16:creationId xmlns:a16="http://schemas.microsoft.com/office/drawing/2014/main" id="{4836755E-DA43-4A21-8A56-2479C125FC1E}"/>
                </a:ext>
              </a:extLst>
            </p:cNvPr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8843963" y="3695701"/>
              <a:ext cx="214312" cy="252413"/>
            </a:xfrm>
            <a:custGeom>
              <a:avLst/>
              <a:gdLst>
                <a:gd name="T0" fmla="*/ 210384 w 491"/>
                <a:gd name="T1" fmla="*/ 251363 h 481"/>
                <a:gd name="T2" fmla="*/ 199472 w 491"/>
                <a:gd name="T3" fmla="*/ 244017 h 481"/>
                <a:gd name="T4" fmla="*/ 184195 w 491"/>
                <a:gd name="T5" fmla="*/ 227749 h 481"/>
                <a:gd name="T6" fmla="*/ 179830 w 491"/>
                <a:gd name="T7" fmla="*/ 218828 h 481"/>
                <a:gd name="T8" fmla="*/ 164117 w 491"/>
                <a:gd name="T9" fmla="*/ 215155 h 481"/>
                <a:gd name="T10" fmla="*/ 157133 w 491"/>
                <a:gd name="T11" fmla="*/ 213055 h 481"/>
                <a:gd name="T12" fmla="*/ 152768 w 491"/>
                <a:gd name="T13" fmla="*/ 207808 h 481"/>
                <a:gd name="T14" fmla="*/ 151022 w 491"/>
                <a:gd name="T15" fmla="*/ 196263 h 481"/>
                <a:gd name="T16" fmla="*/ 149276 w 491"/>
                <a:gd name="T17" fmla="*/ 174223 h 481"/>
                <a:gd name="T18" fmla="*/ 142729 w 491"/>
                <a:gd name="T19" fmla="*/ 159004 h 481"/>
                <a:gd name="T20" fmla="*/ 139237 w 491"/>
                <a:gd name="T21" fmla="*/ 145361 h 481"/>
                <a:gd name="T22" fmla="*/ 137055 w 491"/>
                <a:gd name="T23" fmla="*/ 128043 h 481"/>
                <a:gd name="T24" fmla="*/ 127452 w 491"/>
                <a:gd name="T25" fmla="*/ 117023 h 481"/>
                <a:gd name="T26" fmla="*/ 113485 w 491"/>
                <a:gd name="T27" fmla="*/ 107577 h 481"/>
                <a:gd name="T28" fmla="*/ 96462 w 491"/>
                <a:gd name="T29" fmla="*/ 99706 h 481"/>
                <a:gd name="T30" fmla="*/ 77694 w 491"/>
                <a:gd name="T31" fmla="*/ 94983 h 481"/>
                <a:gd name="T32" fmla="*/ 58052 w 491"/>
                <a:gd name="T33" fmla="*/ 93409 h 481"/>
                <a:gd name="T34" fmla="*/ 58052 w 491"/>
                <a:gd name="T35" fmla="*/ 81864 h 481"/>
                <a:gd name="T36" fmla="*/ 48013 w 491"/>
                <a:gd name="T37" fmla="*/ 76091 h 481"/>
                <a:gd name="T38" fmla="*/ 37101 w 491"/>
                <a:gd name="T39" fmla="*/ 68220 h 481"/>
                <a:gd name="T40" fmla="*/ 28808 w 491"/>
                <a:gd name="T41" fmla="*/ 58249 h 481"/>
                <a:gd name="T42" fmla="*/ 31863 w 491"/>
                <a:gd name="T43" fmla="*/ 69794 h 481"/>
                <a:gd name="T44" fmla="*/ 23570 w 491"/>
                <a:gd name="T45" fmla="*/ 77141 h 481"/>
                <a:gd name="T46" fmla="*/ 17459 w 491"/>
                <a:gd name="T47" fmla="*/ 93409 h 481"/>
                <a:gd name="T48" fmla="*/ 10476 w 491"/>
                <a:gd name="T49" fmla="*/ 115449 h 481"/>
                <a:gd name="T50" fmla="*/ 5674 w 491"/>
                <a:gd name="T51" fmla="*/ 139063 h 481"/>
                <a:gd name="T52" fmla="*/ 6111 w 491"/>
                <a:gd name="T53" fmla="*/ 124370 h 481"/>
                <a:gd name="T54" fmla="*/ 10039 w 491"/>
                <a:gd name="T55" fmla="*/ 109676 h 481"/>
                <a:gd name="T56" fmla="*/ 13967 w 491"/>
                <a:gd name="T57" fmla="*/ 94983 h 481"/>
                <a:gd name="T58" fmla="*/ 13094 w 491"/>
                <a:gd name="T59" fmla="*/ 75042 h 481"/>
                <a:gd name="T60" fmla="*/ 7420 w 491"/>
                <a:gd name="T61" fmla="*/ 58249 h 481"/>
                <a:gd name="T62" fmla="*/ 0 w 491"/>
                <a:gd name="T63" fmla="*/ 38308 h 481"/>
                <a:gd name="T64" fmla="*/ 14840 w 491"/>
                <a:gd name="T65" fmla="*/ 30961 h 481"/>
                <a:gd name="T66" fmla="*/ 25752 w 491"/>
                <a:gd name="T67" fmla="*/ 28862 h 481"/>
                <a:gd name="T68" fmla="*/ 36664 w 491"/>
                <a:gd name="T69" fmla="*/ 30436 h 481"/>
                <a:gd name="T70" fmla="*/ 44521 w 491"/>
                <a:gd name="T71" fmla="*/ 34635 h 481"/>
                <a:gd name="T72" fmla="*/ 52814 w 491"/>
                <a:gd name="T73" fmla="*/ 43031 h 481"/>
                <a:gd name="T74" fmla="*/ 61107 w 491"/>
                <a:gd name="T75" fmla="*/ 58249 h 481"/>
                <a:gd name="T76" fmla="*/ 79876 w 491"/>
                <a:gd name="T77" fmla="*/ 54051 h 481"/>
                <a:gd name="T78" fmla="*/ 85550 w 491"/>
                <a:gd name="T79" fmla="*/ 50378 h 481"/>
                <a:gd name="T80" fmla="*/ 87296 w 491"/>
                <a:gd name="T81" fmla="*/ 47229 h 481"/>
                <a:gd name="T82" fmla="*/ 90351 w 491"/>
                <a:gd name="T83" fmla="*/ 38308 h 481"/>
                <a:gd name="T84" fmla="*/ 101264 w 491"/>
                <a:gd name="T85" fmla="*/ 28337 h 481"/>
                <a:gd name="T86" fmla="*/ 110866 w 491"/>
                <a:gd name="T87" fmla="*/ 25714 h 481"/>
                <a:gd name="T88" fmla="*/ 114794 w 491"/>
                <a:gd name="T89" fmla="*/ 15743 h 481"/>
                <a:gd name="T90" fmla="*/ 122215 w 491"/>
                <a:gd name="T91" fmla="*/ 4723 h 481"/>
                <a:gd name="T92" fmla="*/ 130944 w 491"/>
                <a:gd name="T93" fmla="*/ 525 h 481"/>
                <a:gd name="T94" fmla="*/ 140983 w 491"/>
                <a:gd name="T95" fmla="*/ 0 h 481"/>
                <a:gd name="T96" fmla="*/ 153205 w 491"/>
                <a:gd name="T97" fmla="*/ 4198 h 481"/>
                <a:gd name="T98" fmla="*/ 174156 w 491"/>
                <a:gd name="T99" fmla="*/ 19941 h 481"/>
                <a:gd name="T100" fmla="*/ 186814 w 491"/>
                <a:gd name="T101" fmla="*/ 27813 h 481"/>
                <a:gd name="T102" fmla="*/ 200345 w 491"/>
                <a:gd name="T103" fmla="*/ 31486 h 481"/>
                <a:gd name="T104" fmla="*/ 214312 w 491"/>
                <a:gd name="T105" fmla="*/ 35159 h 481"/>
                <a:gd name="T106" fmla="*/ 214312 w 491"/>
                <a:gd name="T107" fmla="*/ 171074 h 48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6" name="Freeform 341">
              <a:extLst>
                <a:ext uri="{FF2B5EF4-FFF2-40B4-BE49-F238E27FC236}">
                  <a16:creationId xmlns:a16="http://schemas.microsoft.com/office/drawing/2014/main" id="{FD142F86-28EC-4112-96A0-F0D0DD1FAA28}"/>
                </a:ext>
              </a:extLst>
            </p:cNvPr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7375526" y="2527301"/>
              <a:ext cx="53975" cy="60325"/>
            </a:xfrm>
            <a:custGeom>
              <a:avLst/>
              <a:gdLst>
                <a:gd name="T0" fmla="*/ 0 w 133"/>
                <a:gd name="T1" fmla="*/ 9796 h 117"/>
                <a:gd name="T2" fmla="*/ 29220 w 133"/>
                <a:gd name="T3" fmla="*/ 0 h 117"/>
                <a:gd name="T4" fmla="*/ 32872 w 133"/>
                <a:gd name="T5" fmla="*/ 3094 h 117"/>
                <a:gd name="T6" fmla="*/ 36930 w 133"/>
                <a:gd name="T7" fmla="*/ 7218 h 117"/>
                <a:gd name="T8" fmla="*/ 40989 w 133"/>
                <a:gd name="T9" fmla="*/ 12890 h 117"/>
                <a:gd name="T10" fmla="*/ 44235 w 133"/>
                <a:gd name="T11" fmla="*/ 19077 h 117"/>
                <a:gd name="T12" fmla="*/ 47888 w 133"/>
                <a:gd name="T13" fmla="*/ 25264 h 117"/>
                <a:gd name="T14" fmla="*/ 51134 w 133"/>
                <a:gd name="T15" fmla="*/ 31967 h 117"/>
                <a:gd name="T16" fmla="*/ 51946 w 133"/>
                <a:gd name="T17" fmla="*/ 35061 h 117"/>
                <a:gd name="T18" fmla="*/ 52758 w 133"/>
                <a:gd name="T19" fmla="*/ 38154 h 117"/>
                <a:gd name="T20" fmla="*/ 53163 w 133"/>
                <a:gd name="T21" fmla="*/ 41248 h 117"/>
                <a:gd name="T22" fmla="*/ 53975 w 133"/>
                <a:gd name="T23" fmla="*/ 44341 h 117"/>
                <a:gd name="T24" fmla="*/ 53163 w 133"/>
                <a:gd name="T25" fmla="*/ 47435 h 117"/>
                <a:gd name="T26" fmla="*/ 51946 w 133"/>
                <a:gd name="T27" fmla="*/ 50013 h 117"/>
                <a:gd name="T28" fmla="*/ 50323 w 133"/>
                <a:gd name="T29" fmla="*/ 52591 h 117"/>
                <a:gd name="T30" fmla="*/ 47888 w 133"/>
                <a:gd name="T31" fmla="*/ 55169 h 117"/>
                <a:gd name="T32" fmla="*/ 45858 w 133"/>
                <a:gd name="T33" fmla="*/ 57231 h 117"/>
                <a:gd name="T34" fmla="*/ 43423 w 133"/>
                <a:gd name="T35" fmla="*/ 58778 h 117"/>
                <a:gd name="T36" fmla="*/ 41800 w 133"/>
                <a:gd name="T37" fmla="*/ 60325 h 117"/>
                <a:gd name="T38" fmla="*/ 40583 w 133"/>
                <a:gd name="T39" fmla="*/ 60325 h 117"/>
                <a:gd name="T40" fmla="*/ 29220 w 133"/>
                <a:gd name="T41" fmla="*/ 48982 h 117"/>
                <a:gd name="T42" fmla="*/ 18262 w 133"/>
                <a:gd name="T43" fmla="*/ 36092 h 117"/>
                <a:gd name="T44" fmla="*/ 12986 w 133"/>
                <a:gd name="T45" fmla="*/ 29905 h 117"/>
                <a:gd name="T46" fmla="*/ 7305 w 133"/>
                <a:gd name="T47" fmla="*/ 23718 h 117"/>
                <a:gd name="T48" fmla="*/ 3247 w 133"/>
                <a:gd name="T49" fmla="*/ 17015 h 117"/>
                <a:gd name="T50" fmla="*/ 0 w 133"/>
                <a:gd name="T51" fmla="*/ 9796 h 11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7" name="Freeform 342">
              <a:extLst>
                <a:ext uri="{FF2B5EF4-FFF2-40B4-BE49-F238E27FC236}">
                  <a16:creationId xmlns:a16="http://schemas.microsoft.com/office/drawing/2014/main" id="{FAE18928-1ADC-4283-90DF-DE412ECEDCD3}"/>
                </a:ext>
              </a:extLst>
            </p:cNvPr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5832476" y="1931988"/>
              <a:ext cx="220663" cy="177800"/>
            </a:xfrm>
            <a:custGeom>
              <a:avLst/>
              <a:gdLst>
                <a:gd name="T0" fmla="*/ 118852 w 505"/>
                <a:gd name="T1" fmla="*/ 18881 h 339"/>
                <a:gd name="T2" fmla="*/ 211487 w 505"/>
                <a:gd name="T3" fmla="*/ 45106 h 339"/>
                <a:gd name="T4" fmla="*/ 208865 w 505"/>
                <a:gd name="T5" fmla="*/ 57169 h 339"/>
                <a:gd name="T6" fmla="*/ 205806 w 505"/>
                <a:gd name="T7" fmla="*/ 67658 h 339"/>
                <a:gd name="T8" fmla="*/ 201437 w 505"/>
                <a:gd name="T9" fmla="*/ 76050 h 339"/>
                <a:gd name="T10" fmla="*/ 197067 w 505"/>
                <a:gd name="T11" fmla="*/ 80246 h 339"/>
                <a:gd name="T12" fmla="*/ 201437 w 505"/>
                <a:gd name="T13" fmla="*/ 96505 h 339"/>
                <a:gd name="T14" fmla="*/ 208428 w 505"/>
                <a:gd name="T15" fmla="*/ 112764 h 339"/>
                <a:gd name="T16" fmla="*/ 220663 w 505"/>
                <a:gd name="T17" fmla="*/ 135317 h 339"/>
                <a:gd name="T18" fmla="*/ 215420 w 505"/>
                <a:gd name="T19" fmla="*/ 142135 h 339"/>
                <a:gd name="T20" fmla="*/ 209302 w 505"/>
                <a:gd name="T21" fmla="*/ 153149 h 339"/>
                <a:gd name="T22" fmla="*/ 204496 w 505"/>
                <a:gd name="T23" fmla="*/ 164688 h 339"/>
                <a:gd name="T24" fmla="*/ 202748 w 505"/>
                <a:gd name="T25" fmla="*/ 177800 h 339"/>
                <a:gd name="T26" fmla="*/ 193572 w 505"/>
                <a:gd name="T27" fmla="*/ 177276 h 339"/>
                <a:gd name="T28" fmla="*/ 180900 w 505"/>
                <a:gd name="T29" fmla="*/ 175702 h 339"/>
                <a:gd name="T30" fmla="*/ 168228 w 505"/>
                <a:gd name="T31" fmla="*/ 173604 h 339"/>
                <a:gd name="T32" fmla="*/ 156430 w 505"/>
                <a:gd name="T33" fmla="*/ 170982 h 339"/>
                <a:gd name="T34" fmla="*/ 132835 w 505"/>
                <a:gd name="T35" fmla="*/ 170457 h 339"/>
                <a:gd name="T36" fmla="*/ 115356 w 505"/>
                <a:gd name="T37" fmla="*/ 168359 h 339"/>
                <a:gd name="T38" fmla="*/ 108365 w 505"/>
                <a:gd name="T39" fmla="*/ 166261 h 339"/>
                <a:gd name="T40" fmla="*/ 101374 w 505"/>
                <a:gd name="T41" fmla="*/ 162590 h 339"/>
                <a:gd name="T42" fmla="*/ 93072 w 505"/>
                <a:gd name="T43" fmla="*/ 157345 h 339"/>
                <a:gd name="T44" fmla="*/ 78652 w 505"/>
                <a:gd name="T45" fmla="*/ 151576 h 339"/>
                <a:gd name="T46" fmla="*/ 63796 w 505"/>
                <a:gd name="T47" fmla="*/ 143184 h 339"/>
                <a:gd name="T48" fmla="*/ 42822 w 505"/>
                <a:gd name="T49" fmla="*/ 130596 h 339"/>
                <a:gd name="T50" fmla="*/ 27091 w 505"/>
                <a:gd name="T51" fmla="*/ 108044 h 339"/>
                <a:gd name="T52" fmla="*/ 22722 w 505"/>
                <a:gd name="T53" fmla="*/ 88638 h 339"/>
                <a:gd name="T54" fmla="*/ 15730 w 505"/>
                <a:gd name="T55" fmla="*/ 65036 h 339"/>
                <a:gd name="T56" fmla="*/ 6554 w 505"/>
                <a:gd name="T57" fmla="*/ 43532 h 339"/>
                <a:gd name="T58" fmla="*/ 874 w 505"/>
                <a:gd name="T59" fmla="*/ 33567 h 339"/>
                <a:gd name="T60" fmla="*/ 2185 w 505"/>
                <a:gd name="T61" fmla="*/ 31994 h 339"/>
                <a:gd name="T62" fmla="*/ 4807 w 505"/>
                <a:gd name="T63" fmla="*/ 29371 h 339"/>
                <a:gd name="T64" fmla="*/ 4807 w 505"/>
                <a:gd name="T65" fmla="*/ 25175 h 339"/>
                <a:gd name="T66" fmla="*/ 4807 w 505"/>
                <a:gd name="T67" fmla="*/ 22553 h 339"/>
                <a:gd name="T68" fmla="*/ 14857 w 505"/>
                <a:gd name="T69" fmla="*/ 17832 h 339"/>
                <a:gd name="T70" fmla="*/ 31898 w 505"/>
                <a:gd name="T71" fmla="*/ 11539 h 339"/>
                <a:gd name="T72" fmla="*/ 55930 w 505"/>
                <a:gd name="T73" fmla="*/ 4196 h 339"/>
                <a:gd name="T74" fmla="*/ 75593 w 505"/>
                <a:gd name="T75" fmla="*/ 5769 h 339"/>
                <a:gd name="T76" fmla="*/ 82148 w 505"/>
                <a:gd name="T77" fmla="*/ 14686 h 339"/>
                <a:gd name="T78" fmla="*/ 87828 w 505"/>
                <a:gd name="T79" fmla="*/ 18357 h 339"/>
                <a:gd name="T80" fmla="*/ 95693 w 505"/>
                <a:gd name="T81" fmla="*/ 18881 h 339"/>
                <a:gd name="T82" fmla="*/ 104433 w 505"/>
                <a:gd name="T83" fmla="*/ 18881 h 339"/>
                <a:gd name="T84" fmla="*/ 113172 w 505"/>
                <a:gd name="T85" fmla="*/ 12588 h 3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8" name="Freeform 343">
              <a:extLst>
                <a:ext uri="{FF2B5EF4-FFF2-40B4-BE49-F238E27FC236}">
                  <a16:creationId xmlns:a16="http://schemas.microsoft.com/office/drawing/2014/main" id="{E5301EED-7DD6-499E-9F04-4A7CFE0E3C60}"/>
                </a:ext>
              </a:extLst>
            </p:cNvPr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5895975" y="2136775"/>
              <a:ext cx="146050" cy="71438"/>
            </a:xfrm>
            <a:custGeom>
              <a:avLst/>
              <a:gdLst>
                <a:gd name="T0" fmla="*/ 134815 w 338"/>
                <a:gd name="T1" fmla="*/ 0 h 141"/>
                <a:gd name="T2" fmla="*/ 80371 w 338"/>
                <a:gd name="T3" fmla="*/ 0 h 141"/>
                <a:gd name="T4" fmla="*/ 72593 w 338"/>
                <a:gd name="T5" fmla="*/ 4053 h 141"/>
                <a:gd name="T6" fmla="*/ 62222 w 338"/>
                <a:gd name="T7" fmla="*/ 10640 h 141"/>
                <a:gd name="T8" fmla="*/ 57037 w 338"/>
                <a:gd name="T9" fmla="*/ 13680 h 141"/>
                <a:gd name="T10" fmla="*/ 51420 w 338"/>
                <a:gd name="T11" fmla="*/ 16213 h 141"/>
                <a:gd name="T12" fmla="*/ 48395 w 338"/>
                <a:gd name="T13" fmla="*/ 17226 h 141"/>
                <a:gd name="T14" fmla="*/ 45371 w 338"/>
                <a:gd name="T15" fmla="*/ 17733 h 141"/>
                <a:gd name="T16" fmla="*/ 42778 w 338"/>
                <a:gd name="T17" fmla="*/ 18239 h 141"/>
                <a:gd name="T18" fmla="*/ 40185 w 338"/>
                <a:gd name="T19" fmla="*/ 18746 h 141"/>
                <a:gd name="T20" fmla="*/ 38025 w 338"/>
                <a:gd name="T21" fmla="*/ 18239 h 141"/>
                <a:gd name="T22" fmla="*/ 36296 w 338"/>
                <a:gd name="T23" fmla="*/ 17733 h 141"/>
                <a:gd name="T24" fmla="*/ 33704 w 338"/>
                <a:gd name="T25" fmla="*/ 16213 h 141"/>
                <a:gd name="T26" fmla="*/ 31975 w 338"/>
                <a:gd name="T27" fmla="*/ 15200 h 141"/>
                <a:gd name="T28" fmla="*/ 28519 w 338"/>
                <a:gd name="T29" fmla="*/ 12160 h 141"/>
                <a:gd name="T30" fmla="*/ 25494 w 338"/>
                <a:gd name="T31" fmla="*/ 9120 h 141"/>
                <a:gd name="T32" fmla="*/ 21173 w 338"/>
                <a:gd name="T33" fmla="*/ 17226 h 141"/>
                <a:gd name="T34" fmla="*/ 15988 w 338"/>
                <a:gd name="T35" fmla="*/ 25839 h 141"/>
                <a:gd name="T36" fmla="*/ 12963 w 338"/>
                <a:gd name="T37" fmla="*/ 30399 h 141"/>
                <a:gd name="T38" fmla="*/ 9074 w 338"/>
                <a:gd name="T39" fmla="*/ 34452 h 141"/>
                <a:gd name="T40" fmla="*/ 4753 w 338"/>
                <a:gd name="T41" fmla="*/ 37999 h 141"/>
                <a:gd name="T42" fmla="*/ 0 w 338"/>
                <a:gd name="T43" fmla="*/ 40532 h 141"/>
                <a:gd name="T44" fmla="*/ 5185 w 338"/>
                <a:gd name="T45" fmla="*/ 45599 h 141"/>
                <a:gd name="T46" fmla="*/ 9938 w 338"/>
                <a:gd name="T47" fmla="*/ 50665 h 141"/>
                <a:gd name="T48" fmla="*/ 14259 w 338"/>
                <a:gd name="T49" fmla="*/ 54718 h 141"/>
                <a:gd name="T50" fmla="*/ 19012 w 338"/>
                <a:gd name="T51" fmla="*/ 58772 h 141"/>
                <a:gd name="T52" fmla="*/ 23766 w 338"/>
                <a:gd name="T53" fmla="*/ 61812 h 141"/>
                <a:gd name="T54" fmla="*/ 28519 w 338"/>
                <a:gd name="T55" fmla="*/ 65358 h 141"/>
                <a:gd name="T56" fmla="*/ 34136 w 338"/>
                <a:gd name="T57" fmla="*/ 68398 h 141"/>
                <a:gd name="T58" fmla="*/ 40185 w 338"/>
                <a:gd name="T59" fmla="*/ 71438 h 141"/>
                <a:gd name="T60" fmla="*/ 111914 w 338"/>
                <a:gd name="T61" fmla="*/ 71438 h 141"/>
                <a:gd name="T62" fmla="*/ 116235 w 338"/>
                <a:gd name="T63" fmla="*/ 62825 h 141"/>
                <a:gd name="T64" fmla="*/ 121420 w 338"/>
                <a:gd name="T65" fmla="*/ 54212 h 141"/>
                <a:gd name="T66" fmla="*/ 126173 w 338"/>
                <a:gd name="T67" fmla="*/ 46612 h 141"/>
                <a:gd name="T68" fmla="*/ 131359 w 338"/>
                <a:gd name="T69" fmla="*/ 39519 h 141"/>
                <a:gd name="T70" fmla="*/ 136112 w 338"/>
                <a:gd name="T71" fmla="*/ 32426 h 141"/>
                <a:gd name="T72" fmla="*/ 140001 w 338"/>
                <a:gd name="T73" fmla="*/ 24319 h 141"/>
                <a:gd name="T74" fmla="*/ 143889 w 338"/>
                <a:gd name="T75" fmla="*/ 17226 h 141"/>
                <a:gd name="T76" fmla="*/ 146050 w 338"/>
                <a:gd name="T77" fmla="*/ 9120 h 141"/>
                <a:gd name="T78" fmla="*/ 134815 w 338"/>
                <a:gd name="T79" fmla="*/ 0 h 14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9" name="Freeform 344">
              <a:extLst>
                <a:ext uri="{FF2B5EF4-FFF2-40B4-BE49-F238E27FC236}">
                  <a16:creationId xmlns:a16="http://schemas.microsoft.com/office/drawing/2014/main" id="{3B4B422D-43D8-4A2B-B4F3-20FF70B66E7A}"/>
                </a:ext>
              </a:extLst>
            </p:cNvPr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5995989" y="1792289"/>
              <a:ext cx="111125" cy="65087"/>
            </a:xfrm>
            <a:custGeom>
              <a:avLst/>
              <a:gdLst>
                <a:gd name="T0" fmla="*/ 111125 w 259"/>
                <a:gd name="T1" fmla="*/ 65087 h 129"/>
                <a:gd name="T2" fmla="*/ 109409 w 259"/>
                <a:gd name="T3" fmla="*/ 51464 h 129"/>
                <a:gd name="T4" fmla="*/ 108122 w 259"/>
                <a:gd name="T5" fmla="*/ 40364 h 129"/>
                <a:gd name="T6" fmla="*/ 108122 w 259"/>
                <a:gd name="T7" fmla="*/ 31787 h 129"/>
                <a:gd name="T8" fmla="*/ 108551 w 259"/>
                <a:gd name="T9" fmla="*/ 25228 h 129"/>
                <a:gd name="T10" fmla="*/ 110267 w 259"/>
                <a:gd name="T11" fmla="*/ 14632 h 129"/>
                <a:gd name="T12" fmla="*/ 111125 w 259"/>
                <a:gd name="T13" fmla="*/ 6055 h 129"/>
                <a:gd name="T14" fmla="*/ 110696 w 259"/>
                <a:gd name="T15" fmla="*/ 7064 h 129"/>
                <a:gd name="T16" fmla="*/ 109838 w 259"/>
                <a:gd name="T17" fmla="*/ 8073 h 129"/>
                <a:gd name="T18" fmla="*/ 108551 w 259"/>
                <a:gd name="T19" fmla="*/ 8577 h 129"/>
                <a:gd name="T20" fmla="*/ 106834 w 259"/>
                <a:gd name="T21" fmla="*/ 9082 h 129"/>
                <a:gd name="T22" fmla="*/ 102544 w 259"/>
                <a:gd name="T23" fmla="*/ 9586 h 129"/>
                <a:gd name="T24" fmla="*/ 97824 w 259"/>
                <a:gd name="T25" fmla="*/ 9586 h 129"/>
                <a:gd name="T26" fmla="*/ 87956 w 259"/>
                <a:gd name="T27" fmla="*/ 9586 h 129"/>
                <a:gd name="T28" fmla="*/ 82378 w 259"/>
                <a:gd name="T29" fmla="*/ 9082 h 129"/>
                <a:gd name="T30" fmla="*/ 77659 w 259"/>
                <a:gd name="T31" fmla="*/ 8577 h 129"/>
                <a:gd name="T32" fmla="*/ 73797 w 259"/>
                <a:gd name="T33" fmla="*/ 7568 h 129"/>
                <a:gd name="T34" fmla="*/ 69936 w 259"/>
                <a:gd name="T35" fmla="*/ 6055 h 129"/>
                <a:gd name="T36" fmla="*/ 66932 w 259"/>
                <a:gd name="T37" fmla="*/ 4541 h 129"/>
                <a:gd name="T38" fmla="*/ 62642 w 259"/>
                <a:gd name="T39" fmla="*/ 3027 h 129"/>
                <a:gd name="T40" fmla="*/ 57493 w 259"/>
                <a:gd name="T41" fmla="*/ 1514 h 129"/>
                <a:gd name="T42" fmla="*/ 50628 w 259"/>
                <a:gd name="T43" fmla="*/ 505 h 129"/>
                <a:gd name="T44" fmla="*/ 42476 w 259"/>
                <a:gd name="T45" fmla="*/ 0 h 129"/>
                <a:gd name="T46" fmla="*/ 35611 w 259"/>
                <a:gd name="T47" fmla="*/ 0 h 129"/>
                <a:gd name="T48" fmla="*/ 28747 w 259"/>
                <a:gd name="T49" fmla="*/ 0 h 129"/>
                <a:gd name="T50" fmla="*/ 21453 w 259"/>
                <a:gd name="T51" fmla="*/ 0 h 129"/>
                <a:gd name="T52" fmla="*/ 14588 w 259"/>
                <a:gd name="T53" fmla="*/ 1009 h 129"/>
                <a:gd name="T54" fmla="*/ 11584 w 259"/>
                <a:gd name="T55" fmla="*/ 2018 h 129"/>
                <a:gd name="T56" fmla="*/ 9010 w 259"/>
                <a:gd name="T57" fmla="*/ 3027 h 129"/>
                <a:gd name="T58" fmla="*/ 6007 w 259"/>
                <a:gd name="T59" fmla="*/ 4541 h 129"/>
                <a:gd name="T60" fmla="*/ 4291 w 259"/>
                <a:gd name="T61" fmla="*/ 6559 h 129"/>
                <a:gd name="T62" fmla="*/ 2145 w 259"/>
                <a:gd name="T63" fmla="*/ 8577 h 129"/>
                <a:gd name="T64" fmla="*/ 858 w 259"/>
                <a:gd name="T65" fmla="*/ 11100 h 129"/>
                <a:gd name="T66" fmla="*/ 0 w 259"/>
                <a:gd name="T67" fmla="*/ 14632 h 129"/>
                <a:gd name="T68" fmla="*/ 0 w 259"/>
                <a:gd name="T69" fmla="*/ 18164 h 129"/>
                <a:gd name="T70" fmla="*/ 0 w 259"/>
                <a:gd name="T71" fmla="*/ 24218 h 129"/>
                <a:gd name="T72" fmla="*/ 1287 w 259"/>
                <a:gd name="T73" fmla="*/ 29264 h 129"/>
                <a:gd name="T74" fmla="*/ 2574 w 259"/>
                <a:gd name="T75" fmla="*/ 32796 h 129"/>
                <a:gd name="T76" fmla="*/ 5149 w 259"/>
                <a:gd name="T77" fmla="*/ 35823 h 129"/>
                <a:gd name="T78" fmla="*/ 7294 w 259"/>
                <a:gd name="T79" fmla="*/ 38346 h 129"/>
                <a:gd name="T80" fmla="*/ 10297 w 259"/>
                <a:gd name="T81" fmla="*/ 40364 h 129"/>
                <a:gd name="T82" fmla="*/ 13301 w 259"/>
                <a:gd name="T83" fmla="*/ 41878 h 129"/>
                <a:gd name="T84" fmla="*/ 15875 w 259"/>
                <a:gd name="T85" fmla="*/ 42887 h 129"/>
                <a:gd name="T86" fmla="*/ 21453 w 259"/>
                <a:gd name="T87" fmla="*/ 44400 h 129"/>
                <a:gd name="T88" fmla="*/ 26172 w 259"/>
                <a:gd name="T89" fmla="*/ 46419 h 129"/>
                <a:gd name="T90" fmla="*/ 27889 w 259"/>
                <a:gd name="T91" fmla="*/ 47932 h 129"/>
                <a:gd name="T92" fmla="*/ 28747 w 259"/>
                <a:gd name="T93" fmla="*/ 49950 h 129"/>
                <a:gd name="T94" fmla="*/ 28747 w 259"/>
                <a:gd name="T95" fmla="*/ 52978 h 129"/>
                <a:gd name="T96" fmla="*/ 28318 w 259"/>
                <a:gd name="T97" fmla="*/ 56005 h 129"/>
                <a:gd name="T98" fmla="*/ 34753 w 259"/>
                <a:gd name="T99" fmla="*/ 55501 h 129"/>
                <a:gd name="T100" fmla="*/ 39044 w 259"/>
                <a:gd name="T101" fmla="*/ 54491 h 129"/>
                <a:gd name="T102" fmla="*/ 42047 w 259"/>
                <a:gd name="T103" fmla="*/ 53482 h 129"/>
                <a:gd name="T104" fmla="*/ 45051 w 259"/>
                <a:gd name="T105" fmla="*/ 52978 h 129"/>
                <a:gd name="T106" fmla="*/ 51486 w 259"/>
                <a:gd name="T107" fmla="*/ 53482 h 129"/>
                <a:gd name="T108" fmla="*/ 60068 w 259"/>
                <a:gd name="T109" fmla="*/ 54491 h 129"/>
                <a:gd name="T110" fmla="*/ 71223 w 259"/>
                <a:gd name="T111" fmla="*/ 56510 h 129"/>
                <a:gd name="T112" fmla="*/ 82378 w 259"/>
                <a:gd name="T113" fmla="*/ 59032 h 129"/>
                <a:gd name="T114" fmla="*/ 102115 w 259"/>
                <a:gd name="T115" fmla="*/ 63069 h 129"/>
                <a:gd name="T116" fmla="*/ 111125 w 259"/>
                <a:gd name="T117" fmla="*/ 65087 h 12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0" name="Freeform 345">
              <a:extLst>
                <a:ext uri="{FF2B5EF4-FFF2-40B4-BE49-F238E27FC236}">
                  <a16:creationId xmlns:a16="http://schemas.microsoft.com/office/drawing/2014/main" id="{6A1FB648-3B13-4F34-908E-F1209D436DBD}"/>
                </a:ext>
              </a:extLst>
            </p:cNvPr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6008689" y="2139951"/>
              <a:ext cx="179387" cy="142875"/>
            </a:xfrm>
            <a:custGeom>
              <a:avLst/>
              <a:gdLst>
                <a:gd name="T0" fmla="*/ 176432 w 425"/>
                <a:gd name="T1" fmla="*/ 89297 h 272"/>
                <a:gd name="T2" fmla="*/ 167991 w 425"/>
                <a:gd name="T3" fmla="*/ 98752 h 272"/>
                <a:gd name="T4" fmla="*/ 161659 w 425"/>
                <a:gd name="T5" fmla="*/ 108207 h 272"/>
                <a:gd name="T6" fmla="*/ 162081 w 425"/>
                <a:gd name="T7" fmla="*/ 116086 h 272"/>
                <a:gd name="T8" fmla="*/ 164192 w 425"/>
                <a:gd name="T9" fmla="*/ 124490 h 272"/>
                <a:gd name="T10" fmla="*/ 158283 w 425"/>
                <a:gd name="T11" fmla="*/ 128167 h 272"/>
                <a:gd name="T12" fmla="*/ 146464 w 425"/>
                <a:gd name="T13" fmla="*/ 125016 h 272"/>
                <a:gd name="T14" fmla="*/ 136756 w 425"/>
                <a:gd name="T15" fmla="*/ 123440 h 272"/>
                <a:gd name="T16" fmla="*/ 124516 w 425"/>
                <a:gd name="T17" fmla="*/ 123440 h 272"/>
                <a:gd name="T18" fmla="*/ 111009 w 425"/>
                <a:gd name="T19" fmla="*/ 127642 h 272"/>
                <a:gd name="T20" fmla="*/ 97924 w 425"/>
                <a:gd name="T21" fmla="*/ 133420 h 272"/>
                <a:gd name="T22" fmla="*/ 83151 w 425"/>
                <a:gd name="T23" fmla="*/ 140249 h 272"/>
                <a:gd name="T24" fmla="*/ 42209 w 425"/>
                <a:gd name="T25" fmla="*/ 126066 h 272"/>
                <a:gd name="T26" fmla="*/ 35877 w 425"/>
                <a:gd name="T27" fmla="*/ 118712 h 272"/>
                <a:gd name="T28" fmla="*/ 29546 w 425"/>
                <a:gd name="T29" fmla="*/ 112409 h 272"/>
                <a:gd name="T30" fmla="*/ 15617 w 425"/>
                <a:gd name="T31" fmla="*/ 100853 h 272"/>
                <a:gd name="T32" fmla="*/ 9286 w 425"/>
                <a:gd name="T33" fmla="*/ 94550 h 272"/>
                <a:gd name="T34" fmla="*/ 4643 w 425"/>
                <a:gd name="T35" fmla="*/ 87721 h 272"/>
                <a:gd name="T36" fmla="*/ 844 w 425"/>
                <a:gd name="T37" fmla="*/ 78791 h 272"/>
                <a:gd name="T38" fmla="*/ 0 w 425"/>
                <a:gd name="T39" fmla="*/ 67761 h 272"/>
                <a:gd name="T40" fmla="*/ 21104 w 425"/>
                <a:gd name="T41" fmla="*/ 34668 h 272"/>
                <a:gd name="T42" fmla="*/ 29968 w 425"/>
                <a:gd name="T43" fmla="*/ 18910 h 272"/>
                <a:gd name="T44" fmla="*/ 33767 w 425"/>
                <a:gd name="T45" fmla="*/ 11556 h 272"/>
                <a:gd name="T46" fmla="*/ 35877 w 425"/>
                <a:gd name="T47" fmla="*/ 3152 h 272"/>
                <a:gd name="T48" fmla="*/ 51917 w 425"/>
                <a:gd name="T49" fmla="*/ 5253 h 272"/>
                <a:gd name="T50" fmla="*/ 64579 w 425"/>
                <a:gd name="T51" fmla="*/ 9455 h 272"/>
                <a:gd name="T52" fmla="*/ 75976 w 425"/>
                <a:gd name="T53" fmla="*/ 14182 h 272"/>
                <a:gd name="T54" fmla="*/ 86528 w 425"/>
                <a:gd name="T55" fmla="*/ 16284 h 272"/>
                <a:gd name="T56" fmla="*/ 90327 w 425"/>
                <a:gd name="T57" fmla="*/ 15233 h 272"/>
                <a:gd name="T58" fmla="*/ 93281 w 425"/>
                <a:gd name="T59" fmla="*/ 13657 h 272"/>
                <a:gd name="T60" fmla="*/ 97924 w 425"/>
                <a:gd name="T61" fmla="*/ 7879 h 272"/>
                <a:gd name="T62" fmla="*/ 102145 w 425"/>
                <a:gd name="T63" fmla="*/ 2626 h 272"/>
                <a:gd name="T64" fmla="*/ 105522 w 425"/>
                <a:gd name="T65" fmla="*/ 1051 h 272"/>
                <a:gd name="T66" fmla="*/ 109321 w 425"/>
                <a:gd name="T67" fmla="*/ 0 h 272"/>
                <a:gd name="T68" fmla="*/ 116074 w 425"/>
                <a:gd name="T69" fmla="*/ 1051 h 272"/>
                <a:gd name="T70" fmla="*/ 121983 w 425"/>
                <a:gd name="T71" fmla="*/ 3677 h 272"/>
                <a:gd name="T72" fmla="*/ 127470 w 425"/>
                <a:gd name="T73" fmla="*/ 7879 h 272"/>
                <a:gd name="T74" fmla="*/ 130847 w 425"/>
                <a:gd name="T75" fmla="*/ 13657 h 272"/>
                <a:gd name="T76" fmla="*/ 137178 w 425"/>
                <a:gd name="T77" fmla="*/ 27840 h 272"/>
                <a:gd name="T78" fmla="*/ 142243 w 425"/>
                <a:gd name="T79" fmla="*/ 43073 h 272"/>
                <a:gd name="T80" fmla="*/ 147308 w 425"/>
                <a:gd name="T81" fmla="*/ 59356 h 272"/>
                <a:gd name="T82" fmla="*/ 150263 w 425"/>
                <a:gd name="T83" fmla="*/ 66185 h 272"/>
                <a:gd name="T84" fmla="*/ 154062 w 425"/>
                <a:gd name="T85" fmla="*/ 72488 h 272"/>
                <a:gd name="T86" fmla="*/ 158705 w 425"/>
                <a:gd name="T87" fmla="*/ 77216 h 272"/>
                <a:gd name="T88" fmla="*/ 164192 w 425"/>
                <a:gd name="T89" fmla="*/ 81943 h 272"/>
                <a:gd name="T90" fmla="*/ 170945 w 425"/>
                <a:gd name="T91" fmla="*/ 84044 h 272"/>
                <a:gd name="T92" fmla="*/ 179387 w 425"/>
                <a:gd name="T93" fmla="*/ 84569 h 27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61" name="Freeform 346">
              <a:extLst>
                <a:ext uri="{FF2B5EF4-FFF2-40B4-BE49-F238E27FC236}">
                  <a16:creationId xmlns:a16="http://schemas.microsoft.com/office/drawing/2014/main" id="{31BDD260-1E7F-4AE1-92E0-1EF25F903B45}"/>
                </a:ext>
              </a:extLst>
            </p:cNvPr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4008439" y="3178176"/>
              <a:ext cx="14287" cy="55563"/>
            </a:xfrm>
            <a:custGeom>
              <a:avLst/>
              <a:gdLst>
                <a:gd name="T0" fmla="*/ 5628 w 33"/>
                <a:gd name="T1" fmla="*/ 10754 h 31"/>
                <a:gd name="T2" fmla="*/ 0 w 33"/>
                <a:gd name="T3" fmla="*/ 34055 h 31"/>
                <a:gd name="T4" fmla="*/ 2165 w 33"/>
                <a:gd name="T5" fmla="*/ 37639 h 31"/>
                <a:gd name="T6" fmla="*/ 6061 w 33"/>
                <a:gd name="T7" fmla="*/ 44809 h 31"/>
                <a:gd name="T8" fmla="*/ 8226 w 33"/>
                <a:gd name="T9" fmla="*/ 48394 h 31"/>
                <a:gd name="T10" fmla="*/ 9958 w 33"/>
                <a:gd name="T11" fmla="*/ 51978 h 31"/>
                <a:gd name="T12" fmla="*/ 11689 w 33"/>
                <a:gd name="T13" fmla="*/ 53771 h 31"/>
                <a:gd name="T14" fmla="*/ 14287 w 33"/>
                <a:gd name="T15" fmla="*/ 55563 h 31"/>
                <a:gd name="T16" fmla="*/ 14287 w 33"/>
                <a:gd name="T17" fmla="*/ 0 h 31"/>
                <a:gd name="T18" fmla="*/ 8659 w 33"/>
                <a:gd name="T19" fmla="*/ 0 h 31"/>
                <a:gd name="T20" fmla="*/ 5628 w 33"/>
                <a:gd name="T21" fmla="*/ 10754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2" name="Freeform 347">
              <a:extLst>
                <a:ext uri="{FF2B5EF4-FFF2-40B4-BE49-F238E27FC236}">
                  <a16:creationId xmlns:a16="http://schemas.microsoft.com/office/drawing/2014/main" id="{5453AE79-B164-428A-931C-3AD0A33444FD}"/>
                </a:ext>
              </a:extLst>
            </p:cNvPr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6113464" y="2132014"/>
              <a:ext cx="85725" cy="79375"/>
            </a:xfrm>
            <a:custGeom>
              <a:avLst/>
              <a:gdLst>
                <a:gd name="T0" fmla="*/ 2679 w 192"/>
                <a:gd name="T1" fmla="*/ 9793 h 154"/>
                <a:gd name="T2" fmla="*/ 23217 w 192"/>
                <a:gd name="T3" fmla="*/ 0 h 154"/>
                <a:gd name="T4" fmla="*/ 41077 w 192"/>
                <a:gd name="T5" fmla="*/ 9793 h 154"/>
                <a:gd name="T6" fmla="*/ 53132 w 192"/>
                <a:gd name="T7" fmla="*/ 15978 h 154"/>
                <a:gd name="T8" fmla="*/ 65187 w 192"/>
                <a:gd name="T9" fmla="*/ 32472 h 154"/>
                <a:gd name="T10" fmla="*/ 74116 w 192"/>
                <a:gd name="T11" fmla="*/ 47934 h 154"/>
                <a:gd name="T12" fmla="*/ 85725 w 192"/>
                <a:gd name="T13" fmla="*/ 60820 h 154"/>
                <a:gd name="T14" fmla="*/ 67866 w 192"/>
                <a:gd name="T15" fmla="*/ 63912 h 154"/>
                <a:gd name="T16" fmla="*/ 56257 w 192"/>
                <a:gd name="T17" fmla="*/ 67005 h 154"/>
                <a:gd name="T18" fmla="*/ 56257 w 192"/>
                <a:gd name="T19" fmla="*/ 79375 h 154"/>
                <a:gd name="T20" fmla="*/ 47327 w 192"/>
                <a:gd name="T21" fmla="*/ 79375 h 154"/>
                <a:gd name="T22" fmla="*/ 44202 w 192"/>
                <a:gd name="T23" fmla="*/ 75252 h 154"/>
                <a:gd name="T24" fmla="*/ 41523 w 192"/>
                <a:gd name="T25" fmla="*/ 70613 h 154"/>
                <a:gd name="T26" fmla="*/ 39291 w 192"/>
                <a:gd name="T27" fmla="*/ 64943 h 154"/>
                <a:gd name="T28" fmla="*/ 36612 w 192"/>
                <a:gd name="T29" fmla="*/ 59274 h 154"/>
                <a:gd name="T30" fmla="*/ 33040 w 192"/>
                <a:gd name="T31" fmla="*/ 47934 h 154"/>
                <a:gd name="T32" fmla="*/ 29021 w 192"/>
                <a:gd name="T33" fmla="*/ 36595 h 154"/>
                <a:gd name="T34" fmla="*/ 26789 w 192"/>
                <a:gd name="T35" fmla="*/ 31441 h 154"/>
                <a:gd name="T36" fmla="*/ 24557 w 192"/>
                <a:gd name="T37" fmla="*/ 25771 h 154"/>
                <a:gd name="T38" fmla="*/ 21431 w 192"/>
                <a:gd name="T39" fmla="*/ 21648 h 154"/>
                <a:gd name="T40" fmla="*/ 18306 w 192"/>
                <a:gd name="T41" fmla="*/ 17524 h 154"/>
                <a:gd name="T42" fmla="*/ 14734 w 192"/>
                <a:gd name="T43" fmla="*/ 14432 h 154"/>
                <a:gd name="T44" fmla="*/ 10716 w 192"/>
                <a:gd name="T45" fmla="*/ 11855 h 154"/>
                <a:gd name="T46" fmla="*/ 8037 w 192"/>
                <a:gd name="T47" fmla="*/ 11339 h 154"/>
                <a:gd name="T48" fmla="*/ 5358 w 192"/>
                <a:gd name="T49" fmla="*/ 10308 h 154"/>
                <a:gd name="T50" fmla="*/ 2679 w 192"/>
                <a:gd name="T51" fmla="*/ 10308 h 154"/>
                <a:gd name="T52" fmla="*/ 0 w 192"/>
                <a:gd name="T53" fmla="*/ 9793 h 154"/>
                <a:gd name="T54" fmla="*/ 2679 w 192"/>
                <a:gd name="T55" fmla="*/ 9793 h 15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3" name="Freeform 348">
              <a:extLst>
                <a:ext uri="{FF2B5EF4-FFF2-40B4-BE49-F238E27FC236}">
                  <a16:creationId xmlns:a16="http://schemas.microsoft.com/office/drawing/2014/main" id="{1C68BBF4-CEC9-460B-B158-AE5B5CF65311}"/>
                </a:ext>
              </a:extLst>
            </p:cNvPr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6030913" y="2014538"/>
              <a:ext cx="381000" cy="247650"/>
            </a:xfrm>
            <a:custGeom>
              <a:avLst/>
              <a:gdLst>
                <a:gd name="T0" fmla="*/ 170299 w 877"/>
                <a:gd name="T1" fmla="*/ 179533 h 469"/>
                <a:gd name="T2" fmla="*/ 138585 w 877"/>
                <a:gd name="T3" fmla="*/ 133594 h 469"/>
                <a:gd name="T4" fmla="*/ 89494 w 877"/>
                <a:gd name="T5" fmla="*/ 127257 h 469"/>
                <a:gd name="T6" fmla="*/ 82977 w 877"/>
                <a:gd name="T7" fmla="*/ 128313 h 469"/>
                <a:gd name="T8" fmla="*/ 77330 w 877"/>
                <a:gd name="T9" fmla="*/ 132538 h 469"/>
                <a:gd name="T10" fmla="*/ 70379 w 877"/>
                <a:gd name="T11" fmla="*/ 140986 h 469"/>
                <a:gd name="T12" fmla="*/ 65600 w 877"/>
                <a:gd name="T13" fmla="*/ 143098 h 469"/>
                <a:gd name="T14" fmla="*/ 52567 w 877"/>
                <a:gd name="T15" fmla="*/ 141514 h 469"/>
                <a:gd name="T16" fmla="*/ 34320 w 877"/>
                <a:gd name="T17" fmla="*/ 134650 h 469"/>
                <a:gd name="T18" fmla="*/ 11295 w 877"/>
                <a:gd name="T19" fmla="*/ 130425 h 469"/>
                <a:gd name="T20" fmla="*/ 3475 w 877"/>
                <a:gd name="T21" fmla="*/ 111944 h 469"/>
                <a:gd name="T22" fmla="*/ 5648 w 877"/>
                <a:gd name="T23" fmla="*/ 98743 h 469"/>
                <a:gd name="T24" fmla="*/ 5648 w 877"/>
                <a:gd name="T25" fmla="*/ 95047 h 469"/>
                <a:gd name="T26" fmla="*/ 9992 w 877"/>
                <a:gd name="T27" fmla="*/ 76038 h 469"/>
                <a:gd name="T28" fmla="*/ 19115 w 877"/>
                <a:gd name="T29" fmla="*/ 59140 h 469"/>
                <a:gd name="T30" fmla="*/ 23460 w 877"/>
                <a:gd name="T31" fmla="*/ 48580 h 469"/>
                <a:gd name="T32" fmla="*/ 11295 w 877"/>
                <a:gd name="T33" fmla="*/ 26402 h 469"/>
                <a:gd name="T34" fmla="*/ 75157 w 877"/>
                <a:gd name="T35" fmla="*/ 13729 h 469"/>
                <a:gd name="T36" fmla="*/ 147274 w 877"/>
                <a:gd name="T37" fmla="*/ 26402 h 469"/>
                <a:gd name="T38" fmla="*/ 170299 w 877"/>
                <a:gd name="T39" fmla="*/ 6864 h 469"/>
                <a:gd name="T40" fmla="*/ 210701 w 877"/>
                <a:gd name="T41" fmla="*/ 0 h 469"/>
                <a:gd name="T42" fmla="*/ 251538 w 877"/>
                <a:gd name="T43" fmla="*/ 20065 h 469"/>
                <a:gd name="T44" fmla="*/ 277170 w 877"/>
                <a:gd name="T45" fmla="*/ 58612 h 469"/>
                <a:gd name="T46" fmla="*/ 314966 w 877"/>
                <a:gd name="T47" fmla="*/ 58612 h 469"/>
                <a:gd name="T48" fmla="*/ 364057 w 877"/>
                <a:gd name="T49" fmla="*/ 81846 h 469"/>
                <a:gd name="T50" fmla="*/ 375352 w 877"/>
                <a:gd name="T51" fmla="*/ 124089 h 469"/>
                <a:gd name="T52" fmla="*/ 349286 w 877"/>
                <a:gd name="T53" fmla="*/ 143626 h 469"/>
                <a:gd name="T54" fmla="*/ 327564 w 877"/>
                <a:gd name="T55" fmla="*/ 165276 h 469"/>
                <a:gd name="T56" fmla="*/ 298892 w 877"/>
                <a:gd name="T57" fmla="*/ 174253 h 469"/>
                <a:gd name="T58" fmla="*/ 288031 w 877"/>
                <a:gd name="T59" fmla="*/ 181117 h 469"/>
                <a:gd name="T60" fmla="*/ 281514 w 877"/>
                <a:gd name="T61" fmla="*/ 189038 h 469"/>
                <a:gd name="T62" fmla="*/ 280645 w 877"/>
                <a:gd name="T63" fmla="*/ 198014 h 469"/>
                <a:gd name="T64" fmla="*/ 283686 w 877"/>
                <a:gd name="T65" fmla="*/ 205935 h 469"/>
                <a:gd name="T66" fmla="*/ 289334 w 877"/>
                <a:gd name="T67" fmla="*/ 211743 h 469"/>
                <a:gd name="T68" fmla="*/ 308884 w 877"/>
                <a:gd name="T69" fmla="*/ 209103 h 469"/>
                <a:gd name="T70" fmla="*/ 321917 w 877"/>
                <a:gd name="T71" fmla="*/ 208047 h 469"/>
                <a:gd name="T72" fmla="*/ 318876 w 877"/>
                <a:gd name="T73" fmla="*/ 212799 h 469"/>
                <a:gd name="T74" fmla="*/ 311056 w 877"/>
                <a:gd name="T75" fmla="*/ 222304 h 469"/>
                <a:gd name="T76" fmla="*/ 303236 w 877"/>
                <a:gd name="T77" fmla="*/ 231281 h 469"/>
                <a:gd name="T78" fmla="*/ 299326 w 877"/>
                <a:gd name="T79" fmla="*/ 221248 h 469"/>
                <a:gd name="T80" fmla="*/ 291506 w 877"/>
                <a:gd name="T81" fmla="*/ 215440 h 469"/>
                <a:gd name="T82" fmla="*/ 289334 w 877"/>
                <a:gd name="T83" fmla="*/ 223360 h 469"/>
                <a:gd name="T84" fmla="*/ 279342 w 877"/>
                <a:gd name="T85" fmla="*/ 233393 h 469"/>
                <a:gd name="T86" fmla="*/ 268916 w 877"/>
                <a:gd name="T87" fmla="*/ 242898 h 469"/>
                <a:gd name="T88" fmla="*/ 265440 w 877"/>
                <a:gd name="T89" fmla="*/ 247650 h 469"/>
                <a:gd name="T90" fmla="*/ 258489 w 877"/>
                <a:gd name="T91" fmla="*/ 245010 h 469"/>
                <a:gd name="T92" fmla="*/ 253710 w 877"/>
                <a:gd name="T93" fmla="*/ 240257 h 469"/>
                <a:gd name="T94" fmla="*/ 249800 w 877"/>
                <a:gd name="T95" fmla="*/ 231809 h 469"/>
                <a:gd name="T96" fmla="*/ 248497 w 877"/>
                <a:gd name="T97" fmla="*/ 215440 h 469"/>
                <a:gd name="T98" fmla="*/ 238071 w 877"/>
                <a:gd name="T99" fmla="*/ 213328 h 469"/>
                <a:gd name="T100" fmla="*/ 225038 w 877"/>
                <a:gd name="T101" fmla="*/ 205407 h 469"/>
                <a:gd name="T102" fmla="*/ 242849 w 877"/>
                <a:gd name="T103" fmla="*/ 200127 h 469"/>
                <a:gd name="T104" fmla="*/ 271522 w 877"/>
                <a:gd name="T105" fmla="*/ 195374 h 469"/>
                <a:gd name="T106" fmla="*/ 214177 w 877"/>
                <a:gd name="T107" fmla="*/ 186926 h 469"/>
                <a:gd name="T108" fmla="*/ 193324 w 877"/>
                <a:gd name="T109" fmla="*/ 175837 h 469"/>
                <a:gd name="T110" fmla="*/ 172905 w 877"/>
                <a:gd name="T111" fmla="*/ 194846 h 469"/>
                <a:gd name="T112" fmla="*/ 165086 w 877"/>
                <a:gd name="T113" fmla="*/ 208575 h 469"/>
                <a:gd name="T114" fmla="*/ 153356 w 877"/>
                <a:gd name="T115" fmla="*/ 211215 h 469"/>
                <a:gd name="T116" fmla="*/ 142495 w 877"/>
                <a:gd name="T117" fmla="*/ 206991 h 469"/>
                <a:gd name="T118" fmla="*/ 132937 w 877"/>
                <a:gd name="T119" fmla="*/ 198542 h 46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4" name="Freeform 349">
              <a:extLst>
                <a:ext uri="{FF2B5EF4-FFF2-40B4-BE49-F238E27FC236}">
                  <a16:creationId xmlns:a16="http://schemas.microsoft.com/office/drawing/2014/main" id="{F377650B-BB01-4676-9875-56151A7D90EC}"/>
                </a:ext>
              </a:extLst>
            </p:cNvPr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6542089" y="2357438"/>
              <a:ext cx="47625" cy="63500"/>
            </a:xfrm>
            <a:custGeom>
              <a:avLst/>
              <a:gdLst>
                <a:gd name="T0" fmla="*/ 21364 w 107"/>
                <a:gd name="T1" fmla="*/ 0 h 123"/>
                <a:gd name="T2" fmla="*/ 36053 w 107"/>
                <a:gd name="T3" fmla="*/ 16004 h 123"/>
                <a:gd name="T4" fmla="*/ 41839 w 107"/>
                <a:gd name="T5" fmla="*/ 34589 h 123"/>
                <a:gd name="T6" fmla="*/ 47625 w 107"/>
                <a:gd name="T7" fmla="*/ 44398 h 123"/>
                <a:gd name="T8" fmla="*/ 47625 w 107"/>
                <a:gd name="T9" fmla="*/ 60402 h 123"/>
                <a:gd name="T10" fmla="*/ 47625 w 107"/>
                <a:gd name="T11" fmla="*/ 63500 h 123"/>
                <a:gd name="T12" fmla="*/ 39168 w 107"/>
                <a:gd name="T13" fmla="*/ 58854 h 123"/>
                <a:gd name="T14" fmla="*/ 32492 w 107"/>
                <a:gd name="T15" fmla="*/ 54207 h 123"/>
                <a:gd name="T16" fmla="*/ 27151 w 107"/>
                <a:gd name="T17" fmla="*/ 50593 h 123"/>
                <a:gd name="T18" fmla="*/ 24035 w 107"/>
                <a:gd name="T19" fmla="*/ 47496 h 123"/>
                <a:gd name="T20" fmla="*/ 22700 w 107"/>
                <a:gd name="T21" fmla="*/ 42850 h 123"/>
                <a:gd name="T22" fmla="*/ 21364 w 107"/>
                <a:gd name="T23" fmla="*/ 37687 h 123"/>
                <a:gd name="T24" fmla="*/ 17359 w 107"/>
                <a:gd name="T25" fmla="*/ 38203 h 123"/>
                <a:gd name="T26" fmla="*/ 14243 w 107"/>
                <a:gd name="T27" fmla="*/ 37687 h 123"/>
                <a:gd name="T28" fmla="*/ 11572 w 107"/>
                <a:gd name="T29" fmla="*/ 37171 h 123"/>
                <a:gd name="T30" fmla="*/ 9347 w 107"/>
                <a:gd name="T31" fmla="*/ 36138 h 123"/>
                <a:gd name="T32" fmla="*/ 7567 w 107"/>
                <a:gd name="T33" fmla="*/ 34589 h 123"/>
                <a:gd name="T34" fmla="*/ 6231 w 107"/>
                <a:gd name="T35" fmla="*/ 32524 h 123"/>
                <a:gd name="T36" fmla="*/ 4896 w 107"/>
                <a:gd name="T37" fmla="*/ 30459 h 123"/>
                <a:gd name="T38" fmla="*/ 4006 w 107"/>
                <a:gd name="T39" fmla="*/ 27878 h 123"/>
                <a:gd name="T40" fmla="*/ 1780 w 107"/>
                <a:gd name="T41" fmla="*/ 16004 h 123"/>
                <a:gd name="T42" fmla="*/ 0 w 107"/>
                <a:gd name="T43" fmla="*/ 3098 h 123"/>
                <a:gd name="T44" fmla="*/ 15133 w 107"/>
                <a:gd name="T45" fmla="*/ 0 h 123"/>
                <a:gd name="T46" fmla="*/ 21364 w 107"/>
                <a:gd name="T47" fmla="*/ 0 h 1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5" name="Freeform 350">
              <a:extLst>
                <a:ext uri="{FF2B5EF4-FFF2-40B4-BE49-F238E27FC236}">
                  <a16:creationId xmlns:a16="http://schemas.microsoft.com/office/drawing/2014/main" id="{A376AC10-DC98-4DAE-A099-659D5119AE63}"/>
                </a:ext>
              </a:extLst>
            </p:cNvPr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7085013" y="2371725"/>
              <a:ext cx="207962" cy="122238"/>
            </a:xfrm>
            <a:custGeom>
              <a:avLst/>
              <a:gdLst>
                <a:gd name="T0" fmla="*/ 46802 w 471"/>
                <a:gd name="T1" fmla="*/ 35000 h 234"/>
                <a:gd name="T2" fmla="*/ 73294 w 471"/>
                <a:gd name="T3" fmla="*/ 44925 h 234"/>
                <a:gd name="T4" fmla="*/ 120097 w 471"/>
                <a:gd name="T5" fmla="*/ 54850 h 234"/>
                <a:gd name="T6" fmla="*/ 164250 w 471"/>
                <a:gd name="T7" fmla="*/ 44925 h 234"/>
                <a:gd name="T8" fmla="*/ 169107 w 471"/>
                <a:gd name="T9" fmla="*/ 49627 h 234"/>
                <a:gd name="T10" fmla="*/ 172639 w 471"/>
                <a:gd name="T11" fmla="*/ 59552 h 234"/>
                <a:gd name="T12" fmla="*/ 179262 w 471"/>
                <a:gd name="T13" fmla="*/ 64776 h 234"/>
                <a:gd name="T14" fmla="*/ 187210 w 471"/>
                <a:gd name="T15" fmla="*/ 67388 h 234"/>
                <a:gd name="T16" fmla="*/ 191184 w 471"/>
                <a:gd name="T17" fmla="*/ 70000 h 234"/>
                <a:gd name="T18" fmla="*/ 194716 w 471"/>
                <a:gd name="T19" fmla="*/ 73656 h 234"/>
                <a:gd name="T20" fmla="*/ 197807 w 471"/>
                <a:gd name="T21" fmla="*/ 78880 h 234"/>
                <a:gd name="T22" fmla="*/ 200897 w 471"/>
                <a:gd name="T23" fmla="*/ 88805 h 234"/>
                <a:gd name="T24" fmla="*/ 207962 w 471"/>
                <a:gd name="T25" fmla="*/ 99253 h 234"/>
                <a:gd name="T26" fmla="*/ 154537 w 471"/>
                <a:gd name="T27" fmla="*/ 105522 h 234"/>
                <a:gd name="T28" fmla="*/ 145706 w 471"/>
                <a:gd name="T29" fmla="*/ 117014 h 234"/>
                <a:gd name="T30" fmla="*/ 139966 w 471"/>
                <a:gd name="T31" fmla="*/ 121716 h 234"/>
                <a:gd name="T32" fmla="*/ 135109 w 471"/>
                <a:gd name="T33" fmla="*/ 121716 h 234"/>
                <a:gd name="T34" fmla="*/ 131577 w 471"/>
                <a:gd name="T35" fmla="*/ 120148 h 234"/>
                <a:gd name="T36" fmla="*/ 128928 w 471"/>
                <a:gd name="T37" fmla="*/ 117014 h 234"/>
                <a:gd name="T38" fmla="*/ 127603 w 471"/>
                <a:gd name="T39" fmla="*/ 112835 h 234"/>
                <a:gd name="T40" fmla="*/ 125395 w 471"/>
                <a:gd name="T41" fmla="*/ 103955 h 234"/>
                <a:gd name="T42" fmla="*/ 122746 w 471"/>
                <a:gd name="T43" fmla="*/ 90895 h 234"/>
                <a:gd name="T44" fmla="*/ 118772 w 471"/>
                <a:gd name="T45" fmla="*/ 80970 h 234"/>
                <a:gd name="T46" fmla="*/ 113915 w 471"/>
                <a:gd name="T47" fmla="*/ 77313 h 234"/>
                <a:gd name="T48" fmla="*/ 108617 w 471"/>
                <a:gd name="T49" fmla="*/ 73656 h 234"/>
                <a:gd name="T50" fmla="*/ 104202 w 471"/>
                <a:gd name="T51" fmla="*/ 69477 h 234"/>
                <a:gd name="T52" fmla="*/ 98903 w 471"/>
                <a:gd name="T53" fmla="*/ 73134 h 234"/>
                <a:gd name="T54" fmla="*/ 91397 w 471"/>
                <a:gd name="T55" fmla="*/ 84626 h 234"/>
                <a:gd name="T56" fmla="*/ 88307 w 471"/>
                <a:gd name="T57" fmla="*/ 92462 h 234"/>
                <a:gd name="T58" fmla="*/ 83008 w 471"/>
                <a:gd name="T59" fmla="*/ 99253 h 234"/>
                <a:gd name="T60" fmla="*/ 73736 w 471"/>
                <a:gd name="T61" fmla="*/ 104999 h 234"/>
                <a:gd name="T62" fmla="*/ 64905 w 471"/>
                <a:gd name="T63" fmla="*/ 111268 h 234"/>
                <a:gd name="T64" fmla="*/ 57399 w 471"/>
                <a:gd name="T65" fmla="*/ 114402 h 234"/>
                <a:gd name="T66" fmla="*/ 50335 w 471"/>
                <a:gd name="T67" fmla="*/ 115969 h 234"/>
                <a:gd name="T68" fmla="*/ 42829 w 471"/>
                <a:gd name="T69" fmla="*/ 115447 h 234"/>
                <a:gd name="T70" fmla="*/ 36206 w 471"/>
                <a:gd name="T71" fmla="*/ 113357 h 234"/>
                <a:gd name="T72" fmla="*/ 27817 w 471"/>
                <a:gd name="T73" fmla="*/ 107089 h 234"/>
                <a:gd name="T74" fmla="*/ 26050 w 471"/>
                <a:gd name="T75" fmla="*/ 102910 h 234"/>
                <a:gd name="T76" fmla="*/ 26050 w 471"/>
                <a:gd name="T77" fmla="*/ 70522 h 234"/>
                <a:gd name="T78" fmla="*/ 0 w 471"/>
                <a:gd name="T79" fmla="*/ 51194 h 234"/>
                <a:gd name="T80" fmla="*/ 23401 w 471"/>
                <a:gd name="T81" fmla="*/ 41791 h 234"/>
                <a:gd name="T82" fmla="*/ 37972 w 471"/>
                <a:gd name="T83" fmla="*/ 15672 h 234"/>
                <a:gd name="T84" fmla="*/ 58724 w 471"/>
                <a:gd name="T85" fmla="*/ 0 h 234"/>
                <a:gd name="T86" fmla="*/ 73294 w 471"/>
                <a:gd name="T87" fmla="*/ 21940 h 2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6" name="Freeform 351">
              <a:extLst>
                <a:ext uri="{FF2B5EF4-FFF2-40B4-BE49-F238E27FC236}">
                  <a16:creationId xmlns:a16="http://schemas.microsoft.com/office/drawing/2014/main" id="{869DC12D-3DE7-400F-B3A1-8F5D1253CE16}"/>
                </a:ext>
              </a:extLst>
            </p:cNvPr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7134226" y="2300288"/>
              <a:ext cx="225425" cy="125412"/>
            </a:xfrm>
            <a:custGeom>
              <a:avLst/>
              <a:gdLst>
                <a:gd name="T0" fmla="*/ 45514 w 525"/>
                <a:gd name="T1" fmla="*/ 96271 h 241"/>
                <a:gd name="T2" fmla="*/ 74283 w 525"/>
                <a:gd name="T3" fmla="*/ 77016 h 241"/>
                <a:gd name="T4" fmla="*/ 39932 w 525"/>
                <a:gd name="T5" fmla="*/ 54640 h 241"/>
                <a:gd name="T6" fmla="*/ 20181 w 525"/>
                <a:gd name="T7" fmla="*/ 60885 h 241"/>
                <a:gd name="T8" fmla="*/ 28339 w 525"/>
                <a:gd name="T9" fmla="*/ 31743 h 241"/>
                <a:gd name="T10" fmla="*/ 17175 w 525"/>
                <a:gd name="T11" fmla="*/ 22376 h 241"/>
                <a:gd name="T12" fmla="*/ 48091 w 525"/>
                <a:gd name="T13" fmla="*/ 13010 h 241"/>
                <a:gd name="T14" fmla="*/ 79865 w 525"/>
                <a:gd name="T15" fmla="*/ 0 h 241"/>
                <a:gd name="T16" fmla="*/ 133967 w 525"/>
                <a:gd name="T17" fmla="*/ 9887 h 241"/>
                <a:gd name="T18" fmla="*/ 188498 w 525"/>
                <a:gd name="T19" fmla="*/ 13010 h 241"/>
                <a:gd name="T20" fmla="*/ 225425 w 525"/>
                <a:gd name="T21" fmla="*/ 28621 h 241"/>
                <a:gd name="T22" fmla="*/ 222849 w 525"/>
                <a:gd name="T23" fmla="*/ 35906 h 241"/>
                <a:gd name="T24" fmla="*/ 218984 w 525"/>
                <a:gd name="T25" fmla="*/ 42671 h 241"/>
                <a:gd name="T26" fmla="*/ 214261 w 525"/>
                <a:gd name="T27" fmla="*/ 47875 h 241"/>
                <a:gd name="T28" fmla="*/ 208250 w 525"/>
                <a:gd name="T29" fmla="*/ 51518 h 241"/>
                <a:gd name="T30" fmla="*/ 189786 w 525"/>
                <a:gd name="T31" fmla="*/ 53599 h 241"/>
                <a:gd name="T32" fmla="*/ 179481 w 525"/>
                <a:gd name="T33" fmla="*/ 55681 h 241"/>
                <a:gd name="T34" fmla="*/ 174758 w 525"/>
                <a:gd name="T35" fmla="*/ 57762 h 241"/>
                <a:gd name="T36" fmla="*/ 171323 w 525"/>
                <a:gd name="T37" fmla="*/ 60885 h 241"/>
                <a:gd name="T38" fmla="*/ 166170 w 525"/>
                <a:gd name="T39" fmla="*/ 70772 h 241"/>
                <a:gd name="T40" fmla="*/ 162306 w 525"/>
                <a:gd name="T41" fmla="*/ 76496 h 241"/>
                <a:gd name="T42" fmla="*/ 156724 w 525"/>
                <a:gd name="T43" fmla="*/ 80139 h 241"/>
                <a:gd name="T44" fmla="*/ 130961 w 525"/>
                <a:gd name="T45" fmla="*/ 86383 h 241"/>
                <a:gd name="T46" fmla="*/ 117221 w 525"/>
                <a:gd name="T47" fmla="*/ 90026 h 241"/>
                <a:gd name="T48" fmla="*/ 111639 w 525"/>
                <a:gd name="T49" fmla="*/ 92628 h 241"/>
                <a:gd name="T50" fmla="*/ 112068 w 525"/>
                <a:gd name="T51" fmla="*/ 99913 h 241"/>
                <a:gd name="T52" fmla="*/ 112927 w 525"/>
                <a:gd name="T53" fmla="*/ 105637 h 241"/>
                <a:gd name="T54" fmla="*/ 117221 w 525"/>
                <a:gd name="T55" fmla="*/ 115525 h 241"/>
                <a:gd name="T56" fmla="*/ 94034 w 525"/>
                <a:gd name="T57" fmla="*/ 118647 h 241"/>
                <a:gd name="T58" fmla="*/ 48091 w 525"/>
                <a:gd name="T59" fmla="*/ 121769 h 241"/>
                <a:gd name="T60" fmla="*/ 8588 w 525"/>
                <a:gd name="T61" fmla="*/ 115525 h 241"/>
                <a:gd name="T62" fmla="*/ 22757 w 525"/>
                <a:gd name="T63" fmla="*/ 86383 h 24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7" name="Freeform 352">
              <a:extLst>
                <a:ext uri="{FF2B5EF4-FFF2-40B4-BE49-F238E27FC236}">
                  <a16:creationId xmlns:a16="http://schemas.microsoft.com/office/drawing/2014/main" id="{E7FA5FB4-E83D-460E-A1BA-A9FBACEF08AD}"/>
                </a:ext>
              </a:extLst>
            </p:cNvPr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6740525" y="2316163"/>
              <a:ext cx="342900" cy="227012"/>
            </a:xfrm>
            <a:custGeom>
              <a:avLst/>
              <a:gdLst>
                <a:gd name="T0" fmla="*/ 335902 w 784"/>
                <a:gd name="T1" fmla="*/ 154157 h 430"/>
                <a:gd name="T2" fmla="*/ 328467 w 784"/>
                <a:gd name="T3" fmla="*/ 154685 h 430"/>
                <a:gd name="T4" fmla="*/ 319719 w 784"/>
                <a:gd name="T5" fmla="*/ 159436 h 430"/>
                <a:gd name="T6" fmla="*/ 316220 w 784"/>
                <a:gd name="T7" fmla="*/ 162604 h 430"/>
                <a:gd name="T8" fmla="*/ 313596 w 784"/>
                <a:gd name="T9" fmla="*/ 175274 h 430"/>
                <a:gd name="T10" fmla="*/ 311847 w 784"/>
                <a:gd name="T11" fmla="*/ 190057 h 430"/>
                <a:gd name="T12" fmla="*/ 307910 w 784"/>
                <a:gd name="T13" fmla="*/ 198504 h 430"/>
                <a:gd name="T14" fmla="*/ 293477 w 784"/>
                <a:gd name="T15" fmla="*/ 212230 h 430"/>
                <a:gd name="T16" fmla="*/ 276857 w 784"/>
                <a:gd name="T17" fmla="*/ 221733 h 430"/>
                <a:gd name="T18" fmla="*/ 267672 w 784"/>
                <a:gd name="T19" fmla="*/ 223844 h 430"/>
                <a:gd name="T20" fmla="*/ 256738 w 784"/>
                <a:gd name="T21" fmla="*/ 226484 h 430"/>
                <a:gd name="T22" fmla="*/ 247990 w 784"/>
                <a:gd name="T23" fmla="*/ 225956 h 430"/>
                <a:gd name="T24" fmla="*/ 238368 w 784"/>
                <a:gd name="T25" fmla="*/ 204839 h 430"/>
                <a:gd name="T26" fmla="*/ 225247 w 784"/>
                <a:gd name="T27" fmla="*/ 181610 h 430"/>
                <a:gd name="T28" fmla="*/ 209064 w 784"/>
                <a:gd name="T29" fmla="*/ 176330 h 430"/>
                <a:gd name="T30" fmla="*/ 195943 w 784"/>
                <a:gd name="T31" fmla="*/ 166299 h 430"/>
                <a:gd name="T32" fmla="*/ 182384 w 784"/>
                <a:gd name="T33" fmla="*/ 155213 h 430"/>
                <a:gd name="T34" fmla="*/ 163140 w 784"/>
                <a:gd name="T35" fmla="*/ 144654 h 430"/>
                <a:gd name="T36" fmla="*/ 133836 w 784"/>
                <a:gd name="T37" fmla="*/ 136207 h 430"/>
                <a:gd name="T38" fmla="*/ 79602 w 784"/>
                <a:gd name="T39" fmla="*/ 149406 h 430"/>
                <a:gd name="T40" fmla="*/ 66043 w 784"/>
                <a:gd name="T41" fmla="*/ 161548 h 430"/>
                <a:gd name="T42" fmla="*/ 55546 w 784"/>
                <a:gd name="T43" fmla="*/ 162604 h 430"/>
                <a:gd name="T44" fmla="*/ 28867 w 784"/>
                <a:gd name="T45" fmla="*/ 133040 h 430"/>
                <a:gd name="T46" fmla="*/ 28867 w 784"/>
                <a:gd name="T47" fmla="*/ 107699 h 430"/>
                <a:gd name="T48" fmla="*/ 17495 w 784"/>
                <a:gd name="T49" fmla="*/ 94500 h 430"/>
                <a:gd name="T50" fmla="*/ 18370 w 784"/>
                <a:gd name="T51" fmla="*/ 105059 h 430"/>
                <a:gd name="T52" fmla="*/ 15745 w 784"/>
                <a:gd name="T53" fmla="*/ 115090 h 430"/>
                <a:gd name="T54" fmla="*/ 13121 w 784"/>
                <a:gd name="T55" fmla="*/ 116674 h 430"/>
                <a:gd name="T56" fmla="*/ 13559 w 784"/>
                <a:gd name="T57" fmla="*/ 107171 h 430"/>
                <a:gd name="T58" fmla="*/ 11809 w 784"/>
                <a:gd name="T59" fmla="*/ 91861 h 430"/>
                <a:gd name="T60" fmla="*/ 14433 w 784"/>
                <a:gd name="T61" fmla="*/ 86053 h 430"/>
                <a:gd name="T62" fmla="*/ 17495 w 784"/>
                <a:gd name="T63" fmla="*/ 80246 h 430"/>
                <a:gd name="T64" fmla="*/ 11809 w 784"/>
                <a:gd name="T65" fmla="*/ 68104 h 430"/>
                <a:gd name="T66" fmla="*/ 3062 w 784"/>
                <a:gd name="T67" fmla="*/ 66520 h 430"/>
                <a:gd name="T68" fmla="*/ 0 w 784"/>
                <a:gd name="T69" fmla="*/ 61768 h 430"/>
                <a:gd name="T70" fmla="*/ 1312 w 784"/>
                <a:gd name="T71" fmla="*/ 54905 h 430"/>
                <a:gd name="T72" fmla="*/ 4811 w 784"/>
                <a:gd name="T73" fmla="*/ 49626 h 430"/>
                <a:gd name="T74" fmla="*/ 11809 w 784"/>
                <a:gd name="T75" fmla="*/ 48570 h 430"/>
                <a:gd name="T76" fmla="*/ 17932 w 784"/>
                <a:gd name="T77" fmla="*/ 52266 h 430"/>
                <a:gd name="T78" fmla="*/ 24930 w 784"/>
                <a:gd name="T79" fmla="*/ 54905 h 430"/>
                <a:gd name="T80" fmla="*/ 31053 w 784"/>
                <a:gd name="T81" fmla="*/ 48570 h 430"/>
                <a:gd name="T82" fmla="*/ 36302 w 784"/>
                <a:gd name="T83" fmla="*/ 40651 h 430"/>
                <a:gd name="T84" fmla="*/ 38051 w 784"/>
                <a:gd name="T85" fmla="*/ 33788 h 430"/>
                <a:gd name="T86" fmla="*/ 34115 w 784"/>
                <a:gd name="T87" fmla="*/ 29036 h 430"/>
                <a:gd name="T88" fmla="*/ 24055 w 784"/>
                <a:gd name="T89" fmla="*/ 25869 h 430"/>
                <a:gd name="T90" fmla="*/ 20557 w 784"/>
                <a:gd name="T91" fmla="*/ 21117 h 430"/>
                <a:gd name="T92" fmla="*/ 17932 w 784"/>
                <a:gd name="T93" fmla="*/ 14782 h 430"/>
                <a:gd name="T94" fmla="*/ 46799 w 784"/>
                <a:gd name="T95" fmla="*/ 22701 h 430"/>
                <a:gd name="T96" fmla="*/ 95785 w 784"/>
                <a:gd name="T97" fmla="*/ 39067 h 430"/>
                <a:gd name="T98" fmla="*/ 119403 w 784"/>
                <a:gd name="T99" fmla="*/ 0 h 430"/>
                <a:gd name="T100" fmla="*/ 163140 w 784"/>
                <a:gd name="T101" fmla="*/ 22701 h 430"/>
                <a:gd name="T102" fmla="*/ 203378 w 784"/>
                <a:gd name="T103" fmla="*/ 48570 h 430"/>
                <a:gd name="T104" fmla="*/ 258487 w 784"/>
                <a:gd name="T105" fmla="*/ 110866 h 430"/>
                <a:gd name="T106" fmla="*/ 316658 w 784"/>
                <a:gd name="T107" fmla="*/ 139903 h 430"/>
                <a:gd name="T108" fmla="*/ 340276 w 784"/>
                <a:gd name="T109" fmla="*/ 155741 h 4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8" name="Freeform 353">
              <a:extLst>
                <a:ext uri="{FF2B5EF4-FFF2-40B4-BE49-F238E27FC236}">
                  <a16:creationId xmlns:a16="http://schemas.microsoft.com/office/drawing/2014/main" id="{D1C0D44D-0683-4441-A3E8-CE14FAD8A71D}"/>
                </a:ext>
              </a:extLst>
            </p:cNvPr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5949950" y="2203451"/>
              <a:ext cx="107950" cy="149225"/>
            </a:xfrm>
            <a:custGeom>
              <a:avLst/>
              <a:gdLst>
                <a:gd name="T0" fmla="*/ 13165 w 246"/>
                <a:gd name="T1" fmla="*/ 14187 h 284"/>
                <a:gd name="T2" fmla="*/ 12287 w 246"/>
                <a:gd name="T3" fmla="*/ 12611 h 284"/>
                <a:gd name="T4" fmla="*/ 10532 w 246"/>
                <a:gd name="T5" fmla="*/ 8932 h 284"/>
                <a:gd name="T6" fmla="*/ 15359 w 246"/>
                <a:gd name="T7" fmla="*/ 2627 h 284"/>
                <a:gd name="T8" fmla="*/ 29401 w 246"/>
                <a:gd name="T9" fmla="*/ 525 h 284"/>
                <a:gd name="T10" fmla="*/ 55291 w 246"/>
                <a:gd name="T11" fmla="*/ 6305 h 284"/>
                <a:gd name="T12" fmla="*/ 57486 w 246"/>
                <a:gd name="T13" fmla="*/ 15763 h 284"/>
                <a:gd name="T14" fmla="*/ 60996 w 246"/>
                <a:gd name="T15" fmla="*/ 24170 h 284"/>
                <a:gd name="T16" fmla="*/ 66262 w 246"/>
                <a:gd name="T17" fmla="*/ 29950 h 284"/>
                <a:gd name="T18" fmla="*/ 72405 w 246"/>
                <a:gd name="T19" fmla="*/ 35204 h 284"/>
                <a:gd name="T20" fmla="*/ 83815 w 246"/>
                <a:gd name="T21" fmla="*/ 45713 h 284"/>
                <a:gd name="T22" fmla="*/ 89081 w 246"/>
                <a:gd name="T23" fmla="*/ 53069 h 284"/>
                <a:gd name="T24" fmla="*/ 93030 w 246"/>
                <a:gd name="T25" fmla="*/ 61476 h 284"/>
                <a:gd name="T26" fmla="*/ 99174 w 246"/>
                <a:gd name="T27" fmla="*/ 61476 h 284"/>
                <a:gd name="T28" fmla="*/ 96979 w 246"/>
                <a:gd name="T29" fmla="*/ 65155 h 284"/>
                <a:gd name="T30" fmla="*/ 96979 w 246"/>
                <a:gd name="T31" fmla="*/ 67782 h 284"/>
                <a:gd name="T32" fmla="*/ 100051 w 246"/>
                <a:gd name="T33" fmla="*/ 73562 h 284"/>
                <a:gd name="T34" fmla="*/ 104878 w 246"/>
                <a:gd name="T35" fmla="*/ 80918 h 284"/>
                <a:gd name="T36" fmla="*/ 107072 w 246"/>
                <a:gd name="T37" fmla="*/ 85121 h 284"/>
                <a:gd name="T38" fmla="*/ 107950 w 246"/>
                <a:gd name="T39" fmla="*/ 90901 h 284"/>
                <a:gd name="T40" fmla="*/ 105756 w 246"/>
                <a:gd name="T41" fmla="*/ 96681 h 284"/>
                <a:gd name="T42" fmla="*/ 102245 w 246"/>
                <a:gd name="T43" fmla="*/ 100885 h 284"/>
                <a:gd name="T44" fmla="*/ 97857 w 246"/>
                <a:gd name="T45" fmla="*/ 104037 h 284"/>
                <a:gd name="T46" fmla="*/ 96541 w 246"/>
                <a:gd name="T47" fmla="*/ 107190 h 284"/>
                <a:gd name="T48" fmla="*/ 82937 w 246"/>
                <a:gd name="T49" fmla="*/ 112970 h 284"/>
                <a:gd name="T50" fmla="*/ 71967 w 246"/>
                <a:gd name="T51" fmla="*/ 120851 h 284"/>
                <a:gd name="T52" fmla="*/ 49587 w 246"/>
                <a:gd name="T53" fmla="*/ 139242 h 284"/>
                <a:gd name="T54" fmla="*/ 38616 w 246"/>
                <a:gd name="T55" fmla="*/ 121377 h 284"/>
                <a:gd name="T56" fmla="*/ 34667 w 246"/>
                <a:gd name="T57" fmla="*/ 115597 h 284"/>
                <a:gd name="T58" fmla="*/ 31595 w 246"/>
                <a:gd name="T59" fmla="*/ 113495 h 284"/>
                <a:gd name="T60" fmla="*/ 26329 w 246"/>
                <a:gd name="T61" fmla="*/ 114021 h 284"/>
                <a:gd name="T62" fmla="*/ 23696 w 246"/>
                <a:gd name="T63" fmla="*/ 116122 h 284"/>
                <a:gd name="T64" fmla="*/ 21502 w 246"/>
                <a:gd name="T65" fmla="*/ 119800 h 284"/>
                <a:gd name="T66" fmla="*/ 21063 w 246"/>
                <a:gd name="T67" fmla="*/ 124004 h 284"/>
                <a:gd name="T68" fmla="*/ 19747 w 246"/>
                <a:gd name="T69" fmla="*/ 135038 h 284"/>
                <a:gd name="T70" fmla="*/ 17992 w 246"/>
                <a:gd name="T71" fmla="*/ 141869 h 284"/>
                <a:gd name="T72" fmla="*/ 14481 w 246"/>
                <a:gd name="T73" fmla="*/ 149225 h 284"/>
                <a:gd name="T74" fmla="*/ 11409 w 246"/>
                <a:gd name="T75" fmla="*/ 127682 h 284"/>
                <a:gd name="T76" fmla="*/ 7460 w 246"/>
                <a:gd name="T77" fmla="*/ 119275 h 284"/>
                <a:gd name="T78" fmla="*/ 4827 w 246"/>
                <a:gd name="T79" fmla="*/ 116122 h 284"/>
                <a:gd name="T80" fmla="*/ 0 w 246"/>
                <a:gd name="T81" fmla="*/ 113495 h 284"/>
                <a:gd name="T82" fmla="*/ 439 w 246"/>
                <a:gd name="T83" fmla="*/ 107190 h 284"/>
                <a:gd name="T84" fmla="*/ 1755 w 246"/>
                <a:gd name="T85" fmla="*/ 101410 h 284"/>
                <a:gd name="T86" fmla="*/ 6582 w 246"/>
                <a:gd name="T87" fmla="*/ 92477 h 284"/>
                <a:gd name="T88" fmla="*/ 13603 w 246"/>
                <a:gd name="T89" fmla="*/ 84596 h 284"/>
                <a:gd name="T90" fmla="*/ 20186 w 246"/>
                <a:gd name="T91" fmla="*/ 74087 h 284"/>
                <a:gd name="T92" fmla="*/ 14481 w 246"/>
                <a:gd name="T93" fmla="*/ 23119 h 28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9" name="Freeform 354">
              <a:extLst>
                <a:ext uri="{FF2B5EF4-FFF2-40B4-BE49-F238E27FC236}">
                  <a16:creationId xmlns:a16="http://schemas.microsoft.com/office/drawing/2014/main" id="{D16C6460-52DD-43AB-929B-E2B931B2C2D6}"/>
                </a:ext>
              </a:extLst>
            </p:cNvPr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5997576" y="2311401"/>
              <a:ext cx="68263" cy="60325"/>
            </a:xfrm>
            <a:custGeom>
              <a:avLst/>
              <a:gdLst>
                <a:gd name="T0" fmla="*/ 48637 w 160"/>
                <a:gd name="T1" fmla="*/ 0 h 117"/>
                <a:gd name="T2" fmla="*/ 48637 w 160"/>
                <a:gd name="T3" fmla="*/ 4640 h 117"/>
                <a:gd name="T4" fmla="*/ 48637 w 160"/>
                <a:gd name="T5" fmla="*/ 9281 h 117"/>
                <a:gd name="T6" fmla="*/ 49064 w 160"/>
                <a:gd name="T7" fmla="*/ 12890 h 117"/>
                <a:gd name="T8" fmla="*/ 49917 w 160"/>
                <a:gd name="T9" fmla="*/ 16499 h 117"/>
                <a:gd name="T10" fmla="*/ 50771 w 160"/>
                <a:gd name="T11" fmla="*/ 17530 h 117"/>
                <a:gd name="T12" fmla="*/ 51624 w 160"/>
                <a:gd name="T13" fmla="*/ 19077 h 117"/>
                <a:gd name="T14" fmla="*/ 52477 w 160"/>
                <a:gd name="T15" fmla="*/ 19593 h 117"/>
                <a:gd name="T16" fmla="*/ 54184 w 160"/>
                <a:gd name="T17" fmla="*/ 20108 h 117"/>
                <a:gd name="T18" fmla="*/ 55890 w 160"/>
                <a:gd name="T19" fmla="*/ 20624 h 117"/>
                <a:gd name="T20" fmla="*/ 57597 w 160"/>
                <a:gd name="T21" fmla="*/ 20108 h 117"/>
                <a:gd name="T22" fmla="*/ 59730 w 160"/>
                <a:gd name="T23" fmla="*/ 19593 h 117"/>
                <a:gd name="T24" fmla="*/ 62290 w 160"/>
                <a:gd name="T25" fmla="*/ 18562 h 117"/>
                <a:gd name="T26" fmla="*/ 63570 w 160"/>
                <a:gd name="T27" fmla="*/ 22171 h 117"/>
                <a:gd name="T28" fmla="*/ 65276 w 160"/>
                <a:gd name="T29" fmla="*/ 26811 h 117"/>
                <a:gd name="T30" fmla="*/ 66983 w 160"/>
                <a:gd name="T31" fmla="*/ 32998 h 117"/>
                <a:gd name="T32" fmla="*/ 68263 w 160"/>
                <a:gd name="T33" fmla="*/ 38154 h 117"/>
                <a:gd name="T34" fmla="*/ 56744 w 160"/>
                <a:gd name="T35" fmla="*/ 45373 h 117"/>
                <a:gd name="T36" fmla="*/ 45224 w 160"/>
                <a:gd name="T37" fmla="*/ 52591 h 117"/>
                <a:gd name="T38" fmla="*/ 39251 w 160"/>
                <a:gd name="T39" fmla="*/ 55169 h 117"/>
                <a:gd name="T40" fmla="*/ 32425 w 160"/>
                <a:gd name="T41" fmla="*/ 58263 h 117"/>
                <a:gd name="T42" fmla="*/ 26452 w 160"/>
                <a:gd name="T43" fmla="*/ 59809 h 117"/>
                <a:gd name="T44" fmla="*/ 20052 w 160"/>
                <a:gd name="T45" fmla="*/ 60325 h 117"/>
                <a:gd name="T46" fmla="*/ 13653 w 160"/>
                <a:gd name="T47" fmla="*/ 51044 h 117"/>
                <a:gd name="T48" fmla="*/ 8960 w 160"/>
                <a:gd name="T49" fmla="*/ 42795 h 117"/>
                <a:gd name="T50" fmla="*/ 4266 w 160"/>
                <a:gd name="T51" fmla="*/ 35576 h 117"/>
                <a:gd name="T52" fmla="*/ 0 w 160"/>
                <a:gd name="T53" fmla="*/ 28358 h 117"/>
                <a:gd name="T54" fmla="*/ 5546 w 160"/>
                <a:gd name="T55" fmla="*/ 24749 h 117"/>
                <a:gd name="T56" fmla="*/ 17492 w 160"/>
                <a:gd name="T57" fmla="*/ 16499 h 117"/>
                <a:gd name="T58" fmla="*/ 25599 w 160"/>
                <a:gd name="T59" fmla="*/ 11859 h 117"/>
                <a:gd name="T60" fmla="*/ 33278 w 160"/>
                <a:gd name="T61" fmla="*/ 7218 h 117"/>
                <a:gd name="T62" fmla="*/ 41384 w 160"/>
                <a:gd name="T63" fmla="*/ 3094 h 117"/>
                <a:gd name="T64" fmla="*/ 48637 w 160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0" name="Freeform 355">
              <a:extLst>
                <a:ext uri="{FF2B5EF4-FFF2-40B4-BE49-F238E27FC236}">
                  <a16:creationId xmlns:a16="http://schemas.microsoft.com/office/drawing/2014/main" id="{71B3B094-6328-4CDD-87EC-F6A9764A7DCA}"/>
                </a:ext>
              </a:extLst>
            </p:cNvPr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6081713" y="2935289"/>
              <a:ext cx="411162" cy="611187"/>
            </a:xfrm>
            <a:custGeom>
              <a:avLst/>
              <a:gdLst>
                <a:gd name="T0" fmla="*/ 323523 w 943"/>
                <a:gd name="T1" fmla="*/ 2607 h 1172"/>
                <a:gd name="T2" fmla="*/ 333551 w 943"/>
                <a:gd name="T3" fmla="*/ 11994 h 1172"/>
                <a:gd name="T4" fmla="*/ 350120 w 943"/>
                <a:gd name="T5" fmla="*/ 15645 h 1172"/>
                <a:gd name="T6" fmla="*/ 354916 w 943"/>
                <a:gd name="T7" fmla="*/ 28682 h 1172"/>
                <a:gd name="T8" fmla="*/ 364072 w 943"/>
                <a:gd name="T9" fmla="*/ 56842 h 1172"/>
                <a:gd name="T10" fmla="*/ 364944 w 943"/>
                <a:gd name="T11" fmla="*/ 97519 h 1172"/>
                <a:gd name="T12" fmla="*/ 373665 w 943"/>
                <a:gd name="T13" fmla="*/ 126722 h 1172"/>
                <a:gd name="T14" fmla="*/ 402006 w 943"/>
                <a:gd name="T15" fmla="*/ 152275 h 1172"/>
                <a:gd name="T16" fmla="*/ 383257 w 943"/>
                <a:gd name="T17" fmla="*/ 188258 h 1172"/>
                <a:gd name="T18" fmla="*/ 371049 w 943"/>
                <a:gd name="T19" fmla="*/ 213811 h 1172"/>
                <a:gd name="T20" fmla="*/ 352736 w 943"/>
                <a:gd name="T21" fmla="*/ 331147 h 1172"/>
                <a:gd name="T22" fmla="*/ 335731 w 943"/>
                <a:gd name="T23" fmla="*/ 353049 h 1172"/>
                <a:gd name="T24" fmla="*/ 332679 w 943"/>
                <a:gd name="T25" fmla="*/ 375995 h 1172"/>
                <a:gd name="T26" fmla="*/ 324831 w 943"/>
                <a:gd name="T27" fmla="*/ 383296 h 1172"/>
                <a:gd name="T28" fmla="*/ 315239 w 943"/>
                <a:gd name="T29" fmla="*/ 416150 h 1172"/>
                <a:gd name="T30" fmla="*/ 301722 w 943"/>
                <a:gd name="T31" fmla="*/ 457347 h 1172"/>
                <a:gd name="T32" fmla="*/ 288642 w 943"/>
                <a:gd name="T33" fmla="*/ 470906 h 1172"/>
                <a:gd name="T34" fmla="*/ 289514 w 943"/>
                <a:gd name="T35" fmla="*/ 487072 h 1172"/>
                <a:gd name="T36" fmla="*/ 299106 w 943"/>
                <a:gd name="T37" fmla="*/ 489680 h 1172"/>
                <a:gd name="T38" fmla="*/ 309135 w 943"/>
                <a:gd name="T39" fmla="*/ 495416 h 1172"/>
                <a:gd name="T40" fmla="*/ 323523 w 943"/>
                <a:gd name="T41" fmla="*/ 506367 h 1172"/>
                <a:gd name="T42" fmla="*/ 329627 w 943"/>
                <a:gd name="T43" fmla="*/ 525141 h 1172"/>
                <a:gd name="T44" fmla="*/ 337912 w 943"/>
                <a:gd name="T45" fmla="*/ 543915 h 1172"/>
                <a:gd name="T46" fmla="*/ 350120 w 943"/>
                <a:gd name="T47" fmla="*/ 549130 h 1172"/>
                <a:gd name="T48" fmla="*/ 352736 w 943"/>
                <a:gd name="T49" fmla="*/ 570511 h 1172"/>
                <a:gd name="T50" fmla="*/ 313059 w 943"/>
                <a:gd name="T51" fmla="*/ 581462 h 1172"/>
                <a:gd name="T52" fmla="*/ 299542 w 943"/>
                <a:gd name="T53" fmla="*/ 603365 h 1172"/>
                <a:gd name="T54" fmla="*/ 260737 w 943"/>
                <a:gd name="T55" fmla="*/ 610144 h 1172"/>
                <a:gd name="T56" fmla="*/ 224548 w 943"/>
                <a:gd name="T57" fmla="*/ 603886 h 1172"/>
                <a:gd name="T58" fmla="*/ 202311 w 943"/>
                <a:gd name="T59" fmla="*/ 585634 h 1172"/>
                <a:gd name="T60" fmla="*/ 170046 w 943"/>
                <a:gd name="T61" fmla="*/ 586677 h 1172"/>
                <a:gd name="T62" fmla="*/ 139089 w 943"/>
                <a:gd name="T63" fmla="*/ 584069 h 1172"/>
                <a:gd name="T64" fmla="*/ 129496 w 943"/>
                <a:gd name="T65" fmla="*/ 575726 h 1172"/>
                <a:gd name="T66" fmla="*/ 128188 w 943"/>
                <a:gd name="T67" fmla="*/ 560602 h 1172"/>
                <a:gd name="T68" fmla="*/ 119468 w 943"/>
                <a:gd name="T69" fmla="*/ 536614 h 1172"/>
                <a:gd name="T70" fmla="*/ 94179 w 943"/>
                <a:gd name="T71" fmla="*/ 507932 h 1172"/>
                <a:gd name="T72" fmla="*/ 84151 w 943"/>
                <a:gd name="T73" fmla="*/ 482379 h 1172"/>
                <a:gd name="T74" fmla="*/ 66274 w 943"/>
                <a:gd name="T75" fmla="*/ 470906 h 1172"/>
                <a:gd name="T76" fmla="*/ 52322 w 943"/>
                <a:gd name="T77" fmla="*/ 441181 h 1172"/>
                <a:gd name="T78" fmla="*/ 42293 w 943"/>
                <a:gd name="T79" fmla="*/ 410935 h 1172"/>
                <a:gd name="T80" fmla="*/ 28341 w 943"/>
                <a:gd name="T81" fmla="*/ 395290 h 1172"/>
                <a:gd name="T82" fmla="*/ 14388 w 943"/>
                <a:gd name="T83" fmla="*/ 352528 h 1172"/>
                <a:gd name="T84" fmla="*/ 1744 w 943"/>
                <a:gd name="T85" fmla="*/ 318631 h 1172"/>
                <a:gd name="T86" fmla="*/ 7848 w 943"/>
                <a:gd name="T87" fmla="*/ 300900 h 1172"/>
                <a:gd name="T88" fmla="*/ 12644 w 943"/>
                <a:gd name="T89" fmla="*/ 271697 h 1172"/>
                <a:gd name="T90" fmla="*/ 27905 w 943"/>
                <a:gd name="T91" fmla="*/ 247187 h 1172"/>
                <a:gd name="T92" fmla="*/ 49270 w 943"/>
                <a:gd name="T93" fmla="*/ 115771 h 1172"/>
                <a:gd name="T94" fmla="*/ 53630 w 943"/>
                <a:gd name="T95" fmla="*/ 93347 h 1172"/>
                <a:gd name="T96" fmla="*/ 66710 w 943"/>
                <a:gd name="T97" fmla="*/ 89175 h 1172"/>
                <a:gd name="T98" fmla="*/ 69762 w 943"/>
                <a:gd name="T99" fmla="*/ 63622 h 1172"/>
                <a:gd name="T100" fmla="*/ 69326 w 943"/>
                <a:gd name="T101" fmla="*/ 34940 h 1172"/>
                <a:gd name="T102" fmla="*/ 296054 w 943"/>
                <a:gd name="T103" fmla="*/ 35983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1" name="Freeform 356">
              <a:extLst>
                <a:ext uri="{FF2B5EF4-FFF2-40B4-BE49-F238E27FC236}">
                  <a16:creationId xmlns:a16="http://schemas.microsoft.com/office/drawing/2014/main" id="{E37028D7-10C5-43F2-BCBB-61534ED7E25F}"/>
                </a:ext>
              </a:extLst>
            </p:cNvPr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6565901" y="3275013"/>
              <a:ext cx="244475" cy="431800"/>
            </a:xfrm>
            <a:custGeom>
              <a:avLst/>
              <a:gdLst>
                <a:gd name="T0" fmla="*/ 43091 w 556"/>
                <a:gd name="T1" fmla="*/ 32688 h 819"/>
                <a:gd name="T2" fmla="*/ 49247 w 556"/>
                <a:gd name="T3" fmla="*/ 29525 h 819"/>
                <a:gd name="T4" fmla="*/ 56722 w 556"/>
                <a:gd name="T5" fmla="*/ 36379 h 819"/>
                <a:gd name="T6" fmla="*/ 65516 w 556"/>
                <a:gd name="T7" fmla="*/ 44814 h 819"/>
                <a:gd name="T8" fmla="*/ 75189 w 556"/>
                <a:gd name="T9" fmla="*/ 48505 h 819"/>
                <a:gd name="T10" fmla="*/ 94536 w 556"/>
                <a:gd name="T11" fmla="*/ 46396 h 819"/>
                <a:gd name="T12" fmla="*/ 113004 w 556"/>
                <a:gd name="T13" fmla="*/ 43233 h 819"/>
                <a:gd name="T14" fmla="*/ 127954 w 556"/>
                <a:gd name="T15" fmla="*/ 41651 h 819"/>
                <a:gd name="T16" fmla="*/ 132351 w 556"/>
                <a:gd name="T17" fmla="*/ 39015 h 819"/>
                <a:gd name="T18" fmla="*/ 132351 w 556"/>
                <a:gd name="T19" fmla="*/ 35852 h 819"/>
                <a:gd name="T20" fmla="*/ 156095 w 556"/>
                <a:gd name="T21" fmla="*/ 33215 h 819"/>
                <a:gd name="T22" fmla="*/ 190831 w 556"/>
                <a:gd name="T23" fmla="*/ 23725 h 819"/>
                <a:gd name="T24" fmla="*/ 210618 w 556"/>
                <a:gd name="T25" fmla="*/ 14762 h 819"/>
                <a:gd name="T26" fmla="*/ 226007 w 556"/>
                <a:gd name="T27" fmla="*/ 4218 h 819"/>
                <a:gd name="T28" fmla="*/ 240518 w 556"/>
                <a:gd name="T29" fmla="*/ 16344 h 819"/>
                <a:gd name="T30" fmla="*/ 244035 w 556"/>
                <a:gd name="T31" fmla="*/ 30052 h 819"/>
                <a:gd name="T32" fmla="*/ 242716 w 556"/>
                <a:gd name="T33" fmla="*/ 59577 h 819"/>
                <a:gd name="T34" fmla="*/ 233922 w 556"/>
                <a:gd name="T35" fmla="*/ 91738 h 819"/>
                <a:gd name="T36" fmla="*/ 220731 w 556"/>
                <a:gd name="T37" fmla="*/ 121790 h 819"/>
                <a:gd name="T38" fmla="*/ 196547 w 556"/>
                <a:gd name="T39" fmla="*/ 169240 h 819"/>
                <a:gd name="T40" fmla="*/ 185994 w 556"/>
                <a:gd name="T41" fmla="*/ 197711 h 819"/>
                <a:gd name="T42" fmla="*/ 180278 w 556"/>
                <a:gd name="T43" fmla="*/ 218800 h 819"/>
                <a:gd name="T44" fmla="*/ 166648 w 556"/>
                <a:gd name="T45" fmla="*/ 249379 h 819"/>
                <a:gd name="T46" fmla="*/ 145102 w 556"/>
                <a:gd name="T47" fmla="*/ 279958 h 819"/>
                <a:gd name="T48" fmla="*/ 126635 w 556"/>
                <a:gd name="T49" fmla="*/ 298411 h 819"/>
                <a:gd name="T50" fmla="*/ 105089 w 556"/>
                <a:gd name="T51" fmla="*/ 316337 h 819"/>
                <a:gd name="T52" fmla="*/ 73870 w 556"/>
                <a:gd name="T53" fmla="*/ 343226 h 819"/>
                <a:gd name="T54" fmla="*/ 62878 w 556"/>
                <a:gd name="T55" fmla="*/ 358515 h 819"/>
                <a:gd name="T56" fmla="*/ 57601 w 556"/>
                <a:gd name="T57" fmla="*/ 369060 h 819"/>
                <a:gd name="T58" fmla="*/ 51006 w 556"/>
                <a:gd name="T59" fmla="*/ 378023 h 819"/>
                <a:gd name="T60" fmla="*/ 31219 w 556"/>
                <a:gd name="T61" fmla="*/ 392785 h 819"/>
                <a:gd name="T62" fmla="*/ 8354 w 556"/>
                <a:gd name="T63" fmla="*/ 422310 h 819"/>
                <a:gd name="T64" fmla="*/ 879 w 556"/>
                <a:gd name="T65" fmla="*/ 297357 h 819"/>
                <a:gd name="T66" fmla="*/ 1319 w 556"/>
                <a:gd name="T67" fmla="*/ 292084 h 819"/>
                <a:gd name="T68" fmla="*/ 11872 w 556"/>
                <a:gd name="T69" fmla="*/ 281013 h 819"/>
                <a:gd name="T70" fmla="*/ 18468 w 556"/>
                <a:gd name="T71" fmla="*/ 272050 h 819"/>
                <a:gd name="T72" fmla="*/ 26382 w 556"/>
                <a:gd name="T73" fmla="*/ 262032 h 819"/>
                <a:gd name="T74" fmla="*/ 48807 w 556"/>
                <a:gd name="T75" fmla="*/ 253070 h 819"/>
                <a:gd name="T76" fmla="*/ 52325 w 556"/>
                <a:gd name="T77" fmla="*/ 247797 h 819"/>
                <a:gd name="T78" fmla="*/ 56722 w 556"/>
                <a:gd name="T79" fmla="*/ 238307 h 819"/>
                <a:gd name="T80" fmla="*/ 66835 w 556"/>
                <a:gd name="T81" fmla="*/ 231980 h 819"/>
                <a:gd name="T82" fmla="*/ 76508 w 556"/>
                <a:gd name="T83" fmla="*/ 231453 h 819"/>
                <a:gd name="T84" fmla="*/ 86182 w 556"/>
                <a:gd name="T85" fmla="*/ 231453 h 819"/>
                <a:gd name="T86" fmla="*/ 100252 w 556"/>
                <a:gd name="T87" fmla="*/ 226181 h 819"/>
                <a:gd name="T88" fmla="*/ 110366 w 556"/>
                <a:gd name="T89" fmla="*/ 213527 h 819"/>
                <a:gd name="T90" fmla="*/ 116521 w 556"/>
                <a:gd name="T91" fmla="*/ 199820 h 819"/>
                <a:gd name="T92" fmla="*/ 130152 w 556"/>
                <a:gd name="T93" fmla="*/ 182948 h 819"/>
                <a:gd name="T94" fmla="*/ 155655 w 556"/>
                <a:gd name="T95" fmla="*/ 154478 h 819"/>
                <a:gd name="T96" fmla="*/ 165768 w 556"/>
                <a:gd name="T97" fmla="*/ 140243 h 819"/>
                <a:gd name="T98" fmla="*/ 142464 w 556"/>
                <a:gd name="T99" fmla="*/ 129698 h 819"/>
                <a:gd name="T100" fmla="*/ 113004 w 556"/>
                <a:gd name="T101" fmla="*/ 120208 h 819"/>
                <a:gd name="T102" fmla="*/ 80905 w 556"/>
                <a:gd name="T103" fmla="*/ 110191 h 819"/>
                <a:gd name="T104" fmla="*/ 65516 w 556"/>
                <a:gd name="T105" fmla="*/ 98592 h 819"/>
                <a:gd name="T106" fmla="*/ 49247 w 556"/>
                <a:gd name="T107" fmla="*/ 81193 h 819"/>
                <a:gd name="T108" fmla="*/ 39134 w 556"/>
                <a:gd name="T109" fmla="*/ 63795 h 819"/>
                <a:gd name="T110" fmla="*/ 33857 w 556"/>
                <a:gd name="T111" fmla="*/ 42178 h 819"/>
                <a:gd name="T112" fmla="*/ 28581 w 556"/>
                <a:gd name="T113" fmla="*/ 45869 h 819"/>
                <a:gd name="T114" fmla="*/ 36935 w 556"/>
                <a:gd name="T115" fmla="*/ 35852 h 81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2" name="Freeform 357">
              <a:extLst>
                <a:ext uri="{FF2B5EF4-FFF2-40B4-BE49-F238E27FC236}">
                  <a16:creationId xmlns:a16="http://schemas.microsoft.com/office/drawing/2014/main" id="{A7A0C4F3-0A33-4F38-AC94-E496C0E156DC}"/>
                </a:ext>
              </a:extLst>
            </p:cNvPr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6573838" y="3262314"/>
              <a:ext cx="38100" cy="58737"/>
            </a:xfrm>
            <a:custGeom>
              <a:avLst/>
              <a:gdLst>
                <a:gd name="T0" fmla="*/ 26138 w 86"/>
                <a:gd name="T1" fmla="*/ 0 h 97"/>
                <a:gd name="T2" fmla="*/ 24809 w 86"/>
                <a:gd name="T3" fmla="*/ 1211 h 97"/>
                <a:gd name="T4" fmla="*/ 23037 w 86"/>
                <a:gd name="T5" fmla="*/ 1817 h 97"/>
                <a:gd name="T6" fmla="*/ 20379 w 86"/>
                <a:gd name="T7" fmla="*/ 1817 h 97"/>
                <a:gd name="T8" fmla="*/ 17721 w 86"/>
                <a:gd name="T9" fmla="*/ 1817 h 97"/>
                <a:gd name="T10" fmla="*/ 14620 w 86"/>
                <a:gd name="T11" fmla="*/ 1817 h 97"/>
                <a:gd name="T12" fmla="*/ 11962 w 86"/>
                <a:gd name="T13" fmla="*/ 1817 h 97"/>
                <a:gd name="T14" fmla="*/ 10190 w 86"/>
                <a:gd name="T15" fmla="*/ 2422 h 97"/>
                <a:gd name="T16" fmla="*/ 8860 w 86"/>
                <a:gd name="T17" fmla="*/ 3633 h 97"/>
                <a:gd name="T18" fmla="*/ 7088 w 86"/>
                <a:gd name="T19" fmla="*/ 5450 h 97"/>
                <a:gd name="T20" fmla="*/ 5759 w 86"/>
                <a:gd name="T21" fmla="*/ 7266 h 97"/>
                <a:gd name="T22" fmla="*/ 4873 w 86"/>
                <a:gd name="T23" fmla="*/ 9083 h 97"/>
                <a:gd name="T24" fmla="*/ 3544 w 86"/>
                <a:gd name="T25" fmla="*/ 12111 h 97"/>
                <a:gd name="T26" fmla="*/ 1772 w 86"/>
                <a:gd name="T27" fmla="*/ 17561 h 97"/>
                <a:gd name="T28" fmla="*/ 886 w 86"/>
                <a:gd name="T29" fmla="*/ 23010 h 97"/>
                <a:gd name="T30" fmla="*/ 0 w 86"/>
                <a:gd name="T31" fmla="*/ 34516 h 97"/>
                <a:gd name="T32" fmla="*/ 0 w 86"/>
                <a:gd name="T33" fmla="*/ 45415 h 97"/>
                <a:gd name="T34" fmla="*/ 0 w 86"/>
                <a:gd name="T35" fmla="*/ 49048 h 97"/>
                <a:gd name="T36" fmla="*/ 443 w 86"/>
                <a:gd name="T37" fmla="*/ 52076 h 97"/>
                <a:gd name="T38" fmla="*/ 1329 w 86"/>
                <a:gd name="T39" fmla="*/ 54498 h 97"/>
                <a:gd name="T40" fmla="*/ 3101 w 86"/>
                <a:gd name="T41" fmla="*/ 56315 h 97"/>
                <a:gd name="T42" fmla="*/ 4430 w 86"/>
                <a:gd name="T43" fmla="*/ 57526 h 97"/>
                <a:gd name="T44" fmla="*/ 5759 w 86"/>
                <a:gd name="T45" fmla="*/ 58131 h 97"/>
                <a:gd name="T46" fmla="*/ 7974 w 86"/>
                <a:gd name="T47" fmla="*/ 58737 h 97"/>
                <a:gd name="T48" fmla="*/ 9303 w 86"/>
                <a:gd name="T49" fmla="*/ 58737 h 97"/>
                <a:gd name="T50" fmla="*/ 17721 w 86"/>
                <a:gd name="T51" fmla="*/ 57526 h 97"/>
                <a:gd name="T52" fmla="*/ 23480 w 86"/>
                <a:gd name="T53" fmla="*/ 56315 h 97"/>
                <a:gd name="T54" fmla="*/ 38100 w 86"/>
                <a:gd name="T55" fmla="*/ 41176 h 97"/>
                <a:gd name="T56" fmla="*/ 26138 w 86"/>
                <a:gd name="T57" fmla="*/ 0 h 9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3" name="Freeform 358">
              <a:extLst>
                <a:ext uri="{FF2B5EF4-FFF2-40B4-BE49-F238E27FC236}">
                  <a16:creationId xmlns:a16="http://schemas.microsoft.com/office/drawing/2014/main" id="{9BF87452-525D-4B88-86F2-63F9FBA462EE}"/>
                </a:ext>
              </a:extLst>
            </p:cNvPr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6372225" y="3173414"/>
              <a:ext cx="363538" cy="376237"/>
            </a:xfrm>
            <a:custGeom>
              <a:avLst/>
              <a:gdLst>
                <a:gd name="T0" fmla="*/ 78300 w 845"/>
                <a:gd name="T1" fmla="*/ 18812 h 720"/>
                <a:gd name="T2" fmla="*/ 88196 w 845"/>
                <a:gd name="T3" fmla="*/ 14631 h 720"/>
                <a:gd name="T4" fmla="*/ 106265 w 845"/>
                <a:gd name="T5" fmla="*/ 0 h 720"/>
                <a:gd name="T6" fmla="*/ 117451 w 845"/>
                <a:gd name="T7" fmla="*/ 6271 h 720"/>
                <a:gd name="T8" fmla="*/ 140683 w 845"/>
                <a:gd name="T9" fmla="*/ 19334 h 720"/>
                <a:gd name="T10" fmla="*/ 163485 w 845"/>
                <a:gd name="T11" fmla="*/ 35011 h 720"/>
                <a:gd name="T12" fmla="*/ 183275 w 845"/>
                <a:gd name="T13" fmla="*/ 51210 h 720"/>
                <a:gd name="T14" fmla="*/ 190158 w 845"/>
                <a:gd name="T15" fmla="*/ 65319 h 720"/>
                <a:gd name="T16" fmla="*/ 190589 w 845"/>
                <a:gd name="T17" fmla="*/ 73157 h 720"/>
                <a:gd name="T18" fmla="*/ 197042 w 845"/>
                <a:gd name="T19" fmla="*/ 76815 h 720"/>
                <a:gd name="T20" fmla="*/ 214681 w 845"/>
                <a:gd name="T21" fmla="*/ 93014 h 720"/>
                <a:gd name="T22" fmla="*/ 217693 w 845"/>
                <a:gd name="T23" fmla="*/ 89879 h 720"/>
                <a:gd name="T24" fmla="*/ 209949 w 845"/>
                <a:gd name="T25" fmla="*/ 96149 h 720"/>
                <a:gd name="T26" fmla="*/ 206937 w 845"/>
                <a:gd name="T27" fmla="*/ 105555 h 720"/>
                <a:gd name="T28" fmla="*/ 206937 w 845"/>
                <a:gd name="T29" fmla="*/ 131683 h 720"/>
                <a:gd name="T30" fmla="*/ 212100 w 845"/>
                <a:gd name="T31" fmla="*/ 137954 h 720"/>
                <a:gd name="T32" fmla="*/ 226297 w 845"/>
                <a:gd name="T33" fmla="*/ 138476 h 720"/>
                <a:gd name="T34" fmla="*/ 234471 w 845"/>
                <a:gd name="T35" fmla="*/ 166694 h 720"/>
                <a:gd name="T36" fmla="*/ 250820 w 845"/>
                <a:gd name="T37" fmla="*/ 188641 h 720"/>
                <a:gd name="T38" fmla="*/ 277494 w 845"/>
                <a:gd name="T39" fmla="*/ 209021 h 720"/>
                <a:gd name="T40" fmla="*/ 317504 w 845"/>
                <a:gd name="T41" fmla="*/ 224697 h 720"/>
                <a:gd name="T42" fmla="*/ 363538 w 845"/>
                <a:gd name="T43" fmla="*/ 234626 h 720"/>
                <a:gd name="T44" fmla="*/ 348910 w 845"/>
                <a:gd name="T45" fmla="*/ 251870 h 720"/>
                <a:gd name="T46" fmla="*/ 314493 w 845"/>
                <a:gd name="T47" fmla="*/ 285836 h 720"/>
                <a:gd name="T48" fmla="*/ 306318 w 845"/>
                <a:gd name="T49" fmla="*/ 302557 h 720"/>
                <a:gd name="T50" fmla="*/ 299865 w 845"/>
                <a:gd name="T51" fmla="*/ 322414 h 720"/>
                <a:gd name="T52" fmla="*/ 289970 w 845"/>
                <a:gd name="T53" fmla="*/ 328685 h 720"/>
                <a:gd name="T54" fmla="*/ 249529 w 845"/>
                <a:gd name="T55" fmla="*/ 342271 h 720"/>
                <a:gd name="T56" fmla="*/ 240494 w 845"/>
                <a:gd name="T57" fmla="*/ 350632 h 720"/>
                <a:gd name="T58" fmla="*/ 225867 w 845"/>
                <a:gd name="T59" fmla="*/ 355857 h 720"/>
                <a:gd name="T60" fmla="*/ 207367 w 845"/>
                <a:gd name="T61" fmla="*/ 362128 h 720"/>
                <a:gd name="T62" fmla="*/ 198333 w 845"/>
                <a:gd name="T63" fmla="*/ 355335 h 720"/>
                <a:gd name="T64" fmla="*/ 183705 w 845"/>
                <a:gd name="T65" fmla="*/ 354812 h 720"/>
                <a:gd name="T66" fmla="*/ 174240 w 845"/>
                <a:gd name="T67" fmla="*/ 365263 h 720"/>
                <a:gd name="T68" fmla="*/ 167787 w 845"/>
                <a:gd name="T69" fmla="*/ 373102 h 720"/>
                <a:gd name="T70" fmla="*/ 154880 w 845"/>
                <a:gd name="T71" fmla="*/ 376237 h 720"/>
                <a:gd name="T72" fmla="*/ 136811 w 845"/>
                <a:gd name="T73" fmla="*/ 373102 h 720"/>
                <a:gd name="T74" fmla="*/ 124334 w 845"/>
                <a:gd name="T75" fmla="*/ 364741 h 720"/>
                <a:gd name="T76" fmla="*/ 105835 w 845"/>
                <a:gd name="T77" fmla="*/ 350632 h 720"/>
                <a:gd name="T78" fmla="*/ 77870 w 845"/>
                <a:gd name="T79" fmla="*/ 345406 h 720"/>
                <a:gd name="T80" fmla="*/ 60231 w 845"/>
                <a:gd name="T81" fmla="*/ 341226 h 720"/>
                <a:gd name="T82" fmla="*/ 64964 w 845"/>
                <a:gd name="T83" fmla="*/ 320847 h 720"/>
                <a:gd name="T84" fmla="*/ 54638 w 845"/>
                <a:gd name="T85" fmla="*/ 311441 h 720"/>
                <a:gd name="T86" fmla="*/ 46464 w 845"/>
                <a:gd name="T87" fmla="*/ 304647 h 720"/>
                <a:gd name="T88" fmla="*/ 40011 w 845"/>
                <a:gd name="T89" fmla="*/ 287926 h 720"/>
                <a:gd name="T90" fmla="*/ 33127 w 845"/>
                <a:gd name="T91" fmla="*/ 267024 h 720"/>
                <a:gd name="T92" fmla="*/ 21081 w 845"/>
                <a:gd name="T93" fmla="*/ 255528 h 720"/>
                <a:gd name="T94" fmla="*/ 6884 w 845"/>
                <a:gd name="T95" fmla="*/ 249257 h 720"/>
                <a:gd name="T96" fmla="*/ 2151 w 845"/>
                <a:gd name="T97" fmla="*/ 246644 h 720"/>
                <a:gd name="T98" fmla="*/ 860 w 845"/>
                <a:gd name="T99" fmla="*/ 234103 h 720"/>
                <a:gd name="T100" fmla="*/ 9035 w 845"/>
                <a:gd name="T101" fmla="*/ 220517 h 720"/>
                <a:gd name="T102" fmla="*/ 23662 w 845"/>
                <a:gd name="T103" fmla="*/ 215814 h 720"/>
                <a:gd name="T104" fmla="*/ 28825 w 845"/>
                <a:gd name="T105" fmla="*/ 167739 h 720"/>
                <a:gd name="T106" fmla="*/ 35278 w 845"/>
                <a:gd name="T107" fmla="*/ 143702 h 720"/>
                <a:gd name="T108" fmla="*/ 40871 w 845"/>
                <a:gd name="T109" fmla="*/ 135863 h 720"/>
                <a:gd name="T110" fmla="*/ 44313 w 845"/>
                <a:gd name="T111" fmla="*/ 123322 h 720"/>
                <a:gd name="T112" fmla="*/ 49906 w 845"/>
                <a:gd name="T113" fmla="*/ 107646 h 720"/>
                <a:gd name="T114" fmla="*/ 63673 w 845"/>
                <a:gd name="T115" fmla="*/ 93014 h 720"/>
                <a:gd name="T116" fmla="*/ 71847 w 845"/>
                <a:gd name="T117" fmla="*/ 83608 h 72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4" name="Line 359">
              <a:extLst>
                <a:ext uri="{FF2B5EF4-FFF2-40B4-BE49-F238E27FC236}">
                  <a16:creationId xmlns:a16="http://schemas.microsoft.com/office/drawing/2014/main" id="{AE83A0B2-CC33-40E5-8FB8-677FA796B86C}"/>
                </a:ext>
              </a:extLst>
            </p:cNvPr>
            <p:cNvSpPr>
              <a:spLocks noChangeShapeType="1"/>
            </p:cNvSpPr>
            <p:nvPr>
              <p:custDataLst>
                <p:tags r:id="rId262"/>
              </p:custDataLst>
            </p:nvPr>
          </p:nvSpPr>
          <p:spPr bwMode="auto">
            <a:xfrm flipH="1">
              <a:off x="3232151" y="3692525"/>
              <a:ext cx="4763" cy="793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5" name="Freeform 360">
              <a:extLst>
                <a:ext uri="{FF2B5EF4-FFF2-40B4-BE49-F238E27FC236}">
                  <a16:creationId xmlns:a16="http://schemas.microsoft.com/office/drawing/2014/main" id="{7FD85EBB-3FEE-4421-B9E2-3DB934E67A54}"/>
                </a:ext>
              </a:extLst>
            </p:cNvPr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3232150" y="3700464"/>
              <a:ext cx="12700" cy="58737"/>
            </a:xfrm>
            <a:custGeom>
              <a:avLst/>
              <a:gdLst>
                <a:gd name="T0" fmla="*/ 0 w 33"/>
                <a:gd name="T1" fmla="*/ 0 h 6"/>
                <a:gd name="T2" fmla="*/ 2694 w 33"/>
                <a:gd name="T3" fmla="*/ 9790 h 6"/>
                <a:gd name="T4" fmla="*/ 5773 w 33"/>
                <a:gd name="T5" fmla="*/ 29369 h 6"/>
                <a:gd name="T6" fmla="*/ 8852 w 33"/>
                <a:gd name="T7" fmla="*/ 48948 h 6"/>
                <a:gd name="T8" fmla="*/ 12700 w 33"/>
                <a:gd name="T9" fmla="*/ 5873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6" name="Freeform 361">
              <a:extLst>
                <a:ext uri="{FF2B5EF4-FFF2-40B4-BE49-F238E27FC236}">
                  <a16:creationId xmlns:a16="http://schemas.microsoft.com/office/drawing/2014/main" id="{BE892996-4B68-40CF-9462-078FB8D1A8DA}"/>
                </a:ext>
              </a:extLst>
            </p:cNvPr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3240088" y="3687763"/>
              <a:ext cx="4762" cy="57150"/>
            </a:xfrm>
            <a:custGeom>
              <a:avLst/>
              <a:gdLst>
                <a:gd name="T0" fmla="*/ 4762 w 13"/>
                <a:gd name="T1" fmla="*/ 57150 h 30"/>
                <a:gd name="T2" fmla="*/ 4762 w 13"/>
                <a:gd name="T3" fmla="*/ 0 h 30"/>
                <a:gd name="T4" fmla="*/ 0 w 13"/>
                <a:gd name="T5" fmla="*/ 0 h 3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277" name="Group 362">
              <a:extLst>
                <a:ext uri="{FF2B5EF4-FFF2-40B4-BE49-F238E27FC236}">
                  <a16:creationId xmlns:a16="http://schemas.microsoft.com/office/drawing/2014/main" id="{E42AFF2F-B74A-48E2-BA8B-0BDD3CF4741A}"/>
                </a:ext>
              </a:extLst>
            </p:cNvPr>
            <p:cNvGrpSpPr>
              <a:grpSpLocks/>
            </p:cNvGrpSpPr>
            <p:nvPr>
              <p:custDataLst>
                <p:tags r:id="rId265"/>
              </p:custDataLst>
            </p:nvPr>
          </p:nvGrpSpPr>
          <p:grpSpPr bwMode="auto">
            <a:xfrm>
              <a:off x="3232151" y="3622676"/>
              <a:ext cx="417513" cy="201613"/>
              <a:chOff x="912" y="2626"/>
              <a:chExt cx="311" cy="127"/>
            </a:xfrm>
          </p:grpSpPr>
          <p:sp>
            <p:nvSpPr>
              <p:cNvPr id="463" name="Freeform 363">
                <a:extLst>
                  <a:ext uri="{FF2B5EF4-FFF2-40B4-BE49-F238E27FC236}">
                    <a16:creationId xmlns:a16="http://schemas.microsoft.com/office/drawing/2014/main" id="{A3784DA1-65A6-4596-BA49-D36994DEFC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100 w 352"/>
                  <a:gd name="T1" fmla="*/ 26 h 387"/>
                  <a:gd name="T2" fmla="*/ 92 w 352"/>
                  <a:gd name="T3" fmla="*/ 26 h 387"/>
                  <a:gd name="T4" fmla="*/ 85 w 352"/>
                  <a:gd name="T5" fmla="*/ 26 h 387"/>
                  <a:gd name="T6" fmla="*/ 80 w 352"/>
                  <a:gd name="T7" fmla="*/ 24 h 387"/>
                  <a:gd name="T8" fmla="*/ 71 w 352"/>
                  <a:gd name="T9" fmla="*/ 19 h 387"/>
                  <a:gd name="T10" fmla="*/ 54 w 352"/>
                  <a:gd name="T11" fmla="*/ 7 h 387"/>
                  <a:gd name="T12" fmla="*/ 44 w 352"/>
                  <a:gd name="T13" fmla="*/ 2 h 387"/>
                  <a:gd name="T14" fmla="*/ 41 w 352"/>
                  <a:gd name="T15" fmla="*/ 6 h 387"/>
                  <a:gd name="T16" fmla="*/ 38 w 352"/>
                  <a:gd name="T17" fmla="*/ 10 h 387"/>
                  <a:gd name="T18" fmla="*/ 34 w 352"/>
                  <a:gd name="T19" fmla="*/ 11 h 387"/>
                  <a:gd name="T20" fmla="*/ 28 w 352"/>
                  <a:gd name="T21" fmla="*/ 18 h 387"/>
                  <a:gd name="T22" fmla="*/ 17 w 352"/>
                  <a:gd name="T23" fmla="*/ 32 h 387"/>
                  <a:gd name="T24" fmla="*/ 10 w 352"/>
                  <a:gd name="T25" fmla="*/ 43 h 387"/>
                  <a:gd name="T26" fmla="*/ 5 w 352"/>
                  <a:gd name="T27" fmla="*/ 51 h 387"/>
                  <a:gd name="T28" fmla="*/ 2 w 352"/>
                  <a:gd name="T29" fmla="*/ 58 h 387"/>
                  <a:gd name="T30" fmla="*/ 0 w 352"/>
                  <a:gd name="T31" fmla="*/ 65 h 387"/>
                  <a:gd name="T32" fmla="*/ 0 w 352"/>
                  <a:gd name="T33" fmla="*/ 70 h 387"/>
                  <a:gd name="T34" fmla="*/ 1 w 352"/>
                  <a:gd name="T35" fmla="*/ 73 h 387"/>
                  <a:gd name="T36" fmla="*/ 3 w 352"/>
                  <a:gd name="T37" fmla="*/ 76 h 387"/>
                  <a:gd name="T38" fmla="*/ 8 w 352"/>
                  <a:gd name="T39" fmla="*/ 79 h 387"/>
                  <a:gd name="T40" fmla="*/ 13 w 352"/>
                  <a:gd name="T41" fmla="*/ 80 h 387"/>
                  <a:gd name="T42" fmla="*/ 17 w 352"/>
                  <a:gd name="T43" fmla="*/ 80 h 387"/>
                  <a:gd name="T44" fmla="*/ 20 w 352"/>
                  <a:gd name="T45" fmla="*/ 79 h 387"/>
                  <a:gd name="T46" fmla="*/ 23 w 352"/>
                  <a:gd name="T47" fmla="*/ 77 h 387"/>
                  <a:gd name="T48" fmla="*/ 25 w 352"/>
                  <a:gd name="T49" fmla="*/ 77 h 387"/>
                  <a:gd name="T50" fmla="*/ 26 w 352"/>
                  <a:gd name="T51" fmla="*/ 78 h 387"/>
                  <a:gd name="T52" fmla="*/ 26 w 352"/>
                  <a:gd name="T53" fmla="*/ 84 h 387"/>
                  <a:gd name="T54" fmla="*/ 24 w 352"/>
                  <a:gd name="T55" fmla="*/ 92 h 387"/>
                  <a:gd name="T56" fmla="*/ 23 w 352"/>
                  <a:gd name="T57" fmla="*/ 95 h 387"/>
                  <a:gd name="T58" fmla="*/ 23 w 352"/>
                  <a:gd name="T59" fmla="*/ 101 h 387"/>
                  <a:gd name="T60" fmla="*/ 26 w 352"/>
                  <a:gd name="T61" fmla="*/ 109 h 387"/>
                  <a:gd name="T62" fmla="*/ 29 w 352"/>
                  <a:gd name="T63" fmla="*/ 115 h 387"/>
                  <a:gd name="T64" fmla="*/ 39 w 352"/>
                  <a:gd name="T65" fmla="*/ 122 h 387"/>
                  <a:gd name="T66" fmla="*/ 46 w 352"/>
                  <a:gd name="T67" fmla="*/ 126 h 387"/>
                  <a:gd name="T68" fmla="*/ 49 w 352"/>
                  <a:gd name="T69" fmla="*/ 127 h 387"/>
                  <a:gd name="T70" fmla="*/ 52 w 352"/>
                  <a:gd name="T71" fmla="*/ 124 h 387"/>
                  <a:gd name="T72" fmla="*/ 56 w 352"/>
                  <a:gd name="T73" fmla="*/ 119 h 387"/>
                  <a:gd name="T74" fmla="*/ 57 w 352"/>
                  <a:gd name="T75" fmla="*/ 115 h 387"/>
                  <a:gd name="T76" fmla="*/ 58 w 352"/>
                  <a:gd name="T77" fmla="*/ 111 h 387"/>
                  <a:gd name="T78" fmla="*/ 59 w 352"/>
                  <a:gd name="T79" fmla="*/ 106 h 387"/>
                  <a:gd name="T80" fmla="*/ 63 w 352"/>
                  <a:gd name="T81" fmla="*/ 100 h 387"/>
                  <a:gd name="T82" fmla="*/ 69 w 352"/>
                  <a:gd name="T83" fmla="*/ 92 h 387"/>
                  <a:gd name="T84" fmla="*/ 76 w 352"/>
                  <a:gd name="T85" fmla="*/ 86 h 387"/>
                  <a:gd name="T86" fmla="*/ 85 w 352"/>
                  <a:gd name="T87" fmla="*/ 82 h 387"/>
                  <a:gd name="T88" fmla="*/ 96 w 352"/>
                  <a:gd name="T89" fmla="*/ 75 h 387"/>
                  <a:gd name="T90" fmla="*/ 104 w 352"/>
                  <a:gd name="T91" fmla="*/ 70 h 387"/>
                  <a:gd name="T92" fmla="*/ 109 w 352"/>
                  <a:gd name="T93" fmla="*/ 65 h 387"/>
                  <a:gd name="T94" fmla="*/ 111 w 352"/>
                  <a:gd name="T95" fmla="*/ 61 h 387"/>
                  <a:gd name="T96" fmla="*/ 113 w 352"/>
                  <a:gd name="T97" fmla="*/ 55 h 387"/>
                  <a:gd name="T98" fmla="*/ 113 w 352"/>
                  <a:gd name="T99" fmla="*/ 49 h 387"/>
                  <a:gd name="T100" fmla="*/ 110 w 352"/>
                  <a:gd name="T101" fmla="*/ 41 h 387"/>
                  <a:gd name="T102" fmla="*/ 106 w 352"/>
                  <a:gd name="T103" fmla="*/ 30 h 38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4" name="Freeform 364">
                <a:extLst>
                  <a:ext uri="{FF2B5EF4-FFF2-40B4-BE49-F238E27FC236}">
                    <a16:creationId xmlns:a16="http://schemas.microsoft.com/office/drawing/2014/main" id="{CB73247A-A525-4F7C-8A98-1898CADEB3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5 w 52"/>
                  <a:gd name="T1" fmla="*/ 0 h 78"/>
                  <a:gd name="T2" fmla="*/ 7 w 52"/>
                  <a:gd name="T3" fmla="*/ 0 h 78"/>
                  <a:gd name="T4" fmla="*/ 8 w 52"/>
                  <a:gd name="T5" fmla="*/ 1 h 78"/>
                  <a:gd name="T6" fmla="*/ 10 w 52"/>
                  <a:gd name="T7" fmla="*/ 2 h 78"/>
                  <a:gd name="T8" fmla="*/ 12 w 52"/>
                  <a:gd name="T9" fmla="*/ 3 h 78"/>
                  <a:gd name="T10" fmla="*/ 13 w 52"/>
                  <a:gd name="T11" fmla="*/ 4 h 78"/>
                  <a:gd name="T12" fmla="*/ 15 w 52"/>
                  <a:gd name="T13" fmla="*/ 6 h 78"/>
                  <a:gd name="T14" fmla="*/ 15 w 52"/>
                  <a:gd name="T15" fmla="*/ 7 h 78"/>
                  <a:gd name="T16" fmla="*/ 16 w 52"/>
                  <a:gd name="T17" fmla="*/ 8 h 78"/>
                  <a:gd name="T18" fmla="*/ 17 w 52"/>
                  <a:gd name="T19" fmla="*/ 11 h 78"/>
                  <a:gd name="T20" fmla="*/ 17 w 52"/>
                  <a:gd name="T21" fmla="*/ 14 h 78"/>
                  <a:gd name="T22" fmla="*/ 17 w 52"/>
                  <a:gd name="T23" fmla="*/ 15 h 78"/>
                  <a:gd name="T24" fmla="*/ 16 w 52"/>
                  <a:gd name="T25" fmla="*/ 17 h 78"/>
                  <a:gd name="T26" fmla="*/ 15 w 52"/>
                  <a:gd name="T27" fmla="*/ 18 h 78"/>
                  <a:gd name="T28" fmla="*/ 14 w 52"/>
                  <a:gd name="T29" fmla="*/ 20 h 78"/>
                  <a:gd name="T30" fmla="*/ 13 w 52"/>
                  <a:gd name="T31" fmla="*/ 22 h 78"/>
                  <a:gd name="T32" fmla="*/ 13 w 52"/>
                  <a:gd name="T33" fmla="*/ 24 h 78"/>
                  <a:gd name="T34" fmla="*/ 9 w 52"/>
                  <a:gd name="T35" fmla="*/ 25 h 78"/>
                  <a:gd name="T36" fmla="*/ 5 w 52"/>
                  <a:gd name="T37" fmla="*/ 26 h 78"/>
                  <a:gd name="T38" fmla="*/ 4 w 52"/>
                  <a:gd name="T39" fmla="*/ 26 h 78"/>
                  <a:gd name="T40" fmla="*/ 2 w 52"/>
                  <a:gd name="T41" fmla="*/ 26 h 78"/>
                  <a:gd name="T42" fmla="*/ 1 w 52"/>
                  <a:gd name="T43" fmla="*/ 26 h 78"/>
                  <a:gd name="T44" fmla="*/ 1 w 52"/>
                  <a:gd name="T45" fmla="*/ 26 h 78"/>
                  <a:gd name="T46" fmla="*/ 1 w 52"/>
                  <a:gd name="T47" fmla="*/ 25 h 78"/>
                  <a:gd name="T48" fmla="*/ 0 w 52"/>
                  <a:gd name="T49" fmla="*/ 24 h 78"/>
                  <a:gd name="T50" fmla="*/ 0 w 52"/>
                  <a:gd name="T51" fmla="*/ 23 h 78"/>
                  <a:gd name="T52" fmla="*/ 0 w 52"/>
                  <a:gd name="T53" fmla="*/ 21 h 78"/>
                  <a:gd name="T54" fmla="*/ 1 w 52"/>
                  <a:gd name="T55" fmla="*/ 20 h 78"/>
                  <a:gd name="T56" fmla="*/ 2 w 52"/>
                  <a:gd name="T57" fmla="*/ 19 h 78"/>
                  <a:gd name="T58" fmla="*/ 6 w 52"/>
                  <a:gd name="T59" fmla="*/ 16 h 78"/>
                  <a:gd name="T60" fmla="*/ 9 w 52"/>
                  <a:gd name="T61" fmla="*/ 14 h 78"/>
                  <a:gd name="T62" fmla="*/ 8 w 52"/>
                  <a:gd name="T63" fmla="*/ 11 h 78"/>
                  <a:gd name="T64" fmla="*/ 7 w 52"/>
                  <a:gd name="T65" fmla="*/ 7 h 78"/>
                  <a:gd name="T66" fmla="*/ 6 w 52"/>
                  <a:gd name="T67" fmla="*/ 3 h 78"/>
                  <a:gd name="T68" fmla="*/ 5 w 52"/>
                  <a:gd name="T69" fmla="*/ 0 h 7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5" name="Freeform 365">
                <a:extLst>
                  <a:ext uri="{FF2B5EF4-FFF2-40B4-BE49-F238E27FC236}">
                    <a16:creationId xmlns:a16="http://schemas.microsoft.com/office/drawing/2014/main" id="{E2F78F42-55C8-49CA-B660-1ED7C73142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4 w 33"/>
                  <a:gd name="T1" fmla="*/ 2 h 30"/>
                  <a:gd name="T2" fmla="*/ 0 w 33"/>
                  <a:gd name="T3" fmla="*/ 8 h 30"/>
                  <a:gd name="T4" fmla="*/ 2 w 33"/>
                  <a:gd name="T5" fmla="*/ 8 h 30"/>
                  <a:gd name="T6" fmla="*/ 4 w 33"/>
                  <a:gd name="T7" fmla="*/ 9 h 30"/>
                  <a:gd name="T8" fmla="*/ 6 w 33"/>
                  <a:gd name="T9" fmla="*/ 10 h 30"/>
                  <a:gd name="T10" fmla="*/ 9 w 33"/>
                  <a:gd name="T11" fmla="*/ 10 h 30"/>
                  <a:gd name="T12" fmla="*/ 9 w 33"/>
                  <a:gd name="T13" fmla="*/ 0 h 30"/>
                  <a:gd name="T14" fmla="*/ 5 w 33"/>
                  <a:gd name="T15" fmla="*/ 0 h 30"/>
                  <a:gd name="T16" fmla="*/ 4 w 33"/>
                  <a:gd name="T17" fmla="*/ 2 h 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278" name="Freeform 366">
              <a:extLst>
                <a:ext uri="{FF2B5EF4-FFF2-40B4-BE49-F238E27FC236}">
                  <a16:creationId xmlns:a16="http://schemas.microsoft.com/office/drawing/2014/main" id="{FD956236-4F9F-4876-B9C2-844CCCCE9A5F}"/>
                </a:ext>
              </a:extLst>
            </p:cNvPr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6880225" y="4340225"/>
              <a:ext cx="19050" cy="58738"/>
            </a:xfrm>
            <a:custGeom>
              <a:avLst/>
              <a:gdLst>
                <a:gd name="T0" fmla="*/ 5269 w 47"/>
                <a:gd name="T1" fmla="*/ 0 h 28"/>
                <a:gd name="T2" fmla="*/ 10133 w 47"/>
                <a:gd name="T3" fmla="*/ 0 h 28"/>
                <a:gd name="T4" fmla="*/ 12565 w 47"/>
                <a:gd name="T5" fmla="*/ 4196 h 28"/>
                <a:gd name="T6" fmla="*/ 13376 w 47"/>
                <a:gd name="T7" fmla="*/ 8391 h 28"/>
                <a:gd name="T8" fmla="*/ 13376 w 47"/>
                <a:gd name="T9" fmla="*/ 12587 h 28"/>
                <a:gd name="T10" fmla="*/ 12970 w 47"/>
                <a:gd name="T11" fmla="*/ 16782 h 28"/>
                <a:gd name="T12" fmla="*/ 13376 w 47"/>
                <a:gd name="T13" fmla="*/ 20978 h 28"/>
                <a:gd name="T14" fmla="*/ 14997 w 47"/>
                <a:gd name="T15" fmla="*/ 25173 h 28"/>
                <a:gd name="T16" fmla="*/ 19050 w 47"/>
                <a:gd name="T17" fmla="*/ 25173 h 28"/>
                <a:gd name="T18" fmla="*/ 17023 w 47"/>
                <a:gd name="T19" fmla="*/ 39858 h 28"/>
                <a:gd name="T20" fmla="*/ 14997 w 47"/>
                <a:gd name="T21" fmla="*/ 52445 h 28"/>
                <a:gd name="T22" fmla="*/ 13376 w 47"/>
                <a:gd name="T23" fmla="*/ 56640 h 28"/>
                <a:gd name="T24" fmla="*/ 11349 w 47"/>
                <a:gd name="T25" fmla="*/ 58738 h 28"/>
                <a:gd name="T26" fmla="*/ 6485 w 47"/>
                <a:gd name="T27" fmla="*/ 56640 h 28"/>
                <a:gd name="T28" fmla="*/ 0 w 47"/>
                <a:gd name="T29" fmla="*/ 52445 h 28"/>
                <a:gd name="T30" fmla="*/ 405 w 47"/>
                <a:gd name="T31" fmla="*/ 39858 h 28"/>
                <a:gd name="T32" fmla="*/ 811 w 47"/>
                <a:gd name="T33" fmla="*/ 31467 h 28"/>
                <a:gd name="T34" fmla="*/ 1621 w 47"/>
                <a:gd name="T35" fmla="*/ 27271 h 28"/>
                <a:gd name="T36" fmla="*/ 2432 w 47"/>
                <a:gd name="T37" fmla="*/ 25173 h 28"/>
                <a:gd name="T38" fmla="*/ 3648 w 47"/>
                <a:gd name="T39" fmla="*/ 23076 h 28"/>
                <a:gd name="T40" fmla="*/ 4459 w 47"/>
                <a:gd name="T41" fmla="*/ 18880 h 28"/>
                <a:gd name="T42" fmla="*/ 5269 w 47"/>
                <a:gd name="T43" fmla="*/ 10489 h 28"/>
                <a:gd name="T44" fmla="*/ 5269 w 47"/>
                <a:gd name="T45" fmla="*/ 0 h 2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" name="Freeform 367">
              <a:extLst>
                <a:ext uri="{FF2B5EF4-FFF2-40B4-BE49-F238E27FC236}">
                  <a16:creationId xmlns:a16="http://schemas.microsoft.com/office/drawing/2014/main" id="{E6341FE4-B7E7-4D95-9969-D25C63810861}"/>
                </a:ext>
              </a:extLst>
            </p:cNvPr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6851651" y="4367213"/>
              <a:ext cx="23813" cy="57150"/>
            </a:xfrm>
            <a:custGeom>
              <a:avLst/>
              <a:gdLst>
                <a:gd name="T0" fmla="*/ 5841 w 53"/>
                <a:gd name="T1" fmla="*/ 0 h 33"/>
                <a:gd name="T2" fmla="*/ 11682 w 53"/>
                <a:gd name="T3" fmla="*/ 1732 h 33"/>
                <a:gd name="T4" fmla="*/ 15276 w 53"/>
                <a:gd name="T5" fmla="*/ 1732 h 33"/>
                <a:gd name="T6" fmla="*/ 16624 w 53"/>
                <a:gd name="T7" fmla="*/ 5195 h 33"/>
                <a:gd name="T8" fmla="*/ 16624 w 53"/>
                <a:gd name="T9" fmla="*/ 6927 h 33"/>
                <a:gd name="T10" fmla="*/ 16624 w 53"/>
                <a:gd name="T11" fmla="*/ 10391 h 33"/>
                <a:gd name="T12" fmla="*/ 17523 w 53"/>
                <a:gd name="T13" fmla="*/ 13855 h 33"/>
                <a:gd name="T14" fmla="*/ 19769 w 53"/>
                <a:gd name="T15" fmla="*/ 17318 h 33"/>
                <a:gd name="T16" fmla="*/ 23813 w 53"/>
                <a:gd name="T17" fmla="*/ 20782 h 33"/>
                <a:gd name="T18" fmla="*/ 21566 w 53"/>
                <a:gd name="T19" fmla="*/ 38100 h 33"/>
                <a:gd name="T20" fmla="*/ 19769 w 53"/>
                <a:gd name="T21" fmla="*/ 48491 h 33"/>
                <a:gd name="T22" fmla="*/ 18871 w 53"/>
                <a:gd name="T23" fmla="*/ 53686 h 33"/>
                <a:gd name="T24" fmla="*/ 17073 w 53"/>
                <a:gd name="T25" fmla="*/ 55418 h 33"/>
                <a:gd name="T26" fmla="*/ 16175 w 53"/>
                <a:gd name="T27" fmla="*/ 57150 h 33"/>
                <a:gd name="T28" fmla="*/ 15276 w 53"/>
                <a:gd name="T29" fmla="*/ 57150 h 33"/>
                <a:gd name="T30" fmla="*/ 8986 w 53"/>
                <a:gd name="T31" fmla="*/ 51955 h 33"/>
                <a:gd name="T32" fmla="*/ 0 w 53"/>
                <a:gd name="T33" fmla="*/ 41564 h 33"/>
                <a:gd name="T34" fmla="*/ 0 w 53"/>
                <a:gd name="T35" fmla="*/ 32905 h 33"/>
                <a:gd name="T36" fmla="*/ 899 w 53"/>
                <a:gd name="T37" fmla="*/ 27709 h 33"/>
                <a:gd name="T38" fmla="*/ 1797 w 53"/>
                <a:gd name="T39" fmla="*/ 24245 h 33"/>
                <a:gd name="T40" fmla="*/ 3145 w 53"/>
                <a:gd name="T41" fmla="*/ 20782 h 33"/>
                <a:gd name="T42" fmla="*/ 4044 w 53"/>
                <a:gd name="T43" fmla="*/ 19050 h 33"/>
                <a:gd name="T44" fmla="*/ 4942 w 53"/>
                <a:gd name="T45" fmla="*/ 15586 h 33"/>
                <a:gd name="T46" fmla="*/ 5392 w 53"/>
                <a:gd name="T47" fmla="*/ 10391 h 33"/>
                <a:gd name="T48" fmla="*/ 5841 w 53"/>
                <a:gd name="T49" fmla="*/ 0 h 3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280" name="Group 368">
              <a:extLst>
                <a:ext uri="{FF2B5EF4-FFF2-40B4-BE49-F238E27FC236}">
                  <a16:creationId xmlns:a16="http://schemas.microsoft.com/office/drawing/2014/main" id="{75678826-0A89-47B5-A8B1-604B070A29CF}"/>
                </a:ext>
              </a:extLst>
            </p:cNvPr>
            <p:cNvGrpSpPr>
              <a:grpSpLocks/>
            </p:cNvGrpSpPr>
            <p:nvPr>
              <p:custDataLst>
                <p:tags r:id="rId268"/>
              </p:custDataLst>
            </p:nvPr>
          </p:nvGrpSpPr>
          <p:grpSpPr bwMode="auto">
            <a:xfrm>
              <a:off x="6692901" y="3859214"/>
              <a:ext cx="168275" cy="103187"/>
              <a:chOff x="3481" y="2773"/>
              <a:chExt cx="125" cy="65"/>
            </a:xfrm>
          </p:grpSpPr>
          <p:sp>
            <p:nvSpPr>
              <p:cNvPr id="452" name="Freeform 369">
                <a:extLst>
                  <a:ext uri="{FF2B5EF4-FFF2-40B4-BE49-F238E27FC236}">
                    <a16:creationId xmlns:a16="http://schemas.microsoft.com/office/drawing/2014/main" id="{FBBFA4A5-0FE3-4BD4-9782-9B168F83EB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5 w 13"/>
                  <a:gd name="T1" fmla="*/ 0 h 18"/>
                  <a:gd name="T2" fmla="*/ 4 w 13"/>
                  <a:gd name="T3" fmla="*/ 3 h 18"/>
                  <a:gd name="T4" fmla="*/ 2 w 13"/>
                  <a:gd name="T5" fmla="*/ 6 h 18"/>
                  <a:gd name="T6" fmla="*/ 2 w 13"/>
                  <a:gd name="T7" fmla="*/ 6 h 18"/>
                  <a:gd name="T8" fmla="*/ 1 w 13"/>
                  <a:gd name="T9" fmla="*/ 5 h 18"/>
                  <a:gd name="T10" fmla="*/ 0 w 13"/>
                  <a:gd name="T11" fmla="*/ 3 h 18"/>
                  <a:gd name="T12" fmla="*/ 0 w 13"/>
                  <a:gd name="T13" fmla="*/ 2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3" name="Line 370">
                <a:extLst>
                  <a:ext uri="{FF2B5EF4-FFF2-40B4-BE49-F238E27FC236}">
                    <a16:creationId xmlns:a16="http://schemas.microsoft.com/office/drawing/2014/main" id="{FCB8EFD1-2B5E-4C4B-9A15-14AEA345F28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4" name="Freeform 371">
                <a:extLst>
                  <a:ext uri="{FF2B5EF4-FFF2-40B4-BE49-F238E27FC236}">
                    <a16:creationId xmlns:a16="http://schemas.microsoft.com/office/drawing/2014/main" id="{0C203BFC-3F03-4227-A7FB-DB11B1C884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5 w 14"/>
                  <a:gd name="T1" fmla="*/ 6 h 19"/>
                  <a:gd name="T2" fmla="*/ 0 w 14"/>
                  <a:gd name="T3" fmla="*/ 0 h 19"/>
                  <a:gd name="T4" fmla="*/ 5 w 14"/>
                  <a:gd name="T5" fmla="*/ 6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5" name="Freeform 372">
                <a:extLst>
                  <a:ext uri="{FF2B5EF4-FFF2-40B4-BE49-F238E27FC236}">
                    <a16:creationId xmlns:a16="http://schemas.microsoft.com/office/drawing/2014/main" id="{BF052103-AF80-4F95-B535-30EF3DA685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2 h 18"/>
                  <a:gd name="T2" fmla="*/ 2 w 7"/>
                  <a:gd name="T3" fmla="*/ 6 h 18"/>
                  <a:gd name="T4" fmla="*/ 0 w 7"/>
                  <a:gd name="T5" fmla="*/ 6 h 18"/>
                  <a:gd name="T6" fmla="*/ 0 w 7"/>
                  <a:gd name="T7" fmla="*/ 0 h 18"/>
                  <a:gd name="T8" fmla="*/ 2 w 7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6" name="Freeform 373">
                <a:extLst>
                  <a:ext uri="{FF2B5EF4-FFF2-40B4-BE49-F238E27FC236}">
                    <a16:creationId xmlns:a16="http://schemas.microsoft.com/office/drawing/2014/main" id="{B43D5423-F31D-44DA-92C2-1E783074CF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7 w 20"/>
                  <a:gd name="T1" fmla="*/ 4 h 12"/>
                  <a:gd name="T2" fmla="*/ 4 w 20"/>
                  <a:gd name="T3" fmla="*/ 3 h 12"/>
                  <a:gd name="T4" fmla="*/ 0 w 20"/>
                  <a:gd name="T5" fmla="*/ 2 h 12"/>
                  <a:gd name="T6" fmla="*/ 0 w 20"/>
                  <a:gd name="T7" fmla="*/ 2 h 12"/>
                  <a:gd name="T8" fmla="*/ 1 w 20"/>
                  <a:gd name="T9" fmla="*/ 1 h 12"/>
                  <a:gd name="T10" fmla="*/ 3 w 20"/>
                  <a:gd name="T11" fmla="*/ 0 h 12"/>
                  <a:gd name="T12" fmla="*/ 5 w 20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7" name="Line 374">
                <a:extLst>
                  <a:ext uri="{FF2B5EF4-FFF2-40B4-BE49-F238E27FC236}">
                    <a16:creationId xmlns:a16="http://schemas.microsoft.com/office/drawing/2014/main" id="{862D17B0-213E-48F5-BE38-B93C48CC5F2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8" name="Freeform 375">
                <a:extLst>
                  <a:ext uri="{FF2B5EF4-FFF2-40B4-BE49-F238E27FC236}">
                    <a16:creationId xmlns:a16="http://schemas.microsoft.com/office/drawing/2014/main" id="{95F58569-2BB0-48EE-A689-DBCFDA19C9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6 h 18"/>
                  <a:gd name="T4" fmla="*/ 7 w 20"/>
                  <a:gd name="T5" fmla="*/ 6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9" name="Freeform 376">
                <a:extLst>
                  <a:ext uri="{FF2B5EF4-FFF2-40B4-BE49-F238E27FC236}">
                    <a16:creationId xmlns:a16="http://schemas.microsoft.com/office/drawing/2014/main" id="{21599383-9FE7-49C9-BBBF-2C7134BE4C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3 w 7"/>
                  <a:gd name="T1" fmla="*/ 4 h 12"/>
                  <a:gd name="T2" fmla="*/ 2 w 7"/>
                  <a:gd name="T3" fmla="*/ 2 h 12"/>
                  <a:gd name="T4" fmla="*/ 0 w 7"/>
                  <a:gd name="T5" fmla="*/ 0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0" name="Freeform 377">
                <a:extLst>
                  <a:ext uri="{FF2B5EF4-FFF2-40B4-BE49-F238E27FC236}">
                    <a16:creationId xmlns:a16="http://schemas.microsoft.com/office/drawing/2014/main" id="{00EAE7C9-674B-4AA4-B76D-F621AF69EE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6 h 18"/>
                  <a:gd name="T4" fmla="*/ 7 w 20"/>
                  <a:gd name="T5" fmla="*/ 6 h 18"/>
                  <a:gd name="T6" fmla="*/ 6 w 20"/>
                  <a:gd name="T7" fmla="*/ 4 h 18"/>
                  <a:gd name="T8" fmla="*/ 5 w 20"/>
                  <a:gd name="T9" fmla="*/ 2 h 18"/>
                  <a:gd name="T10" fmla="*/ 0 w 20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1" name="Freeform 378">
                <a:extLst>
                  <a:ext uri="{FF2B5EF4-FFF2-40B4-BE49-F238E27FC236}">
                    <a16:creationId xmlns:a16="http://schemas.microsoft.com/office/drawing/2014/main" id="{CF877EC0-6F97-47E2-BBCA-F572B452D1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2 h 18"/>
                  <a:gd name="T2" fmla="*/ 2 w 7"/>
                  <a:gd name="T3" fmla="*/ 6 h 18"/>
                  <a:gd name="T4" fmla="*/ 0 w 7"/>
                  <a:gd name="T5" fmla="*/ 6 h 18"/>
                  <a:gd name="T6" fmla="*/ 0 w 7"/>
                  <a:gd name="T7" fmla="*/ 0 h 18"/>
                  <a:gd name="T8" fmla="*/ 2 w 7"/>
                  <a:gd name="T9" fmla="*/ 0 h 18"/>
                  <a:gd name="T10" fmla="*/ 0 w 7"/>
                  <a:gd name="T11" fmla="*/ 2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2" name="Freeform 379">
                <a:extLst>
                  <a:ext uri="{FF2B5EF4-FFF2-40B4-BE49-F238E27FC236}">
                    <a16:creationId xmlns:a16="http://schemas.microsoft.com/office/drawing/2014/main" id="{4A478B77-793D-4E22-8137-7EF9F96BC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5 w 13"/>
                  <a:gd name="T1" fmla="*/ 0 h 18"/>
                  <a:gd name="T2" fmla="*/ 4 w 13"/>
                  <a:gd name="T3" fmla="*/ 3 h 18"/>
                  <a:gd name="T4" fmla="*/ 2 w 13"/>
                  <a:gd name="T5" fmla="*/ 6 h 18"/>
                  <a:gd name="T6" fmla="*/ 2 w 13"/>
                  <a:gd name="T7" fmla="*/ 6 h 18"/>
                  <a:gd name="T8" fmla="*/ 1 w 13"/>
                  <a:gd name="T9" fmla="*/ 5 h 18"/>
                  <a:gd name="T10" fmla="*/ 0 w 13"/>
                  <a:gd name="T11" fmla="*/ 3 h 18"/>
                  <a:gd name="T12" fmla="*/ 0 w 13"/>
                  <a:gd name="T13" fmla="*/ 2 h 18"/>
                  <a:gd name="T14" fmla="*/ 2 w 13"/>
                  <a:gd name="T15" fmla="*/ 2 h 18"/>
                  <a:gd name="T16" fmla="*/ 5 w 13"/>
                  <a:gd name="T17" fmla="*/ 0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281" name="Freeform 380">
              <a:extLst>
                <a:ext uri="{FF2B5EF4-FFF2-40B4-BE49-F238E27FC236}">
                  <a16:creationId xmlns:a16="http://schemas.microsoft.com/office/drawing/2014/main" id="{01B901A9-F7CA-4473-83AD-5CD6B4E4E715}"/>
                </a:ext>
              </a:extLst>
            </p:cNvPr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5821364" y="3851276"/>
              <a:ext cx="319087" cy="379413"/>
            </a:xfrm>
            <a:custGeom>
              <a:avLst/>
              <a:gdLst>
                <a:gd name="T0" fmla="*/ 26013 w 736"/>
                <a:gd name="T1" fmla="*/ 360469 h 721"/>
                <a:gd name="T2" fmla="*/ 39452 w 736"/>
                <a:gd name="T3" fmla="*/ 351523 h 721"/>
                <a:gd name="T4" fmla="*/ 54626 w 736"/>
                <a:gd name="T5" fmla="*/ 351523 h 721"/>
                <a:gd name="T6" fmla="*/ 84974 w 736"/>
                <a:gd name="T7" fmla="*/ 364152 h 721"/>
                <a:gd name="T8" fmla="*/ 106218 w 736"/>
                <a:gd name="T9" fmla="*/ 370993 h 721"/>
                <a:gd name="T10" fmla="*/ 126594 w 736"/>
                <a:gd name="T11" fmla="*/ 369941 h 721"/>
                <a:gd name="T12" fmla="*/ 264894 w 736"/>
                <a:gd name="T13" fmla="*/ 377308 h 721"/>
                <a:gd name="T14" fmla="*/ 282236 w 736"/>
                <a:gd name="T15" fmla="*/ 372046 h 721"/>
                <a:gd name="T16" fmla="*/ 271831 w 736"/>
                <a:gd name="T17" fmla="*/ 345734 h 721"/>
                <a:gd name="T18" fmla="*/ 287872 w 736"/>
                <a:gd name="T19" fmla="*/ 227858 h 721"/>
                <a:gd name="T20" fmla="*/ 307381 w 736"/>
                <a:gd name="T21" fmla="*/ 225753 h 721"/>
                <a:gd name="T22" fmla="*/ 313451 w 736"/>
                <a:gd name="T23" fmla="*/ 218912 h 721"/>
                <a:gd name="T24" fmla="*/ 318220 w 736"/>
                <a:gd name="T25" fmla="*/ 189443 h 721"/>
                <a:gd name="T26" fmla="*/ 313017 w 736"/>
                <a:gd name="T27" fmla="*/ 158922 h 721"/>
                <a:gd name="T28" fmla="*/ 306948 w 736"/>
                <a:gd name="T29" fmla="*/ 159974 h 721"/>
                <a:gd name="T30" fmla="*/ 293074 w 736"/>
                <a:gd name="T31" fmla="*/ 157869 h 721"/>
                <a:gd name="T32" fmla="*/ 274866 w 736"/>
                <a:gd name="T33" fmla="*/ 157343 h 721"/>
                <a:gd name="T34" fmla="*/ 270097 w 736"/>
                <a:gd name="T35" fmla="*/ 152607 h 721"/>
                <a:gd name="T36" fmla="*/ 267495 w 736"/>
                <a:gd name="T37" fmla="*/ 133137 h 721"/>
                <a:gd name="T38" fmla="*/ 263160 w 736"/>
                <a:gd name="T39" fmla="*/ 115245 h 721"/>
                <a:gd name="T40" fmla="*/ 258825 w 736"/>
                <a:gd name="T41" fmla="*/ 97879 h 721"/>
                <a:gd name="T42" fmla="*/ 263160 w 736"/>
                <a:gd name="T43" fmla="*/ 87881 h 721"/>
                <a:gd name="T44" fmla="*/ 267495 w 736"/>
                <a:gd name="T45" fmla="*/ 77882 h 721"/>
                <a:gd name="T46" fmla="*/ 264894 w 736"/>
                <a:gd name="T47" fmla="*/ 52623 h 721"/>
                <a:gd name="T48" fmla="*/ 235847 w 736"/>
                <a:gd name="T49" fmla="*/ 36836 h 721"/>
                <a:gd name="T50" fmla="*/ 206800 w 736"/>
                <a:gd name="T51" fmla="*/ 34731 h 721"/>
                <a:gd name="T52" fmla="*/ 204198 w 736"/>
                <a:gd name="T53" fmla="*/ 42625 h 721"/>
                <a:gd name="T54" fmla="*/ 200730 w 736"/>
                <a:gd name="T55" fmla="*/ 53149 h 721"/>
                <a:gd name="T56" fmla="*/ 190759 w 736"/>
                <a:gd name="T57" fmla="*/ 64200 h 721"/>
                <a:gd name="T58" fmla="*/ 169949 w 736"/>
                <a:gd name="T59" fmla="*/ 68410 h 721"/>
                <a:gd name="T60" fmla="*/ 157809 w 736"/>
                <a:gd name="T61" fmla="*/ 60517 h 721"/>
                <a:gd name="T62" fmla="*/ 146971 w 736"/>
                <a:gd name="T63" fmla="*/ 43151 h 721"/>
                <a:gd name="T64" fmla="*/ 138300 w 736"/>
                <a:gd name="T65" fmla="*/ 20523 h 721"/>
                <a:gd name="T66" fmla="*/ 135265 w 736"/>
                <a:gd name="T67" fmla="*/ 0 h 721"/>
                <a:gd name="T68" fmla="*/ 13006 w 736"/>
                <a:gd name="T69" fmla="*/ 7893 h 721"/>
                <a:gd name="T70" fmla="*/ 20376 w 736"/>
                <a:gd name="T71" fmla="*/ 15261 h 721"/>
                <a:gd name="T72" fmla="*/ 32516 w 736"/>
                <a:gd name="T73" fmla="*/ 39467 h 721"/>
                <a:gd name="T74" fmla="*/ 44221 w 736"/>
                <a:gd name="T75" fmla="*/ 68410 h 721"/>
                <a:gd name="T76" fmla="*/ 44655 w 736"/>
                <a:gd name="T77" fmla="*/ 89986 h 721"/>
                <a:gd name="T78" fmla="*/ 40319 w 736"/>
                <a:gd name="T79" fmla="*/ 106825 h 721"/>
                <a:gd name="T80" fmla="*/ 41620 w 736"/>
                <a:gd name="T81" fmla="*/ 120507 h 721"/>
                <a:gd name="T82" fmla="*/ 51592 w 736"/>
                <a:gd name="T83" fmla="*/ 143135 h 721"/>
                <a:gd name="T84" fmla="*/ 56794 w 736"/>
                <a:gd name="T85" fmla="*/ 161553 h 721"/>
                <a:gd name="T86" fmla="*/ 55060 w 736"/>
                <a:gd name="T87" fmla="*/ 185234 h 721"/>
                <a:gd name="T88" fmla="*/ 45955 w 736"/>
                <a:gd name="T89" fmla="*/ 212071 h 721"/>
                <a:gd name="T90" fmla="*/ 33383 w 736"/>
                <a:gd name="T91" fmla="*/ 234699 h 721"/>
                <a:gd name="T92" fmla="*/ 17775 w 736"/>
                <a:gd name="T93" fmla="*/ 251012 h 721"/>
                <a:gd name="T94" fmla="*/ 10839 w 736"/>
                <a:gd name="T95" fmla="*/ 311003 h 721"/>
                <a:gd name="T96" fmla="*/ 4769 w 736"/>
                <a:gd name="T97" fmla="*/ 329947 h 72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2" name="Freeform 381">
              <a:extLst>
                <a:ext uri="{FF2B5EF4-FFF2-40B4-BE49-F238E27FC236}">
                  <a16:creationId xmlns:a16="http://schemas.microsoft.com/office/drawing/2014/main" id="{D653E6E3-EE3C-468A-8939-1BE6D43429A0}"/>
                </a:ext>
              </a:extLst>
            </p:cNvPr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5832476" y="3824289"/>
              <a:ext cx="15875" cy="60325"/>
            </a:xfrm>
            <a:custGeom>
              <a:avLst/>
              <a:gdLst>
                <a:gd name="T0" fmla="*/ 0 w 39"/>
                <a:gd name="T1" fmla="*/ 60325 h 31"/>
                <a:gd name="T2" fmla="*/ 4885 w 39"/>
                <a:gd name="T3" fmla="*/ 54487 h 31"/>
                <a:gd name="T4" fmla="*/ 8955 w 39"/>
                <a:gd name="T5" fmla="*/ 54487 h 31"/>
                <a:gd name="T6" fmla="*/ 10583 w 39"/>
                <a:gd name="T7" fmla="*/ 54487 h 31"/>
                <a:gd name="T8" fmla="*/ 12212 w 39"/>
                <a:gd name="T9" fmla="*/ 54487 h 31"/>
                <a:gd name="T10" fmla="*/ 14247 w 39"/>
                <a:gd name="T11" fmla="*/ 52541 h 31"/>
                <a:gd name="T12" fmla="*/ 15875 w 39"/>
                <a:gd name="T13" fmla="*/ 48649 h 31"/>
                <a:gd name="T14" fmla="*/ 15875 w 39"/>
                <a:gd name="T15" fmla="*/ 0 h 31"/>
                <a:gd name="T16" fmla="*/ 10583 w 39"/>
                <a:gd name="T17" fmla="*/ 0 h 31"/>
                <a:gd name="T18" fmla="*/ 6920 w 39"/>
                <a:gd name="T19" fmla="*/ 0 h 31"/>
                <a:gd name="T20" fmla="*/ 3256 w 39"/>
                <a:gd name="T21" fmla="*/ 0 h 31"/>
                <a:gd name="T22" fmla="*/ 0 w 39"/>
                <a:gd name="T23" fmla="*/ 0 h 31"/>
                <a:gd name="T24" fmla="*/ 0 w 39"/>
                <a:gd name="T25" fmla="*/ 60325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3" name="Freeform 382">
              <a:extLst>
                <a:ext uri="{FF2B5EF4-FFF2-40B4-BE49-F238E27FC236}">
                  <a16:creationId xmlns:a16="http://schemas.microsoft.com/office/drawing/2014/main" id="{9D8E7D34-E5C4-4375-84CF-43DDF3F64F68}"/>
                </a:ext>
              </a:extLst>
            </p:cNvPr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5934076" y="4367213"/>
              <a:ext cx="396875" cy="398462"/>
            </a:xfrm>
            <a:custGeom>
              <a:avLst/>
              <a:gdLst>
                <a:gd name="T0" fmla="*/ 395117 w 903"/>
                <a:gd name="T1" fmla="*/ 152770 h 759"/>
                <a:gd name="T2" fmla="*/ 379295 w 903"/>
                <a:gd name="T3" fmla="*/ 203693 h 759"/>
                <a:gd name="T4" fmla="*/ 365670 w 903"/>
                <a:gd name="T5" fmla="*/ 217343 h 759"/>
                <a:gd name="T6" fmla="*/ 334465 w 903"/>
                <a:gd name="T7" fmla="*/ 266166 h 759"/>
                <a:gd name="T8" fmla="*/ 316445 w 903"/>
                <a:gd name="T9" fmla="*/ 294515 h 759"/>
                <a:gd name="T10" fmla="*/ 284361 w 903"/>
                <a:gd name="T11" fmla="*/ 321815 h 759"/>
                <a:gd name="T12" fmla="*/ 256233 w 903"/>
                <a:gd name="T13" fmla="*/ 349639 h 759"/>
                <a:gd name="T14" fmla="*/ 244806 w 903"/>
                <a:gd name="T15" fmla="*/ 366438 h 759"/>
                <a:gd name="T16" fmla="*/ 228544 w 903"/>
                <a:gd name="T17" fmla="*/ 370113 h 759"/>
                <a:gd name="T18" fmla="*/ 217996 w 903"/>
                <a:gd name="T19" fmla="*/ 372738 h 759"/>
                <a:gd name="T20" fmla="*/ 213161 w 903"/>
                <a:gd name="T21" fmla="*/ 381663 h 759"/>
                <a:gd name="T22" fmla="*/ 163497 w 903"/>
                <a:gd name="T23" fmla="*/ 381663 h 759"/>
                <a:gd name="T24" fmla="*/ 148993 w 903"/>
                <a:gd name="T25" fmla="*/ 384287 h 759"/>
                <a:gd name="T26" fmla="*/ 138884 w 903"/>
                <a:gd name="T27" fmla="*/ 384287 h 759"/>
                <a:gd name="T28" fmla="*/ 125699 w 903"/>
                <a:gd name="T29" fmla="*/ 381663 h 759"/>
                <a:gd name="T30" fmla="*/ 115590 w 903"/>
                <a:gd name="T31" fmla="*/ 386912 h 759"/>
                <a:gd name="T32" fmla="*/ 64168 w 903"/>
                <a:gd name="T33" fmla="*/ 398462 h 759"/>
                <a:gd name="T34" fmla="*/ 50983 w 903"/>
                <a:gd name="T35" fmla="*/ 395312 h 759"/>
                <a:gd name="T36" fmla="*/ 39556 w 903"/>
                <a:gd name="T37" fmla="*/ 387962 h 759"/>
                <a:gd name="T38" fmla="*/ 33403 w 903"/>
                <a:gd name="T39" fmla="*/ 377463 h 759"/>
                <a:gd name="T40" fmla="*/ 34721 w 903"/>
                <a:gd name="T41" fmla="*/ 365913 h 759"/>
                <a:gd name="T42" fmla="*/ 32963 w 903"/>
                <a:gd name="T43" fmla="*/ 329689 h 759"/>
                <a:gd name="T44" fmla="*/ 34721 w 903"/>
                <a:gd name="T45" fmla="*/ 319190 h 759"/>
                <a:gd name="T46" fmla="*/ 29886 w 903"/>
                <a:gd name="T47" fmla="*/ 300290 h 759"/>
                <a:gd name="T48" fmla="*/ 9669 w 903"/>
                <a:gd name="T49" fmla="*/ 270891 h 759"/>
                <a:gd name="T50" fmla="*/ 5274 w 903"/>
                <a:gd name="T51" fmla="*/ 254092 h 759"/>
                <a:gd name="T52" fmla="*/ 4395 w 903"/>
                <a:gd name="T53" fmla="*/ 230467 h 759"/>
                <a:gd name="T54" fmla="*/ 0 w 903"/>
                <a:gd name="T55" fmla="*/ 197919 h 759"/>
                <a:gd name="T56" fmla="*/ 17141 w 903"/>
                <a:gd name="T57" fmla="*/ 197919 h 759"/>
                <a:gd name="T58" fmla="*/ 25052 w 903"/>
                <a:gd name="T59" fmla="*/ 207893 h 759"/>
                <a:gd name="T60" fmla="*/ 41314 w 903"/>
                <a:gd name="T61" fmla="*/ 215243 h 759"/>
                <a:gd name="T62" fmla="*/ 59333 w 903"/>
                <a:gd name="T63" fmla="*/ 215768 h 759"/>
                <a:gd name="T64" fmla="*/ 70321 w 903"/>
                <a:gd name="T65" fmla="*/ 209993 h 759"/>
                <a:gd name="T66" fmla="*/ 79990 w 903"/>
                <a:gd name="T67" fmla="*/ 195294 h 759"/>
                <a:gd name="T68" fmla="*/ 86583 w 903"/>
                <a:gd name="T69" fmla="*/ 120221 h 759"/>
                <a:gd name="T70" fmla="*/ 89659 w 903"/>
                <a:gd name="T71" fmla="*/ 96597 h 759"/>
                <a:gd name="T72" fmla="*/ 92297 w 903"/>
                <a:gd name="T73" fmla="*/ 88197 h 759"/>
                <a:gd name="T74" fmla="*/ 105042 w 903"/>
                <a:gd name="T75" fmla="*/ 93447 h 759"/>
                <a:gd name="T76" fmla="*/ 107679 w 903"/>
                <a:gd name="T77" fmla="*/ 124946 h 759"/>
                <a:gd name="T78" fmla="*/ 108558 w 903"/>
                <a:gd name="T79" fmla="*/ 143845 h 759"/>
                <a:gd name="T80" fmla="*/ 112514 w 903"/>
                <a:gd name="T81" fmla="*/ 150670 h 759"/>
                <a:gd name="T82" fmla="*/ 126139 w 903"/>
                <a:gd name="T83" fmla="*/ 154870 h 759"/>
                <a:gd name="T84" fmla="*/ 137126 w 903"/>
                <a:gd name="T85" fmla="*/ 153820 h 759"/>
                <a:gd name="T86" fmla="*/ 146356 w 903"/>
                <a:gd name="T87" fmla="*/ 142795 h 759"/>
                <a:gd name="T88" fmla="*/ 153828 w 903"/>
                <a:gd name="T89" fmla="*/ 122846 h 759"/>
                <a:gd name="T90" fmla="*/ 161739 w 903"/>
                <a:gd name="T91" fmla="*/ 105522 h 759"/>
                <a:gd name="T92" fmla="*/ 170089 w 903"/>
                <a:gd name="T93" fmla="*/ 100272 h 759"/>
                <a:gd name="T94" fmla="*/ 181956 w 903"/>
                <a:gd name="T95" fmla="*/ 101322 h 759"/>
                <a:gd name="T96" fmla="*/ 198218 w 903"/>
                <a:gd name="T97" fmla="*/ 109196 h 759"/>
                <a:gd name="T98" fmla="*/ 210084 w 903"/>
                <a:gd name="T99" fmla="*/ 113396 h 759"/>
                <a:gd name="T100" fmla="*/ 225028 w 903"/>
                <a:gd name="T101" fmla="*/ 111821 h 759"/>
                <a:gd name="T102" fmla="*/ 233378 w 903"/>
                <a:gd name="T103" fmla="*/ 104997 h 759"/>
                <a:gd name="T104" fmla="*/ 247882 w 903"/>
                <a:gd name="T105" fmla="*/ 66673 h 759"/>
                <a:gd name="T106" fmla="*/ 272494 w 903"/>
                <a:gd name="T107" fmla="*/ 41999 h 759"/>
                <a:gd name="T108" fmla="*/ 321719 w 903"/>
                <a:gd name="T109" fmla="*/ 5775 h 759"/>
                <a:gd name="T110" fmla="*/ 354243 w 903"/>
                <a:gd name="T111" fmla="*/ 1575 h 759"/>
                <a:gd name="T112" fmla="*/ 364791 w 903"/>
                <a:gd name="T113" fmla="*/ 3150 h 759"/>
                <a:gd name="T114" fmla="*/ 375339 w 903"/>
                <a:gd name="T115" fmla="*/ 18374 h 759"/>
                <a:gd name="T116" fmla="*/ 383690 w 903"/>
                <a:gd name="T117" fmla="*/ 37274 h 759"/>
                <a:gd name="T118" fmla="*/ 388085 w 903"/>
                <a:gd name="T119" fmla="*/ 56173 h 759"/>
                <a:gd name="T120" fmla="*/ 381492 w 903"/>
                <a:gd name="T121" fmla="*/ 108671 h 759"/>
                <a:gd name="T122" fmla="*/ 364791 w 903"/>
                <a:gd name="T123" fmla="*/ 107097 h 759"/>
                <a:gd name="T124" fmla="*/ 363033 w 903"/>
                <a:gd name="T125" fmla="*/ 147520 h 75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84" name="Freeform 383">
              <a:extLst>
                <a:ext uri="{FF2B5EF4-FFF2-40B4-BE49-F238E27FC236}">
                  <a16:creationId xmlns:a16="http://schemas.microsoft.com/office/drawing/2014/main" id="{4767DC0B-A99F-4BD8-B174-E3089D8A58F6}"/>
                </a:ext>
              </a:extLst>
            </p:cNvPr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6081713" y="2935289"/>
              <a:ext cx="411162" cy="611187"/>
            </a:xfrm>
            <a:custGeom>
              <a:avLst/>
              <a:gdLst>
                <a:gd name="T0" fmla="*/ 323523 w 943"/>
                <a:gd name="T1" fmla="*/ 2607 h 1172"/>
                <a:gd name="T2" fmla="*/ 333551 w 943"/>
                <a:gd name="T3" fmla="*/ 11994 h 1172"/>
                <a:gd name="T4" fmla="*/ 350120 w 943"/>
                <a:gd name="T5" fmla="*/ 15645 h 1172"/>
                <a:gd name="T6" fmla="*/ 354916 w 943"/>
                <a:gd name="T7" fmla="*/ 28682 h 1172"/>
                <a:gd name="T8" fmla="*/ 364072 w 943"/>
                <a:gd name="T9" fmla="*/ 56842 h 1172"/>
                <a:gd name="T10" fmla="*/ 364944 w 943"/>
                <a:gd name="T11" fmla="*/ 97519 h 1172"/>
                <a:gd name="T12" fmla="*/ 373665 w 943"/>
                <a:gd name="T13" fmla="*/ 126722 h 1172"/>
                <a:gd name="T14" fmla="*/ 402006 w 943"/>
                <a:gd name="T15" fmla="*/ 152275 h 1172"/>
                <a:gd name="T16" fmla="*/ 383257 w 943"/>
                <a:gd name="T17" fmla="*/ 188258 h 1172"/>
                <a:gd name="T18" fmla="*/ 371049 w 943"/>
                <a:gd name="T19" fmla="*/ 213811 h 1172"/>
                <a:gd name="T20" fmla="*/ 352736 w 943"/>
                <a:gd name="T21" fmla="*/ 331147 h 1172"/>
                <a:gd name="T22" fmla="*/ 335731 w 943"/>
                <a:gd name="T23" fmla="*/ 353049 h 1172"/>
                <a:gd name="T24" fmla="*/ 332679 w 943"/>
                <a:gd name="T25" fmla="*/ 375995 h 1172"/>
                <a:gd name="T26" fmla="*/ 324831 w 943"/>
                <a:gd name="T27" fmla="*/ 383296 h 1172"/>
                <a:gd name="T28" fmla="*/ 315239 w 943"/>
                <a:gd name="T29" fmla="*/ 416150 h 1172"/>
                <a:gd name="T30" fmla="*/ 301722 w 943"/>
                <a:gd name="T31" fmla="*/ 457347 h 1172"/>
                <a:gd name="T32" fmla="*/ 288642 w 943"/>
                <a:gd name="T33" fmla="*/ 470906 h 1172"/>
                <a:gd name="T34" fmla="*/ 289514 w 943"/>
                <a:gd name="T35" fmla="*/ 487072 h 1172"/>
                <a:gd name="T36" fmla="*/ 299106 w 943"/>
                <a:gd name="T37" fmla="*/ 489680 h 1172"/>
                <a:gd name="T38" fmla="*/ 309135 w 943"/>
                <a:gd name="T39" fmla="*/ 495416 h 1172"/>
                <a:gd name="T40" fmla="*/ 323523 w 943"/>
                <a:gd name="T41" fmla="*/ 506367 h 1172"/>
                <a:gd name="T42" fmla="*/ 329627 w 943"/>
                <a:gd name="T43" fmla="*/ 525141 h 1172"/>
                <a:gd name="T44" fmla="*/ 337912 w 943"/>
                <a:gd name="T45" fmla="*/ 543915 h 1172"/>
                <a:gd name="T46" fmla="*/ 350120 w 943"/>
                <a:gd name="T47" fmla="*/ 549130 h 1172"/>
                <a:gd name="T48" fmla="*/ 352736 w 943"/>
                <a:gd name="T49" fmla="*/ 570511 h 1172"/>
                <a:gd name="T50" fmla="*/ 313059 w 943"/>
                <a:gd name="T51" fmla="*/ 581462 h 1172"/>
                <a:gd name="T52" fmla="*/ 299542 w 943"/>
                <a:gd name="T53" fmla="*/ 603365 h 1172"/>
                <a:gd name="T54" fmla="*/ 260737 w 943"/>
                <a:gd name="T55" fmla="*/ 610144 h 1172"/>
                <a:gd name="T56" fmla="*/ 224548 w 943"/>
                <a:gd name="T57" fmla="*/ 603886 h 1172"/>
                <a:gd name="T58" fmla="*/ 202311 w 943"/>
                <a:gd name="T59" fmla="*/ 585634 h 1172"/>
                <a:gd name="T60" fmla="*/ 170046 w 943"/>
                <a:gd name="T61" fmla="*/ 586677 h 1172"/>
                <a:gd name="T62" fmla="*/ 139089 w 943"/>
                <a:gd name="T63" fmla="*/ 584069 h 1172"/>
                <a:gd name="T64" fmla="*/ 129496 w 943"/>
                <a:gd name="T65" fmla="*/ 575726 h 1172"/>
                <a:gd name="T66" fmla="*/ 128188 w 943"/>
                <a:gd name="T67" fmla="*/ 560602 h 1172"/>
                <a:gd name="T68" fmla="*/ 119468 w 943"/>
                <a:gd name="T69" fmla="*/ 536614 h 1172"/>
                <a:gd name="T70" fmla="*/ 94179 w 943"/>
                <a:gd name="T71" fmla="*/ 507932 h 1172"/>
                <a:gd name="T72" fmla="*/ 84151 w 943"/>
                <a:gd name="T73" fmla="*/ 482379 h 1172"/>
                <a:gd name="T74" fmla="*/ 66274 w 943"/>
                <a:gd name="T75" fmla="*/ 470906 h 1172"/>
                <a:gd name="T76" fmla="*/ 52322 w 943"/>
                <a:gd name="T77" fmla="*/ 441181 h 1172"/>
                <a:gd name="T78" fmla="*/ 42293 w 943"/>
                <a:gd name="T79" fmla="*/ 410935 h 1172"/>
                <a:gd name="T80" fmla="*/ 28341 w 943"/>
                <a:gd name="T81" fmla="*/ 395290 h 1172"/>
                <a:gd name="T82" fmla="*/ 14388 w 943"/>
                <a:gd name="T83" fmla="*/ 352528 h 1172"/>
                <a:gd name="T84" fmla="*/ 1744 w 943"/>
                <a:gd name="T85" fmla="*/ 318631 h 1172"/>
                <a:gd name="T86" fmla="*/ 7848 w 943"/>
                <a:gd name="T87" fmla="*/ 300900 h 1172"/>
                <a:gd name="T88" fmla="*/ 12644 w 943"/>
                <a:gd name="T89" fmla="*/ 271697 h 1172"/>
                <a:gd name="T90" fmla="*/ 27905 w 943"/>
                <a:gd name="T91" fmla="*/ 247187 h 1172"/>
                <a:gd name="T92" fmla="*/ 49270 w 943"/>
                <a:gd name="T93" fmla="*/ 115771 h 1172"/>
                <a:gd name="T94" fmla="*/ 53630 w 943"/>
                <a:gd name="T95" fmla="*/ 93347 h 1172"/>
                <a:gd name="T96" fmla="*/ 66710 w 943"/>
                <a:gd name="T97" fmla="*/ 89175 h 1172"/>
                <a:gd name="T98" fmla="*/ 69762 w 943"/>
                <a:gd name="T99" fmla="*/ 63622 h 1172"/>
                <a:gd name="T100" fmla="*/ 69326 w 943"/>
                <a:gd name="T101" fmla="*/ 34940 h 1172"/>
                <a:gd name="T102" fmla="*/ 296054 w 943"/>
                <a:gd name="T103" fmla="*/ 35983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285" name="Group 384">
              <a:extLst>
                <a:ext uri="{FF2B5EF4-FFF2-40B4-BE49-F238E27FC236}">
                  <a16:creationId xmlns:a16="http://schemas.microsoft.com/office/drawing/2014/main" id="{B6785AD8-FDB3-48C3-9446-99EF22712077}"/>
                </a:ext>
              </a:extLst>
            </p:cNvPr>
            <p:cNvGrpSpPr>
              <a:grpSpLocks/>
            </p:cNvGrpSpPr>
            <p:nvPr>
              <p:custDataLst>
                <p:tags r:id="rId273"/>
              </p:custDataLst>
            </p:nvPr>
          </p:nvGrpSpPr>
          <p:grpSpPr bwMode="auto">
            <a:xfrm>
              <a:off x="4865688" y="3136900"/>
              <a:ext cx="80962" cy="82550"/>
              <a:chOff x="2352" y="2343"/>
              <a:chExt cx="65" cy="53"/>
            </a:xfrm>
          </p:grpSpPr>
          <p:sp>
            <p:nvSpPr>
              <p:cNvPr id="446" name="Freeform 385">
                <a:extLst>
                  <a:ext uri="{FF2B5EF4-FFF2-40B4-BE49-F238E27FC236}">
                    <a16:creationId xmlns:a16="http://schemas.microsoft.com/office/drawing/2014/main" id="{62F688F1-CEF5-4608-B00D-E96E16DC04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14 w 51"/>
                  <a:gd name="T1" fmla="*/ 0 h 33"/>
                  <a:gd name="T2" fmla="*/ 0 w 51"/>
                  <a:gd name="T3" fmla="*/ 2 h 33"/>
                  <a:gd name="T4" fmla="*/ 1 w 51"/>
                  <a:gd name="T5" fmla="*/ 9 h 33"/>
                  <a:gd name="T6" fmla="*/ 3 w 51"/>
                  <a:gd name="T7" fmla="*/ 11 h 33"/>
                  <a:gd name="T8" fmla="*/ 11 w 51"/>
                  <a:gd name="T9" fmla="*/ 8 h 33"/>
                  <a:gd name="T10" fmla="*/ 15 w 51"/>
                  <a:gd name="T11" fmla="*/ 5 h 33"/>
                  <a:gd name="T12" fmla="*/ 16 w 51"/>
                  <a:gd name="T13" fmla="*/ 3 h 33"/>
                  <a:gd name="T14" fmla="*/ 14 w 51"/>
                  <a:gd name="T15" fmla="*/ 0 h 3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7" name="Freeform 386">
                <a:extLst>
                  <a:ext uri="{FF2B5EF4-FFF2-40B4-BE49-F238E27FC236}">
                    <a16:creationId xmlns:a16="http://schemas.microsoft.com/office/drawing/2014/main" id="{32A44336-18E5-4146-A3FF-F84AC80BA7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20 w 61"/>
                  <a:gd name="T1" fmla="*/ 2 h 20"/>
                  <a:gd name="T2" fmla="*/ 17 w 61"/>
                  <a:gd name="T3" fmla="*/ 1 h 20"/>
                  <a:gd name="T4" fmla="*/ 0 w 61"/>
                  <a:gd name="T5" fmla="*/ 0 h 20"/>
                  <a:gd name="T6" fmla="*/ 1 w 61"/>
                  <a:gd name="T7" fmla="*/ 5 h 20"/>
                  <a:gd name="T8" fmla="*/ 2 w 61"/>
                  <a:gd name="T9" fmla="*/ 7 h 20"/>
                  <a:gd name="T10" fmla="*/ 6 w 61"/>
                  <a:gd name="T11" fmla="*/ 5 h 20"/>
                  <a:gd name="T12" fmla="*/ 20 w 61"/>
                  <a:gd name="T13" fmla="*/ 2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8" name="Freeform 387">
                <a:extLst>
                  <a:ext uri="{FF2B5EF4-FFF2-40B4-BE49-F238E27FC236}">
                    <a16:creationId xmlns:a16="http://schemas.microsoft.com/office/drawing/2014/main" id="{78C24981-EC8C-4725-A342-4DCBFCA8ED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1 w 15"/>
                  <a:gd name="T1" fmla="*/ 0 h 36"/>
                  <a:gd name="T2" fmla="*/ 0 w 15"/>
                  <a:gd name="T3" fmla="*/ 7 h 36"/>
                  <a:gd name="T4" fmla="*/ 0 w 15"/>
                  <a:gd name="T5" fmla="*/ 12 h 36"/>
                  <a:gd name="T6" fmla="*/ 4 w 15"/>
                  <a:gd name="T7" fmla="*/ 12 h 36"/>
                  <a:gd name="T8" fmla="*/ 5 w 15"/>
                  <a:gd name="T9" fmla="*/ 5 h 36"/>
                  <a:gd name="T10" fmla="*/ 1 w 15"/>
                  <a:gd name="T11" fmla="*/ 0 h 3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9" name="Freeform 388">
                <a:extLst>
                  <a:ext uri="{FF2B5EF4-FFF2-40B4-BE49-F238E27FC236}">
                    <a16:creationId xmlns:a16="http://schemas.microsoft.com/office/drawing/2014/main" id="{D15DF629-EBDF-451C-8FEE-DDAB55218B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1 w 37"/>
                  <a:gd name="T1" fmla="*/ 1 h 33"/>
                  <a:gd name="T2" fmla="*/ 7 w 37"/>
                  <a:gd name="T3" fmla="*/ 0 h 33"/>
                  <a:gd name="T4" fmla="*/ 10 w 37"/>
                  <a:gd name="T5" fmla="*/ 2 h 33"/>
                  <a:gd name="T6" fmla="*/ 11 w 37"/>
                  <a:gd name="T7" fmla="*/ 7 h 33"/>
                  <a:gd name="T8" fmla="*/ 7 w 37"/>
                  <a:gd name="T9" fmla="*/ 11 h 33"/>
                  <a:gd name="T10" fmla="*/ 3 w 37"/>
                  <a:gd name="T11" fmla="*/ 11 h 33"/>
                  <a:gd name="T12" fmla="*/ 1 w 37"/>
                  <a:gd name="T13" fmla="*/ 8 h 33"/>
                  <a:gd name="T14" fmla="*/ 0 w 37"/>
                  <a:gd name="T15" fmla="*/ 5 h 33"/>
                  <a:gd name="T16" fmla="*/ 1 w 37"/>
                  <a:gd name="T17" fmla="*/ 1 h 3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0" name="Freeform 389">
                <a:extLst>
                  <a:ext uri="{FF2B5EF4-FFF2-40B4-BE49-F238E27FC236}">
                    <a16:creationId xmlns:a16="http://schemas.microsoft.com/office/drawing/2014/main" id="{3D60AAA9-5AF6-433D-87BC-0A2BECA3A9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1 w 49"/>
                  <a:gd name="T1" fmla="*/ 0 h 54"/>
                  <a:gd name="T2" fmla="*/ 0 w 49"/>
                  <a:gd name="T3" fmla="*/ 0 h 54"/>
                  <a:gd name="T4" fmla="*/ 1 w 49"/>
                  <a:gd name="T5" fmla="*/ 17 h 54"/>
                  <a:gd name="T6" fmla="*/ 6 w 49"/>
                  <a:gd name="T7" fmla="*/ 18 h 54"/>
                  <a:gd name="T8" fmla="*/ 14 w 49"/>
                  <a:gd name="T9" fmla="*/ 15 h 54"/>
                  <a:gd name="T10" fmla="*/ 16 w 49"/>
                  <a:gd name="T11" fmla="*/ 10 h 54"/>
                  <a:gd name="T12" fmla="*/ 13 w 49"/>
                  <a:gd name="T13" fmla="*/ 7 h 54"/>
                  <a:gd name="T14" fmla="*/ 6 w 49"/>
                  <a:gd name="T15" fmla="*/ 3 h 54"/>
                  <a:gd name="T16" fmla="*/ 1 w 49"/>
                  <a:gd name="T17" fmla="*/ 0 h 5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1" name="Freeform 390">
                <a:extLst>
                  <a:ext uri="{FF2B5EF4-FFF2-40B4-BE49-F238E27FC236}">
                    <a16:creationId xmlns:a16="http://schemas.microsoft.com/office/drawing/2014/main" id="{63CB7E6B-E75E-4BF9-9A2F-AC5293FA0C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6 w 26"/>
                  <a:gd name="T1" fmla="*/ 0 h 22"/>
                  <a:gd name="T2" fmla="*/ 1 w 26"/>
                  <a:gd name="T3" fmla="*/ 1 h 22"/>
                  <a:gd name="T4" fmla="*/ 0 w 26"/>
                  <a:gd name="T5" fmla="*/ 5 h 22"/>
                  <a:gd name="T6" fmla="*/ 2 w 26"/>
                  <a:gd name="T7" fmla="*/ 7 h 22"/>
                  <a:gd name="T8" fmla="*/ 7 w 26"/>
                  <a:gd name="T9" fmla="*/ 7 h 22"/>
                  <a:gd name="T10" fmla="*/ 9 w 26"/>
                  <a:gd name="T11" fmla="*/ 4 h 22"/>
                  <a:gd name="T12" fmla="*/ 6 w 26"/>
                  <a:gd name="T13" fmla="*/ 0 h 2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86" name="Group 391">
              <a:extLst>
                <a:ext uri="{FF2B5EF4-FFF2-40B4-BE49-F238E27FC236}">
                  <a16:creationId xmlns:a16="http://schemas.microsoft.com/office/drawing/2014/main" id="{18C20A89-E19D-4639-9241-123CEE5EB0B9}"/>
                </a:ext>
              </a:extLst>
            </p:cNvPr>
            <p:cNvGrpSpPr>
              <a:grpSpLocks/>
            </p:cNvGrpSpPr>
            <p:nvPr>
              <p:custDataLst>
                <p:tags r:id="rId274"/>
              </p:custDataLst>
            </p:nvPr>
          </p:nvGrpSpPr>
          <p:grpSpPr bwMode="auto">
            <a:xfrm>
              <a:off x="2711451" y="1196976"/>
              <a:ext cx="1897063" cy="1133475"/>
              <a:chOff x="527" y="1110"/>
              <a:chExt cx="1410" cy="709"/>
            </a:xfrm>
            <a:solidFill>
              <a:srgbClr val="0070C0"/>
            </a:solidFill>
          </p:grpSpPr>
          <p:sp>
            <p:nvSpPr>
              <p:cNvPr id="404" name="Freeform 392">
                <a:extLst>
                  <a:ext uri="{FF2B5EF4-FFF2-40B4-BE49-F238E27FC236}">
                    <a16:creationId xmlns:a16="http://schemas.microsoft.com/office/drawing/2014/main" id="{13BD92A8-5461-4173-8AA3-060707CB30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13 h 54"/>
                  <a:gd name="T2" fmla="*/ 2 w 98"/>
                  <a:gd name="T3" fmla="*/ 14 h 54"/>
                  <a:gd name="T4" fmla="*/ 4 w 98"/>
                  <a:gd name="T5" fmla="*/ 16 h 54"/>
                  <a:gd name="T6" fmla="*/ 7 w 98"/>
                  <a:gd name="T7" fmla="*/ 17 h 54"/>
                  <a:gd name="T8" fmla="*/ 10 w 98"/>
                  <a:gd name="T9" fmla="*/ 17 h 54"/>
                  <a:gd name="T10" fmla="*/ 12 w 98"/>
                  <a:gd name="T11" fmla="*/ 17 h 54"/>
                  <a:gd name="T12" fmla="*/ 14 w 98"/>
                  <a:gd name="T13" fmla="*/ 17 h 54"/>
                  <a:gd name="T14" fmla="*/ 16 w 98"/>
                  <a:gd name="T15" fmla="*/ 16 h 54"/>
                  <a:gd name="T16" fmla="*/ 18 w 98"/>
                  <a:gd name="T17" fmla="*/ 15 h 54"/>
                  <a:gd name="T18" fmla="*/ 21 w 98"/>
                  <a:gd name="T19" fmla="*/ 13 h 54"/>
                  <a:gd name="T20" fmla="*/ 24 w 98"/>
                  <a:gd name="T21" fmla="*/ 11 h 54"/>
                  <a:gd name="T22" fmla="*/ 27 w 98"/>
                  <a:gd name="T23" fmla="*/ 9 h 54"/>
                  <a:gd name="T24" fmla="*/ 29 w 98"/>
                  <a:gd name="T25" fmla="*/ 6 h 54"/>
                  <a:gd name="T26" fmla="*/ 30 w 98"/>
                  <a:gd name="T27" fmla="*/ 4 h 54"/>
                  <a:gd name="T28" fmla="*/ 31 w 98"/>
                  <a:gd name="T29" fmla="*/ 1 h 54"/>
                  <a:gd name="T30" fmla="*/ 29 w 98"/>
                  <a:gd name="T31" fmla="*/ 1 h 54"/>
                  <a:gd name="T32" fmla="*/ 26 w 98"/>
                  <a:gd name="T33" fmla="*/ 0 h 54"/>
                  <a:gd name="T34" fmla="*/ 24 w 98"/>
                  <a:gd name="T35" fmla="*/ 0 h 54"/>
                  <a:gd name="T36" fmla="*/ 22 w 98"/>
                  <a:gd name="T37" fmla="*/ 0 h 54"/>
                  <a:gd name="T38" fmla="*/ 19 w 98"/>
                  <a:gd name="T39" fmla="*/ 0 h 54"/>
                  <a:gd name="T40" fmla="*/ 16 w 98"/>
                  <a:gd name="T41" fmla="*/ 1 h 54"/>
                  <a:gd name="T42" fmla="*/ 14 w 98"/>
                  <a:gd name="T43" fmla="*/ 2 h 54"/>
                  <a:gd name="T44" fmla="*/ 12 w 98"/>
                  <a:gd name="T45" fmla="*/ 3 h 54"/>
                  <a:gd name="T46" fmla="*/ 7 w 98"/>
                  <a:gd name="T47" fmla="*/ 5 h 54"/>
                  <a:gd name="T48" fmla="*/ 4 w 98"/>
                  <a:gd name="T49" fmla="*/ 8 h 54"/>
                  <a:gd name="T50" fmla="*/ 2 w 98"/>
                  <a:gd name="T51" fmla="*/ 9 h 54"/>
                  <a:gd name="T52" fmla="*/ 1 w 98"/>
                  <a:gd name="T53" fmla="*/ 10 h 54"/>
                  <a:gd name="T54" fmla="*/ 0 w 98"/>
                  <a:gd name="T55" fmla="*/ 12 h 54"/>
                  <a:gd name="T56" fmla="*/ 0 w 98"/>
                  <a:gd name="T57" fmla="*/ 13 h 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05" name="Freeform 393">
                <a:extLst>
                  <a:ext uri="{FF2B5EF4-FFF2-40B4-BE49-F238E27FC236}">
                    <a16:creationId xmlns:a16="http://schemas.microsoft.com/office/drawing/2014/main" id="{B743F805-1C11-44B0-8686-4853D7AE3E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8 h 28"/>
                  <a:gd name="T2" fmla="*/ 3 w 67"/>
                  <a:gd name="T3" fmla="*/ 8 h 28"/>
                  <a:gd name="T4" fmla="*/ 7 w 67"/>
                  <a:gd name="T5" fmla="*/ 8 h 28"/>
                  <a:gd name="T6" fmla="*/ 10 w 67"/>
                  <a:gd name="T7" fmla="*/ 7 h 28"/>
                  <a:gd name="T8" fmla="*/ 13 w 67"/>
                  <a:gd name="T9" fmla="*/ 6 h 28"/>
                  <a:gd name="T10" fmla="*/ 15 w 67"/>
                  <a:gd name="T11" fmla="*/ 5 h 28"/>
                  <a:gd name="T12" fmla="*/ 18 w 67"/>
                  <a:gd name="T13" fmla="*/ 3 h 28"/>
                  <a:gd name="T14" fmla="*/ 20 w 67"/>
                  <a:gd name="T15" fmla="*/ 2 h 28"/>
                  <a:gd name="T16" fmla="*/ 21 w 67"/>
                  <a:gd name="T17" fmla="*/ 1 h 28"/>
                  <a:gd name="T18" fmla="*/ 18 w 67"/>
                  <a:gd name="T19" fmla="*/ 0 h 28"/>
                  <a:gd name="T20" fmla="*/ 14 w 67"/>
                  <a:gd name="T21" fmla="*/ 0 h 28"/>
                  <a:gd name="T22" fmla="*/ 11 w 67"/>
                  <a:gd name="T23" fmla="*/ 0 h 28"/>
                  <a:gd name="T24" fmla="*/ 8 w 67"/>
                  <a:gd name="T25" fmla="*/ 1 h 28"/>
                  <a:gd name="T26" fmla="*/ 5 w 67"/>
                  <a:gd name="T27" fmla="*/ 2 h 28"/>
                  <a:gd name="T28" fmla="*/ 3 w 67"/>
                  <a:gd name="T29" fmla="*/ 3 h 28"/>
                  <a:gd name="T30" fmla="*/ 2 w 67"/>
                  <a:gd name="T31" fmla="*/ 4 h 28"/>
                  <a:gd name="T32" fmla="*/ 1 w 67"/>
                  <a:gd name="T33" fmla="*/ 5 h 28"/>
                  <a:gd name="T34" fmla="*/ 1 w 67"/>
                  <a:gd name="T35" fmla="*/ 6 h 28"/>
                  <a:gd name="T36" fmla="*/ 0 w 67"/>
                  <a:gd name="T37" fmla="*/ 8 h 2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06" name="Freeform 394">
                <a:extLst>
                  <a:ext uri="{FF2B5EF4-FFF2-40B4-BE49-F238E27FC236}">
                    <a16:creationId xmlns:a16="http://schemas.microsoft.com/office/drawing/2014/main" id="{866B594F-3AC6-465F-9172-AAB7B29DFF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6 h 36"/>
                  <a:gd name="T2" fmla="*/ 0 w 32"/>
                  <a:gd name="T3" fmla="*/ 7 h 36"/>
                  <a:gd name="T4" fmla="*/ 1 w 32"/>
                  <a:gd name="T5" fmla="*/ 9 h 36"/>
                  <a:gd name="T6" fmla="*/ 2 w 32"/>
                  <a:gd name="T7" fmla="*/ 10 h 36"/>
                  <a:gd name="T8" fmla="*/ 3 w 32"/>
                  <a:gd name="T9" fmla="*/ 10 h 36"/>
                  <a:gd name="T10" fmla="*/ 4 w 32"/>
                  <a:gd name="T11" fmla="*/ 11 h 36"/>
                  <a:gd name="T12" fmla="*/ 4 w 32"/>
                  <a:gd name="T13" fmla="*/ 11 h 36"/>
                  <a:gd name="T14" fmla="*/ 11 w 32"/>
                  <a:gd name="T15" fmla="*/ 11 h 36"/>
                  <a:gd name="T16" fmla="*/ 11 w 32"/>
                  <a:gd name="T17" fmla="*/ 7 h 36"/>
                  <a:gd name="T18" fmla="*/ 11 w 32"/>
                  <a:gd name="T19" fmla="*/ 4 h 36"/>
                  <a:gd name="T20" fmla="*/ 10 w 32"/>
                  <a:gd name="T21" fmla="*/ 2 h 36"/>
                  <a:gd name="T22" fmla="*/ 9 w 32"/>
                  <a:gd name="T23" fmla="*/ 0 h 36"/>
                  <a:gd name="T24" fmla="*/ 7 w 32"/>
                  <a:gd name="T25" fmla="*/ 1 h 36"/>
                  <a:gd name="T26" fmla="*/ 4 w 32"/>
                  <a:gd name="T27" fmla="*/ 2 h 36"/>
                  <a:gd name="T28" fmla="*/ 2 w 32"/>
                  <a:gd name="T29" fmla="*/ 3 h 36"/>
                  <a:gd name="T30" fmla="*/ 1 w 32"/>
                  <a:gd name="T31" fmla="*/ 4 h 36"/>
                  <a:gd name="T32" fmla="*/ 0 w 32"/>
                  <a:gd name="T33" fmla="*/ 5 h 36"/>
                  <a:gd name="T34" fmla="*/ 0 w 32"/>
                  <a:gd name="T35" fmla="*/ 6 h 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07" name="Freeform 395">
                <a:extLst>
                  <a:ext uri="{FF2B5EF4-FFF2-40B4-BE49-F238E27FC236}">
                    <a16:creationId xmlns:a16="http://schemas.microsoft.com/office/drawing/2014/main" id="{2DB44389-D1B6-44BC-A903-E605D97C10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14 h 52"/>
                  <a:gd name="T2" fmla="*/ 3 w 146"/>
                  <a:gd name="T3" fmla="*/ 15 h 52"/>
                  <a:gd name="T4" fmla="*/ 7 w 146"/>
                  <a:gd name="T5" fmla="*/ 16 h 52"/>
                  <a:gd name="T6" fmla="*/ 10 w 146"/>
                  <a:gd name="T7" fmla="*/ 17 h 52"/>
                  <a:gd name="T8" fmla="*/ 14 w 146"/>
                  <a:gd name="T9" fmla="*/ 17 h 52"/>
                  <a:gd name="T10" fmla="*/ 20 w 146"/>
                  <a:gd name="T11" fmla="*/ 17 h 52"/>
                  <a:gd name="T12" fmla="*/ 26 w 146"/>
                  <a:gd name="T13" fmla="*/ 17 h 52"/>
                  <a:gd name="T14" fmla="*/ 37 w 146"/>
                  <a:gd name="T15" fmla="*/ 15 h 52"/>
                  <a:gd name="T16" fmla="*/ 46 w 146"/>
                  <a:gd name="T17" fmla="*/ 14 h 52"/>
                  <a:gd name="T18" fmla="*/ 45 w 146"/>
                  <a:gd name="T19" fmla="*/ 12 h 52"/>
                  <a:gd name="T20" fmla="*/ 45 w 146"/>
                  <a:gd name="T21" fmla="*/ 10 h 52"/>
                  <a:gd name="T22" fmla="*/ 44 w 146"/>
                  <a:gd name="T23" fmla="*/ 8 h 52"/>
                  <a:gd name="T24" fmla="*/ 43 w 146"/>
                  <a:gd name="T25" fmla="*/ 6 h 52"/>
                  <a:gd name="T26" fmla="*/ 42 w 146"/>
                  <a:gd name="T27" fmla="*/ 5 h 52"/>
                  <a:gd name="T28" fmla="*/ 41 w 146"/>
                  <a:gd name="T29" fmla="*/ 4 h 52"/>
                  <a:gd name="T30" fmla="*/ 39 w 146"/>
                  <a:gd name="T31" fmla="*/ 3 h 52"/>
                  <a:gd name="T32" fmla="*/ 38 w 146"/>
                  <a:gd name="T33" fmla="*/ 2 h 52"/>
                  <a:gd name="T34" fmla="*/ 35 w 146"/>
                  <a:gd name="T35" fmla="*/ 1 h 52"/>
                  <a:gd name="T36" fmla="*/ 32 w 146"/>
                  <a:gd name="T37" fmla="*/ 0 h 52"/>
                  <a:gd name="T38" fmla="*/ 28 w 146"/>
                  <a:gd name="T39" fmla="*/ 0 h 52"/>
                  <a:gd name="T40" fmla="*/ 25 w 146"/>
                  <a:gd name="T41" fmla="*/ 1 h 52"/>
                  <a:gd name="T42" fmla="*/ 21 w 146"/>
                  <a:gd name="T43" fmla="*/ 2 h 52"/>
                  <a:gd name="T44" fmla="*/ 17 w 146"/>
                  <a:gd name="T45" fmla="*/ 3 h 52"/>
                  <a:gd name="T46" fmla="*/ 14 w 146"/>
                  <a:gd name="T47" fmla="*/ 5 h 52"/>
                  <a:gd name="T48" fmla="*/ 10 w 146"/>
                  <a:gd name="T49" fmla="*/ 6 h 52"/>
                  <a:gd name="T50" fmla="*/ 7 w 146"/>
                  <a:gd name="T51" fmla="*/ 8 h 52"/>
                  <a:gd name="T52" fmla="*/ 4 w 146"/>
                  <a:gd name="T53" fmla="*/ 10 h 52"/>
                  <a:gd name="T54" fmla="*/ 2 w 146"/>
                  <a:gd name="T55" fmla="*/ 12 h 52"/>
                  <a:gd name="T56" fmla="*/ 0 w 146"/>
                  <a:gd name="T57" fmla="*/ 14 h 5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08" name="Freeform 396">
                <a:extLst>
                  <a:ext uri="{FF2B5EF4-FFF2-40B4-BE49-F238E27FC236}">
                    <a16:creationId xmlns:a16="http://schemas.microsoft.com/office/drawing/2014/main" id="{D48755F2-5392-42DF-9F40-0947006B7E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20 w 60"/>
                  <a:gd name="T1" fmla="*/ 0 h 31"/>
                  <a:gd name="T2" fmla="*/ 16 w 60"/>
                  <a:gd name="T3" fmla="*/ 0 h 31"/>
                  <a:gd name="T4" fmla="*/ 13 w 60"/>
                  <a:gd name="T5" fmla="*/ 0 h 31"/>
                  <a:gd name="T6" fmla="*/ 10 w 60"/>
                  <a:gd name="T7" fmla="*/ 0 h 31"/>
                  <a:gd name="T8" fmla="*/ 9 w 60"/>
                  <a:gd name="T9" fmla="*/ 0 h 31"/>
                  <a:gd name="T10" fmla="*/ 6 w 60"/>
                  <a:gd name="T11" fmla="*/ 0 h 31"/>
                  <a:gd name="T12" fmla="*/ 3 w 60"/>
                  <a:gd name="T13" fmla="*/ 1 h 31"/>
                  <a:gd name="T14" fmla="*/ 2 w 60"/>
                  <a:gd name="T15" fmla="*/ 1 h 31"/>
                  <a:gd name="T16" fmla="*/ 1 w 60"/>
                  <a:gd name="T17" fmla="*/ 2 h 31"/>
                  <a:gd name="T18" fmla="*/ 0 w 60"/>
                  <a:gd name="T19" fmla="*/ 3 h 31"/>
                  <a:gd name="T20" fmla="*/ 0 w 60"/>
                  <a:gd name="T21" fmla="*/ 4 h 31"/>
                  <a:gd name="T22" fmla="*/ 0 w 60"/>
                  <a:gd name="T23" fmla="*/ 5 h 31"/>
                  <a:gd name="T24" fmla="*/ 1 w 60"/>
                  <a:gd name="T25" fmla="*/ 6 h 31"/>
                  <a:gd name="T26" fmla="*/ 2 w 60"/>
                  <a:gd name="T27" fmla="*/ 7 h 31"/>
                  <a:gd name="T28" fmla="*/ 3 w 60"/>
                  <a:gd name="T29" fmla="*/ 8 h 31"/>
                  <a:gd name="T30" fmla="*/ 4 w 60"/>
                  <a:gd name="T31" fmla="*/ 9 h 31"/>
                  <a:gd name="T32" fmla="*/ 6 w 60"/>
                  <a:gd name="T33" fmla="*/ 9 h 31"/>
                  <a:gd name="T34" fmla="*/ 7 w 60"/>
                  <a:gd name="T35" fmla="*/ 10 h 31"/>
                  <a:gd name="T36" fmla="*/ 9 w 60"/>
                  <a:gd name="T37" fmla="*/ 10 h 31"/>
                  <a:gd name="T38" fmla="*/ 11 w 60"/>
                  <a:gd name="T39" fmla="*/ 10 h 31"/>
                  <a:gd name="T40" fmla="*/ 12 w 60"/>
                  <a:gd name="T41" fmla="*/ 9 h 31"/>
                  <a:gd name="T42" fmla="*/ 14 w 60"/>
                  <a:gd name="T43" fmla="*/ 8 h 31"/>
                  <a:gd name="T44" fmla="*/ 16 w 60"/>
                  <a:gd name="T45" fmla="*/ 6 h 31"/>
                  <a:gd name="T46" fmla="*/ 19 w 60"/>
                  <a:gd name="T47" fmla="*/ 3 h 31"/>
                  <a:gd name="T48" fmla="*/ 20 w 60"/>
                  <a:gd name="T49" fmla="*/ 2 h 31"/>
                  <a:gd name="T50" fmla="*/ 20 w 60"/>
                  <a:gd name="T51" fmla="*/ 0 h 3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09" name="Freeform 397">
                <a:extLst>
                  <a:ext uri="{FF2B5EF4-FFF2-40B4-BE49-F238E27FC236}">
                    <a16:creationId xmlns:a16="http://schemas.microsoft.com/office/drawing/2014/main" id="{FF46856C-81FD-4E0A-A31C-6D19D98043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14 h 62"/>
                  <a:gd name="T2" fmla="*/ 0 w 80"/>
                  <a:gd name="T3" fmla="*/ 15 h 62"/>
                  <a:gd name="T4" fmla="*/ 0 w 80"/>
                  <a:gd name="T5" fmla="*/ 16 h 62"/>
                  <a:gd name="T6" fmla="*/ 1 w 80"/>
                  <a:gd name="T7" fmla="*/ 16 h 62"/>
                  <a:gd name="T8" fmla="*/ 1 w 80"/>
                  <a:gd name="T9" fmla="*/ 17 h 62"/>
                  <a:gd name="T10" fmla="*/ 3 w 80"/>
                  <a:gd name="T11" fmla="*/ 18 h 62"/>
                  <a:gd name="T12" fmla="*/ 5 w 80"/>
                  <a:gd name="T13" fmla="*/ 19 h 62"/>
                  <a:gd name="T14" fmla="*/ 9 w 80"/>
                  <a:gd name="T15" fmla="*/ 20 h 62"/>
                  <a:gd name="T16" fmla="*/ 13 w 80"/>
                  <a:gd name="T17" fmla="*/ 20 h 62"/>
                  <a:gd name="T18" fmla="*/ 15 w 80"/>
                  <a:gd name="T19" fmla="*/ 20 h 62"/>
                  <a:gd name="T20" fmla="*/ 16 w 80"/>
                  <a:gd name="T21" fmla="*/ 19 h 62"/>
                  <a:gd name="T22" fmla="*/ 18 w 80"/>
                  <a:gd name="T23" fmla="*/ 18 h 62"/>
                  <a:gd name="T24" fmla="*/ 19 w 80"/>
                  <a:gd name="T25" fmla="*/ 17 h 62"/>
                  <a:gd name="T26" fmla="*/ 21 w 80"/>
                  <a:gd name="T27" fmla="*/ 15 h 62"/>
                  <a:gd name="T28" fmla="*/ 23 w 80"/>
                  <a:gd name="T29" fmla="*/ 12 h 62"/>
                  <a:gd name="T30" fmla="*/ 24 w 80"/>
                  <a:gd name="T31" fmla="*/ 9 h 62"/>
                  <a:gd name="T32" fmla="*/ 25 w 80"/>
                  <a:gd name="T33" fmla="*/ 6 h 62"/>
                  <a:gd name="T34" fmla="*/ 26 w 80"/>
                  <a:gd name="T35" fmla="*/ 3 h 62"/>
                  <a:gd name="T36" fmla="*/ 26 w 80"/>
                  <a:gd name="T37" fmla="*/ 0 h 62"/>
                  <a:gd name="T38" fmla="*/ 23 w 80"/>
                  <a:gd name="T39" fmla="*/ 0 h 62"/>
                  <a:gd name="T40" fmla="*/ 19 w 80"/>
                  <a:gd name="T41" fmla="*/ 1 h 62"/>
                  <a:gd name="T42" fmla="*/ 15 w 80"/>
                  <a:gd name="T43" fmla="*/ 3 h 62"/>
                  <a:gd name="T44" fmla="*/ 11 w 80"/>
                  <a:gd name="T45" fmla="*/ 4 h 62"/>
                  <a:gd name="T46" fmla="*/ 7 w 80"/>
                  <a:gd name="T47" fmla="*/ 6 h 62"/>
                  <a:gd name="T48" fmla="*/ 3 w 80"/>
                  <a:gd name="T49" fmla="*/ 8 h 62"/>
                  <a:gd name="T50" fmla="*/ 2 w 80"/>
                  <a:gd name="T51" fmla="*/ 10 h 62"/>
                  <a:gd name="T52" fmla="*/ 1 w 80"/>
                  <a:gd name="T53" fmla="*/ 11 h 62"/>
                  <a:gd name="T54" fmla="*/ 0 w 80"/>
                  <a:gd name="T55" fmla="*/ 13 h 62"/>
                  <a:gd name="T56" fmla="*/ 0 w 80"/>
                  <a:gd name="T57" fmla="*/ 14 h 6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0" name="Freeform 398">
                <a:extLst>
                  <a:ext uri="{FF2B5EF4-FFF2-40B4-BE49-F238E27FC236}">
                    <a16:creationId xmlns:a16="http://schemas.microsoft.com/office/drawing/2014/main" id="{2E3EE536-DDBF-4FD4-8E49-5BE2C9EA3E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25 w 106"/>
                  <a:gd name="T1" fmla="*/ 4 h 49"/>
                  <a:gd name="T2" fmla="*/ 22 w 106"/>
                  <a:gd name="T3" fmla="*/ 4 h 49"/>
                  <a:gd name="T4" fmla="*/ 21 w 106"/>
                  <a:gd name="T5" fmla="*/ 4 h 49"/>
                  <a:gd name="T6" fmla="*/ 18 w 106"/>
                  <a:gd name="T7" fmla="*/ 3 h 49"/>
                  <a:gd name="T8" fmla="*/ 17 w 106"/>
                  <a:gd name="T9" fmla="*/ 2 h 49"/>
                  <a:gd name="T10" fmla="*/ 15 w 106"/>
                  <a:gd name="T11" fmla="*/ 1 h 49"/>
                  <a:gd name="T12" fmla="*/ 13 w 106"/>
                  <a:gd name="T13" fmla="*/ 1 h 49"/>
                  <a:gd name="T14" fmla="*/ 11 w 106"/>
                  <a:gd name="T15" fmla="*/ 0 h 49"/>
                  <a:gd name="T16" fmla="*/ 8 w 106"/>
                  <a:gd name="T17" fmla="*/ 0 h 49"/>
                  <a:gd name="T18" fmla="*/ 5 w 106"/>
                  <a:gd name="T19" fmla="*/ 0 h 49"/>
                  <a:gd name="T20" fmla="*/ 0 w 106"/>
                  <a:gd name="T21" fmla="*/ 0 h 49"/>
                  <a:gd name="T22" fmla="*/ 3 w 106"/>
                  <a:gd name="T23" fmla="*/ 4 h 49"/>
                  <a:gd name="T24" fmla="*/ 5 w 106"/>
                  <a:gd name="T25" fmla="*/ 7 h 49"/>
                  <a:gd name="T26" fmla="*/ 8 w 106"/>
                  <a:gd name="T27" fmla="*/ 9 h 49"/>
                  <a:gd name="T28" fmla="*/ 11 w 106"/>
                  <a:gd name="T29" fmla="*/ 12 h 49"/>
                  <a:gd name="T30" fmla="*/ 13 w 106"/>
                  <a:gd name="T31" fmla="*/ 14 h 49"/>
                  <a:gd name="T32" fmla="*/ 16 w 106"/>
                  <a:gd name="T33" fmla="*/ 15 h 49"/>
                  <a:gd name="T34" fmla="*/ 19 w 106"/>
                  <a:gd name="T35" fmla="*/ 16 h 49"/>
                  <a:gd name="T36" fmla="*/ 22 w 106"/>
                  <a:gd name="T37" fmla="*/ 16 h 49"/>
                  <a:gd name="T38" fmla="*/ 25 w 106"/>
                  <a:gd name="T39" fmla="*/ 16 h 49"/>
                  <a:gd name="T40" fmla="*/ 27 w 106"/>
                  <a:gd name="T41" fmla="*/ 15 h 49"/>
                  <a:gd name="T42" fmla="*/ 30 w 106"/>
                  <a:gd name="T43" fmla="*/ 13 h 49"/>
                  <a:gd name="T44" fmla="*/ 33 w 106"/>
                  <a:gd name="T45" fmla="*/ 10 h 49"/>
                  <a:gd name="T46" fmla="*/ 31 w 106"/>
                  <a:gd name="T47" fmla="*/ 10 h 49"/>
                  <a:gd name="T48" fmla="*/ 31 w 106"/>
                  <a:gd name="T49" fmla="*/ 9 h 49"/>
                  <a:gd name="T50" fmla="*/ 29 w 106"/>
                  <a:gd name="T51" fmla="*/ 8 h 49"/>
                  <a:gd name="T52" fmla="*/ 28 w 106"/>
                  <a:gd name="T53" fmla="*/ 7 h 49"/>
                  <a:gd name="T54" fmla="*/ 27 w 106"/>
                  <a:gd name="T55" fmla="*/ 6 h 49"/>
                  <a:gd name="T56" fmla="*/ 26 w 106"/>
                  <a:gd name="T57" fmla="*/ 5 h 49"/>
                  <a:gd name="T58" fmla="*/ 26 w 106"/>
                  <a:gd name="T59" fmla="*/ 5 h 49"/>
                  <a:gd name="T60" fmla="*/ 25 w 106"/>
                  <a:gd name="T61" fmla="*/ 4 h 49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1" name="Freeform 399">
                <a:extLst>
                  <a:ext uri="{FF2B5EF4-FFF2-40B4-BE49-F238E27FC236}">
                    <a16:creationId xmlns:a16="http://schemas.microsoft.com/office/drawing/2014/main" id="{23257E8F-2666-433C-BD1A-86A28E0D25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6 h 22"/>
                  <a:gd name="T2" fmla="*/ 2 w 47"/>
                  <a:gd name="T3" fmla="*/ 7 h 22"/>
                  <a:gd name="T4" fmla="*/ 4 w 47"/>
                  <a:gd name="T5" fmla="*/ 7 h 22"/>
                  <a:gd name="T6" fmla="*/ 6 w 47"/>
                  <a:gd name="T7" fmla="*/ 7 h 22"/>
                  <a:gd name="T8" fmla="*/ 8 w 47"/>
                  <a:gd name="T9" fmla="*/ 7 h 22"/>
                  <a:gd name="T10" fmla="*/ 11 w 47"/>
                  <a:gd name="T11" fmla="*/ 6 h 22"/>
                  <a:gd name="T12" fmla="*/ 12 w 47"/>
                  <a:gd name="T13" fmla="*/ 5 h 22"/>
                  <a:gd name="T14" fmla="*/ 13 w 47"/>
                  <a:gd name="T15" fmla="*/ 4 h 22"/>
                  <a:gd name="T16" fmla="*/ 14 w 47"/>
                  <a:gd name="T17" fmla="*/ 3 h 22"/>
                  <a:gd name="T18" fmla="*/ 14 w 47"/>
                  <a:gd name="T19" fmla="*/ 2 h 22"/>
                  <a:gd name="T20" fmla="*/ 15 w 47"/>
                  <a:gd name="T21" fmla="*/ 0 h 22"/>
                  <a:gd name="T22" fmla="*/ 0 w 47"/>
                  <a:gd name="T23" fmla="*/ 6 h 2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2" name="Freeform 400">
                <a:extLst>
                  <a:ext uri="{FF2B5EF4-FFF2-40B4-BE49-F238E27FC236}">
                    <a16:creationId xmlns:a16="http://schemas.microsoft.com/office/drawing/2014/main" id="{FE36B14D-8951-464E-BBB4-CAE42CCB5A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17 w 53"/>
                  <a:gd name="T1" fmla="*/ 0 h 32"/>
                  <a:gd name="T2" fmla="*/ 12 w 53"/>
                  <a:gd name="T3" fmla="*/ 3 h 32"/>
                  <a:gd name="T4" fmla="*/ 7 w 53"/>
                  <a:gd name="T5" fmla="*/ 6 h 32"/>
                  <a:gd name="T6" fmla="*/ 4 w 53"/>
                  <a:gd name="T7" fmla="*/ 9 h 32"/>
                  <a:gd name="T8" fmla="*/ 0 w 53"/>
                  <a:gd name="T9" fmla="*/ 11 h 32"/>
                  <a:gd name="T10" fmla="*/ 4 w 53"/>
                  <a:gd name="T11" fmla="*/ 11 h 32"/>
                  <a:gd name="T12" fmla="*/ 8 w 53"/>
                  <a:gd name="T13" fmla="*/ 11 h 32"/>
                  <a:gd name="T14" fmla="*/ 13 w 53"/>
                  <a:gd name="T15" fmla="*/ 11 h 32"/>
                  <a:gd name="T16" fmla="*/ 17 w 53"/>
                  <a:gd name="T17" fmla="*/ 11 h 32"/>
                  <a:gd name="T18" fmla="*/ 17 w 53"/>
                  <a:gd name="T19" fmla="*/ 8 h 32"/>
                  <a:gd name="T20" fmla="*/ 17 w 53"/>
                  <a:gd name="T21" fmla="*/ 6 h 32"/>
                  <a:gd name="T22" fmla="*/ 17 w 53"/>
                  <a:gd name="T23" fmla="*/ 3 h 32"/>
                  <a:gd name="T24" fmla="*/ 17 w 53"/>
                  <a:gd name="T25" fmla="*/ 0 h 3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3" name="Freeform 401">
                <a:extLst>
                  <a:ext uri="{FF2B5EF4-FFF2-40B4-BE49-F238E27FC236}">
                    <a16:creationId xmlns:a16="http://schemas.microsoft.com/office/drawing/2014/main" id="{7BF2D641-D22F-4C13-86C1-EBC97A943D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8 w 46"/>
                  <a:gd name="T1" fmla="*/ 1 h 34"/>
                  <a:gd name="T2" fmla="*/ 0 w 46"/>
                  <a:gd name="T3" fmla="*/ 6 h 34"/>
                  <a:gd name="T4" fmla="*/ 0 w 46"/>
                  <a:gd name="T5" fmla="*/ 12 h 34"/>
                  <a:gd name="T6" fmla="*/ 8 w 46"/>
                  <a:gd name="T7" fmla="*/ 12 h 34"/>
                  <a:gd name="T8" fmla="*/ 9 w 46"/>
                  <a:gd name="T9" fmla="*/ 11 h 34"/>
                  <a:gd name="T10" fmla="*/ 11 w 46"/>
                  <a:gd name="T11" fmla="*/ 10 h 34"/>
                  <a:gd name="T12" fmla="*/ 12 w 46"/>
                  <a:gd name="T13" fmla="*/ 9 h 34"/>
                  <a:gd name="T14" fmla="*/ 13 w 46"/>
                  <a:gd name="T15" fmla="*/ 7 h 34"/>
                  <a:gd name="T16" fmla="*/ 13 w 46"/>
                  <a:gd name="T17" fmla="*/ 6 h 34"/>
                  <a:gd name="T18" fmla="*/ 14 w 46"/>
                  <a:gd name="T19" fmla="*/ 5 h 34"/>
                  <a:gd name="T20" fmla="*/ 14 w 46"/>
                  <a:gd name="T21" fmla="*/ 3 h 34"/>
                  <a:gd name="T22" fmla="*/ 14 w 46"/>
                  <a:gd name="T23" fmla="*/ 1 h 34"/>
                  <a:gd name="T24" fmla="*/ 14 w 46"/>
                  <a:gd name="T25" fmla="*/ 0 h 34"/>
                  <a:gd name="T26" fmla="*/ 13 w 46"/>
                  <a:gd name="T27" fmla="*/ 0 h 34"/>
                  <a:gd name="T28" fmla="*/ 13 w 46"/>
                  <a:gd name="T29" fmla="*/ 0 h 34"/>
                  <a:gd name="T30" fmla="*/ 12 w 46"/>
                  <a:gd name="T31" fmla="*/ 0 h 34"/>
                  <a:gd name="T32" fmla="*/ 10 w 46"/>
                  <a:gd name="T33" fmla="*/ 1 h 34"/>
                  <a:gd name="T34" fmla="*/ 8 w 46"/>
                  <a:gd name="T35" fmla="*/ 1 h 3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4" name="Freeform 402">
                <a:extLst>
                  <a:ext uri="{FF2B5EF4-FFF2-40B4-BE49-F238E27FC236}">
                    <a16:creationId xmlns:a16="http://schemas.microsoft.com/office/drawing/2014/main" id="{680DD962-5874-4F6B-A38C-F504CD4784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8 h 25"/>
                  <a:gd name="T2" fmla="*/ 5 w 48"/>
                  <a:gd name="T3" fmla="*/ 8 h 25"/>
                  <a:gd name="T4" fmla="*/ 9 w 48"/>
                  <a:gd name="T5" fmla="*/ 8 h 25"/>
                  <a:gd name="T6" fmla="*/ 10 w 48"/>
                  <a:gd name="T7" fmla="*/ 8 h 25"/>
                  <a:gd name="T8" fmla="*/ 11 w 48"/>
                  <a:gd name="T9" fmla="*/ 7 h 25"/>
                  <a:gd name="T10" fmla="*/ 12 w 48"/>
                  <a:gd name="T11" fmla="*/ 6 h 25"/>
                  <a:gd name="T12" fmla="*/ 13 w 48"/>
                  <a:gd name="T13" fmla="*/ 5 h 25"/>
                  <a:gd name="T14" fmla="*/ 15 w 48"/>
                  <a:gd name="T15" fmla="*/ 2 h 25"/>
                  <a:gd name="T16" fmla="*/ 16 w 48"/>
                  <a:gd name="T17" fmla="*/ 0 h 25"/>
                  <a:gd name="T18" fmla="*/ 13 w 48"/>
                  <a:gd name="T19" fmla="*/ 0 h 25"/>
                  <a:gd name="T20" fmla="*/ 11 w 48"/>
                  <a:gd name="T21" fmla="*/ 1 h 25"/>
                  <a:gd name="T22" fmla="*/ 9 w 48"/>
                  <a:gd name="T23" fmla="*/ 2 h 25"/>
                  <a:gd name="T24" fmla="*/ 7 w 48"/>
                  <a:gd name="T25" fmla="*/ 3 h 25"/>
                  <a:gd name="T26" fmla="*/ 4 w 48"/>
                  <a:gd name="T27" fmla="*/ 5 h 25"/>
                  <a:gd name="T28" fmla="*/ 0 w 48"/>
                  <a:gd name="T29" fmla="*/ 8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5" name="Freeform 403">
                <a:extLst>
                  <a:ext uri="{FF2B5EF4-FFF2-40B4-BE49-F238E27FC236}">
                    <a16:creationId xmlns:a16="http://schemas.microsoft.com/office/drawing/2014/main" id="{44321008-F0A6-4807-9A8E-B78F7D1D12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11 h 37"/>
                  <a:gd name="T4" fmla="*/ 3 w 30"/>
                  <a:gd name="T5" fmla="*/ 11 h 37"/>
                  <a:gd name="T6" fmla="*/ 5 w 30"/>
                  <a:gd name="T7" fmla="*/ 10 h 37"/>
                  <a:gd name="T8" fmla="*/ 6 w 30"/>
                  <a:gd name="T9" fmla="*/ 10 h 37"/>
                  <a:gd name="T10" fmla="*/ 7 w 30"/>
                  <a:gd name="T11" fmla="*/ 10 h 37"/>
                  <a:gd name="T12" fmla="*/ 7 w 30"/>
                  <a:gd name="T13" fmla="*/ 9 h 37"/>
                  <a:gd name="T14" fmla="*/ 8 w 30"/>
                  <a:gd name="T15" fmla="*/ 8 h 37"/>
                  <a:gd name="T16" fmla="*/ 8 w 30"/>
                  <a:gd name="T17" fmla="*/ 7 h 37"/>
                  <a:gd name="T18" fmla="*/ 8 w 30"/>
                  <a:gd name="T19" fmla="*/ 5 h 37"/>
                  <a:gd name="T20" fmla="*/ 8 w 30"/>
                  <a:gd name="T21" fmla="*/ 3 h 37"/>
                  <a:gd name="T22" fmla="*/ 7 w 30"/>
                  <a:gd name="T23" fmla="*/ 0 h 37"/>
                  <a:gd name="T24" fmla="*/ 0 w 30"/>
                  <a:gd name="T25" fmla="*/ 0 h 3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6" name="Freeform 404">
                <a:extLst>
                  <a:ext uri="{FF2B5EF4-FFF2-40B4-BE49-F238E27FC236}">
                    <a16:creationId xmlns:a16="http://schemas.microsoft.com/office/drawing/2014/main" id="{0129A319-627B-4DCE-A1C4-33F7FB620C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11 w 113"/>
                  <a:gd name="T1" fmla="*/ 1 h 46"/>
                  <a:gd name="T2" fmla="*/ 7 w 113"/>
                  <a:gd name="T3" fmla="*/ 1 h 46"/>
                  <a:gd name="T4" fmla="*/ 4 w 113"/>
                  <a:gd name="T5" fmla="*/ 2 h 46"/>
                  <a:gd name="T6" fmla="*/ 2 w 113"/>
                  <a:gd name="T7" fmla="*/ 2 h 46"/>
                  <a:gd name="T8" fmla="*/ 1 w 113"/>
                  <a:gd name="T9" fmla="*/ 4 h 46"/>
                  <a:gd name="T10" fmla="*/ 0 w 113"/>
                  <a:gd name="T11" fmla="*/ 5 h 46"/>
                  <a:gd name="T12" fmla="*/ 0 w 113"/>
                  <a:gd name="T13" fmla="*/ 7 h 46"/>
                  <a:gd name="T14" fmla="*/ 2 w 113"/>
                  <a:gd name="T15" fmla="*/ 9 h 46"/>
                  <a:gd name="T16" fmla="*/ 3 w 113"/>
                  <a:gd name="T17" fmla="*/ 11 h 46"/>
                  <a:gd name="T18" fmla="*/ 5 w 113"/>
                  <a:gd name="T19" fmla="*/ 13 h 46"/>
                  <a:gd name="T20" fmla="*/ 6 w 113"/>
                  <a:gd name="T21" fmla="*/ 14 h 46"/>
                  <a:gd name="T22" fmla="*/ 8 w 113"/>
                  <a:gd name="T23" fmla="*/ 15 h 46"/>
                  <a:gd name="T24" fmla="*/ 10 w 113"/>
                  <a:gd name="T25" fmla="*/ 16 h 46"/>
                  <a:gd name="T26" fmla="*/ 11 w 113"/>
                  <a:gd name="T27" fmla="*/ 16 h 46"/>
                  <a:gd name="T28" fmla="*/ 13 w 113"/>
                  <a:gd name="T29" fmla="*/ 16 h 46"/>
                  <a:gd name="T30" fmla="*/ 18 w 113"/>
                  <a:gd name="T31" fmla="*/ 16 h 46"/>
                  <a:gd name="T32" fmla="*/ 22 w 113"/>
                  <a:gd name="T33" fmla="*/ 15 h 46"/>
                  <a:gd name="T34" fmla="*/ 24 w 113"/>
                  <a:gd name="T35" fmla="*/ 14 h 46"/>
                  <a:gd name="T36" fmla="*/ 26 w 113"/>
                  <a:gd name="T37" fmla="*/ 13 h 46"/>
                  <a:gd name="T38" fmla="*/ 28 w 113"/>
                  <a:gd name="T39" fmla="*/ 13 h 46"/>
                  <a:gd name="T40" fmla="*/ 29 w 113"/>
                  <a:gd name="T41" fmla="*/ 11 h 46"/>
                  <a:gd name="T42" fmla="*/ 32 w 113"/>
                  <a:gd name="T43" fmla="*/ 9 h 46"/>
                  <a:gd name="T44" fmla="*/ 34 w 113"/>
                  <a:gd name="T45" fmla="*/ 7 h 46"/>
                  <a:gd name="T46" fmla="*/ 35 w 113"/>
                  <a:gd name="T47" fmla="*/ 4 h 46"/>
                  <a:gd name="T48" fmla="*/ 36 w 113"/>
                  <a:gd name="T49" fmla="*/ 1 h 46"/>
                  <a:gd name="T50" fmla="*/ 32 w 113"/>
                  <a:gd name="T51" fmla="*/ 0 h 46"/>
                  <a:gd name="T52" fmla="*/ 28 w 113"/>
                  <a:gd name="T53" fmla="*/ 0 h 46"/>
                  <a:gd name="T54" fmla="*/ 24 w 113"/>
                  <a:gd name="T55" fmla="*/ 0 h 46"/>
                  <a:gd name="T56" fmla="*/ 21 w 113"/>
                  <a:gd name="T57" fmla="*/ 0 h 46"/>
                  <a:gd name="T58" fmla="*/ 15 w 113"/>
                  <a:gd name="T59" fmla="*/ 1 h 46"/>
                  <a:gd name="T60" fmla="*/ 11 w 113"/>
                  <a:gd name="T61" fmla="*/ 1 h 4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7" name="Freeform 405">
                <a:extLst>
                  <a:ext uri="{FF2B5EF4-FFF2-40B4-BE49-F238E27FC236}">
                    <a16:creationId xmlns:a16="http://schemas.microsoft.com/office/drawing/2014/main" id="{8BC659FC-C76F-4E50-9B72-653A5D4153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27 h 82"/>
                  <a:gd name="T2" fmla="*/ 1 w 153"/>
                  <a:gd name="T3" fmla="*/ 28 h 82"/>
                  <a:gd name="T4" fmla="*/ 2 w 153"/>
                  <a:gd name="T5" fmla="*/ 28 h 82"/>
                  <a:gd name="T6" fmla="*/ 3 w 153"/>
                  <a:gd name="T7" fmla="*/ 28 h 82"/>
                  <a:gd name="T8" fmla="*/ 4 w 153"/>
                  <a:gd name="T9" fmla="*/ 28 h 82"/>
                  <a:gd name="T10" fmla="*/ 7 w 153"/>
                  <a:gd name="T11" fmla="*/ 27 h 82"/>
                  <a:gd name="T12" fmla="*/ 11 w 153"/>
                  <a:gd name="T13" fmla="*/ 27 h 82"/>
                  <a:gd name="T14" fmla="*/ 13 w 153"/>
                  <a:gd name="T15" fmla="*/ 27 h 82"/>
                  <a:gd name="T16" fmla="*/ 15 w 153"/>
                  <a:gd name="T17" fmla="*/ 27 h 82"/>
                  <a:gd name="T18" fmla="*/ 18 w 153"/>
                  <a:gd name="T19" fmla="*/ 26 h 82"/>
                  <a:gd name="T20" fmla="*/ 21 w 153"/>
                  <a:gd name="T21" fmla="*/ 25 h 82"/>
                  <a:gd name="T22" fmla="*/ 27 w 153"/>
                  <a:gd name="T23" fmla="*/ 23 h 82"/>
                  <a:gd name="T24" fmla="*/ 33 w 153"/>
                  <a:gd name="T25" fmla="*/ 20 h 82"/>
                  <a:gd name="T26" fmla="*/ 36 w 153"/>
                  <a:gd name="T27" fmla="*/ 18 h 82"/>
                  <a:gd name="T28" fmla="*/ 39 w 153"/>
                  <a:gd name="T29" fmla="*/ 17 h 82"/>
                  <a:gd name="T30" fmla="*/ 41 w 153"/>
                  <a:gd name="T31" fmla="*/ 15 h 82"/>
                  <a:gd name="T32" fmla="*/ 44 w 153"/>
                  <a:gd name="T33" fmla="*/ 13 h 82"/>
                  <a:gd name="T34" fmla="*/ 45 w 153"/>
                  <a:gd name="T35" fmla="*/ 11 h 82"/>
                  <a:gd name="T36" fmla="*/ 47 w 153"/>
                  <a:gd name="T37" fmla="*/ 9 h 82"/>
                  <a:gd name="T38" fmla="*/ 48 w 153"/>
                  <a:gd name="T39" fmla="*/ 6 h 82"/>
                  <a:gd name="T40" fmla="*/ 49 w 153"/>
                  <a:gd name="T41" fmla="*/ 4 h 82"/>
                  <a:gd name="T42" fmla="*/ 43 w 153"/>
                  <a:gd name="T43" fmla="*/ 3 h 82"/>
                  <a:gd name="T44" fmla="*/ 37 w 153"/>
                  <a:gd name="T45" fmla="*/ 1 h 82"/>
                  <a:gd name="T46" fmla="*/ 31 w 153"/>
                  <a:gd name="T47" fmla="*/ 0 h 82"/>
                  <a:gd name="T48" fmla="*/ 25 w 153"/>
                  <a:gd name="T49" fmla="*/ 0 h 82"/>
                  <a:gd name="T50" fmla="*/ 22 w 153"/>
                  <a:gd name="T51" fmla="*/ 0 h 82"/>
                  <a:gd name="T52" fmla="*/ 19 w 153"/>
                  <a:gd name="T53" fmla="*/ 0 h 82"/>
                  <a:gd name="T54" fmla="*/ 17 w 153"/>
                  <a:gd name="T55" fmla="*/ 1 h 82"/>
                  <a:gd name="T56" fmla="*/ 14 w 153"/>
                  <a:gd name="T57" fmla="*/ 1 h 82"/>
                  <a:gd name="T58" fmla="*/ 12 w 153"/>
                  <a:gd name="T59" fmla="*/ 2 h 82"/>
                  <a:gd name="T60" fmla="*/ 11 w 153"/>
                  <a:gd name="T61" fmla="*/ 3 h 82"/>
                  <a:gd name="T62" fmla="*/ 10 w 153"/>
                  <a:gd name="T63" fmla="*/ 5 h 82"/>
                  <a:gd name="T64" fmla="*/ 8 w 153"/>
                  <a:gd name="T65" fmla="*/ 6 h 82"/>
                  <a:gd name="T66" fmla="*/ 10 w 153"/>
                  <a:gd name="T67" fmla="*/ 8 h 82"/>
                  <a:gd name="T68" fmla="*/ 12 w 153"/>
                  <a:gd name="T69" fmla="*/ 10 h 82"/>
                  <a:gd name="T70" fmla="*/ 12 w 153"/>
                  <a:gd name="T71" fmla="*/ 11 h 82"/>
                  <a:gd name="T72" fmla="*/ 13 w 153"/>
                  <a:gd name="T73" fmla="*/ 12 h 82"/>
                  <a:gd name="T74" fmla="*/ 14 w 153"/>
                  <a:gd name="T75" fmla="*/ 12 h 82"/>
                  <a:gd name="T76" fmla="*/ 15 w 153"/>
                  <a:gd name="T77" fmla="*/ 12 h 82"/>
                  <a:gd name="T78" fmla="*/ 13 w 153"/>
                  <a:gd name="T79" fmla="*/ 14 h 82"/>
                  <a:gd name="T80" fmla="*/ 11 w 153"/>
                  <a:gd name="T81" fmla="*/ 16 h 82"/>
                  <a:gd name="T82" fmla="*/ 9 w 153"/>
                  <a:gd name="T83" fmla="*/ 18 h 82"/>
                  <a:gd name="T84" fmla="*/ 7 w 153"/>
                  <a:gd name="T85" fmla="*/ 19 h 82"/>
                  <a:gd name="T86" fmla="*/ 6 w 153"/>
                  <a:gd name="T87" fmla="*/ 22 h 82"/>
                  <a:gd name="T88" fmla="*/ 4 w 153"/>
                  <a:gd name="T89" fmla="*/ 24 h 82"/>
                  <a:gd name="T90" fmla="*/ 2 w 153"/>
                  <a:gd name="T91" fmla="*/ 26 h 82"/>
                  <a:gd name="T92" fmla="*/ 0 w 153"/>
                  <a:gd name="T93" fmla="*/ 27 h 8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8" name="Freeform 406">
                <a:extLst>
                  <a:ext uri="{FF2B5EF4-FFF2-40B4-BE49-F238E27FC236}">
                    <a16:creationId xmlns:a16="http://schemas.microsoft.com/office/drawing/2014/main" id="{C91A6A12-DF99-492A-9969-32EC793A9E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13 h 50"/>
                  <a:gd name="T2" fmla="*/ 2 w 86"/>
                  <a:gd name="T3" fmla="*/ 14 h 50"/>
                  <a:gd name="T4" fmla="*/ 4 w 86"/>
                  <a:gd name="T5" fmla="*/ 15 h 50"/>
                  <a:gd name="T6" fmla="*/ 5 w 86"/>
                  <a:gd name="T7" fmla="*/ 16 h 50"/>
                  <a:gd name="T8" fmla="*/ 8 w 86"/>
                  <a:gd name="T9" fmla="*/ 16 h 50"/>
                  <a:gd name="T10" fmla="*/ 12 w 86"/>
                  <a:gd name="T11" fmla="*/ 17 h 50"/>
                  <a:gd name="T12" fmla="*/ 16 w 86"/>
                  <a:gd name="T13" fmla="*/ 17 h 50"/>
                  <a:gd name="T14" fmla="*/ 20 w 86"/>
                  <a:gd name="T15" fmla="*/ 17 h 50"/>
                  <a:gd name="T16" fmla="*/ 23 w 86"/>
                  <a:gd name="T17" fmla="*/ 16 h 50"/>
                  <a:gd name="T18" fmla="*/ 25 w 86"/>
                  <a:gd name="T19" fmla="*/ 16 h 50"/>
                  <a:gd name="T20" fmla="*/ 27 w 86"/>
                  <a:gd name="T21" fmla="*/ 15 h 50"/>
                  <a:gd name="T22" fmla="*/ 28 w 86"/>
                  <a:gd name="T23" fmla="*/ 14 h 50"/>
                  <a:gd name="T24" fmla="*/ 28 w 86"/>
                  <a:gd name="T25" fmla="*/ 13 h 50"/>
                  <a:gd name="T26" fmla="*/ 29 w 86"/>
                  <a:gd name="T27" fmla="*/ 11 h 50"/>
                  <a:gd name="T28" fmla="*/ 29 w 86"/>
                  <a:gd name="T29" fmla="*/ 9 h 50"/>
                  <a:gd name="T30" fmla="*/ 29 w 86"/>
                  <a:gd name="T31" fmla="*/ 6 h 50"/>
                  <a:gd name="T32" fmla="*/ 28 w 86"/>
                  <a:gd name="T33" fmla="*/ 3 h 50"/>
                  <a:gd name="T34" fmla="*/ 28 w 86"/>
                  <a:gd name="T35" fmla="*/ 2 h 50"/>
                  <a:gd name="T36" fmla="*/ 27 w 86"/>
                  <a:gd name="T37" fmla="*/ 2 h 50"/>
                  <a:gd name="T38" fmla="*/ 26 w 86"/>
                  <a:gd name="T39" fmla="*/ 1 h 50"/>
                  <a:gd name="T40" fmla="*/ 25 w 86"/>
                  <a:gd name="T41" fmla="*/ 0 h 50"/>
                  <a:gd name="T42" fmla="*/ 0 w 86"/>
                  <a:gd name="T43" fmla="*/ 13 h 5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9" name="Freeform 407">
                <a:extLst>
                  <a:ext uri="{FF2B5EF4-FFF2-40B4-BE49-F238E27FC236}">
                    <a16:creationId xmlns:a16="http://schemas.microsoft.com/office/drawing/2014/main" id="{370FB245-5FE7-41E9-AEAE-3BA38A946E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38 w 172"/>
                  <a:gd name="T1" fmla="*/ 21 h 74"/>
                  <a:gd name="T2" fmla="*/ 35 w 172"/>
                  <a:gd name="T3" fmla="*/ 21 h 74"/>
                  <a:gd name="T4" fmla="*/ 32 w 172"/>
                  <a:gd name="T5" fmla="*/ 21 h 74"/>
                  <a:gd name="T6" fmla="*/ 29 w 172"/>
                  <a:gd name="T7" fmla="*/ 21 h 74"/>
                  <a:gd name="T8" fmla="*/ 26 w 172"/>
                  <a:gd name="T9" fmla="*/ 21 h 74"/>
                  <a:gd name="T10" fmla="*/ 19 w 172"/>
                  <a:gd name="T11" fmla="*/ 25 h 74"/>
                  <a:gd name="T12" fmla="*/ 11 w 172"/>
                  <a:gd name="T13" fmla="*/ 25 h 74"/>
                  <a:gd name="T14" fmla="*/ 12 w 172"/>
                  <a:gd name="T15" fmla="*/ 21 h 74"/>
                  <a:gd name="T16" fmla="*/ 12 w 172"/>
                  <a:gd name="T17" fmla="*/ 17 h 74"/>
                  <a:gd name="T18" fmla="*/ 10 w 172"/>
                  <a:gd name="T19" fmla="*/ 17 h 74"/>
                  <a:gd name="T20" fmla="*/ 7 w 172"/>
                  <a:gd name="T21" fmla="*/ 16 h 74"/>
                  <a:gd name="T22" fmla="*/ 5 w 172"/>
                  <a:gd name="T23" fmla="*/ 16 h 74"/>
                  <a:gd name="T24" fmla="*/ 3 w 172"/>
                  <a:gd name="T25" fmla="*/ 15 h 74"/>
                  <a:gd name="T26" fmla="*/ 2 w 172"/>
                  <a:gd name="T27" fmla="*/ 14 h 74"/>
                  <a:gd name="T28" fmla="*/ 1 w 172"/>
                  <a:gd name="T29" fmla="*/ 13 h 74"/>
                  <a:gd name="T30" fmla="*/ 0 w 172"/>
                  <a:gd name="T31" fmla="*/ 12 h 74"/>
                  <a:gd name="T32" fmla="*/ 0 w 172"/>
                  <a:gd name="T33" fmla="*/ 10 h 74"/>
                  <a:gd name="T34" fmla="*/ 0 w 172"/>
                  <a:gd name="T35" fmla="*/ 9 h 74"/>
                  <a:gd name="T36" fmla="*/ 1 w 172"/>
                  <a:gd name="T37" fmla="*/ 7 h 74"/>
                  <a:gd name="T38" fmla="*/ 2 w 172"/>
                  <a:gd name="T39" fmla="*/ 6 h 74"/>
                  <a:gd name="T40" fmla="*/ 3 w 172"/>
                  <a:gd name="T41" fmla="*/ 5 h 74"/>
                  <a:gd name="T42" fmla="*/ 4 w 172"/>
                  <a:gd name="T43" fmla="*/ 3 h 74"/>
                  <a:gd name="T44" fmla="*/ 6 w 172"/>
                  <a:gd name="T45" fmla="*/ 2 h 74"/>
                  <a:gd name="T46" fmla="*/ 8 w 172"/>
                  <a:gd name="T47" fmla="*/ 2 h 74"/>
                  <a:gd name="T48" fmla="*/ 9 w 172"/>
                  <a:gd name="T49" fmla="*/ 1 h 74"/>
                  <a:gd name="T50" fmla="*/ 13 w 172"/>
                  <a:gd name="T51" fmla="*/ 0 h 74"/>
                  <a:gd name="T52" fmla="*/ 18 w 172"/>
                  <a:gd name="T53" fmla="*/ 0 h 74"/>
                  <a:gd name="T54" fmla="*/ 22 w 172"/>
                  <a:gd name="T55" fmla="*/ 0 h 74"/>
                  <a:gd name="T56" fmla="*/ 26 w 172"/>
                  <a:gd name="T57" fmla="*/ 0 h 74"/>
                  <a:gd name="T58" fmla="*/ 30 w 172"/>
                  <a:gd name="T59" fmla="*/ 0 h 74"/>
                  <a:gd name="T60" fmla="*/ 34 w 172"/>
                  <a:gd name="T61" fmla="*/ 1 h 74"/>
                  <a:gd name="T62" fmla="*/ 37 w 172"/>
                  <a:gd name="T63" fmla="*/ 2 h 74"/>
                  <a:gd name="T64" fmla="*/ 41 w 172"/>
                  <a:gd name="T65" fmla="*/ 4 h 74"/>
                  <a:gd name="T66" fmla="*/ 44 w 172"/>
                  <a:gd name="T67" fmla="*/ 6 h 74"/>
                  <a:gd name="T68" fmla="*/ 48 w 172"/>
                  <a:gd name="T69" fmla="*/ 7 h 74"/>
                  <a:gd name="T70" fmla="*/ 51 w 172"/>
                  <a:gd name="T71" fmla="*/ 8 h 74"/>
                  <a:gd name="T72" fmla="*/ 55 w 172"/>
                  <a:gd name="T73" fmla="*/ 8 h 74"/>
                  <a:gd name="T74" fmla="*/ 55 w 172"/>
                  <a:gd name="T75" fmla="*/ 15 h 74"/>
                  <a:gd name="T76" fmla="*/ 54 w 172"/>
                  <a:gd name="T77" fmla="*/ 16 h 74"/>
                  <a:gd name="T78" fmla="*/ 53 w 172"/>
                  <a:gd name="T79" fmla="*/ 18 h 74"/>
                  <a:gd name="T80" fmla="*/ 51 w 172"/>
                  <a:gd name="T81" fmla="*/ 19 h 74"/>
                  <a:gd name="T82" fmla="*/ 51 w 172"/>
                  <a:gd name="T83" fmla="*/ 20 h 74"/>
                  <a:gd name="T84" fmla="*/ 49 w 172"/>
                  <a:gd name="T85" fmla="*/ 21 h 74"/>
                  <a:gd name="T86" fmla="*/ 48 w 172"/>
                  <a:gd name="T87" fmla="*/ 21 h 74"/>
                  <a:gd name="T88" fmla="*/ 47 w 172"/>
                  <a:gd name="T89" fmla="*/ 22 h 74"/>
                  <a:gd name="T90" fmla="*/ 45 w 172"/>
                  <a:gd name="T91" fmla="*/ 22 h 74"/>
                  <a:gd name="T92" fmla="*/ 42 w 172"/>
                  <a:gd name="T93" fmla="*/ 22 h 74"/>
                  <a:gd name="T94" fmla="*/ 39 w 172"/>
                  <a:gd name="T95" fmla="*/ 21 h 74"/>
                  <a:gd name="T96" fmla="*/ 36 w 172"/>
                  <a:gd name="T97" fmla="*/ 20 h 74"/>
                  <a:gd name="T98" fmla="*/ 32 w 172"/>
                  <a:gd name="T99" fmla="*/ 19 h 74"/>
                  <a:gd name="T100" fmla="*/ 34 w 172"/>
                  <a:gd name="T101" fmla="*/ 19 h 74"/>
                  <a:gd name="T102" fmla="*/ 38 w 172"/>
                  <a:gd name="T103" fmla="*/ 21 h 74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0" name="Freeform 408">
                <a:extLst>
                  <a:ext uri="{FF2B5EF4-FFF2-40B4-BE49-F238E27FC236}">
                    <a16:creationId xmlns:a16="http://schemas.microsoft.com/office/drawing/2014/main" id="{AC50A1F8-2679-4818-935F-FC43275A1B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9 w 120"/>
                  <a:gd name="T1" fmla="*/ 17 h 49"/>
                  <a:gd name="T2" fmla="*/ 15 w 120"/>
                  <a:gd name="T3" fmla="*/ 17 h 49"/>
                  <a:gd name="T4" fmla="*/ 20 w 120"/>
                  <a:gd name="T5" fmla="*/ 17 h 49"/>
                  <a:gd name="T6" fmla="*/ 25 w 120"/>
                  <a:gd name="T7" fmla="*/ 16 h 49"/>
                  <a:gd name="T8" fmla="*/ 29 w 120"/>
                  <a:gd name="T9" fmla="*/ 15 h 49"/>
                  <a:gd name="T10" fmla="*/ 30 w 120"/>
                  <a:gd name="T11" fmla="*/ 14 h 49"/>
                  <a:gd name="T12" fmla="*/ 32 w 120"/>
                  <a:gd name="T13" fmla="*/ 13 h 49"/>
                  <a:gd name="T14" fmla="*/ 33 w 120"/>
                  <a:gd name="T15" fmla="*/ 12 h 49"/>
                  <a:gd name="T16" fmla="*/ 34 w 120"/>
                  <a:gd name="T17" fmla="*/ 11 h 49"/>
                  <a:gd name="T18" fmla="*/ 36 w 120"/>
                  <a:gd name="T19" fmla="*/ 8 h 49"/>
                  <a:gd name="T20" fmla="*/ 38 w 120"/>
                  <a:gd name="T21" fmla="*/ 4 h 49"/>
                  <a:gd name="T22" fmla="*/ 32 w 120"/>
                  <a:gd name="T23" fmla="*/ 2 h 49"/>
                  <a:gd name="T24" fmla="*/ 27 w 120"/>
                  <a:gd name="T25" fmla="*/ 1 h 49"/>
                  <a:gd name="T26" fmla="*/ 21 w 120"/>
                  <a:gd name="T27" fmla="*/ 0 h 49"/>
                  <a:gd name="T28" fmla="*/ 16 w 120"/>
                  <a:gd name="T29" fmla="*/ 0 h 49"/>
                  <a:gd name="T30" fmla="*/ 11 w 120"/>
                  <a:gd name="T31" fmla="*/ 0 h 49"/>
                  <a:gd name="T32" fmla="*/ 6 w 120"/>
                  <a:gd name="T33" fmla="*/ 1 h 49"/>
                  <a:gd name="T34" fmla="*/ 3 w 120"/>
                  <a:gd name="T35" fmla="*/ 1 h 49"/>
                  <a:gd name="T36" fmla="*/ 0 w 120"/>
                  <a:gd name="T37" fmla="*/ 2 h 49"/>
                  <a:gd name="T38" fmla="*/ 0 w 120"/>
                  <a:gd name="T39" fmla="*/ 10 h 49"/>
                  <a:gd name="T40" fmla="*/ 1 w 120"/>
                  <a:gd name="T41" fmla="*/ 12 h 49"/>
                  <a:gd name="T42" fmla="*/ 2 w 120"/>
                  <a:gd name="T43" fmla="*/ 13 h 49"/>
                  <a:gd name="T44" fmla="*/ 3 w 120"/>
                  <a:gd name="T45" fmla="*/ 14 h 49"/>
                  <a:gd name="T46" fmla="*/ 4 w 120"/>
                  <a:gd name="T47" fmla="*/ 16 h 49"/>
                  <a:gd name="T48" fmla="*/ 6 w 120"/>
                  <a:gd name="T49" fmla="*/ 17 h 49"/>
                  <a:gd name="T50" fmla="*/ 9 w 120"/>
                  <a:gd name="T51" fmla="*/ 17 h 4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1" name="Freeform 409">
                <a:extLst>
                  <a:ext uri="{FF2B5EF4-FFF2-40B4-BE49-F238E27FC236}">
                    <a16:creationId xmlns:a16="http://schemas.microsoft.com/office/drawing/2014/main" id="{9C2CCFDE-31B4-4956-BFD0-631D246EA2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10 w 85"/>
                  <a:gd name="T1" fmla="*/ 0 h 61"/>
                  <a:gd name="T2" fmla="*/ 7 w 85"/>
                  <a:gd name="T3" fmla="*/ 2 h 61"/>
                  <a:gd name="T4" fmla="*/ 3 w 85"/>
                  <a:gd name="T5" fmla="*/ 4 h 61"/>
                  <a:gd name="T6" fmla="*/ 2 w 85"/>
                  <a:gd name="T7" fmla="*/ 5 h 61"/>
                  <a:gd name="T8" fmla="*/ 1 w 85"/>
                  <a:gd name="T9" fmla="*/ 7 h 61"/>
                  <a:gd name="T10" fmla="*/ 0 w 85"/>
                  <a:gd name="T11" fmla="*/ 8 h 61"/>
                  <a:gd name="T12" fmla="*/ 0 w 85"/>
                  <a:gd name="T13" fmla="*/ 10 h 61"/>
                  <a:gd name="T14" fmla="*/ 0 w 85"/>
                  <a:gd name="T15" fmla="*/ 11 h 61"/>
                  <a:gd name="T16" fmla="*/ 0 w 85"/>
                  <a:gd name="T17" fmla="*/ 12 h 61"/>
                  <a:gd name="T18" fmla="*/ 1 w 85"/>
                  <a:gd name="T19" fmla="*/ 12 h 61"/>
                  <a:gd name="T20" fmla="*/ 2 w 85"/>
                  <a:gd name="T21" fmla="*/ 13 h 61"/>
                  <a:gd name="T22" fmla="*/ 3 w 85"/>
                  <a:gd name="T23" fmla="*/ 15 h 61"/>
                  <a:gd name="T24" fmla="*/ 6 w 85"/>
                  <a:gd name="T25" fmla="*/ 17 h 61"/>
                  <a:gd name="T26" fmla="*/ 8 w 85"/>
                  <a:gd name="T27" fmla="*/ 17 h 61"/>
                  <a:gd name="T28" fmla="*/ 11 w 85"/>
                  <a:gd name="T29" fmla="*/ 18 h 61"/>
                  <a:gd name="T30" fmla="*/ 14 w 85"/>
                  <a:gd name="T31" fmla="*/ 19 h 61"/>
                  <a:gd name="T32" fmla="*/ 16 w 85"/>
                  <a:gd name="T33" fmla="*/ 19 h 61"/>
                  <a:gd name="T34" fmla="*/ 17 w 85"/>
                  <a:gd name="T35" fmla="*/ 19 h 61"/>
                  <a:gd name="T36" fmla="*/ 18 w 85"/>
                  <a:gd name="T37" fmla="*/ 19 h 61"/>
                  <a:gd name="T38" fmla="*/ 19 w 85"/>
                  <a:gd name="T39" fmla="*/ 18 h 61"/>
                  <a:gd name="T40" fmla="*/ 20 w 85"/>
                  <a:gd name="T41" fmla="*/ 18 h 61"/>
                  <a:gd name="T42" fmla="*/ 22 w 85"/>
                  <a:gd name="T43" fmla="*/ 16 h 61"/>
                  <a:gd name="T44" fmla="*/ 24 w 85"/>
                  <a:gd name="T45" fmla="*/ 15 h 61"/>
                  <a:gd name="T46" fmla="*/ 24 w 85"/>
                  <a:gd name="T47" fmla="*/ 12 h 61"/>
                  <a:gd name="T48" fmla="*/ 25 w 85"/>
                  <a:gd name="T49" fmla="*/ 10 h 61"/>
                  <a:gd name="T50" fmla="*/ 26 w 85"/>
                  <a:gd name="T51" fmla="*/ 8 h 61"/>
                  <a:gd name="T52" fmla="*/ 26 w 85"/>
                  <a:gd name="T53" fmla="*/ 6 h 61"/>
                  <a:gd name="T54" fmla="*/ 10 w 85"/>
                  <a:gd name="T55" fmla="*/ 0 h 6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2" name="Freeform 410">
                <a:extLst>
                  <a:ext uri="{FF2B5EF4-FFF2-40B4-BE49-F238E27FC236}">
                    <a16:creationId xmlns:a16="http://schemas.microsoft.com/office/drawing/2014/main" id="{3CE9EC4B-E625-4362-9BBA-8B6B95B0EB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2 h 19"/>
                  <a:gd name="T2" fmla="*/ 2 w 100"/>
                  <a:gd name="T3" fmla="*/ 3 h 19"/>
                  <a:gd name="T4" fmla="*/ 4 w 100"/>
                  <a:gd name="T5" fmla="*/ 5 h 19"/>
                  <a:gd name="T6" fmla="*/ 7 w 100"/>
                  <a:gd name="T7" fmla="*/ 6 h 19"/>
                  <a:gd name="T8" fmla="*/ 8 w 100"/>
                  <a:gd name="T9" fmla="*/ 6 h 19"/>
                  <a:gd name="T10" fmla="*/ 31 w 100"/>
                  <a:gd name="T11" fmla="*/ 2 h 19"/>
                  <a:gd name="T12" fmla="*/ 23 w 100"/>
                  <a:gd name="T13" fmla="*/ 1 h 19"/>
                  <a:gd name="T14" fmla="*/ 15 w 100"/>
                  <a:gd name="T15" fmla="*/ 0 h 19"/>
                  <a:gd name="T16" fmla="*/ 11 w 100"/>
                  <a:gd name="T17" fmla="*/ 0 h 19"/>
                  <a:gd name="T18" fmla="*/ 7 w 100"/>
                  <a:gd name="T19" fmla="*/ 0 h 19"/>
                  <a:gd name="T20" fmla="*/ 4 w 100"/>
                  <a:gd name="T21" fmla="*/ 1 h 19"/>
                  <a:gd name="T22" fmla="*/ 0 w 100"/>
                  <a:gd name="T23" fmla="*/ 2 h 1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3" name="Freeform 411">
                <a:extLst>
                  <a:ext uri="{FF2B5EF4-FFF2-40B4-BE49-F238E27FC236}">
                    <a16:creationId xmlns:a16="http://schemas.microsoft.com/office/drawing/2014/main" id="{9765252A-F3A4-41F5-8484-92A8ABB758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9 h 45"/>
                  <a:gd name="T2" fmla="*/ 0 w 166"/>
                  <a:gd name="T3" fmla="*/ 10 h 45"/>
                  <a:gd name="T4" fmla="*/ 1 w 166"/>
                  <a:gd name="T5" fmla="*/ 10 h 45"/>
                  <a:gd name="T6" fmla="*/ 3 w 166"/>
                  <a:gd name="T7" fmla="*/ 11 h 45"/>
                  <a:gd name="T8" fmla="*/ 4 w 166"/>
                  <a:gd name="T9" fmla="*/ 12 h 45"/>
                  <a:gd name="T10" fmla="*/ 9 w 166"/>
                  <a:gd name="T11" fmla="*/ 13 h 45"/>
                  <a:gd name="T12" fmla="*/ 14 w 166"/>
                  <a:gd name="T13" fmla="*/ 14 h 45"/>
                  <a:gd name="T14" fmla="*/ 24 w 166"/>
                  <a:gd name="T15" fmla="*/ 15 h 45"/>
                  <a:gd name="T16" fmla="*/ 29 w 166"/>
                  <a:gd name="T17" fmla="*/ 15 h 45"/>
                  <a:gd name="T18" fmla="*/ 53 w 166"/>
                  <a:gd name="T19" fmla="*/ 9 h 45"/>
                  <a:gd name="T20" fmla="*/ 50 w 166"/>
                  <a:gd name="T21" fmla="*/ 8 h 45"/>
                  <a:gd name="T22" fmla="*/ 44 w 166"/>
                  <a:gd name="T23" fmla="*/ 6 h 45"/>
                  <a:gd name="T24" fmla="*/ 35 w 166"/>
                  <a:gd name="T25" fmla="*/ 4 h 45"/>
                  <a:gd name="T26" fmla="*/ 26 w 166"/>
                  <a:gd name="T27" fmla="*/ 1 h 45"/>
                  <a:gd name="T28" fmla="*/ 21 w 166"/>
                  <a:gd name="T29" fmla="*/ 1 h 45"/>
                  <a:gd name="T30" fmla="*/ 16 w 166"/>
                  <a:gd name="T31" fmla="*/ 0 h 45"/>
                  <a:gd name="T32" fmla="*/ 11 w 166"/>
                  <a:gd name="T33" fmla="*/ 0 h 45"/>
                  <a:gd name="T34" fmla="*/ 8 w 166"/>
                  <a:gd name="T35" fmla="*/ 1 h 45"/>
                  <a:gd name="T36" fmla="*/ 6 w 166"/>
                  <a:gd name="T37" fmla="*/ 1 h 45"/>
                  <a:gd name="T38" fmla="*/ 4 w 166"/>
                  <a:gd name="T39" fmla="*/ 2 h 45"/>
                  <a:gd name="T40" fmla="*/ 3 w 166"/>
                  <a:gd name="T41" fmla="*/ 2 h 45"/>
                  <a:gd name="T42" fmla="*/ 2 w 166"/>
                  <a:gd name="T43" fmla="*/ 3 h 45"/>
                  <a:gd name="T44" fmla="*/ 1 w 166"/>
                  <a:gd name="T45" fmla="*/ 4 h 45"/>
                  <a:gd name="T46" fmla="*/ 0 w 166"/>
                  <a:gd name="T47" fmla="*/ 6 h 45"/>
                  <a:gd name="T48" fmla="*/ 0 w 166"/>
                  <a:gd name="T49" fmla="*/ 7 h 45"/>
                  <a:gd name="T50" fmla="*/ 0 w 166"/>
                  <a:gd name="T51" fmla="*/ 9 h 4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4" name="Freeform 412">
                <a:extLst>
                  <a:ext uri="{FF2B5EF4-FFF2-40B4-BE49-F238E27FC236}">
                    <a16:creationId xmlns:a16="http://schemas.microsoft.com/office/drawing/2014/main" id="{9A8E738A-015C-40DA-BCD7-9FB8A28826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3 h 25"/>
                  <a:gd name="T4" fmla="*/ 1 w 33"/>
                  <a:gd name="T5" fmla="*/ 5 h 25"/>
                  <a:gd name="T6" fmla="*/ 2 w 33"/>
                  <a:gd name="T7" fmla="*/ 6 h 25"/>
                  <a:gd name="T8" fmla="*/ 4 w 33"/>
                  <a:gd name="T9" fmla="*/ 7 h 25"/>
                  <a:gd name="T10" fmla="*/ 5 w 33"/>
                  <a:gd name="T11" fmla="*/ 8 h 25"/>
                  <a:gd name="T12" fmla="*/ 7 w 33"/>
                  <a:gd name="T13" fmla="*/ 8 h 25"/>
                  <a:gd name="T14" fmla="*/ 9 w 33"/>
                  <a:gd name="T15" fmla="*/ 8 h 25"/>
                  <a:gd name="T16" fmla="*/ 11 w 33"/>
                  <a:gd name="T17" fmla="*/ 8 h 25"/>
                  <a:gd name="T18" fmla="*/ 11 w 33"/>
                  <a:gd name="T19" fmla="*/ 0 h 25"/>
                  <a:gd name="T20" fmla="*/ 8 w 33"/>
                  <a:gd name="T21" fmla="*/ 0 h 25"/>
                  <a:gd name="T22" fmla="*/ 5 w 33"/>
                  <a:gd name="T23" fmla="*/ 0 h 25"/>
                  <a:gd name="T24" fmla="*/ 3 w 33"/>
                  <a:gd name="T25" fmla="*/ 0 h 25"/>
                  <a:gd name="T26" fmla="*/ 0 w 33"/>
                  <a:gd name="T27" fmla="*/ 0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5" name="Freeform 413">
                <a:extLst>
                  <a:ext uri="{FF2B5EF4-FFF2-40B4-BE49-F238E27FC236}">
                    <a16:creationId xmlns:a16="http://schemas.microsoft.com/office/drawing/2014/main" id="{858FB595-1B51-4214-B77A-7FDE5B5A86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20 h 62"/>
                  <a:gd name="T2" fmla="*/ 4 w 48"/>
                  <a:gd name="T3" fmla="*/ 18 h 62"/>
                  <a:gd name="T4" fmla="*/ 7 w 48"/>
                  <a:gd name="T5" fmla="*/ 16 h 62"/>
                  <a:gd name="T6" fmla="*/ 10 w 48"/>
                  <a:gd name="T7" fmla="*/ 14 h 62"/>
                  <a:gd name="T8" fmla="*/ 12 w 48"/>
                  <a:gd name="T9" fmla="*/ 12 h 62"/>
                  <a:gd name="T10" fmla="*/ 14 w 48"/>
                  <a:gd name="T11" fmla="*/ 9 h 62"/>
                  <a:gd name="T12" fmla="*/ 15 w 48"/>
                  <a:gd name="T13" fmla="*/ 6 h 62"/>
                  <a:gd name="T14" fmla="*/ 16 w 48"/>
                  <a:gd name="T15" fmla="*/ 3 h 62"/>
                  <a:gd name="T16" fmla="*/ 16 w 48"/>
                  <a:gd name="T17" fmla="*/ 0 h 62"/>
                  <a:gd name="T18" fmla="*/ 13 w 48"/>
                  <a:gd name="T19" fmla="*/ 1 h 62"/>
                  <a:gd name="T20" fmla="*/ 11 w 48"/>
                  <a:gd name="T21" fmla="*/ 2 h 62"/>
                  <a:gd name="T22" fmla="*/ 8 w 48"/>
                  <a:gd name="T23" fmla="*/ 3 h 62"/>
                  <a:gd name="T24" fmla="*/ 6 w 48"/>
                  <a:gd name="T25" fmla="*/ 5 h 62"/>
                  <a:gd name="T26" fmla="*/ 3 w 48"/>
                  <a:gd name="T27" fmla="*/ 7 h 62"/>
                  <a:gd name="T28" fmla="*/ 2 w 48"/>
                  <a:gd name="T29" fmla="*/ 9 h 62"/>
                  <a:gd name="T30" fmla="*/ 1 w 48"/>
                  <a:gd name="T31" fmla="*/ 10 h 62"/>
                  <a:gd name="T32" fmla="*/ 1 w 48"/>
                  <a:gd name="T33" fmla="*/ 11 h 62"/>
                  <a:gd name="T34" fmla="*/ 0 w 48"/>
                  <a:gd name="T35" fmla="*/ 13 h 62"/>
                  <a:gd name="T36" fmla="*/ 0 w 48"/>
                  <a:gd name="T37" fmla="*/ 14 h 62"/>
                  <a:gd name="T38" fmla="*/ 0 w 48"/>
                  <a:gd name="T39" fmla="*/ 17 h 62"/>
                  <a:gd name="T40" fmla="*/ 0 w 48"/>
                  <a:gd name="T41" fmla="*/ 20 h 6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6" name="Freeform 414">
                <a:extLst>
                  <a:ext uri="{FF2B5EF4-FFF2-40B4-BE49-F238E27FC236}">
                    <a16:creationId xmlns:a16="http://schemas.microsoft.com/office/drawing/2014/main" id="{04302782-5283-415E-BCB4-DAC6FD7F8E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15 w 113"/>
                  <a:gd name="T1" fmla="*/ 0 h 62"/>
                  <a:gd name="T2" fmla="*/ 11 w 113"/>
                  <a:gd name="T3" fmla="*/ 2 h 62"/>
                  <a:gd name="T4" fmla="*/ 7 w 113"/>
                  <a:gd name="T5" fmla="*/ 5 h 62"/>
                  <a:gd name="T6" fmla="*/ 4 w 113"/>
                  <a:gd name="T7" fmla="*/ 9 h 62"/>
                  <a:gd name="T8" fmla="*/ 0 w 113"/>
                  <a:gd name="T9" fmla="*/ 12 h 62"/>
                  <a:gd name="T10" fmla="*/ 7 w 113"/>
                  <a:gd name="T11" fmla="*/ 15 h 62"/>
                  <a:gd name="T12" fmla="*/ 13 w 113"/>
                  <a:gd name="T13" fmla="*/ 17 h 62"/>
                  <a:gd name="T14" fmla="*/ 16 w 113"/>
                  <a:gd name="T15" fmla="*/ 18 h 62"/>
                  <a:gd name="T16" fmla="*/ 20 w 113"/>
                  <a:gd name="T17" fmla="*/ 19 h 62"/>
                  <a:gd name="T18" fmla="*/ 23 w 113"/>
                  <a:gd name="T19" fmla="*/ 20 h 62"/>
                  <a:gd name="T20" fmla="*/ 28 w 113"/>
                  <a:gd name="T21" fmla="*/ 20 h 62"/>
                  <a:gd name="T22" fmla="*/ 31 w 113"/>
                  <a:gd name="T23" fmla="*/ 20 h 62"/>
                  <a:gd name="T24" fmla="*/ 34 w 113"/>
                  <a:gd name="T25" fmla="*/ 19 h 62"/>
                  <a:gd name="T26" fmla="*/ 35 w 113"/>
                  <a:gd name="T27" fmla="*/ 18 h 62"/>
                  <a:gd name="T28" fmla="*/ 35 w 113"/>
                  <a:gd name="T29" fmla="*/ 17 h 62"/>
                  <a:gd name="T30" fmla="*/ 36 w 113"/>
                  <a:gd name="T31" fmla="*/ 17 h 62"/>
                  <a:gd name="T32" fmla="*/ 36 w 113"/>
                  <a:gd name="T33" fmla="*/ 16 h 62"/>
                  <a:gd name="T34" fmla="*/ 29 w 113"/>
                  <a:gd name="T35" fmla="*/ 13 h 62"/>
                  <a:gd name="T36" fmla="*/ 22 w 113"/>
                  <a:gd name="T37" fmla="*/ 10 h 62"/>
                  <a:gd name="T38" fmla="*/ 21 w 113"/>
                  <a:gd name="T39" fmla="*/ 9 h 62"/>
                  <a:gd name="T40" fmla="*/ 19 w 113"/>
                  <a:gd name="T41" fmla="*/ 8 h 62"/>
                  <a:gd name="T42" fmla="*/ 18 w 113"/>
                  <a:gd name="T43" fmla="*/ 7 h 62"/>
                  <a:gd name="T44" fmla="*/ 17 w 113"/>
                  <a:gd name="T45" fmla="*/ 6 h 62"/>
                  <a:gd name="T46" fmla="*/ 16 w 113"/>
                  <a:gd name="T47" fmla="*/ 5 h 62"/>
                  <a:gd name="T48" fmla="*/ 15 w 113"/>
                  <a:gd name="T49" fmla="*/ 3 h 62"/>
                  <a:gd name="T50" fmla="*/ 15 w 113"/>
                  <a:gd name="T51" fmla="*/ 2 h 62"/>
                  <a:gd name="T52" fmla="*/ 15 w 113"/>
                  <a:gd name="T53" fmla="*/ 0 h 6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7" name="Freeform 415">
                <a:extLst>
                  <a:ext uri="{FF2B5EF4-FFF2-40B4-BE49-F238E27FC236}">
                    <a16:creationId xmlns:a16="http://schemas.microsoft.com/office/drawing/2014/main" id="{185D4FB4-45B5-4460-BD05-D13A0FD077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5 w 93"/>
                  <a:gd name="T3" fmla="*/ 0 h 50"/>
                  <a:gd name="T4" fmla="*/ 9 w 93"/>
                  <a:gd name="T5" fmla="*/ 0 h 50"/>
                  <a:gd name="T6" fmla="*/ 14 w 93"/>
                  <a:gd name="T7" fmla="*/ 1 h 50"/>
                  <a:gd name="T8" fmla="*/ 18 w 93"/>
                  <a:gd name="T9" fmla="*/ 2 h 50"/>
                  <a:gd name="T10" fmla="*/ 20 w 93"/>
                  <a:gd name="T11" fmla="*/ 2 h 50"/>
                  <a:gd name="T12" fmla="*/ 22 w 93"/>
                  <a:gd name="T13" fmla="*/ 3 h 50"/>
                  <a:gd name="T14" fmla="*/ 23 w 93"/>
                  <a:gd name="T15" fmla="*/ 4 h 50"/>
                  <a:gd name="T16" fmla="*/ 25 w 93"/>
                  <a:gd name="T17" fmla="*/ 5 h 50"/>
                  <a:gd name="T18" fmla="*/ 27 w 93"/>
                  <a:gd name="T19" fmla="*/ 6 h 50"/>
                  <a:gd name="T20" fmla="*/ 28 w 93"/>
                  <a:gd name="T21" fmla="*/ 8 h 50"/>
                  <a:gd name="T22" fmla="*/ 28 w 93"/>
                  <a:gd name="T23" fmla="*/ 9 h 50"/>
                  <a:gd name="T24" fmla="*/ 29 w 93"/>
                  <a:gd name="T25" fmla="*/ 11 h 50"/>
                  <a:gd name="T26" fmla="*/ 25 w 93"/>
                  <a:gd name="T27" fmla="*/ 11 h 50"/>
                  <a:gd name="T28" fmla="*/ 21 w 93"/>
                  <a:gd name="T29" fmla="*/ 12 h 50"/>
                  <a:gd name="T30" fmla="*/ 19 w 93"/>
                  <a:gd name="T31" fmla="*/ 12 h 50"/>
                  <a:gd name="T32" fmla="*/ 16 w 93"/>
                  <a:gd name="T33" fmla="*/ 13 h 50"/>
                  <a:gd name="T34" fmla="*/ 13 w 93"/>
                  <a:gd name="T35" fmla="*/ 14 h 50"/>
                  <a:gd name="T36" fmla="*/ 10 w 93"/>
                  <a:gd name="T37" fmla="*/ 15 h 50"/>
                  <a:gd name="T38" fmla="*/ 9 w 93"/>
                  <a:gd name="T39" fmla="*/ 15 h 50"/>
                  <a:gd name="T40" fmla="*/ 9 w 93"/>
                  <a:gd name="T41" fmla="*/ 14 h 50"/>
                  <a:gd name="T42" fmla="*/ 8 w 93"/>
                  <a:gd name="T43" fmla="*/ 14 h 50"/>
                  <a:gd name="T44" fmla="*/ 8 w 93"/>
                  <a:gd name="T45" fmla="*/ 14 h 50"/>
                  <a:gd name="T46" fmla="*/ 7 w 93"/>
                  <a:gd name="T47" fmla="*/ 12 h 50"/>
                  <a:gd name="T48" fmla="*/ 7 w 93"/>
                  <a:gd name="T49" fmla="*/ 11 h 50"/>
                  <a:gd name="T50" fmla="*/ 7 w 93"/>
                  <a:gd name="T51" fmla="*/ 9 h 50"/>
                  <a:gd name="T52" fmla="*/ 7 w 93"/>
                  <a:gd name="T53" fmla="*/ 8 h 50"/>
                  <a:gd name="T54" fmla="*/ 7 w 93"/>
                  <a:gd name="T55" fmla="*/ 7 h 50"/>
                  <a:gd name="T56" fmla="*/ 8 w 93"/>
                  <a:gd name="T57" fmla="*/ 6 h 50"/>
                  <a:gd name="T58" fmla="*/ 0 w 93"/>
                  <a:gd name="T59" fmla="*/ 6 h 50"/>
                  <a:gd name="T60" fmla="*/ 0 w 93"/>
                  <a:gd name="T61" fmla="*/ 0 h 5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8" name="Freeform 416">
                <a:extLst>
                  <a:ext uri="{FF2B5EF4-FFF2-40B4-BE49-F238E27FC236}">
                    <a16:creationId xmlns:a16="http://schemas.microsoft.com/office/drawing/2014/main" id="{6AE67303-D5AB-4FCC-A375-29AB6CFA30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6 w 1029"/>
                  <a:gd name="T1" fmla="*/ 37 h 604"/>
                  <a:gd name="T2" fmla="*/ 22 w 1029"/>
                  <a:gd name="T3" fmla="*/ 20 h 604"/>
                  <a:gd name="T4" fmla="*/ 86 w 1029"/>
                  <a:gd name="T5" fmla="*/ 0 h 604"/>
                  <a:gd name="T6" fmla="*/ 66 w 1029"/>
                  <a:gd name="T7" fmla="*/ 15 h 604"/>
                  <a:gd name="T8" fmla="*/ 58 w 1029"/>
                  <a:gd name="T9" fmla="*/ 34 h 604"/>
                  <a:gd name="T10" fmla="*/ 88 w 1029"/>
                  <a:gd name="T11" fmla="*/ 20 h 604"/>
                  <a:gd name="T12" fmla="*/ 128 w 1029"/>
                  <a:gd name="T13" fmla="*/ 5 h 604"/>
                  <a:gd name="T14" fmla="*/ 141 w 1029"/>
                  <a:gd name="T15" fmla="*/ 8 h 604"/>
                  <a:gd name="T16" fmla="*/ 139 w 1029"/>
                  <a:gd name="T17" fmla="*/ 23 h 604"/>
                  <a:gd name="T18" fmla="*/ 187 w 1029"/>
                  <a:gd name="T19" fmla="*/ 26 h 604"/>
                  <a:gd name="T20" fmla="*/ 217 w 1029"/>
                  <a:gd name="T21" fmla="*/ 29 h 604"/>
                  <a:gd name="T22" fmla="*/ 241 w 1029"/>
                  <a:gd name="T23" fmla="*/ 36 h 604"/>
                  <a:gd name="T24" fmla="*/ 241 w 1029"/>
                  <a:gd name="T25" fmla="*/ 44 h 604"/>
                  <a:gd name="T26" fmla="*/ 229 w 1029"/>
                  <a:gd name="T27" fmla="*/ 60 h 604"/>
                  <a:gd name="T28" fmla="*/ 257 w 1029"/>
                  <a:gd name="T29" fmla="*/ 55 h 604"/>
                  <a:gd name="T30" fmla="*/ 279 w 1029"/>
                  <a:gd name="T31" fmla="*/ 63 h 604"/>
                  <a:gd name="T32" fmla="*/ 275 w 1029"/>
                  <a:gd name="T33" fmla="*/ 78 h 604"/>
                  <a:gd name="T34" fmla="*/ 253 w 1029"/>
                  <a:gd name="T35" fmla="*/ 81 h 604"/>
                  <a:gd name="T36" fmla="*/ 276 w 1029"/>
                  <a:gd name="T37" fmla="*/ 93 h 604"/>
                  <a:gd name="T38" fmla="*/ 290 w 1029"/>
                  <a:gd name="T39" fmla="*/ 107 h 604"/>
                  <a:gd name="T40" fmla="*/ 314 w 1029"/>
                  <a:gd name="T41" fmla="*/ 108 h 604"/>
                  <a:gd name="T42" fmla="*/ 331 w 1029"/>
                  <a:gd name="T43" fmla="*/ 115 h 604"/>
                  <a:gd name="T44" fmla="*/ 302 w 1029"/>
                  <a:gd name="T45" fmla="*/ 134 h 604"/>
                  <a:gd name="T46" fmla="*/ 289 w 1029"/>
                  <a:gd name="T47" fmla="*/ 137 h 604"/>
                  <a:gd name="T48" fmla="*/ 281 w 1029"/>
                  <a:gd name="T49" fmla="*/ 145 h 604"/>
                  <a:gd name="T50" fmla="*/ 267 w 1029"/>
                  <a:gd name="T51" fmla="*/ 136 h 604"/>
                  <a:gd name="T52" fmla="*/ 274 w 1029"/>
                  <a:gd name="T53" fmla="*/ 129 h 604"/>
                  <a:gd name="T54" fmla="*/ 255 w 1029"/>
                  <a:gd name="T55" fmla="*/ 124 h 604"/>
                  <a:gd name="T56" fmla="*/ 244 w 1029"/>
                  <a:gd name="T57" fmla="*/ 119 h 604"/>
                  <a:gd name="T58" fmla="*/ 239 w 1029"/>
                  <a:gd name="T59" fmla="*/ 129 h 604"/>
                  <a:gd name="T60" fmla="*/ 240 w 1029"/>
                  <a:gd name="T61" fmla="*/ 146 h 604"/>
                  <a:gd name="T62" fmla="*/ 256 w 1029"/>
                  <a:gd name="T63" fmla="*/ 171 h 604"/>
                  <a:gd name="T64" fmla="*/ 248 w 1029"/>
                  <a:gd name="T65" fmla="*/ 179 h 604"/>
                  <a:gd name="T66" fmla="*/ 228 w 1029"/>
                  <a:gd name="T67" fmla="*/ 182 h 604"/>
                  <a:gd name="T68" fmla="*/ 199 w 1029"/>
                  <a:gd name="T69" fmla="*/ 169 h 604"/>
                  <a:gd name="T70" fmla="*/ 215 w 1029"/>
                  <a:gd name="T71" fmla="*/ 186 h 604"/>
                  <a:gd name="T72" fmla="*/ 214 w 1029"/>
                  <a:gd name="T73" fmla="*/ 198 h 604"/>
                  <a:gd name="T74" fmla="*/ 167 w 1029"/>
                  <a:gd name="T75" fmla="*/ 187 h 604"/>
                  <a:gd name="T76" fmla="*/ 152 w 1029"/>
                  <a:gd name="T77" fmla="*/ 171 h 604"/>
                  <a:gd name="T78" fmla="*/ 132 w 1029"/>
                  <a:gd name="T79" fmla="*/ 155 h 604"/>
                  <a:gd name="T80" fmla="*/ 118 w 1029"/>
                  <a:gd name="T81" fmla="*/ 149 h 604"/>
                  <a:gd name="T82" fmla="*/ 126 w 1029"/>
                  <a:gd name="T83" fmla="*/ 142 h 604"/>
                  <a:gd name="T84" fmla="*/ 148 w 1029"/>
                  <a:gd name="T85" fmla="*/ 131 h 604"/>
                  <a:gd name="T86" fmla="*/ 161 w 1029"/>
                  <a:gd name="T87" fmla="*/ 124 h 604"/>
                  <a:gd name="T88" fmla="*/ 186 w 1029"/>
                  <a:gd name="T89" fmla="*/ 125 h 604"/>
                  <a:gd name="T90" fmla="*/ 198 w 1029"/>
                  <a:gd name="T91" fmla="*/ 129 h 604"/>
                  <a:gd name="T92" fmla="*/ 221 w 1029"/>
                  <a:gd name="T93" fmla="*/ 127 h 604"/>
                  <a:gd name="T94" fmla="*/ 187 w 1029"/>
                  <a:gd name="T95" fmla="*/ 116 h 604"/>
                  <a:gd name="T96" fmla="*/ 174 w 1029"/>
                  <a:gd name="T97" fmla="*/ 118 h 604"/>
                  <a:gd name="T98" fmla="*/ 173 w 1029"/>
                  <a:gd name="T99" fmla="*/ 115 h 604"/>
                  <a:gd name="T100" fmla="*/ 185 w 1029"/>
                  <a:gd name="T101" fmla="*/ 100 h 604"/>
                  <a:gd name="T102" fmla="*/ 185 w 1029"/>
                  <a:gd name="T103" fmla="*/ 90 h 604"/>
                  <a:gd name="T104" fmla="*/ 169 w 1029"/>
                  <a:gd name="T105" fmla="*/ 83 h 604"/>
                  <a:gd name="T106" fmla="*/ 152 w 1029"/>
                  <a:gd name="T107" fmla="*/ 65 h 604"/>
                  <a:gd name="T108" fmla="*/ 140 w 1029"/>
                  <a:gd name="T109" fmla="*/ 55 h 604"/>
                  <a:gd name="T110" fmla="*/ 131 w 1029"/>
                  <a:gd name="T111" fmla="*/ 53 h 604"/>
                  <a:gd name="T112" fmla="*/ 122 w 1029"/>
                  <a:gd name="T113" fmla="*/ 67 h 604"/>
                  <a:gd name="T114" fmla="*/ 67 w 1029"/>
                  <a:gd name="T115" fmla="*/ 57 h 604"/>
                  <a:gd name="T116" fmla="*/ 37 w 1029"/>
                  <a:gd name="T117" fmla="*/ 62 h 604"/>
                  <a:gd name="T118" fmla="*/ 25 w 1029"/>
                  <a:gd name="T119" fmla="*/ 61 h 604"/>
                  <a:gd name="T120" fmla="*/ 5 w 1029"/>
                  <a:gd name="T121" fmla="*/ 59 h 604"/>
                  <a:gd name="T122" fmla="*/ 3 w 1029"/>
                  <a:gd name="T123" fmla="*/ 52 h 604"/>
                  <a:gd name="T124" fmla="*/ 24 w 1029"/>
                  <a:gd name="T125" fmla="*/ 49 h 60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9" name="Freeform 417">
                <a:extLst>
                  <a:ext uri="{FF2B5EF4-FFF2-40B4-BE49-F238E27FC236}">
                    <a16:creationId xmlns:a16="http://schemas.microsoft.com/office/drawing/2014/main" id="{87F5140D-1E1F-48D9-BF9E-3083C3958C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257 w 1268"/>
                  <a:gd name="T1" fmla="*/ 12 h 321"/>
                  <a:gd name="T2" fmla="*/ 262 w 1268"/>
                  <a:gd name="T3" fmla="*/ 5 h 321"/>
                  <a:gd name="T4" fmla="*/ 273 w 1268"/>
                  <a:gd name="T5" fmla="*/ 3 h 321"/>
                  <a:gd name="T6" fmla="*/ 279 w 1268"/>
                  <a:gd name="T7" fmla="*/ 8 h 321"/>
                  <a:gd name="T8" fmla="*/ 303 w 1268"/>
                  <a:gd name="T9" fmla="*/ 5 h 321"/>
                  <a:gd name="T10" fmla="*/ 329 w 1268"/>
                  <a:gd name="T11" fmla="*/ 0 h 321"/>
                  <a:gd name="T12" fmla="*/ 350 w 1268"/>
                  <a:gd name="T13" fmla="*/ 6 h 321"/>
                  <a:gd name="T14" fmla="*/ 365 w 1268"/>
                  <a:gd name="T15" fmla="*/ 7 h 321"/>
                  <a:gd name="T16" fmla="*/ 409 w 1268"/>
                  <a:gd name="T17" fmla="*/ 10 h 321"/>
                  <a:gd name="T18" fmla="*/ 401 w 1268"/>
                  <a:gd name="T19" fmla="*/ 16 h 321"/>
                  <a:gd name="T20" fmla="*/ 375 w 1268"/>
                  <a:gd name="T21" fmla="*/ 21 h 321"/>
                  <a:gd name="T22" fmla="*/ 340 w 1268"/>
                  <a:gd name="T23" fmla="*/ 25 h 321"/>
                  <a:gd name="T24" fmla="*/ 332 w 1268"/>
                  <a:gd name="T25" fmla="*/ 31 h 321"/>
                  <a:gd name="T26" fmla="*/ 322 w 1268"/>
                  <a:gd name="T27" fmla="*/ 34 h 321"/>
                  <a:gd name="T28" fmla="*/ 304 w 1268"/>
                  <a:gd name="T29" fmla="*/ 33 h 321"/>
                  <a:gd name="T30" fmla="*/ 300 w 1268"/>
                  <a:gd name="T31" fmla="*/ 39 h 321"/>
                  <a:gd name="T32" fmla="*/ 241 w 1268"/>
                  <a:gd name="T33" fmla="*/ 44 h 321"/>
                  <a:gd name="T34" fmla="*/ 215 w 1268"/>
                  <a:gd name="T35" fmla="*/ 51 h 321"/>
                  <a:gd name="T36" fmla="*/ 205 w 1268"/>
                  <a:gd name="T37" fmla="*/ 59 h 321"/>
                  <a:gd name="T38" fmla="*/ 191 w 1268"/>
                  <a:gd name="T39" fmla="*/ 55 h 321"/>
                  <a:gd name="T40" fmla="*/ 184 w 1268"/>
                  <a:gd name="T41" fmla="*/ 59 h 321"/>
                  <a:gd name="T42" fmla="*/ 190 w 1268"/>
                  <a:gd name="T43" fmla="*/ 68 h 321"/>
                  <a:gd name="T44" fmla="*/ 176 w 1268"/>
                  <a:gd name="T45" fmla="*/ 78 h 321"/>
                  <a:gd name="T46" fmla="*/ 156 w 1268"/>
                  <a:gd name="T47" fmla="*/ 77 h 321"/>
                  <a:gd name="T48" fmla="*/ 130 w 1268"/>
                  <a:gd name="T49" fmla="*/ 79 h 321"/>
                  <a:gd name="T50" fmla="*/ 131 w 1268"/>
                  <a:gd name="T51" fmla="*/ 84 h 321"/>
                  <a:gd name="T52" fmla="*/ 126 w 1268"/>
                  <a:gd name="T53" fmla="*/ 96 h 321"/>
                  <a:gd name="T54" fmla="*/ 107 w 1268"/>
                  <a:gd name="T55" fmla="*/ 105 h 321"/>
                  <a:gd name="T56" fmla="*/ 94 w 1268"/>
                  <a:gd name="T57" fmla="*/ 97 h 321"/>
                  <a:gd name="T58" fmla="*/ 82 w 1268"/>
                  <a:gd name="T59" fmla="*/ 93 h 321"/>
                  <a:gd name="T60" fmla="*/ 31 w 1268"/>
                  <a:gd name="T61" fmla="*/ 90 h 321"/>
                  <a:gd name="T62" fmla="*/ 0 w 1268"/>
                  <a:gd name="T63" fmla="*/ 93 h 321"/>
                  <a:gd name="T64" fmla="*/ 3 w 1268"/>
                  <a:gd name="T65" fmla="*/ 87 h 321"/>
                  <a:gd name="T66" fmla="*/ 18 w 1268"/>
                  <a:gd name="T67" fmla="*/ 80 h 321"/>
                  <a:gd name="T68" fmla="*/ 46 w 1268"/>
                  <a:gd name="T69" fmla="*/ 77 h 321"/>
                  <a:gd name="T70" fmla="*/ 55 w 1268"/>
                  <a:gd name="T71" fmla="*/ 74 h 321"/>
                  <a:gd name="T72" fmla="*/ 61 w 1268"/>
                  <a:gd name="T73" fmla="*/ 71 h 321"/>
                  <a:gd name="T74" fmla="*/ 71 w 1268"/>
                  <a:gd name="T75" fmla="*/ 76 h 321"/>
                  <a:gd name="T76" fmla="*/ 80 w 1268"/>
                  <a:gd name="T77" fmla="*/ 81 h 321"/>
                  <a:gd name="T78" fmla="*/ 67 w 1268"/>
                  <a:gd name="T79" fmla="*/ 68 h 321"/>
                  <a:gd name="T80" fmla="*/ 62 w 1268"/>
                  <a:gd name="T81" fmla="*/ 65 h 321"/>
                  <a:gd name="T82" fmla="*/ 64 w 1268"/>
                  <a:gd name="T83" fmla="*/ 59 h 321"/>
                  <a:gd name="T84" fmla="*/ 79 w 1268"/>
                  <a:gd name="T85" fmla="*/ 57 h 321"/>
                  <a:gd name="T86" fmla="*/ 118 w 1268"/>
                  <a:gd name="T87" fmla="*/ 61 h 321"/>
                  <a:gd name="T88" fmla="*/ 135 w 1268"/>
                  <a:gd name="T89" fmla="*/ 57 h 321"/>
                  <a:gd name="T90" fmla="*/ 104 w 1268"/>
                  <a:gd name="T91" fmla="*/ 55 h 321"/>
                  <a:gd name="T92" fmla="*/ 96 w 1268"/>
                  <a:gd name="T93" fmla="*/ 49 h 321"/>
                  <a:gd name="T94" fmla="*/ 122 w 1268"/>
                  <a:gd name="T95" fmla="*/ 45 h 321"/>
                  <a:gd name="T96" fmla="*/ 141 w 1268"/>
                  <a:gd name="T97" fmla="*/ 51 h 321"/>
                  <a:gd name="T98" fmla="*/ 154 w 1268"/>
                  <a:gd name="T99" fmla="*/ 41 h 321"/>
                  <a:gd name="T100" fmla="*/ 214 w 1268"/>
                  <a:gd name="T101" fmla="*/ 28 h 321"/>
                  <a:gd name="T102" fmla="*/ 190 w 1268"/>
                  <a:gd name="T103" fmla="*/ 36 h 321"/>
                  <a:gd name="T104" fmla="*/ 145 w 1268"/>
                  <a:gd name="T105" fmla="*/ 36 h 321"/>
                  <a:gd name="T106" fmla="*/ 101 w 1268"/>
                  <a:gd name="T107" fmla="*/ 38 h 321"/>
                  <a:gd name="T108" fmla="*/ 82 w 1268"/>
                  <a:gd name="T109" fmla="*/ 33 h 321"/>
                  <a:gd name="T110" fmla="*/ 71 w 1268"/>
                  <a:gd name="T111" fmla="*/ 26 h 321"/>
                  <a:gd name="T112" fmla="*/ 82 w 1268"/>
                  <a:gd name="T113" fmla="*/ 23 h 321"/>
                  <a:gd name="T114" fmla="*/ 144 w 1268"/>
                  <a:gd name="T115" fmla="*/ 15 h 321"/>
                  <a:gd name="T116" fmla="*/ 199 w 1268"/>
                  <a:gd name="T117" fmla="*/ 10 h 321"/>
                  <a:gd name="T118" fmla="*/ 217 w 1268"/>
                  <a:gd name="T119" fmla="*/ 7 h 321"/>
                  <a:gd name="T120" fmla="*/ 244 w 1268"/>
                  <a:gd name="T121" fmla="*/ 9 h 32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0" name="Freeform 418">
                <a:extLst>
                  <a:ext uri="{FF2B5EF4-FFF2-40B4-BE49-F238E27FC236}">
                    <a16:creationId xmlns:a16="http://schemas.microsoft.com/office/drawing/2014/main" id="{1BC68D7C-524E-41F9-A519-5CEC9EA96D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0 w 160"/>
                  <a:gd name="T3" fmla="*/ 3 h 117"/>
                  <a:gd name="T4" fmla="*/ 1 w 160"/>
                  <a:gd name="T5" fmla="*/ 6 h 117"/>
                  <a:gd name="T6" fmla="*/ 3 w 160"/>
                  <a:gd name="T7" fmla="*/ 9 h 117"/>
                  <a:gd name="T8" fmla="*/ 5 w 160"/>
                  <a:gd name="T9" fmla="*/ 13 h 117"/>
                  <a:gd name="T10" fmla="*/ 7 w 160"/>
                  <a:gd name="T11" fmla="*/ 16 h 117"/>
                  <a:gd name="T12" fmla="*/ 10 w 160"/>
                  <a:gd name="T13" fmla="*/ 19 h 117"/>
                  <a:gd name="T14" fmla="*/ 13 w 160"/>
                  <a:gd name="T15" fmla="*/ 22 h 117"/>
                  <a:gd name="T16" fmla="*/ 16 w 160"/>
                  <a:gd name="T17" fmla="*/ 25 h 117"/>
                  <a:gd name="T18" fmla="*/ 20 w 160"/>
                  <a:gd name="T19" fmla="*/ 28 h 117"/>
                  <a:gd name="T20" fmla="*/ 23 w 160"/>
                  <a:gd name="T21" fmla="*/ 30 h 117"/>
                  <a:gd name="T22" fmla="*/ 27 w 160"/>
                  <a:gd name="T23" fmla="*/ 32 h 117"/>
                  <a:gd name="T24" fmla="*/ 30 w 160"/>
                  <a:gd name="T25" fmla="*/ 34 h 117"/>
                  <a:gd name="T26" fmla="*/ 34 w 160"/>
                  <a:gd name="T27" fmla="*/ 36 h 117"/>
                  <a:gd name="T28" fmla="*/ 37 w 160"/>
                  <a:gd name="T29" fmla="*/ 37 h 117"/>
                  <a:gd name="T30" fmla="*/ 40 w 160"/>
                  <a:gd name="T31" fmla="*/ 38 h 117"/>
                  <a:gd name="T32" fmla="*/ 42 w 160"/>
                  <a:gd name="T33" fmla="*/ 38 h 117"/>
                  <a:gd name="T34" fmla="*/ 44 w 160"/>
                  <a:gd name="T35" fmla="*/ 38 h 117"/>
                  <a:gd name="T36" fmla="*/ 47 w 160"/>
                  <a:gd name="T37" fmla="*/ 37 h 117"/>
                  <a:gd name="T38" fmla="*/ 49 w 160"/>
                  <a:gd name="T39" fmla="*/ 36 h 117"/>
                  <a:gd name="T40" fmla="*/ 51 w 160"/>
                  <a:gd name="T41" fmla="*/ 34 h 117"/>
                  <a:gd name="T42" fmla="*/ 48 w 160"/>
                  <a:gd name="T43" fmla="*/ 30 h 117"/>
                  <a:gd name="T44" fmla="*/ 45 w 160"/>
                  <a:gd name="T45" fmla="*/ 26 h 117"/>
                  <a:gd name="T46" fmla="*/ 44 w 160"/>
                  <a:gd name="T47" fmla="*/ 24 h 117"/>
                  <a:gd name="T48" fmla="*/ 43 w 160"/>
                  <a:gd name="T49" fmla="*/ 21 h 117"/>
                  <a:gd name="T50" fmla="*/ 42 w 160"/>
                  <a:gd name="T51" fmla="*/ 19 h 117"/>
                  <a:gd name="T52" fmla="*/ 42 w 160"/>
                  <a:gd name="T53" fmla="*/ 16 h 117"/>
                  <a:gd name="T54" fmla="*/ 40 w 160"/>
                  <a:gd name="T55" fmla="*/ 16 h 117"/>
                  <a:gd name="T56" fmla="*/ 38 w 160"/>
                  <a:gd name="T57" fmla="*/ 15 h 117"/>
                  <a:gd name="T58" fmla="*/ 34 w 160"/>
                  <a:gd name="T59" fmla="*/ 13 h 117"/>
                  <a:gd name="T60" fmla="*/ 31 w 160"/>
                  <a:gd name="T61" fmla="*/ 11 h 117"/>
                  <a:gd name="T62" fmla="*/ 28 w 160"/>
                  <a:gd name="T63" fmla="*/ 9 h 117"/>
                  <a:gd name="T64" fmla="*/ 25 w 160"/>
                  <a:gd name="T65" fmla="*/ 7 h 117"/>
                  <a:gd name="T66" fmla="*/ 24 w 160"/>
                  <a:gd name="T67" fmla="*/ 6 h 117"/>
                  <a:gd name="T68" fmla="*/ 23 w 160"/>
                  <a:gd name="T69" fmla="*/ 4 h 117"/>
                  <a:gd name="T70" fmla="*/ 22 w 160"/>
                  <a:gd name="T71" fmla="*/ 3 h 117"/>
                  <a:gd name="T72" fmla="*/ 21 w 160"/>
                  <a:gd name="T73" fmla="*/ 2 h 117"/>
                  <a:gd name="T74" fmla="*/ 19 w 160"/>
                  <a:gd name="T75" fmla="*/ 2 h 117"/>
                  <a:gd name="T76" fmla="*/ 17 w 160"/>
                  <a:gd name="T77" fmla="*/ 2 h 117"/>
                  <a:gd name="T78" fmla="*/ 14 w 160"/>
                  <a:gd name="T79" fmla="*/ 1 h 117"/>
                  <a:gd name="T80" fmla="*/ 11 w 160"/>
                  <a:gd name="T81" fmla="*/ 0 h 117"/>
                  <a:gd name="T82" fmla="*/ 0 w 160"/>
                  <a:gd name="T83" fmla="*/ 0 h 117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1" name="Freeform 419">
                <a:extLst>
                  <a:ext uri="{FF2B5EF4-FFF2-40B4-BE49-F238E27FC236}">
                    <a16:creationId xmlns:a16="http://schemas.microsoft.com/office/drawing/2014/main" id="{5F5FB71C-AE46-4C61-95FA-4EB7845DEF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13 w 80"/>
                  <a:gd name="T1" fmla="*/ 40 h 141"/>
                  <a:gd name="T2" fmla="*/ 26 w 80"/>
                  <a:gd name="T3" fmla="*/ 12 h 141"/>
                  <a:gd name="T4" fmla="*/ 26 w 80"/>
                  <a:gd name="T5" fmla="*/ 6 h 141"/>
                  <a:gd name="T6" fmla="*/ 22 w 80"/>
                  <a:gd name="T7" fmla="*/ 6 h 141"/>
                  <a:gd name="T8" fmla="*/ 19 w 80"/>
                  <a:gd name="T9" fmla="*/ 5 h 141"/>
                  <a:gd name="T10" fmla="*/ 17 w 80"/>
                  <a:gd name="T11" fmla="*/ 5 h 141"/>
                  <a:gd name="T12" fmla="*/ 15 w 80"/>
                  <a:gd name="T13" fmla="*/ 4 h 141"/>
                  <a:gd name="T14" fmla="*/ 14 w 80"/>
                  <a:gd name="T15" fmla="*/ 3 h 141"/>
                  <a:gd name="T16" fmla="*/ 14 w 80"/>
                  <a:gd name="T17" fmla="*/ 2 h 141"/>
                  <a:gd name="T18" fmla="*/ 13 w 80"/>
                  <a:gd name="T19" fmla="*/ 1 h 141"/>
                  <a:gd name="T20" fmla="*/ 13 w 80"/>
                  <a:gd name="T21" fmla="*/ 0 h 141"/>
                  <a:gd name="T22" fmla="*/ 0 w 80"/>
                  <a:gd name="T23" fmla="*/ 0 h 141"/>
                  <a:gd name="T24" fmla="*/ 0 w 80"/>
                  <a:gd name="T25" fmla="*/ 8 h 141"/>
                  <a:gd name="T26" fmla="*/ 0 w 80"/>
                  <a:gd name="T27" fmla="*/ 13 h 141"/>
                  <a:gd name="T28" fmla="*/ 0 w 80"/>
                  <a:gd name="T29" fmla="*/ 17 h 141"/>
                  <a:gd name="T30" fmla="*/ 0 w 80"/>
                  <a:gd name="T31" fmla="*/ 20 h 141"/>
                  <a:gd name="T32" fmla="*/ 0 w 80"/>
                  <a:gd name="T33" fmla="*/ 23 h 141"/>
                  <a:gd name="T34" fmla="*/ 1 w 80"/>
                  <a:gd name="T35" fmla="*/ 25 h 141"/>
                  <a:gd name="T36" fmla="*/ 2 w 80"/>
                  <a:gd name="T37" fmla="*/ 29 h 141"/>
                  <a:gd name="T38" fmla="*/ 4 w 80"/>
                  <a:gd name="T39" fmla="*/ 32 h 141"/>
                  <a:gd name="T40" fmla="*/ 7 w 80"/>
                  <a:gd name="T41" fmla="*/ 39 h 141"/>
                  <a:gd name="T42" fmla="*/ 9 w 80"/>
                  <a:gd name="T43" fmla="*/ 46 h 141"/>
                  <a:gd name="T44" fmla="*/ 10 w 80"/>
                  <a:gd name="T45" fmla="*/ 44 h 141"/>
                  <a:gd name="T46" fmla="*/ 11 w 80"/>
                  <a:gd name="T47" fmla="*/ 42 h 141"/>
                  <a:gd name="T48" fmla="*/ 11 w 80"/>
                  <a:gd name="T49" fmla="*/ 41 h 141"/>
                  <a:gd name="T50" fmla="*/ 12 w 80"/>
                  <a:gd name="T51" fmla="*/ 41 h 141"/>
                  <a:gd name="T52" fmla="*/ 12 w 80"/>
                  <a:gd name="T53" fmla="*/ 40 h 141"/>
                  <a:gd name="T54" fmla="*/ 13 w 80"/>
                  <a:gd name="T55" fmla="*/ 40 h 14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2" name="Freeform 420">
                <a:extLst>
                  <a:ext uri="{FF2B5EF4-FFF2-40B4-BE49-F238E27FC236}">
                    <a16:creationId xmlns:a16="http://schemas.microsoft.com/office/drawing/2014/main" id="{DFDF2A5C-B03F-4137-A2FE-AE3262136F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31 h 124"/>
                  <a:gd name="T2" fmla="*/ 0 w 259"/>
                  <a:gd name="T3" fmla="*/ 32 h 124"/>
                  <a:gd name="T4" fmla="*/ 1 w 259"/>
                  <a:gd name="T5" fmla="*/ 33 h 124"/>
                  <a:gd name="T6" fmla="*/ 1 w 259"/>
                  <a:gd name="T7" fmla="*/ 34 h 124"/>
                  <a:gd name="T8" fmla="*/ 2 w 259"/>
                  <a:gd name="T9" fmla="*/ 35 h 124"/>
                  <a:gd name="T10" fmla="*/ 4 w 259"/>
                  <a:gd name="T11" fmla="*/ 37 h 124"/>
                  <a:gd name="T12" fmla="*/ 7 w 259"/>
                  <a:gd name="T13" fmla="*/ 38 h 124"/>
                  <a:gd name="T14" fmla="*/ 10 w 259"/>
                  <a:gd name="T15" fmla="*/ 40 h 124"/>
                  <a:gd name="T16" fmla="*/ 13 w 259"/>
                  <a:gd name="T17" fmla="*/ 40 h 124"/>
                  <a:gd name="T18" fmla="*/ 16 w 259"/>
                  <a:gd name="T19" fmla="*/ 41 h 124"/>
                  <a:gd name="T20" fmla="*/ 19 w 259"/>
                  <a:gd name="T21" fmla="*/ 41 h 124"/>
                  <a:gd name="T22" fmla="*/ 22 w 259"/>
                  <a:gd name="T23" fmla="*/ 41 h 124"/>
                  <a:gd name="T24" fmla="*/ 24 w 259"/>
                  <a:gd name="T25" fmla="*/ 41 h 124"/>
                  <a:gd name="T26" fmla="*/ 26 w 259"/>
                  <a:gd name="T27" fmla="*/ 40 h 124"/>
                  <a:gd name="T28" fmla="*/ 28 w 259"/>
                  <a:gd name="T29" fmla="*/ 40 h 124"/>
                  <a:gd name="T30" fmla="*/ 31 w 259"/>
                  <a:gd name="T31" fmla="*/ 38 h 124"/>
                  <a:gd name="T32" fmla="*/ 34 w 259"/>
                  <a:gd name="T33" fmla="*/ 36 h 124"/>
                  <a:gd name="T34" fmla="*/ 37 w 259"/>
                  <a:gd name="T35" fmla="*/ 34 h 124"/>
                  <a:gd name="T36" fmla="*/ 40 w 259"/>
                  <a:gd name="T37" fmla="*/ 32 h 124"/>
                  <a:gd name="T38" fmla="*/ 42 w 259"/>
                  <a:gd name="T39" fmla="*/ 32 h 124"/>
                  <a:gd name="T40" fmla="*/ 44 w 259"/>
                  <a:gd name="T41" fmla="*/ 31 h 124"/>
                  <a:gd name="T42" fmla="*/ 46 w 259"/>
                  <a:gd name="T43" fmla="*/ 31 h 124"/>
                  <a:gd name="T44" fmla="*/ 49 w 259"/>
                  <a:gd name="T45" fmla="*/ 31 h 124"/>
                  <a:gd name="T46" fmla="*/ 52 w 259"/>
                  <a:gd name="T47" fmla="*/ 31 h 124"/>
                  <a:gd name="T48" fmla="*/ 55 w 259"/>
                  <a:gd name="T49" fmla="*/ 32 h 124"/>
                  <a:gd name="T50" fmla="*/ 58 w 259"/>
                  <a:gd name="T51" fmla="*/ 33 h 124"/>
                  <a:gd name="T52" fmla="*/ 60 w 259"/>
                  <a:gd name="T53" fmla="*/ 34 h 124"/>
                  <a:gd name="T54" fmla="*/ 65 w 259"/>
                  <a:gd name="T55" fmla="*/ 37 h 124"/>
                  <a:gd name="T56" fmla="*/ 70 w 259"/>
                  <a:gd name="T57" fmla="*/ 39 h 124"/>
                  <a:gd name="T58" fmla="*/ 83 w 259"/>
                  <a:gd name="T59" fmla="*/ 39 h 124"/>
                  <a:gd name="T60" fmla="*/ 83 w 259"/>
                  <a:gd name="T61" fmla="*/ 33 h 124"/>
                  <a:gd name="T62" fmla="*/ 81 w 259"/>
                  <a:gd name="T63" fmla="*/ 32 h 124"/>
                  <a:gd name="T64" fmla="*/ 78 w 259"/>
                  <a:gd name="T65" fmla="*/ 32 h 124"/>
                  <a:gd name="T66" fmla="*/ 76 w 259"/>
                  <a:gd name="T67" fmla="*/ 31 h 124"/>
                  <a:gd name="T68" fmla="*/ 72 w 259"/>
                  <a:gd name="T69" fmla="*/ 31 h 124"/>
                  <a:gd name="T70" fmla="*/ 74 w 259"/>
                  <a:gd name="T71" fmla="*/ 28 h 124"/>
                  <a:gd name="T72" fmla="*/ 76 w 259"/>
                  <a:gd name="T73" fmla="*/ 26 h 124"/>
                  <a:gd name="T74" fmla="*/ 77 w 259"/>
                  <a:gd name="T75" fmla="*/ 24 h 124"/>
                  <a:gd name="T76" fmla="*/ 79 w 259"/>
                  <a:gd name="T77" fmla="*/ 23 h 124"/>
                  <a:gd name="T78" fmla="*/ 76 w 259"/>
                  <a:gd name="T79" fmla="*/ 20 h 124"/>
                  <a:gd name="T80" fmla="*/ 74 w 259"/>
                  <a:gd name="T81" fmla="*/ 19 h 124"/>
                  <a:gd name="T82" fmla="*/ 71 w 259"/>
                  <a:gd name="T83" fmla="*/ 17 h 124"/>
                  <a:gd name="T84" fmla="*/ 69 w 259"/>
                  <a:gd name="T85" fmla="*/ 15 h 124"/>
                  <a:gd name="T86" fmla="*/ 63 w 259"/>
                  <a:gd name="T87" fmla="*/ 12 h 124"/>
                  <a:gd name="T88" fmla="*/ 58 w 259"/>
                  <a:gd name="T89" fmla="*/ 10 h 124"/>
                  <a:gd name="T90" fmla="*/ 53 w 259"/>
                  <a:gd name="T91" fmla="*/ 8 h 124"/>
                  <a:gd name="T92" fmla="*/ 49 w 259"/>
                  <a:gd name="T93" fmla="*/ 6 h 124"/>
                  <a:gd name="T94" fmla="*/ 47 w 259"/>
                  <a:gd name="T95" fmla="*/ 4 h 124"/>
                  <a:gd name="T96" fmla="*/ 45 w 259"/>
                  <a:gd name="T97" fmla="*/ 3 h 124"/>
                  <a:gd name="T98" fmla="*/ 44 w 259"/>
                  <a:gd name="T99" fmla="*/ 2 h 124"/>
                  <a:gd name="T100" fmla="*/ 42 w 259"/>
                  <a:gd name="T101" fmla="*/ 0 h 124"/>
                  <a:gd name="T102" fmla="*/ 40 w 259"/>
                  <a:gd name="T103" fmla="*/ 1 h 124"/>
                  <a:gd name="T104" fmla="*/ 37 w 259"/>
                  <a:gd name="T105" fmla="*/ 2 h 124"/>
                  <a:gd name="T106" fmla="*/ 34 w 259"/>
                  <a:gd name="T107" fmla="*/ 4 h 124"/>
                  <a:gd name="T108" fmla="*/ 30 w 259"/>
                  <a:gd name="T109" fmla="*/ 6 h 124"/>
                  <a:gd name="T110" fmla="*/ 24 w 259"/>
                  <a:gd name="T111" fmla="*/ 10 h 124"/>
                  <a:gd name="T112" fmla="*/ 18 w 259"/>
                  <a:gd name="T113" fmla="*/ 14 h 124"/>
                  <a:gd name="T114" fmla="*/ 12 w 259"/>
                  <a:gd name="T115" fmla="*/ 19 h 124"/>
                  <a:gd name="T116" fmla="*/ 7 w 259"/>
                  <a:gd name="T117" fmla="*/ 23 h 124"/>
                  <a:gd name="T118" fmla="*/ 3 w 259"/>
                  <a:gd name="T119" fmla="*/ 27 h 124"/>
                  <a:gd name="T120" fmla="*/ 0 w 259"/>
                  <a:gd name="T121" fmla="*/ 31 h 12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3" name="Freeform 421">
                <a:extLst>
                  <a:ext uri="{FF2B5EF4-FFF2-40B4-BE49-F238E27FC236}">
                    <a16:creationId xmlns:a16="http://schemas.microsoft.com/office/drawing/2014/main" id="{2BCFED13-3CD8-43D4-A8EA-C8DB2CF62A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11 h 57"/>
                  <a:gd name="T2" fmla="*/ 2 w 119"/>
                  <a:gd name="T3" fmla="*/ 12 h 57"/>
                  <a:gd name="T4" fmla="*/ 4 w 119"/>
                  <a:gd name="T5" fmla="*/ 13 h 57"/>
                  <a:gd name="T6" fmla="*/ 6 w 119"/>
                  <a:gd name="T7" fmla="*/ 14 h 57"/>
                  <a:gd name="T8" fmla="*/ 8 w 119"/>
                  <a:gd name="T9" fmla="*/ 16 h 57"/>
                  <a:gd name="T10" fmla="*/ 10 w 119"/>
                  <a:gd name="T11" fmla="*/ 17 h 57"/>
                  <a:gd name="T12" fmla="*/ 11 w 119"/>
                  <a:gd name="T13" fmla="*/ 18 h 57"/>
                  <a:gd name="T14" fmla="*/ 13 w 119"/>
                  <a:gd name="T15" fmla="*/ 19 h 57"/>
                  <a:gd name="T16" fmla="*/ 15 w 119"/>
                  <a:gd name="T17" fmla="*/ 19 h 57"/>
                  <a:gd name="T18" fmla="*/ 18 w 119"/>
                  <a:gd name="T19" fmla="*/ 19 h 57"/>
                  <a:gd name="T20" fmla="*/ 20 w 119"/>
                  <a:gd name="T21" fmla="*/ 19 h 57"/>
                  <a:gd name="T22" fmla="*/ 22 w 119"/>
                  <a:gd name="T23" fmla="*/ 18 h 57"/>
                  <a:gd name="T24" fmla="*/ 25 w 119"/>
                  <a:gd name="T25" fmla="*/ 18 h 57"/>
                  <a:gd name="T26" fmla="*/ 27 w 119"/>
                  <a:gd name="T27" fmla="*/ 17 h 57"/>
                  <a:gd name="T28" fmla="*/ 28 w 119"/>
                  <a:gd name="T29" fmla="*/ 16 h 57"/>
                  <a:gd name="T30" fmla="*/ 30 w 119"/>
                  <a:gd name="T31" fmla="*/ 15 h 57"/>
                  <a:gd name="T32" fmla="*/ 31 w 119"/>
                  <a:gd name="T33" fmla="*/ 13 h 57"/>
                  <a:gd name="T34" fmla="*/ 34 w 119"/>
                  <a:gd name="T35" fmla="*/ 11 h 57"/>
                  <a:gd name="T36" fmla="*/ 36 w 119"/>
                  <a:gd name="T37" fmla="*/ 8 h 57"/>
                  <a:gd name="T38" fmla="*/ 37 w 119"/>
                  <a:gd name="T39" fmla="*/ 4 h 57"/>
                  <a:gd name="T40" fmla="*/ 38 w 119"/>
                  <a:gd name="T41" fmla="*/ 0 h 57"/>
                  <a:gd name="T42" fmla="*/ 32 w 119"/>
                  <a:gd name="T43" fmla="*/ 0 h 57"/>
                  <a:gd name="T44" fmla="*/ 26 w 119"/>
                  <a:gd name="T45" fmla="*/ 0 h 57"/>
                  <a:gd name="T46" fmla="*/ 20 w 119"/>
                  <a:gd name="T47" fmla="*/ 1 h 57"/>
                  <a:gd name="T48" fmla="*/ 14 w 119"/>
                  <a:gd name="T49" fmla="*/ 2 h 57"/>
                  <a:gd name="T50" fmla="*/ 11 w 119"/>
                  <a:gd name="T51" fmla="*/ 2 h 57"/>
                  <a:gd name="T52" fmla="*/ 9 w 119"/>
                  <a:gd name="T53" fmla="*/ 3 h 57"/>
                  <a:gd name="T54" fmla="*/ 7 w 119"/>
                  <a:gd name="T55" fmla="*/ 4 h 57"/>
                  <a:gd name="T56" fmla="*/ 5 w 119"/>
                  <a:gd name="T57" fmla="*/ 5 h 57"/>
                  <a:gd name="T58" fmla="*/ 3 w 119"/>
                  <a:gd name="T59" fmla="*/ 6 h 57"/>
                  <a:gd name="T60" fmla="*/ 2 w 119"/>
                  <a:gd name="T61" fmla="*/ 8 h 57"/>
                  <a:gd name="T62" fmla="*/ 1 w 119"/>
                  <a:gd name="T63" fmla="*/ 9 h 57"/>
                  <a:gd name="T64" fmla="*/ 0 w 119"/>
                  <a:gd name="T65" fmla="*/ 11 h 5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4" name="Freeform 422">
                <a:extLst>
                  <a:ext uri="{FF2B5EF4-FFF2-40B4-BE49-F238E27FC236}">
                    <a16:creationId xmlns:a16="http://schemas.microsoft.com/office/drawing/2014/main" id="{664EEB32-92BE-425E-A3E1-632CAFD586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16 h 52"/>
                  <a:gd name="T2" fmla="*/ 2 w 107"/>
                  <a:gd name="T3" fmla="*/ 17 h 52"/>
                  <a:gd name="T4" fmla="*/ 3 w 107"/>
                  <a:gd name="T5" fmla="*/ 17 h 52"/>
                  <a:gd name="T6" fmla="*/ 4 w 107"/>
                  <a:gd name="T7" fmla="*/ 17 h 52"/>
                  <a:gd name="T8" fmla="*/ 5 w 107"/>
                  <a:gd name="T9" fmla="*/ 17 h 52"/>
                  <a:gd name="T10" fmla="*/ 8 w 107"/>
                  <a:gd name="T11" fmla="*/ 16 h 52"/>
                  <a:gd name="T12" fmla="*/ 11 w 107"/>
                  <a:gd name="T13" fmla="*/ 16 h 52"/>
                  <a:gd name="T14" fmla="*/ 14 w 107"/>
                  <a:gd name="T15" fmla="*/ 16 h 52"/>
                  <a:gd name="T16" fmla="*/ 17 w 107"/>
                  <a:gd name="T17" fmla="*/ 16 h 52"/>
                  <a:gd name="T18" fmla="*/ 20 w 107"/>
                  <a:gd name="T19" fmla="*/ 15 h 52"/>
                  <a:gd name="T20" fmla="*/ 22 w 107"/>
                  <a:gd name="T21" fmla="*/ 14 h 52"/>
                  <a:gd name="T22" fmla="*/ 25 w 107"/>
                  <a:gd name="T23" fmla="*/ 13 h 52"/>
                  <a:gd name="T24" fmla="*/ 28 w 107"/>
                  <a:gd name="T25" fmla="*/ 12 h 52"/>
                  <a:gd name="T26" fmla="*/ 31 w 107"/>
                  <a:gd name="T27" fmla="*/ 10 h 52"/>
                  <a:gd name="T28" fmla="*/ 34 w 107"/>
                  <a:gd name="T29" fmla="*/ 8 h 52"/>
                  <a:gd name="T30" fmla="*/ 34 w 107"/>
                  <a:gd name="T31" fmla="*/ 0 h 52"/>
                  <a:gd name="T32" fmla="*/ 31 w 107"/>
                  <a:gd name="T33" fmla="*/ 0 h 52"/>
                  <a:gd name="T34" fmla="*/ 27 w 107"/>
                  <a:gd name="T35" fmla="*/ 1 h 52"/>
                  <a:gd name="T36" fmla="*/ 23 w 107"/>
                  <a:gd name="T37" fmla="*/ 2 h 52"/>
                  <a:gd name="T38" fmla="*/ 18 w 107"/>
                  <a:gd name="T39" fmla="*/ 4 h 52"/>
                  <a:gd name="T40" fmla="*/ 13 w 107"/>
                  <a:gd name="T41" fmla="*/ 7 h 52"/>
                  <a:gd name="T42" fmla="*/ 8 w 107"/>
                  <a:gd name="T43" fmla="*/ 9 h 52"/>
                  <a:gd name="T44" fmla="*/ 6 w 107"/>
                  <a:gd name="T45" fmla="*/ 11 h 52"/>
                  <a:gd name="T46" fmla="*/ 4 w 107"/>
                  <a:gd name="T47" fmla="*/ 12 h 52"/>
                  <a:gd name="T48" fmla="*/ 2 w 107"/>
                  <a:gd name="T49" fmla="*/ 14 h 52"/>
                  <a:gd name="T50" fmla="*/ 0 w 107"/>
                  <a:gd name="T51" fmla="*/ 16 h 5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5" name="Freeform 423">
                <a:extLst>
                  <a:ext uri="{FF2B5EF4-FFF2-40B4-BE49-F238E27FC236}">
                    <a16:creationId xmlns:a16="http://schemas.microsoft.com/office/drawing/2014/main" id="{A3B90B18-CFF9-47E2-A511-741EC894F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9 w 246"/>
                  <a:gd name="T1" fmla="*/ 32 h 99"/>
                  <a:gd name="T2" fmla="*/ 7 w 246"/>
                  <a:gd name="T3" fmla="*/ 31 h 99"/>
                  <a:gd name="T4" fmla="*/ 5 w 246"/>
                  <a:gd name="T5" fmla="*/ 31 h 99"/>
                  <a:gd name="T6" fmla="*/ 4 w 246"/>
                  <a:gd name="T7" fmla="*/ 30 h 99"/>
                  <a:gd name="T8" fmla="*/ 3 w 246"/>
                  <a:gd name="T9" fmla="*/ 29 h 99"/>
                  <a:gd name="T10" fmla="*/ 2 w 246"/>
                  <a:gd name="T11" fmla="*/ 28 h 99"/>
                  <a:gd name="T12" fmla="*/ 1 w 246"/>
                  <a:gd name="T13" fmla="*/ 27 h 99"/>
                  <a:gd name="T14" fmla="*/ 0 w 246"/>
                  <a:gd name="T15" fmla="*/ 25 h 99"/>
                  <a:gd name="T16" fmla="*/ 0 w 246"/>
                  <a:gd name="T17" fmla="*/ 24 h 99"/>
                  <a:gd name="T18" fmla="*/ 0 w 246"/>
                  <a:gd name="T19" fmla="*/ 22 h 99"/>
                  <a:gd name="T20" fmla="*/ 0 w 246"/>
                  <a:gd name="T21" fmla="*/ 21 h 99"/>
                  <a:gd name="T22" fmla="*/ 1 w 246"/>
                  <a:gd name="T23" fmla="*/ 19 h 99"/>
                  <a:gd name="T24" fmla="*/ 2 w 246"/>
                  <a:gd name="T25" fmla="*/ 18 h 99"/>
                  <a:gd name="T26" fmla="*/ 3 w 246"/>
                  <a:gd name="T27" fmla="*/ 16 h 99"/>
                  <a:gd name="T28" fmla="*/ 6 w 246"/>
                  <a:gd name="T29" fmla="*/ 13 h 99"/>
                  <a:gd name="T30" fmla="*/ 8 w 246"/>
                  <a:gd name="T31" fmla="*/ 11 h 99"/>
                  <a:gd name="T32" fmla="*/ 11 w 246"/>
                  <a:gd name="T33" fmla="*/ 9 h 99"/>
                  <a:gd name="T34" fmla="*/ 15 w 246"/>
                  <a:gd name="T35" fmla="*/ 7 h 99"/>
                  <a:gd name="T36" fmla="*/ 18 w 246"/>
                  <a:gd name="T37" fmla="*/ 6 h 99"/>
                  <a:gd name="T38" fmla="*/ 22 w 246"/>
                  <a:gd name="T39" fmla="*/ 5 h 99"/>
                  <a:gd name="T40" fmla="*/ 26 w 246"/>
                  <a:gd name="T41" fmla="*/ 3 h 99"/>
                  <a:gd name="T42" fmla="*/ 30 w 246"/>
                  <a:gd name="T43" fmla="*/ 2 h 99"/>
                  <a:gd name="T44" fmla="*/ 33 w 246"/>
                  <a:gd name="T45" fmla="*/ 1 h 99"/>
                  <a:gd name="T46" fmla="*/ 40 w 246"/>
                  <a:gd name="T47" fmla="*/ 0 h 99"/>
                  <a:gd name="T48" fmla="*/ 45 w 246"/>
                  <a:gd name="T49" fmla="*/ 0 h 99"/>
                  <a:gd name="T50" fmla="*/ 54 w 246"/>
                  <a:gd name="T51" fmla="*/ 0 h 99"/>
                  <a:gd name="T52" fmla="*/ 62 w 246"/>
                  <a:gd name="T53" fmla="*/ 0 h 99"/>
                  <a:gd name="T54" fmla="*/ 70 w 246"/>
                  <a:gd name="T55" fmla="*/ 1 h 99"/>
                  <a:gd name="T56" fmla="*/ 79 w 246"/>
                  <a:gd name="T57" fmla="*/ 2 h 99"/>
                  <a:gd name="T58" fmla="*/ 78 w 246"/>
                  <a:gd name="T59" fmla="*/ 4 h 99"/>
                  <a:gd name="T60" fmla="*/ 77 w 246"/>
                  <a:gd name="T61" fmla="*/ 5 h 99"/>
                  <a:gd name="T62" fmla="*/ 76 w 246"/>
                  <a:gd name="T63" fmla="*/ 6 h 99"/>
                  <a:gd name="T64" fmla="*/ 74 w 246"/>
                  <a:gd name="T65" fmla="*/ 8 h 99"/>
                  <a:gd name="T66" fmla="*/ 69 w 246"/>
                  <a:gd name="T67" fmla="*/ 12 h 99"/>
                  <a:gd name="T68" fmla="*/ 64 w 246"/>
                  <a:gd name="T69" fmla="*/ 15 h 99"/>
                  <a:gd name="T70" fmla="*/ 58 w 246"/>
                  <a:gd name="T71" fmla="*/ 18 h 99"/>
                  <a:gd name="T72" fmla="*/ 52 w 246"/>
                  <a:gd name="T73" fmla="*/ 20 h 99"/>
                  <a:gd name="T74" fmla="*/ 49 w 246"/>
                  <a:gd name="T75" fmla="*/ 21 h 99"/>
                  <a:gd name="T76" fmla="*/ 46 w 246"/>
                  <a:gd name="T77" fmla="*/ 21 h 99"/>
                  <a:gd name="T78" fmla="*/ 43 w 246"/>
                  <a:gd name="T79" fmla="*/ 22 h 99"/>
                  <a:gd name="T80" fmla="*/ 40 w 246"/>
                  <a:gd name="T81" fmla="*/ 22 h 99"/>
                  <a:gd name="T82" fmla="*/ 39 w 246"/>
                  <a:gd name="T83" fmla="*/ 22 h 99"/>
                  <a:gd name="T84" fmla="*/ 35 w 246"/>
                  <a:gd name="T85" fmla="*/ 22 h 99"/>
                  <a:gd name="T86" fmla="*/ 32 w 246"/>
                  <a:gd name="T87" fmla="*/ 22 h 99"/>
                  <a:gd name="T88" fmla="*/ 30 w 246"/>
                  <a:gd name="T89" fmla="*/ 22 h 99"/>
                  <a:gd name="T90" fmla="*/ 28 w 246"/>
                  <a:gd name="T91" fmla="*/ 22 h 99"/>
                  <a:gd name="T92" fmla="*/ 26 w 246"/>
                  <a:gd name="T93" fmla="*/ 23 h 99"/>
                  <a:gd name="T94" fmla="*/ 23 w 246"/>
                  <a:gd name="T95" fmla="*/ 25 h 99"/>
                  <a:gd name="T96" fmla="*/ 20 w 246"/>
                  <a:gd name="T97" fmla="*/ 27 h 99"/>
                  <a:gd name="T98" fmla="*/ 17 w 246"/>
                  <a:gd name="T99" fmla="*/ 28 h 99"/>
                  <a:gd name="T100" fmla="*/ 14 w 246"/>
                  <a:gd name="T101" fmla="*/ 30 h 99"/>
                  <a:gd name="T102" fmla="*/ 11 w 246"/>
                  <a:gd name="T103" fmla="*/ 31 h 99"/>
                  <a:gd name="T104" fmla="*/ 9 w 246"/>
                  <a:gd name="T105" fmla="*/ 32 h 9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6" name="Freeform 424">
                <a:extLst>
                  <a:ext uri="{FF2B5EF4-FFF2-40B4-BE49-F238E27FC236}">
                    <a16:creationId xmlns:a16="http://schemas.microsoft.com/office/drawing/2014/main" id="{C5C368D6-CAB6-4D47-A746-BABC1D2EBC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11 w 233"/>
                  <a:gd name="T1" fmla="*/ 29 h 123"/>
                  <a:gd name="T2" fmla="*/ 3 w 233"/>
                  <a:gd name="T3" fmla="*/ 25 h 123"/>
                  <a:gd name="T4" fmla="*/ 0 w 233"/>
                  <a:gd name="T5" fmla="*/ 18 h 123"/>
                  <a:gd name="T6" fmla="*/ 7 w 233"/>
                  <a:gd name="T7" fmla="*/ 12 h 123"/>
                  <a:gd name="T8" fmla="*/ 13 w 233"/>
                  <a:gd name="T9" fmla="*/ 12 h 123"/>
                  <a:gd name="T10" fmla="*/ 20 w 233"/>
                  <a:gd name="T11" fmla="*/ 12 h 123"/>
                  <a:gd name="T12" fmla="*/ 23 w 233"/>
                  <a:gd name="T13" fmla="*/ 12 h 123"/>
                  <a:gd name="T14" fmla="*/ 27 w 233"/>
                  <a:gd name="T15" fmla="*/ 11 h 123"/>
                  <a:gd name="T16" fmla="*/ 34 w 233"/>
                  <a:gd name="T17" fmla="*/ 7 h 123"/>
                  <a:gd name="T18" fmla="*/ 40 w 233"/>
                  <a:gd name="T19" fmla="*/ 4 h 123"/>
                  <a:gd name="T20" fmla="*/ 48 w 233"/>
                  <a:gd name="T21" fmla="*/ 0 h 123"/>
                  <a:gd name="T22" fmla="*/ 53 w 233"/>
                  <a:gd name="T23" fmla="*/ 3 h 123"/>
                  <a:gd name="T24" fmla="*/ 59 w 233"/>
                  <a:gd name="T25" fmla="*/ 4 h 123"/>
                  <a:gd name="T26" fmla="*/ 62 w 233"/>
                  <a:gd name="T27" fmla="*/ 3 h 123"/>
                  <a:gd name="T28" fmla="*/ 66 w 233"/>
                  <a:gd name="T29" fmla="*/ 2 h 123"/>
                  <a:gd name="T30" fmla="*/ 69 w 233"/>
                  <a:gd name="T31" fmla="*/ 0 h 123"/>
                  <a:gd name="T32" fmla="*/ 76 w 233"/>
                  <a:gd name="T33" fmla="*/ 2 h 123"/>
                  <a:gd name="T34" fmla="*/ 74 w 233"/>
                  <a:gd name="T35" fmla="*/ 6 h 123"/>
                  <a:gd name="T36" fmla="*/ 71 w 233"/>
                  <a:gd name="T37" fmla="*/ 8 h 123"/>
                  <a:gd name="T38" fmla="*/ 68 w 233"/>
                  <a:gd name="T39" fmla="*/ 10 h 123"/>
                  <a:gd name="T40" fmla="*/ 66 w 233"/>
                  <a:gd name="T41" fmla="*/ 14 h 123"/>
                  <a:gd name="T42" fmla="*/ 67 w 233"/>
                  <a:gd name="T43" fmla="*/ 20 h 123"/>
                  <a:gd name="T44" fmla="*/ 60 w 233"/>
                  <a:gd name="T45" fmla="*/ 28 h 123"/>
                  <a:gd name="T46" fmla="*/ 51 w 233"/>
                  <a:gd name="T47" fmla="*/ 31 h 123"/>
                  <a:gd name="T48" fmla="*/ 45 w 233"/>
                  <a:gd name="T49" fmla="*/ 32 h 123"/>
                  <a:gd name="T50" fmla="*/ 38 w 233"/>
                  <a:gd name="T51" fmla="*/ 33 h 123"/>
                  <a:gd name="T52" fmla="*/ 31 w 233"/>
                  <a:gd name="T53" fmla="*/ 34 h 123"/>
                  <a:gd name="T54" fmla="*/ 27 w 233"/>
                  <a:gd name="T55" fmla="*/ 37 h 123"/>
                  <a:gd name="T56" fmla="*/ 22 w 233"/>
                  <a:gd name="T57" fmla="*/ 40 h 123"/>
                  <a:gd name="T58" fmla="*/ 19 w 233"/>
                  <a:gd name="T59" fmla="*/ 40 h 123"/>
                  <a:gd name="T60" fmla="*/ 17 w 233"/>
                  <a:gd name="T61" fmla="*/ 37 h 123"/>
                  <a:gd name="T62" fmla="*/ 16 w 233"/>
                  <a:gd name="T63" fmla="*/ 33 h 123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7" name="Freeform 425">
                <a:extLst>
                  <a:ext uri="{FF2B5EF4-FFF2-40B4-BE49-F238E27FC236}">
                    <a16:creationId xmlns:a16="http://schemas.microsoft.com/office/drawing/2014/main" id="{0FA6FB1F-D101-4170-9EBB-4CCF09881A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48 h 172"/>
                  <a:gd name="T2" fmla="*/ 1 w 484"/>
                  <a:gd name="T3" fmla="*/ 51 h 172"/>
                  <a:gd name="T4" fmla="*/ 3 w 484"/>
                  <a:gd name="T5" fmla="*/ 53 h 172"/>
                  <a:gd name="T6" fmla="*/ 6 w 484"/>
                  <a:gd name="T7" fmla="*/ 54 h 172"/>
                  <a:gd name="T8" fmla="*/ 10 w 484"/>
                  <a:gd name="T9" fmla="*/ 55 h 172"/>
                  <a:gd name="T10" fmla="*/ 17 w 484"/>
                  <a:gd name="T11" fmla="*/ 56 h 172"/>
                  <a:gd name="T12" fmla="*/ 24 w 484"/>
                  <a:gd name="T13" fmla="*/ 56 h 172"/>
                  <a:gd name="T14" fmla="*/ 32 w 484"/>
                  <a:gd name="T15" fmla="*/ 54 h 172"/>
                  <a:gd name="T16" fmla="*/ 45 w 484"/>
                  <a:gd name="T17" fmla="*/ 51 h 172"/>
                  <a:gd name="T18" fmla="*/ 61 w 484"/>
                  <a:gd name="T19" fmla="*/ 44 h 172"/>
                  <a:gd name="T20" fmla="*/ 78 w 484"/>
                  <a:gd name="T21" fmla="*/ 37 h 172"/>
                  <a:gd name="T22" fmla="*/ 93 w 484"/>
                  <a:gd name="T23" fmla="*/ 33 h 172"/>
                  <a:gd name="T24" fmla="*/ 114 w 484"/>
                  <a:gd name="T25" fmla="*/ 28 h 172"/>
                  <a:gd name="T26" fmla="*/ 130 w 484"/>
                  <a:gd name="T27" fmla="*/ 24 h 172"/>
                  <a:gd name="T28" fmla="*/ 141 w 484"/>
                  <a:gd name="T29" fmla="*/ 21 h 172"/>
                  <a:gd name="T30" fmla="*/ 150 w 484"/>
                  <a:gd name="T31" fmla="*/ 17 h 172"/>
                  <a:gd name="T32" fmla="*/ 154 w 484"/>
                  <a:gd name="T33" fmla="*/ 14 h 172"/>
                  <a:gd name="T34" fmla="*/ 156 w 484"/>
                  <a:gd name="T35" fmla="*/ 11 h 172"/>
                  <a:gd name="T36" fmla="*/ 146 w 484"/>
                  <a:gd name="T37" fmla="*/ 8 h 172"/>
                  <a:gd name="T38" fmla="*/ 126 w 484"/>
                  <a:gd name="T39" fmla="*/ 5 h 172"/>
                  <a:gd name="T40" fmla="*/ 107 w 484"/>
                  <a:gd name="T41" fmla="*/ 2 h 172"/>
                  <a:gd name="T42" fmla="*/ 88 w 484"/>
                  <a:gd name="T43" fmla="*/ 0 h 172"/>
                  <a:gd name="T44" fmla="*/ 73 w 484"/>
                  <a:gd name="T45" fmla="*/ 0 h 172"/>
                  <a:gd name="T46" fmla="*/ 66 w 484"/>
                  <a:gd name="T47" fmla="*/ 1 h 172"/>
                  <a:gd name="T48" fmla="*/ 60 w 484"/>
                  <a:gd name="T49" fmla="*/ 3 h 172"/>
                  <a:gd name="T50" fmla="*/ 57 w 484"/>
                  <a:gd name="T51" fmla="*/ 2 h 172"/>
                  <a:gd name="T52" fmla="*/ 55 w 484"/>
                  <a:gd name="T53" fmla="*/ 1 h 172"/>
                  <a:gd name="T54" fmla="*/ 54 w 484"/>
                  <a:gd name="T55" fmla="*/ 3 h 172"/>
                  <a:gd name="T56" fmla="*/ 52 w 484"/>
                  <a:gd name="T57" fmla="*/ 8 h 172"/>
                  <a:gd name="T58" fmla="*/ 50 w 484"/>
                  <a:gd name="T59" fmla="*/ 12 h 172"/>
                  <a:gd name="T60" fmla="*/ 47 w 484"/>
                  <a:gd name="T61" fmla="*/ 15 h 172"/>
                  <a:gd name="T62" fmla="*/ 41 w 484"/>
                  <a:gd name="T63" fmla="*/ 19 h 172"/>
                  <a:gd name="T64" fmla="*/ 31 w 484"/>
                  <a:gd name="T65" fmla="*/ 22 h 172"/>
                  <a:gd name="T66" fmla="*/ 21 w 484"/>
                  <a:gd name="T67" fmla="*/ 25 h 172"/>
                  <a:gd name="T68" fmla="*/ 12 w 484"/>
                  <a:gd name="T69" fmla="*/ 29 h 172"/>
                  <a:gd name="T70" fmla="*/ 6 w 484"/>
                  <a:gd name="T71" fmla="*/ 32 h 172"/>
                  <a:gd name="T72" fmla="*/ 3 w 484"/>
                  <a:gd name="T73" fmla="*/ 35 h 172"/>
                  <a:gd name="T74" fmla="*/ 1 w 484"/>
                  <a:gd name="T75" fmla="*/ 39 h 172"/>
                  <a:gd name="T76" fmla="*/ 0 w 484"/>
                  <a:gd name="T77" fmla="*/ 44 h 17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8" name="Freeform 426">
                <a:extLst>
                  <a:ext uri="{FF2B5EF4-FFF2-40B4-BE49-F238E27FC236}">
                    <a16:creationId xmlns:a16="http://schemas.microsoft.com/office/drawing/2014/main" id="{61099A5B-6FB6-41D6-BB1F-71040BACD4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102 w 684"/>
                  <a:gd name="T1" fmla="*/ 2 h 240"/>
                  <a:gd name="T2" fmla="*/ 98 w 684"/>
                  <a:gd name="T3" fmla="*/ 9 h 240"/>
                  <a:gd name="T4" fmla="*/ 96 w 684"/>
                  <a:gd name="T5" fmla="*/ 13 h 240"/>
                  <a:gd name="T6" fmla="*/ 97 w 684"/>
                  <a:gd name="T7" fmla="*/ 14 h 240"/>
                  <a:gd name="T8" fmla="*/ 109 w 684"/>
                  <a:gd name="T9" fmla="*/ 13 h 240"/>
                  <a:gd name="T10" fmla="*/ 120 w 684"/>
                  <a:gd name="T11" fmla="*/ 6 h 240"/>
                  <a:gd name="T12" fmla="*/ 122 w 684"/>
                  <a:gd name="T13" fmla="*/ 13 h 240"/>
                  <a:gd name="T14" fmla="*/ 122 w 684"/>
                  <a:gd name="T15" fmla="*/ 18 h 240"/>
                  <a:gd name="T16" fmla="*/ 131 w 684"/>
                  <a:gd name="T17" fmla="*/ 23 h 240"/>
                  <a:gd name="T18" fmla="*/ 165 w 684"/>
                  <a:gd name="T19" fmla="*/ 17 h 240"/>
                  <a:gd name="T20" fmla="*/ 166 w 684"/>
                  <a:gd name="T21" fmla="*/ 23 h 240"/>
                  <a:gd name="T22" fmla="*/ 175 w 684"/>
                  <a:gd name="T23" fmla="*/ 21 h 240"/>
                  <a:gd name="T24" fmla="*/ 180 w 684"/>
                  <a:gd name="T25" fmla="*/ 15 h 240"/>
                  <a:gd name="T26" fmla="*/ 180 w 684"/>
                  <a:gd name="T27" fmla="*/ 6 h 240"/>
                  <a:gd name="T28" fmla="*/ 182 w 684"/>
                  <a:gd name="T29" fmla="*/ 3 h 240"/>
                  <a:gd name="T30" fmla="*/ 187 w 684"/>
                  <a:gd name="T31" fmla="*/ 0 h 240"/>
                  <a:gd name="T32" fmla="*/ 202 w 684"/>
                  <a:gd name="T33" fmla="*/ 1 h 240"/>
                  <a:gd name="T34" fmla="*/ 208 w 684"/>
                  <a:gd name="T35" fmla="*/ 0 h 240"/>
                  <a:gd name="T36" fmla="*/ 212 w 684"/>
                  <a:gd name="T37" fmla="*/ 13 h 240"/>
                  <a:gd name="T38" fmla="*/ 211 w 684"/>
                  <a:gd name="T39" fmla="*/ 23 h 240"/>
                  <a:gd name="T40" fmla="*/ 206 w 684"/>
                  <a:gd name="T41" fmla="*/ 33 h 240"/>
                  <a:gd name="T42" fmla="*/ 200 w 684"/>
                  <a:gd name="T43" fmla="*/ 41 h 240"/>
                  <a:gd name="T44" fmla="*/ 209 w 684"/>
                  <a:gd name="T45" fmla="*/ 45 h 240"/>
                  <a:gd name="T46" fmla="*/ 217 w 684"/>
                  <a:gd name="T47" fmla="*/ 48 h 240"/>
                  <a:gd name="T48" fmla="*/ 221 w 684"/>
                  <a:gd name="T49" fmla="*/ 59 h 240"/>
                  <a:gd name="T50" fmla="*/ 206 w 684"/>
                  <a:gd name="T51" fmla="*/ 61 h 240"/>
                  <a:gd name="T52" fmla="*/ 196 w 684"/>
                  <a:gd name="T53" fmla="*/ 60 h 240"/>
                  <a:gd name="T54" fmla="*/ 185 w 684"/>
                  <a:gd name="T55" fmla="*/ 59 h 240"/>
                  <a:gd name="T56" fmla="*/ 182 w 684"/>
                  <a:gd name="T57" fmla="*/ 61 h 240"/>
                  <a:gd name="T58" fmla="*/ 175 w 684"/>
                  <a:gd name="T59" fmla="*/ 66 h 240"/>
                  <a:gd name="T60" fmla="*/ 169 w 684"/>
                  <a:gd name="T61" fmla="*/ 69 h 240"/>
                  <a:gd name="T62" fmla="*/ 159 w 684"/>
                  <a:gd name="T63" fmla="*/ 69 h 240"/>
                  <a:gd name="T64" fmla="*/ 146 w 684"/>
                  <a:gd name="T65" fmla="*/ 67 h 240"/>
                  <a:gd name="T66" fmla="*/ 136 w 684"/>
                  <a:gd name="T67" fmla="*/ 65 h 240"/>
                  <a:gd name="T68" fmla="*/ 109 w 684"/>
                  <a:gd name="T69" fmla="*/ 69 h 240"/>
                  <a:gd name="T70" fmla="*/ 75 w 684"/>
                  <a:gd name="T71" fmla="*/ 76 h 240"/>
                  <a:gd name="T72" fmla="*/ 55 w 684"/>
                  <a:gd name="T73" fmla="*/ 78 h 240"/>
                  <a:gd name="T74" fmla="*/ 40 w 684"/>
                  <a:gd name="T75" fmla="*/ 78 h 240"/>
                  <a:gd name="T76" fmla="*/ 32 w 684"/>
                  <a:gd name="T77" fmla="*/ 75 h 240"/>
                  <a:gd name="T78" fmla="*/ 22 w 684"/>
                  <a:gd name="T79" fmla="*/ 68 h 240"/>
                  <a:gd name="T80" fmla="*/ 9 w 684"/>
                  <a:gd name="T81" fmla="*/ 65 h 240"/>
                  <a:gd name="T82" fmla="*/ 0 w 684"/>
                  <a:gd name="T83" fmla="*/ 57 h 240"/>
                  <a:gd name="T84" fmla="*/ 21 w 684"/>
                  <a:gd name="T85" fmla="*/ 52 h 240"/>
                  <a:gd name="T86" fmla="*/ 32 w 684"/>
                  <a:gd name="T87" fmla="*/ 51 h 240"/>
                  <a:gd name="T88" fmla="*/ 50 w 684"/>
                  <a:gd name="T89" fmla="*/ 53 h 240"/>
                  <a:gd name="T90" fmla="*/ 65 w 684"/>
                  <a:gd name="T91" fmla="*/ 54 h 240"/>
                  <a:gd name="T92" fmla="*/ 72 w 684"/>
                  <a:gd name="T93" fmla="*/ 53 h 240"/>
                  <a:gd name="T94" fmla="*/ 8 w 684"/>
                  <a:gd name="T95" fmla="*/ 45 h 240"/>
                  <a:gd name="T96" fmla="*/ 17 w 684"/>
                  <a:gd name="T97" fmla="*/ 42 h 240"/>
                  <a:gd name="T98" fmla="*/ 35 w 684"/>
                  <a:gd name="T99" fmla="*/ 39 h 240"/>
                  <a:gd name="T100" fmla="*/ 53 w 684"/>
                  <a:gd name="T101" fmla="*/ 36 h 240"/>
                  <a:gd name="T102" fmla="*/ 60 w 684"/>
                  <a:gd name="T103" fmla="*/ 33 h 240"/>
                  <a:gd name="T104" fmla="*/ 54 w 684"/>
                  <a:gd name="T105" fmla="*/ 31 h 240"/>
                  <a:gd name="T106" fmla="*/ 40 w 684"/>
                  <a:gd name="T107" fmla="*/ 32 h 240"/>
                  <a:gd name="T108" fmla="*/ 23 w 684"/>
                  <a:gd name="T109" fmla="*/ 36 h 240"/>
                  <a:gd name="T110" fmla="*/ 17 w 684"/>
                  <a:gd name="T111" fmla="*/ 35 h 240"/>
                  <a:gd name="T112" fmla="*/ 18 w 684"/>
                  <a:gd name="T113" fmla="*/ 30 h 240"/>
                  <a:gd name="T114" fmla="*/ 17 w 684"/>
                  <a:gd name="T115" fmla="*/ 27 h 240"/>
                  <a:gd name="T116" fmla="*/ 19 w 684"/>
                  <a:gd name="T117" fmla="*/ 26 h 24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9" name="Freeform 427">
                <a:extLst>
                  <a:ext uri="{FF2B5EF4-FFF2-40B4-BE49-F238E27FC236}">
                    <a16:creationId xmlns:a16="http://schemas.microsoft.com/office/drawing/2014/main" id="{2512905E-4BA4-4091-9400-BF5FE18930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59 w 332"/>
                  <a:gd name="T1" fmla="*/ 12 h 287"/>
                  <a:gd name="T2" fmla="*/ 66 w 332"/>
                  <a:gd name="T3" fmla="*/ 8 h 287"/>
                  <a:gd name="T4" fmla="*/ 74 w 332"/>
                  <a:gd name="T5" fmla="*/ 2 h 287"/>
                  <a:gd name="T6" fmla="*/ 78 w 332"/>
                  <a:gd name="T7" fmla="*/ 0 h 287"/>
                  <a:gd name="T8" fmla="*/ 80 w 332"/>
                  <a:gd name="T9" fmla="*/ 0 h 287"/>
                  <a:gd name="T10" fmla="*/ 80 w 332"/>
                  <a:gd name="T11" fmla="*/ 4 h 287"/>
                  <a:gd name="T12" fmla="*/ 76 w 332"/>
                  <a:gd name="T13" fmla="*/ 11 h 287"/>
                  <a:gd name="T14" fmla="*/ 71 w 332"/>
                  <a:gd name="T15" fmla="*/ 18 h 287"/>
                  <a:gd name="T16" fmla="*/ 66 w 332"/>
                  <a:gd name="T17" fmla="*/ 22 h 287"/>
                  <a:gd name="T18" fmla="*/ 62 w 332"/>
                  <a:gd name="T19" fmla="*/ 23 h 287"/>
                  <a:gd name="T20" fmla="*/ 62 w 332"/>
                  <a:gd name="T21" fmla="*/ 24 h 287"/>
                  <a:gd name="T22" fmla="*/ 65 w 332"/>
                  <a:gd name="T23" fmla="*/ 24 h 287"/>
                  <a:gd name="T24" fmla="*/ 70 w 332"/>
                  <a:gd name="T25" fmla="*/ 23 h 287"/>
                  <a:gd name="T26" fmla="*/ 73 w 332"/>
                  <a:gd name="T27" fmla="*/ 25 h 287"/>
                  <a:gd name="T28" fmla="*/ 71 w 332"/>
                  <a:gd name="T29" fmla="*/ 29 h 287"/>
                  <a:gd name="T30" fmla="*/ 70 w 332"/>
                  <a:gd name="T31" fmla="*/ 31 h 287"/>
                  <a:gd name="T32" fmla="*/ 71 w 332"/>
                  <a:gd name="T33" fmla="*/ 34 h 287"/>
                  <a:gd name="T34" fmla="*/ 81 w 332"/>
                  <a:gd name="T35" fmla="*/ 37 h 287"/>
                  <a:gd name="T36" fmla="*/ 100 w 332"/>
                  <a:gd name="T37" fmla="*/ 40 h 287"/>
                  <a:gd name="T38" fmla="*/ 105 w 332"/>
                  <a:gd name="T39" fmla="*/ 42 h 287"/>
                  <a:gd name="T40" fmla="*/ 102 w 332"/>
                  <a:gd name="T41" fmla="*/ 45 h 287"/>
                  <a:gd name="T42" fmla="*/ 99 w 332"/>
                  <a:gd name="T43" fmla="*/ 48 h 287"/>
                  <a:gd name="T44" fmla="*/ 97 w 332"/>
                  <a:gd name="T45" fmla="*/ 50 h 287"/>
                  <a:gd name="T46" fmla="*/ 98 w 332"/>
                  <a:gd name="T47" fmla="*/ 52 h 287"/>
                  <a:gd name="T48" fmla="*/ 100 w 332"/>
                  <a:gd name="T49" fmla="*/ 54 h 287"/>
                  <a:gd name="T50" fmla="*/ 104 w 332"/>
                  <a:gd name="T51" fmla="*/ 57 h 287"/>
                  <a:gd name="T52" fmla="*/ 107 w 332"/>
                  <a:gd name="T53" fmla="*/ 60 h 287"/>
                  <a:gd name="T54" fmla="*/ 94 w 332"/>
                  <a:gd name="T55" fmla="*/ 68 h 287"/>
                  <a:gd name="T56" fmla="*/ 78 w 332"/>
                  <a:gd name="T57" fmla="*/ 78 h 287"/>
                  <a:gd name="T58" fmla="*/ 67 w 332"/>
                  <a:gd name="T59" fmla="*/ 87 h 287"/>
                  <a:gd name="T60" fmla="*/ 56 w 332"/>
                  <a:gd name="T61" fmla="*/ 79 h 287"/>
                  <a:gd name="T62" fmla="*/ 59 w 332"/>
                  <a:gd name="T63" fmla="*/ 79 h 287"/>
                  <a:gd name="T64" fmla="*/ 61 w 332"/>
                  <a:gd name="T65" fmla="*/ 78 h 287"/>
                  <a:gd name="T66" fmla="*/ 65 w 332"/>
                  <a:gd name="T67" fmla="*/ 75 h 287"/>
                  <a:gd name="T68" fmla="*/ 48 w 332"/>
                  <a:gd name="T69" fmla="*/ 75 h 287"/>
                  <a:gd name="T70" fmla="*/ 33 w 332"/>
                  <a:gd name="T71" fmla="*/ 75 h 287"/>
                  <a:gd name="T72" fmla="*/ 19 w 332"/>
                  <a:gd name="T73" fmla="*/ 75 h 287"/>
                  <a:gd name="T74" fmla="*/ 9 w 332"/>
                  <a:gd name="T75" fmla="*/ 75 h 287"/>
                  <a:gd name="T76" fmla="*/ 4 w 332"/>
                  <a:gd name="T77" fmla="*/ 74 h 287"/>
                  <a:gd name="T78" fmla="*/ 1 w 332"/>
                  <a:gd name="T79" fmla="*/ 72 h 287"/>
                  <a:gd name="T80" fmla="*/ 0 w 332"/>
                  <a:gd name="T81" fmla="*/ 69 h 287"/>
                  <a:gd name="T82" fmla="*/ 1 w 332"/>
                  <a:gd name="T83" fmla="*/ 66 h 287"/>
                  <a:gd name="T84" fmla="*/ 4 w 332"/>
                  <a:gd name="T85" fmla="*/ 64 h 287"/>
                  <a:gd name="T86" fmla="*/ 13 w 332"/>
                  <a:gd name="T87" fmla="*/ 58 h 287"/>
                  <a:gd name="T88" fmla="*/ 24 w 332"/>
                  <a:gd name="T89" fmla="*/ 52 h 287"/>
                  <a:gd name="T90" fmla="*/ 28 w 332"/>
                  <a:gd name="T91" fmla="*/ 49 h 287"/>
                  <a:gd name="T92" fmla="*/ 30 w 332"/>
                  <a:gd name="T93" fmla="*/ 47 h 287"/>
                  <a:gd name="T94" fmla="*/ 34 w 332"/>
                  <a:gd name="T95" fmla="*/ 42 h 287"/>
                  <a:gd name="T96" fmla="*/ 38 w 332"/>
                  <a:gd name="T97" fmla="*/ 37 h 287"/>
                  <a:gd name="T98" fmla="*/ 42 w 332"/>
                  <a:gd name="T99" fmla="*/ 26 h 287"/>
                  <a:gd name="T100" fmla="*/ 45 w 332"/>
                  <a:gd name="T101" fmla="*/ 21 h 287"/>
                  <a:gd name="T102" fmla="*/ 48 w 332"/>
                  <a:gd name="T103" fmla="*/ 17 h 287"/>
                  <a:gd name="T104" fmla="*/ 51 w 332"/>
                  <a:gd name="T105" fmla="*/ 14 h 287"/>
                  <a:gd name="T106" fmla="*/ 56 w 332"/>
                  <a:gd name="T107" fmla="*/ 13 h 28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0" name="Freeform 428">
                <a:extLst>
                  <a:ext uri="{FF2B5EF4-FFF2-40B4-BE49-F238E27FC236}">
                    <a16:creationId xmlns:a16="http://schemas.microsoft.com/office/drawing/2014/main" id="{C2DD4410-9B3C-4E6A-804D-B4C57FABAC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34 w 345"/>
                  <a:gd name="T1" fmla="*/ 27 h 86"/>
                  <a:gd name="T2" fmla="*/ 38 w 345"/>
                  <a:gd name="T3" fmla="*/ 25 h 86"/>
                  <a:gd name="T4" fmla="*/ 43 w 345"/>
                  <a:gd name="T5" fmla="*/ 24 h 86"/>
                  <a:gd name="T6" fmla="*/ 48 w 345"/>
                  <a:gd name="T7" fmla="*/ 23 h 86"/>
                  <a:gd name="T8" fmla="*/ 53 w 345"/>
                  <a:gd name="T9" fmla="*/ 22 h 86"/>
                  <a:gd name="T10" fmla="*/ 63 w 345"/>
                  <a:gd name="T11" fmla="*/ 20 h 86"/>
                  <a:gd name="T12" fmla="*/ 74 w 345"/>
                  <a:gd name="T13" fmla="*/ 18 h 86"/>
                  <a:gd name="T14" fmla="*/ 79 w 345"/>
                  <a:gd name="T15" fmla="*/ 17 h 86"/>
                  <a:gd name="T16" fmla="*/ 85 w 345"/>
                  <a:gd name="T17" fmla="*/ 16 h 86"/>
                  <a:gd name="T18" fmla="*/ 90 w 345"/>
                  <a:gd name="T19" fmla="*/ 14 h 86"/>
                  <a:gd name="T20" fmla="*/ 95 w 345"/>
                  <a:gd name="T21" fmla="*/ 13 h 86"/>
                  <a:gd name="T22" fmla="*/ 99 w 345"/>
                  <a:gd name="T23" fmla="*/ 11 h 86"/>
                  <a:gd name="T24" fmla="*/ 104 w 345"/>
                  <a:gd name="T25" fmla="*/ 9 h 86"/>
                  <a:gd name="T26" fmla="*/ 107 w 345"/>
                  <a:gd name="T27" fmla="*/ 7 h 86"/>
                  <a:gd name="T28" fmla="*/ 111 w 345"/>
                  <a:gd name="T29" fmla="*/ 4 h 86"/>
                  <a:gd name="T30" fmla="*/ 108 w 345"/>
                  <a:gd name="T31" fmla="*/ 4 h 86"/>
                  <a:gd name="T32" fmla="*/ 105 w 345"/>
                  <a:gd name="T33" fmla="*/ 3 h 86"/>
                  <a:gd name="T34" fmla="*/ 102 w 345"/>
                  <a:gd name="T35" fmla="*/ 3 h 86"/>
                  <a:gd name="T36" fmla="*/ 99 w 345"/>
                  <a:gd name="T37" fmla="*/ 2 h 86"/>
                  <a:gd name="T38" fmla="*/ 97 w 345"/>
                  <a:gd name="T39" fmla="*/ 1 h 86"/>
                  <a:gd name="T40" fmla="*/ 94 w 345"/>
                  <a:gd name="T41" fmla="*/ 1 h 86"/>
                  <a:gd name="T42" fmla="*/ 90 w 345"/>
                  <a:gd name="T43" fmla="*/ 0 h 86"/>
                  <a:gd name="T44" fmla="*/ 88 w 345"/>
                  <a:gd name="T45" fmla="*/ 0 h 86"/>
                  <a:gd name="T46" fmla="*/ 83 w 345"/>
                  <a:gd name="T47" fmla="*/ 0 h 86"/>
                  <a:gd name="T48" fmla="*/ 79 w 345"/>
                  <a:gd name="T49" fmla="*/ 1 h 86"/>
                  <a:gd name="T50" fmla="*/ 73 w 345"/>
                  <a:gd name="T51" fmla="*/ 2 h 86"/>
                  <a:gd name="T52" fmla="*/ 67 w 345"/>
                  <a:gd name="T53" fmla="*/ 3 h 86"/>
                  <a:gd name="T54" fmla="*/ 54 w 345"/>
                  <a:gd name="T55" fmla="*/ 6 h 86"/>
                  <a:gd name="T56" fmla="*/ 41 w 345"/>
                  <a:gd name="T57" fmla="*/ 9 h 86"/>
                  <a:gd name="T58" fmla="*/ 33 w 345"/>
                  <a:gd name="T59" fmla="*/ 11 h 86"/>
                  <a:gd name="T60" fmla="*/ 27 w 345"/>
                  <a:gd name="T61" fmla="*/ 13 h 86"/>
                  <a:gd name="T62" fmla="*/ 21 w 345"/>
                  <a:gd name="T63" fmla="*/ 16 h 86"/>
                  <a:gd name="T64" fmla="*/ 15 w 345"/>
                  <a:gd name="T65" fmla="*/ 18 h 86"/>
                  <a:gd name="T66" fmla="*/ 10 w 345"/>
                  <a:gd name="T67" fmla="*/ 20 h 86"/>
                  <a:gd name="T68" fmla="*/ 6 w 345"/>
                  <a:gd name="T69" fmla="*/ 23 h 86"/>
                  <a:gd name="T70" fmla="*/ 3 w 345"/>
                  <a:gd name="T71" fmla="*/ 25 h 86"/>
                  <a:gd name="T72" fmla="*/ 0 w 345"/>
                  <a:gd name="T73" fmla="*/ 27 h 86"/>
                  <a:gd name="T74" fmla="*/ 34 w 345"/>
                  <a:gd name="T75" fmla="*/ 27 h 8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1" name="Freeform 429">
                <a:extLst>
                  <a:ext uri="{FF2B5EF4-FFF2-40B4-BE49-F238E27FC236}">
                    <a16:creationId xmlns:a16="http://schemas.microsoft.com/office/drawing/2014/main" id="{C97A998B-8C4F-4509-ACC2-694045ADAF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6 w 464"/>
                  <a:gd name="T1" fmla="*/ 28 h 130"/>
                  <a:gd name="T2" fmla="*/ 25 w 464"/>
                  <a:gd name="T3" fmla="*/ 27 h 130"/>
                  <a:gd name="T4" fmla="*/ 33 w 464"/>
                  <a:gd name="T5" fmla="*/ 27 h 130"/>
                  <a:gd name="T6" fmla="*/ 30 w 464"/>
                  <a:gd name="T7" fmla="*/ 29 h 130"/>
                  <a:gd name="T8" fmla="*/ 26 w 464"/>
                  <a:gd name="T9" fmla="*/ 33 h 130"/>
                  <a:gd name="T10" fmla="*/ 23 w 464"/>
                  <a:gd name="T11" fmla="*/ 37 h 130"/>
                  <a:gd name="T12" fmla="*/ 23 w 464"/>
                  <a:gd name="T13" fmla="*/ 39 h 130"/>
                  <a:gd name="T14" fmla="*/ 25 w 464"/>
                  <a:gd name="T15" fmla="*/ 41 h 130"/>
                  <a:gd name="T16" fmla="*/ 30 w 464"/>
                  <a:gd name="T17" fmla="*/ 43 h 130"/>
                  <a:gd name="T18" fmla="*/ 35 w 464"/>
                  <a:gd name="T19" fmla="*/ 43 h 130"/>
                  <a:gd name="T20" fmla="*/ 41 w 464"/>
                  <a:gd name="T21" fmla="*/ 42 h 130"/>
                  <a:gd name="T22" fmla="*/ 50 w 464"/>
                  <a:gd name="T23" fmla="*/ 39 h 130"/>
                  <a:gd name="T24" fmla="*/ 63 w 464"/>
                  <a:gd name="T25" fmla="*/ 36 h 130"/>
                  <a:gd name="T26" fmla="*/ 73 w 464"/>
                  <a:gd name="T27" fmla="*/ 33 h 130"/>
                  <a:gd name="T28" fmla="*/ 80 w 464"/>
                  <a:gd name="T29" fmla="*/ 33 h 130"/>
                  <a:gd name="T30" fmla="*/ 85 w 464"/>
                  <a:gd name="T31" fmla="*/ 33 h 130"/>
                  <a:gd name="T32" fmla="*/ 98 w 464"/>
                  <a:gd name="T33" fmla="*/ 33 h 130"/>
                  <a:gd name="T34" fmla="*/ 107 w 464"/>
                  <a:gd name="T35" fmla="*/ 32 h 130"/>
                  <a:gd name="T36" fmla="*/ 121 w 464"/>
                  <a:gd name="T37" fmla="*/ 31 h 130"/>
                  <a:gd name="T38" fmla="*/ 133 w 464"/>
                  <a:gd name="T39" fmla="*/ 27 h 130"/>
                  <a:gd name="T40" fmla="*/ 144 w 464"/>
                  <a:gd name="T41" fmla="*/ 22 h 130"/>
                  <a:gd name="T42" fmla="*/ 146 w 464"/>
                  <a:gd name="T43" fmla="*/ 17 h 130"/>
                  <a:gd name="T44" fmla="*/ 141 w 464"/>
                  <a:gd name="T45" fmla="*/ 16 h 130"/>
                  <a:gd name="T46" fmla="*/ 133 w 464"/>
                  <a:gd name="T47" fmla="*/ 16 h 130"/>
                  <a:gd name="T48" fmla="*/ 127 w 464"/>
                  <a:gd name="T49" fmla="*/ 15 h 130"/>
                  <a:gd name="T50" fmla="*/ 130 w 464"/>
                  <a:gd name="T51" fmla="*/ 12 h 130"/>
                  <a:gd name="T52" fmla="*/ 133 w 464"/>
                  <a:gd name="T53" fmla="*/ 7 h 130"/>
                  <a:gd name="T54" fmla="*/ 134 w 464"/>
                  <a:gd name="T55" fmla="*/ 2 h 130"/>
                  <a:gd name="T56" fmla="*/ 121 w 464"/>
                  <a:gd name="T57" fmla="*/ 0 h 130"/>
                  <a:gd name="T58" fmla="*/ 116 w 464"/>
                  <a:gd name="T59" fmla="*/ 6 h 130"/>
                  <a:gd name="T60" fmla="*/ 110 w 464"/>
                  <a:gd name="T61" fmla="*/ 14 h 130"/>
                  <a:gd name="T62" fmla="*/ 104 w 464"/>
                  <a:gd name="T63" fmla="*/ 20 h 130"/>
                  <a:gd name="T64" fmla="*/ 100 w 464"/>
                  <a:gd name="T65" fmla="*/ 22 h 130"/>
                  <a:gd name="T66" fmla="*/ 96 w 464"/>
                  <a:gd name="T67" fmla="*/ 22 h 130"/>
                  <a:gd name="T68" fmla="*/ 89 w 464"/>
                  <a:gd name="T69" fmla="*/ 22 h 130"/>
                  <a:gd name="T70" fmla="*/ 84 w 464"/>
                  <a:gd name="T71" fmla="*/ 21 h 130"/>
                  <a:gd name="T72" fmla="*/ 77 w 464"/>
                  <a:gd name="T73" fmla="*/ 18 h 130"/>
                  <a:gd name="T74" fmla="*/ 66 w 464"/>
                  <a:gd name="T75" fmla="*/ 10 h 130"/>
                  <a:gd name="T76" fmla="*/ 58 w 464"/>
                  <a:gd name="T77" fmla="*/ 10 h 130"/>
                  <a:gd name="T78" fmla="*/ 48 w 464"/>
                  <a:gd name="T79" fmla="*/ 10 h 130"/>
                  <a:gd name="T80" fmla="*/ 38 w 464"/>
                  <a:gd name="T81" fmla="*/ 12 h 130"/>
                  <a:gd name="T82" fmla="*/ 27 w 464"/>
                  <a:gd name="T83" fmla="*/ 15 h 130"/>
                  <a:gd name="T84" fmla="*/ 17 w 464"/>
                  <a:gd name="T85" fmla="*/ 18 h 130"/>
                  <a:gd name="T86" fmla="*/ 9 w 464"/>
                  <a:gd name="T87" fmla="*/ 22 h 130"/>
                  <a:gd name="T88" fmla="*/ 3 w 464"/>
                  <a:gd name="T89" fmla="*/ 25 h 130"/>
                  <a:gd name="T90" fmla="*/ 0 w 464"/>
                  <a:gd name="T91" fmla="*/ 28 h 13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2" name="Freeform 430">
                <a:extLst>
                  <a:ext uri="{FF2B5EF4-FFF2-40B4-BE49-F238E27FC236}">
                    <a16:creationId xmlns:a16="http://schemas.microsoft.com/office/drawing/2014/main" id="{74417FE1-0A60-496C-A638-D0B3289777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20 w 472"/>
                  <a:gd name="T1" fmla="*/ 0 h 92"/>
                  <a:gd name="T2" fmla="*/ 14 w 472"/>
                  <a:gd name="T3" fmla="*/ 0 h 92"/>
                  <a:gd name="T4" fmla="*/ 8 w 472"/>
                  <a:gd name="T5" fmla="*/ 0 h 92"/>
                  <a:gd name="T6" fmla="*/ 4 w 472"/>
                  <a:gd name="T7" fmla="*/ 1 h 92"/>
                  <a:gd name="T8" fmla="*/ 2 w 472"/>
                  <a:gd name="T9" fmla="*/ 3 h 92"/>
                  <a:gd name="T10" fmla="*/ 2 w 472"/>
                  <a:gd name="T11" fmla="*/ 5 h 92"/>
                  <a:gd name="T12" fmla="*/ 3 w 472"/>
                  <a:gd name="T13" fmla="*/ 8 h 92"/>
                  <a:gd name="T14" fmla="*/ 5 w 472"/>
                  <a:gd name="T15" fmla="*/ 11 h 92"/>
                  <a:gd name="T16" fmla="*/ 5 w 472"/>
                  <a:gd name="T17" fmla="*/ 14 h 92"/>
                  <a:gd name="T18" fmla="*/ 1 w 472"/>
                  <a:gd name="T19" fmla="*/ 17 h 92"/>
                  <a:gd name="T20" fmla="*/ 0 w 472"/>
                  <a:gd name="T21" fmla="*/ 19 h 92"/>
                  <a:gd name="T22" fmla="*/ 1 w 472"/>
                  <a:gd name="T23" fmla="*/ 22 h 92"/>
                  <a:gd name="T24" fmla="*/ 5 w 472"/>
                  <a:gd name="T25" fmla="*/ 23 h 92"/>
                  <a:gd name="T26" fmla="*/ 16 w 472"/>
                  <a:gd name="T27" fmla="*/ 26 h 92"/>
                  <a:gd name="T28" fmla="*/ 35 w 472"/>
                  <a:gd name="T29" fmla="*/ 29 h 92"/>
                  <a:gd name="T30" fmla="*/ 54 w 472"/>
                  <a:gd name="T31" fmla="*/ 31 h 92"/>
                  <a:gd name="T32" fmla="*/ 118 w 472"/>
                  <a:gd name="T33" fmla="*/ 31 h 92"/>
                  <a:gd name="T34" fmla="*/ 121 w 472"/>
                  <a:gd name="T35" fmla="*/ 27 h 92"/>
                  <a:gd name="T36" fmla="*/ 125 w 472"/>
                  <a:gd name="T37" fmla="*/ 25 h 92"/>
                  <a:gd name="T38" fmla="*/ 129 w 472"/>
                  <a:gd name="T39" fmla="*/ 25 h 92"/>
                  <a:gd name="T40" fmla="*/ 133 w 472"/>
                  <a:gd name="T41" fmla="*/ 25 h 92"/>
                  <a:gd name="T42" fmla="*/ 143 w 472"/>
                  <a:gd name="T43" fmla="*/ 26 h 92"/>
                  <a:gd name="T44" fmla="*/ 148 w 472"/>
                  <a:gd name="T45" fmla="*/ 26 h 92"/>
                  <a:gd name="T46" fmla="*/ 153 w 472"/>
                  <a:gd name="T47" fmla="*/ 25 h 92"/>
                  <a:gd name="T48" fmla="*/ 151 w 472"/>
                  <a:gd name="T49" fmla="*/ 11 h 92"/>
                  <a:gd name="T50" fmla="*/ 147 w 472"/>
                  <a:gd name="T51" fmla="*/ 9 h 92"/>
                  <a:gd name="T52" fmla="*/ 144 w 472"/>
                  <a:gd name="T53" fmla="*/ 6 h 92"/>
                  <a:gd name="T54" fmla="*/ 140 w 472"/>
                  <a:gd name="T55" fmla="*/ 4 h 92"/>
                  <a:gd name="T56" fmla="*/ 135 w 472"/>
                  <a:gd name="T57" fmla="*/ 4 h 92"/>
                  <a:gd name="T58" fmla="*/ 128 w 472"/>
                  <a:gd name="T59" fmla="*/ 5 h 92"/>
                  <a:gd name="T60" fmla="*/ 119 w 472"/>
                  <a:gd name="T61" fmla="*/ 7 h 92"/>
                  <a:gd name="T62" fmla="*/ 106 w 472"/>
                  <a:gd name="T63" fmla="*/ 11 h 92"/>
                  <a:gd name="T64" fmla="*/ 97 w 472"/>
                  <a:gd name="T65" fmla="*/ 13 h 92"/>
                  <a:gd name="T66" fmla="*/ 89 w 472"/>
                  <a:gd name="T67" fmla="*/ 14 h 92"/>
                  <a:gd name="T68" fmla="*/ 77 w 472"/>
                  <a:gd name="T69" fmla="*/ 14 h 92"/>
                  <a:gd name="T70" fmla="*/ 62 w 472"/>
                  <a:gd name="T71" fmla="*/ 14 h 92"/>
                  <a:gd name="T72" fmla="*/ 51 w 472"/>
                  <a:gd name="T73" fmla="*/ 14 h 92"/>
                  <a:gd name="T74" fmla="*/ 39 w 472"/>
                  <a:gd name="T75" fmla="*/ 14 h 92"/>
                  <a:gd name="T76" fmla="*/ 29 w 472"/>
                  <a:gd name="T77" fmla="*/ 14 h 92"/>
                  <a:gd name="T78" fmla="*/ 25 w 472"/>
                  <a:gd name="T79" fmla="*/ 12 h 92"/>
                  <a:gd name="T80" fmla="*/ 23 w 472"/>
                  <a:gd name="T81" fmla="*/ 9 h 92"/>
                  <a:gd name="T82" fmla="*/ 22 w 472"/>
                  <a:gd name="T83" fmla="*/ 6 h 92"/>
                  <a:gd name="T84" fmla="*/ 22 w 472"/>
                  <a:gd name="T85" fmla="*/ 3 h 92"/>
                  <a:gd name="T86" fmla="*/ 24 w 472"/>
                  <a:gd name="T87" fmla="*/ 1 h 92"/>
                  <a:gd name="T88" fmla="*/ 24 w 472"/>
                  <a:gd name="T89" fmla="*/ 0 h 92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3" name="Freeform 431">
                <a:extLst>
                  <a:ext uri="{FF2B5EF4-FFF2-40B4-BE49-F238E27FC236}">
                    <a16:creationId xmlns:a16="http://schemas.microsoft.com/office/drawing/2014/main" id="{4D36B180-3099-49F2-8BCE-62674B0189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47 w 326"/>
                  <a:gd name="T1" fmla="*/ 36 h 135"/>
                  <a:gd name="T2" fmla="*/ 66 w 326"/>
                  <a:gd name="T3" fmla="*/ 32 h 135"/>
                  <a:gd name="T4" fmla="*/ 85 w 326"/>
                  <a:gd name="T5" fmla="*/ 28 h 135"/>
                  <a:gd name="T6" fmla="*/ 98 w 326"/>
                  <a:gd name="T7" fmla="*/ 25 h 135"/>
                  <a:gd name="T8" fmla="*/ 103 w 326"/>
                  <a:gd name="T9" fmla="*/ 22 h 135"/>
                  <a:gd name="T10" fmla="*/ 105 w 326"/>
                  <a:gd name="T11" fmla="*/ 19 h 135"/>
                  <a:gd name="T12" fmla="*/ 101 w 326"/>
                  <a:gd name="T13" fmla="*/ 16 h 135"/>
                  <a:gd name="T14" fmla="*/ 98 w 326"/>
                  <a:gd name="T15" fmla="*/ 14 h 135"/>
                  <a:gd name="T16" fmla="*/ 93 w 326"/>
                  <a:gd name="T17" fmla="*/ 12 h 135"/>
                  <a:gd name="T18" fmla="*/ 86 w 326"/>
                  <a:gd name="T19" fmla="*/ 11 h 135"/>
                  <a:gd name="T20" fmla="*/ 75 w 326"/>
                  <a:gd name="T21" fmla="*/ 10 h 135"/>
                  <a:gd name="T22" fmla="*/ 68 w 326"/>
                  <a:gd name="T23" fmla="*/ 10 h 135"/>
                  <a:gd name="T24" fmla="*/ 66 w 326"/>
                  <a:gd name="T25" fmla="*/ 8 h 135"/>
                  <a:gd name="T26" fmla="*/ 64 w 326"/>
                  <a:gd name="T27" fmla="*/ 6 h 135"/>
                  <a:gd name="T28" fmla="*/ 62 w 326"/>
                  <a:gd name="T29" fmla="*/ 3 h 135"/>
                  <a:gd name="T30" fmla="*/ 59 w 326"/>
                  <a:gd name="T31" fmla="*/ 2 h 135"/>
                  <a:gd name="T32" fmla="*/ 53 w 326"/>
                  <a:gd name="T33" fmla="*/ 0 h 135"/>
                  <a:gd name="T34" fmla="*/ 44 w 326"/>
                  <a:gd name="T35" fmla="*/ 0 h 135"/>
                  <a:gd name="T36" fmla="*/ 28 w 326"/>
                  <a:gd name="T37" fmla="*/ 3 h 135"/>
                  <a:gd name="T38" fmla="*/ 16 w 326"/>
                  <a:gd name="T39" fmla="*/ 6 h 135"/>
                  <a:gd name="T40" fmla="*/ 9 w 326"/>
                  <a:gd name="T41" fmla="*/ 9 h 135"/>
                  <a:gd name="T42" fmla="*/ 4 w 326"/>
                  <a:gd name="T43" fmla="*/ 12 h 135"/>
                  <a:gd name="T44" fmla="*/ 1 w 326"/>
                  <a:gd name="T45" fmla="*/ 15 h 135"/>
                  <a:gd name="T46" fmla="*/ 0 w 326"/>
                  <a:gd name="T47" fmla="*/ 17 h 135"/>
                  <a:gd name="T48" fmla="*/ 11 w 326"/>
                  <a:gd name="T49" fmla="*/ 25 h 135"/>
                  <a:gd name="T50" fmla="*/ 18 w 326"/>
                  <a:gd name="T51" fmla="*/ 27 h 135"/>
                  <a:gd name="T52" fmla="*/ 13 w 326"/>
                  <a:gd name="T53" fmla="*/ 30 h 135"/>
                  <a:gd name="T54" fmla="*/ 12 w 326"/>
                  <a:gd name="T55" fmla="*/ 33 h 135"/>
                  <a:gd name="T56" fmla="*/ 14 w 326"/>
                  <a:gd name="T57" fmla="*/ 38 h 135"/>
                  <a:gd name="T58" fmla="*/ 16 w 326"/>
                  <a:gd name="T59" fmla="*/ 43 h 135"/>
                  <a:gd name="T60" fmla="*/ 18 w 326"/>
                  <a:gd name="T61" fmla="*/ 45 h 135"/>
                  <a:gd name="T62" fmla="*/ 22 w 326"/>
                  <a:gd name="T63" fmla="*/ 45 h 135"/>
                  <a:gd name="T64" fmla="*/ 28 w 326"/>
                  <a:gd name="T65" fmla="*/ 44 h 135"/>
                  <a:gd name="T66" fmla="*/ 33 w 326"/>
                  <a:gd name="T67" fmla="*/ 42 h 135"/>
                  <a:gd name="T68" fmla="*/ 38 w 326"/>
                  <a:gd name="T69" fmla="*/ 41 h 135"/>
                  <a:gd name="T70" fmla="*/ 39 w 326"/>
                  <a:gd name="T71" fmla="*/ 37 h 135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4" name="Freeform 432">
                <a:extLst>
                  <a:ext uri="{FF2B5EF4-FFF2-40B4-BE49-F238E27FC236}">
                    <a16:creationId xmlns:a16="http://schemas.microsoft.com/office/drawing/2014/main" id="{A092C4B5-CDC5-448F-8D8D-7CF57E5BE9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15 w 159"/>
                  <a:gd name="T1" fmla="*/ 17 h 56"/>
                  <a:gd name="T2" fmla="*/ 13 w 159"/>
                  <a:gd name="T3" fmla="*/ 17 h 56"/>
                  <a:gd name="T4" fmla="*/ 11 w 159"/>
                  <a:gd name="T5" fmla="*/ 16 h 56"/>
                  <a:gd name="T6" fmla="*/ 8 w 159"/>
                  <a:gd name="T7" fmla="*/ 14 h 56"/>
                  <a:gd name="T8" fmla="*/ 6 w 159"/>
                  <a:gd name="T9" fmla="*/ 12 h 56"/>
                  <a:gd name="T10" fmla="*/ 3 w 159"/>
                  <a:gd name="T11" fmla="*/ 10 h 56"/>
                  <a:gd name="T12" fmla="*/ 2 w 159"/>
                  <a:gd name="T13" fmla="*/ 8 h 56"/>
                  <a:gd name="T14" fmla="*/ 1 w 159"/>
                  <a:gd name="T15" fmla="*/ 7 h 56"/>
                  <a:gd name="T16" fmla="*/ 0 w 159"/>
                  <a:gd name="T17" fmla="*/ 5 h 56"/>
                  <a:gd name="T18" fmla="*/ 0 w 159"/>
                  <a:gd name="T19" fmla="*/ 4 h 56"/>
                  <a:gd name="T20" fmla="*/ 0 w 159"/>
                  <a:gd name="T21" fmla="*/ 3 h 56"/>
                  <a:gd name="T22" fmla="*/ 7 w 159"/>
                  <a:gd name="T23" fmla="*/ 3 h 56"/>
                  <a:gd name="T24" fmla="*/ 13 w 159"/>
                  <a:gd name="T25" fmla="*/ 3 h 56"/>
                  <a:gd name="T26" fmla="*/ 17 w 159"/>
                  <a:gd name="T27" fmla="*/ 3 h 56"/>
                  <a:gd name="T28" fmla="*/ 19 w 159"/>
                  <a:gd name="T29" fmla="*/ 3 h 56"/>
                  <a:gd name="T30" fmla="*/ 27 w 159"/>
                  <a:gd name="T31" fmla="*/ 2 h 56"/>
                  <a:gd name="T32" fmla="*/ 38 w 159"/>
                  <a:gd name="T33" fmla="*/ 0 h 56"/>
                  <a:gd name="T34" fmla="*/ 40 w 159"/>
                  <a:gd name="T35" fmla="*/ 0 h 56"/>
                  <a:gd name="T36" fmla="*/ 42 w 159"/>
                  <a:gd name="T37" fmla="*/ 0 h 56"/>
                  <a:gd name="T38" fmla="*/ 45 w 159"/>
                  <a:gd name="T39" fmla="*/ 0 h 56"/>
                  <a:gd name="T40" fmla="*/ 47 w 159"/>
                  <a:gd name="T41" fmla="*/ 1 h 56"/>
                  <a:gd name="T42" fmla="*/ 48 w 159"/>
                  <a:gd name="T43" fmla="*/ 2 h 56"/>
                  <a:gd name="T44" fmla="*/ 50 w 159"/>
                  <a:gd name="T45" fmla="*/ 3 h 56"/>
                  <a:gd name="T46" fmla="*/ 51 w 159"/>
                  <a:gd name="T47" fmla="*/ 5 h 56"/>
                  <a:gd name="T48" fmla="*/ 51 w 159"/>
                  <a:gd name="T49" fmla="*/ 7 h 56"/>
                  <a:gd name="T50" fmla="*/ 51 w 159"/>
                  <a:gd name="T51" fmla="*/ 10 h 56"/>
                  <a:gd name="T52" fmla="*/ 50 w 159"/>
                  <a:gd name="T53" fmla="*/ 12 h 56"/>
                  <a:gd name="T54" fmla="*/ 48 w 159"/>
                  <a:gd name="T55" fmla="*/ 14 h 56"/>
                  <a:gd name="T56" fmla="*/ 47 w 159"/>
                  <a:gd name="T57" fmla="*/ 15 h 56"/>
                  <a:gd name="T58" fmla="*/ 45 w 159"/>
                  <a:gd name="T59" fmla="*/ 17 h 56"/>
                  <a:gd name="T60" fmla="*/ 42 w 159"/>
                  <a:gd name="T61" fmla="*/ 17 h 56"/>
                  <a:gd name="T62" fmla="*/ 40 w 159"/>
                  <a:gd name="T63" fmla="*/ 18 h 56"/>
                  <a:gd name="T64" fmla="*/ 37 w 159"/>
                  <a:gd name="T65" fmla="*/ 18 h 56"/>
                  <a:gd name="T66" fmla="*/ 25 w 159"/>
                  <a:gd name="T67" fmla="*/ 18 h 56"/>
                  <a:gd name="T68" fmla="*/ 15 w 159"/>
                  <a:gd name="T69" fmla="*/ 17 h 5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5" name="Freeform 433">
                <a:extLst>
                  <a:ext uri="{FF2B5EF4-FFF2-40B4-BE49-F238E27FC236}">
                    <a16:creationId xmlns:a16="http://schemas.microsoft.com/office/drawing/2014/main" id="{3664372E-D141-4287-9187-2FCD4A1F9A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946 w 3734"/>
                  <a:gd name="T1" fmla="*/ 447 h 1644"/>
                  <a:gd name="T2" fmla="*/ 825 w 3734"/>
                  <a:gd name="T3" fmla="*/ 499 h 1644"/>
                  <a:gd name="T4" fmla="*/ 746 w 3734"/>
                  <a:gd name="T5" fmla="*/ 522 h 1644"/>
                  <a:gd name="T6" fmla="*/ 740 w 3734"/>
                  <a:gd name="T7" fmla="*/ 536 h 1644"/>
                  <a:gd name="T8" fmla="*/ 703 w 3734"/>
                  <a:gd name="T9" fmla="*/ 527 h 1644"/>
                  <a:gd name="T10" fmla="*/ 735 w 3734"/>
                  <a:gd name="T11" fmla="*/ 496 h 1644"/>
                  <a:gd name="T12" fmla="*/ 699 w 3734"/>
                  <a:gd name="T13" fmla="*/ 464 h 1644"/>
                  <a:gd name="T14" fmla="*/ 676 w 3734"/>
                  <a:gd name="T15" fmla="*/ 425 h 1644"/>
                  <a:gd name="T16" fmla="*/ 628 w 3734"/>
                  <a:gd name="T17" fmla="*/ 432 h 1644"/>
                  <a:gd name="T18" fmla="*/ 572 w 3734"/>
                  <a:gd name="T19" fmla="*/ 420 h 1644"/>
                  <a:gd name="T20" fmla="*/ 84 w 3734"/>
                  <a:gd name="T21" fmla="*/ 405 h 1644"/>
                  <a:gd name="T22" fmla="*/ 41 w 3734"/>
                  <a:gd name="T23" fmla="*/ 369 h 1644"/>
                  <a:gd name="T24" fmla="*/ 49 w 3734"/>
                  <a:gd name="T25" fmla="*/ 341 h 1644"/>
                  <a:gd name="T26" fmla="*/ 47 w 3734"/>
                  <a:gd name="T27" fmla="*/ 304 h 1644"/>
                  <a:gd name="T28" fmla="*/ 84 w 3734"/>
                  <a:gd name="T29" fmla="*/ 282 h 1644"/>
                  <a:gd name="T30" fmla="*/ 81 w 3734"/>
                  <a:gd name="T31" fmla="*/ 245 h 1644"/>
                  <a:gd name="T32" fmla="*/ 41 w 3734"/>
                  <a:gd name="T33" fmla="*/ 218 h 1644"/>
                  <a:gd name="T34" fmla="*/ 194 w 3734"/>
                  <a:gd name="T35" fmla="*/ 37 h 1644"/>
                  <a:gd name="T36" fmla="*/ 370 w 3734"/>
                  <a:gd name="T37" fmla="*/ 34 h 1644"/>
                  <a:gd name="T38" fmla="*/ 418 w 3734"/>
                  <a:gd name="T39" fmla="*/ 38 h 1644"/>
                  <a:gd name="T40" fmla="*/ 530 w 3734"/>
                  <a:gd name="T41" fmla="*/ 54 h 1644"/>
                  <a:gd name="T42" fmla="*/ 572 w 3734"/>
                  <a:gd name="T43" fmla="*/ 68 h 1644"/>
                  <a:gd name="T44" fmla="*/ 670 w 3734"/>
                  <a:gd name="T45" fmla="*/ 63 h 1644"/>
                  <a:gd name="T46" fmla="*/ 738 w 3734"/>
                  <a:gd name="T47" fmla="*/ 71 h 1644"/>
                  <a:gd name="T48" fmla="*/ 763 w 3734"/>
                  <a:gd name="T49" fmla="*/ 71 h 1644"/>
                  <a:gd name="T50" fmla="*/ 813 w 3734"/>
                  <a:gd name="T51" fmla="*/ 40 h 1644"/>
                  <a:gd name="T52" fmla="*/ 835 w 3734"/>
                  <a:gd name="T53" fmla="*/ 1 h 1644"/>
                  <a:gd name="T54" fmla="*/ 853 w 3734"/>
                  <a:gd name="T55" fmla="*/ 34 h 1644"/>
                  <a:gd name="T56" fmla="*/ 860 w 3734"/>
                  <a:gd name="T57" fmla="*/ 54 h 1644"/>
                  <a:gd name="T58" fmla="*/ 876 w 3734"/>
                  <a:gd name="T59" fmla="*/ 64 h 1644"/>
                  <a:gd name="T60" fmla="*/ 933 w 3734"/>
                  <a:gd name="T61" fmla="*/ 40 h 1644"/>
                  <a:gd name="T62" fmla="*/ 980 w 3734"/>
                  <a:gd name="T63" fmla="*/ 44 h 1644"/>
                  <a:gd name="T64" fmla="*/ 930 w 3734"/>
                  <a:gd name="T65" fmla="*/ 89 h 1644"/>
                  <a:gd name="T66" fmla="*/ 900 w 3734"/>
                  <a:gd name="T67" fmla="*/ 95 h 1644"/>
                  <a:gd name="T68" fmla="*/ 829 w 3734"/>
                  <a:gd name="T69" fmla="*/ 100 h 1644"/>
                  <a:gd name="T70" fmla="*/ 807 w 3734"/>
                  <a:gd name="T71" fmla="*/ 132 h 1644"/>
                  <a:gd name="T72" fmla="*/ 753 w 3734"/>
                  <a:gd name="T73" fmla="*/ 154 h 1644"/>
                  <a:gd name="T74" fmla="*/ 673 w 3734"/>
                  <a:gd name="T75" fmla="*/ 205 h 1644"/>
                  <a:gd name="T76" fmla="*/ 680 w 3734"/>
                  <a:gd name="T77" fmla="*/ 260 h 1644"/>
                  <a:gd name="T78" fmla="*/ 762 w 3734"/>
                  <a:gd name="T79" fmla="*/ 297 h 1644"/>
                  <a:gd name="T80" fmla="*/ 788 w 3734"/>
                  <a:gd name="T81" fmla="*/ 347 h 1644"/>
                  <a:gd name="T82" fmla="*/ 844 w 3734"/>
                  <a:gd name="T83" fmla="*/ 324 h 1644"/>
                  <a:gd name="T84" fmla="*/ 919 w 3734"/>
                  <a:gd name="T85" fmla="*/ 257 h 1644"/>
                  <a:gd name="T86" fmla="*/ 935 w 3734"/>
                  <a:gd name="T87" fmla="*/ 196 h 1644"/>
                  <a:gd name="T88" fmla="*/ 1018 w 3734"/>
                  <a:gd name="T89" fmla="*/ 164 h 1644"/>
                  <a:gd name="T90" fmla="*/ 1057 w 3734"/>
                  <a:gd name="T91" fmla="*/ 194 h 1644"/>
                  <a:gd name="T92" fmla="*/ 1041 w 3734"/>
                  <a:gd name="T93" fmla="*/ 241 h 1644"/>
                  <a:gd name="T94" fmla="*/ 1127 w 3734"/>
                  <a:gd name="T95" fmla="*/ 201 h 1644"/>
                  <a:gd name="T96" fmla="*/ 1144 w 3734"/>
                  <a:gd name="T97" fmla="*/ 254 h 1644"/>
                  <a:gd name="T98" fmla="*/ 1182 w 3734"/>
                  <a:gd name="T99" fmla="*/ 303 h 1644"/>
                  <a:gd name="T100" fmla="*/ 1167 w 3734"/>
                  <a:gd name="T101" fmla="*/ 315 h 1644"/>
                  <a:gd name="T102" fmla="*/ 1192 w 3734"/>
                  <a:gd name="T103" fmla="*/ 337 h 1644"/>
                  <a:gd name="T104" fmla="*/ 1148 w 3734"/>
                  <a:gd name="T105" fmla="*/ 363 h 1644"/>
                  <a:gd name="T106" fmla="*/ 1017 w 3734"/>
                  <a:gd name="T107" fmla="*/ 383 h 1644"/>
                  <a:gd name="T108" fmla="*/ 921 w 3734"/>
                  <a:gd name="T109" fmla="*/ 438 h 1644"/>
                  <a:gd name="T110" fmla="*/ 937 w 3734"/>
                  <a:gd name="T111" fmla="*/ 438 h 1644"/>
                  <a:gd name="T112" fmla="*/ 1038 w 3734"/>
                  <a:gd name="T113" fmla="*/ 412 h 1644"/>
                  <a:gd name="T114" fmla="*/ 989 w 3734"/>
                  <a:gd name="T115" fmla="*/ 426 h 1644"/>
                  <a:gd name="T116" fmla="*/ 1013 w 3734"/>
                  <a:gd name="T117" fmla="*/ 456 h 1644"/>
                  <a:gd name="T118" fmla="*/ 1048 w 3734"/>
                  <a:gd name="T119" fmla="*/ 483 h 1644"/>
                  <a:gd name="T120" fmla="*/ 974 w 3734"/>
                  <a:gd name="T121" fmla="*/ 513 h 1644"/>
                  <a:gd name="T122" fmla="*/ 1029 w 3734"/>
                  <a:gd name="T123" fmla="*/ 481 h 1644"/>
                  <a:gd name="T124" fmla="*/ 973 w 3734"/>
                  <a:gd name="T125" fmla="*/ 487 h 164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287" name="Freeform 434">
              <a:extLst>
                <a:ext uri="{FF2B5EF4-FFF2-40B4-BE49-F238E27FC236}">
                  <a16:creationId xmlns:a16="http://schemas.microsoft.com/office/drawing/2014/main" id="{F590EB2E-F8E1-4AC1-9B25-DA2F534BD79C}"/>
                </a:ext>
              </a:extLst>
            </p:cNvPr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6281738" y="3541713"/>
              <a:ext cx="127000" cy="158750"/>
            </a:xfrm>
            <a:custGeom>
              <a:avLst/>
              <a:gdLst>
                <a:gd name="T0" fmla="*/ 115257 w 292"/>
                <a:gd name="T1" fmla="*/ 5154 h 308"/>
                <a:gd name="T2" fmla="*/ 120041 w 292"/>
                <a:gd name="T3" fmla="*/ 19071 h 308"/>
                <a:gd name="T4" fmla="*/ 124390 w 292"/>
                <a:gd name="T5" fmla="*/ 46903 h 308"/>
                <a:gd name="T6" fmla="*/ 127000 w 292"/>
                <a:gd name="T7" fmla="*/ 74221 h 308"/>
                <a:gd name="T8" fmla="*/ 126565 w 292"/>
                <a:gd name="T9" fmla="*/ 82983 h 308"/>
                <a:gd name="T10" fmla="*/ 124390 w 292"/>
                <a:gd name="T11" fmla="*/ 92261 h 308"/>
                <a:gd name="T12" fmla="*/ 116997 w 292"/>
                <a:gd name="T13" fmla="*/ 106177 h 308"/>
                <a:gd name="T14" fmla="*/ 100469 w 292"/>
                <a:gd name="T15" fmla="*/ 95353 h 308"/>
                <a:gd name="T16" fmla="*/ 71764 w 292"/>
                <a:gd name="T17" fmla="*/ 132979 h 308"/>
                <a:gd name="T18" fmla="*/ 57411 w 292"/>
                <a:gd name="T19" fmla="*/ 143287 h 308"/>
                <a:gd name="T20" fmla="*/ 25661 w 292"/>
                <a:gd name="T21" fmla="*/ 152565 h 308"/>
                <a:gd name="T22" fmla="*/ 13918 w 292"/>
                <a:gd name="T23" fmla="*/ 158750 h 308"/>
                <a:gd name="T24" fmla="*/ 2610 w 292"/>
                <a:gd name="T25" fmla="*/ 158750 h 308"/>
                <a:gd name="T26" fmla="*/ 3914 w 292"/>
                <a:gd name="T27" fmla="*/ 153080 h 308"/>
                <a:gd name="T28" fmla="*/ 4784 w 292"/>
                <a:gd name="T29" fmla="*/ 147411 h 308"/>
                <a:gd name="T30" fmla="*/ 3045 w 292"/>
                <a:gd name="T31" fmla="*/ 136587 h 308"/>
                <a:gd name="T32" fmla="*/ 870 w 292"/>
                <a:gd name="T33" fmla="*/ 126794 h 308"/>
                <a:gd name="T34" fmla="*/ 0 w 292"/>
                <a:gd name="T35" fmla="*/ 117516 h 308"/>
                <a:gd name="T36" fmla="*/ 1305 w 292"/>
                <a:gd name="T37" fmla="*/ 105662 h 308"/>
                <a:gd name="T38" fmla="*/ 5219 w 292"/>
                <a:gd name="T39" fmla="*/ 96899 h 308"/>
                <a:gd name="T40" fmla="*/ 11308 w 292"/>
                <a:gd name="T41" fmla="*/ 89683 h 308"/>
                <a:gd name="T42" fmla="*/ 18267 w 292"/>
                <a:gd name="T43" fmla="*/ 82983 h 308"/>
                <a:gd name="T44" fmla="*/ 33490 w 292"/>
                <a:gd name="T45" fmla="*/ 69582 h 308"/>
                <a:gd name="T46" fmla="*/ 40449 w 292"/>
                <a:gd name="T47" fmla="*/ 61335 h 308"/>
                <a:gd name="T48" fmla="*/ 45668 w 292"/>
                <a:gd name="T49" fmla="*/ 50511 h 308"/>
                <a:gd name="T50" fmla="*/ 42623 w 292"/>
                <a:gd name="T51" fmla="*/ 49481 h 308"/>
                <a:gd name="T52" fmla="*/ 40014 w 292"/>
                <a:gd name="T53" fmla="*/ 46903 h 308"/>
                <a:gd name="T54" fmla="*/ 35664 w 292"/>
                <a:gd name="T55" fmla="*/ 37626 h 308"/>
                <a:gd name="T56" fmla="*/ 32185 w 292"/>
                <a:gd name="T57" fmla="*/ 25771 h 308"/>
                <a:gd name="T58" fmla="*/ 31315 w 292"/>
                <a:gd name="T59" fmla="*/ 12370 h 308"/>
                <a:gd name="T60" fmla="*/ 39144 w 292"/>
                <a:gd name="T61" fmla="*/ 9793 h 308"/>
                <a:gd name="T62" fmla="*/ 45668 w 292"/>
                <a:gd name="T63" fmla="*/ 10308 h 308"/>
                <a:gd name="T64" fmla="*/ 57411 w 292"/>
                <a:gd name="T65" fmla="*/ 12370 h 308"/>
                <a:gd name="T66" fmla="*/ 73503 w 292"/>
                <a:gd name="T67" fmla="*/ 10824 h 308"/>
                <a:gd name="T68" fmla="*/ 91336 w 292"/>
                <a:gd name="T69" fmla="*/ 6185 h 308"/>
                <a:gd name="T70" fmla="*/ 112647 w 292"/>
                <a:gd name="T71" fmla="*/ 0 h 30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8" name="Freeform 435">
              <a:extLst>
                <a:ext uri="{FF2B5EF4-FFF2-40B4-BE49-F238E27FC236}">
                  <a16:creationId xmlns:a16="http://schemas.microsoft.com/office/drawing/2014/main" id="{724D9DAD-8FFB-4655-B808-4F6A6C42ADB0}"/>
                </a:ext>
              </a:extLst>
            </p:cNvPr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6388100" y="3692525"/>
              <a:ext cx="6350" cy="57150"/>
            </a:xfrm>
            <a:custGeom>
              <a:avLst/>
              <a:gdLst>
                <a:gd name="T0" fmla="*/ 4989 w 14"/>
                <a:gd name="T1" fmla="*/ 0 h 7"/>
                <a:gd name="T2" fmla="*/ 5896 w 14"/>
                <a:gd name="T3" fmla="*/ 24493 h 7"/>
                <a:gd name="T4" fmla="*/ 6350 w 14"/>
                <a:gd name="T5" fmla="*/ 57150 h 7"/>
                <a:gd name="T6" fmla="*/ 0 w 14"/>
                <a:gd name="T7" fmla="*/ 57150 h 7"/>
                <a:gd name="T8" fmla="*/ 4989 w 1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9" name="Freeform 436">
              <a:extLst>
                <a:ext uri="{FF2B5EF4-FFF2-40B4-BE49-F238E27FC236}">
                  <a16:creationId xmlns:a16="http://schemas.microsoft.com/office/drawing/2014/main" id="{7B976A84-82DB-457E-A2A8-4A7F93F936FB}"/>
                </a:ext>
              </a:extLst>
            </p:cNvPr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5878514" y="2928938"/>
              <a:ext cx="249237" cy="500062"/>
            </a:xfrm>
            <a:custGeom>
              <a:avLst/>
              <a:gdLst>
                <a:gd name="T0" fmla="*/ 34747 w 581"/>
                <a:gd name="T1" fmla="*/ 60217 h 955"/>
                <a:gd name="T2" fmla="*/ 44614 w 581"/>
                <a:gd name="T3" fmla="*/ 79591 h 955"/>
                <a:gd name="T4" fmla="*/ 47617 w 581"/>
                <a:gd name="T5" fmla="*/ 94253 h 955"/>
                <a:gd name="T6" fmla="*/ 40753 w 581"/>
                <a:gd name="T7" fmla="*/ 122528 h 955"/>
                <a:gd name="T8" fmla="*/ 41182 w 581"/>
                <a:gd name="T9" fmla="*/ 170178 h 955"/>
                <a:gd name="T10" fmla="*/ 39895 w 581"/>
                <a:gd name="T11" fmla="*/ 190076 h 955"/>
                <a:gd name="T12" fmla="*/ 35176 w 581"/>
                <a:gd name="T13" fmla="*/ 207356 h 955"/>
                <a:gd name="T14" fmla="*/ 25310 w 581"/>
                <a:gd name="T15" fmla="*/ 224635 h 955"/>
                <a:gd name="T16" fmla="*/ 13298 w 581"/>
                <a:gd name="T17" fmla="*/ 241391 h 955"/>
                <a:gd name="T18" fmla="*/ 7293 w 581"/>
                <a:gd name="T19" fmla="*/ 251864 h 955"/>
                <a:gd name="T20" fmla="*/ 858 w 581"/>
                <a:gd name="T21" fmla="*/ 283805 h 955"/>
                <a:gd name="T22" fmla="*/ 29600 w 581"/>
                <a:gd name="T23" fmla="*/ 322553 h 955"/>
                <a:gd name="T24" fmla="*/ 29600 w 581"/>
                <a:gd name="T25" fmla="*/ 331978 h 955"/>
                <a:gd name="T26" fmla="*/ 31744 w 581"/>
                <a:gd name="T27" fmla="*/ 348211 h 955"/>
                <a:gd name="T28" fmla="*/ 31744 w 581"/>
                <a:gd name="T29" fmla="*/ 364443 h 955"/>
                <a:gd name="T30" fmla="*/ 33460 w 581"/>
                <a:gd name="T31" fmla="*/ 383817 h 955"/>
                <a:gd name="T32" fmla="*/ 40324 w 581"/>
                <a:gd name="T33" fmla="*/ 407380 h 955"/>
                <a:gd name="T34" fmla="*/ 45043 w 581"/>
                <a:gd name="T35" fmla="*/ 414711 h 955"/>
                <a:gd name="T36" fmla="*/ 29171 w 581"/>
                <a:gd name="T37" fmla="*/ 415758 h 955"/>
                <a:gd name="T38" fmla="*/ 18017 w 581"/>
                <a:gd name="T39" fmla="*/ 419947 h 955"/>
                <a:gd name="T40" fmla="*/ 15443 w 581"/>
                <a:gd name="T41" fmla="*/ 425184 h 955"/>
                <a:gd name="T42" fmla="*/ 18017 w 581"/>
                <a:gd name="T43" fmla="*/ 440892 h 955"/>
                <a:gd name="T44" fmla="*/ 29600 w 581"/>
                <a:gd name="T45" fmla="*/ 458696 h 955"/>
                <a:gd name="T46" fmla="*/ 37321 w 581"/>
                <a:gd name="T47" fmla="*/ 470739 h 955"/>
                <a:gd name="T48" fmla="*/ 42898 w 581"/>
                <a:gd name="T49" fmla="*/ 485400 h 955"/>
                <a:gd name="T50" fmla="*/ 66921 w 581"/>
                <a:gd name="T51" fmla="*/ 500062 h 955"/>
                <a:gd name="T52" fmla="*/ 81077 w 581"/>
                <a:gd name="T53" fmla="*/ 493255 h 955"/>
                <a:gd name="T54" fmla="*/ 106387 w 581"/>
                <a:gd name="T55" fmla="*/ 486448 h 955"/>
                <a:gd name="T56" fmla="*/ 119685 w 581"/>
                <a:gd name="T57" fmla="*/ 482259 h 955"/>
                <a:gd name="T58" fmla="*/ 127407 w 581"/>
                <a:gd name="T59" fmla="*/ 473357 h 955"/>
                <a:gd name="T60" fmla="*/ 129552 w 581"/>
                <a:gd name="T61" fmla="*/ 467074 h 955"/>
                <a:gd name="T62" fmla="*/ 129552 w 581"/>
                <a:gd name="T63" fmla="*/ 454507 h 955"/>
                <a:gd name="T64" fmla="*/ 144995 w 581"/>
                <a:gd name="T65" fmla="*/ 456077 h 955"/>
                <a:gd name="T66" fmla="*/ 157435 w 581"/>
                <a:gd name="T67" fmla="*/ 453459 h 955"/>
                <a:gd name="T68" fmla="*/ 166873 w 581"/>
                <a:gd name="T69" fmla="*/ 448223 h 955"/>
                <a:gd name="T70" fmla="*/ 173737 w 581"/>
                <a:gd name="T71" fmla="*/ 440892 h 955"/>
                <a:gd name="T72" fmla="*/ 185319 w 581"/>
                <a:gd name="T73" fmla="*/ 422565 h 955"/>
                <a:gd name="T74" fmla="*/ 197330 w 581"/>
                <a:gd name="T75" fmla="*/ 404762 h 955"/>
                <a:gd name="T76" fmla="*/ 204623 w 581"/>
                <a:gd name="T77" fmla="*/ 397955 h 955"/>
                <a:gd name="T78" fmla="*/ 215348 w 581"/>
                <a:gd name="T79" fmla="*/ 393766 h 955"/>
                <a:gd name="T80" fmla="*/ 223498 w 581"/>
                <a:gd name="T81" fmla="*/ 390101 h 955"/>
                <a:gd name="T82" fmla="*/ 214061 w 581"/>
                <a:gd name="T83" fmla="*/ 364967 h 955"/>
                <a:gd name="T84" fmla="*/ 207626 w 581"/>
                <a:gd name="T85" fmla="*/ 341927 h 955"/>
                <a:gd name="T86" fmla="*/ 202478 w 581"/>
                <a:gd name="T87" fmla="*/ 326218 h 955"/>
                <a:gd name="T88" fmla="*/ 206339 w 581"/>
                <a:gd name="T89" fmla="*/ 319411 h 955"/>
                <a:gd name="T90" fmla="*/ 208913 w 581"/>
                <a:gd name="T91" fmla="*/ 303179 h 955"/>
                <a:gd name="T92" fmla="*/ 211916 w 581"/>
                <a:gd name="T93" fmla="*/ 283281 h 955"/>
                <a:gd name="T94" fmla="*/ 216635 w 581"/>
                <a:gd name="T95" fmla="*/ 271761 h 955"/>
                <a:gd name="T96" fmla="*/ 228217 w 581"/>
                <a:gd name="T97" fmla="*/ 254482 h 955"/>
                <a:gd name="T98" fmla="*/ 244518 w 581"/>
                <a:gd name="T99" fmla="*/ 241391 h 955"/>
                <a:gd name="T100" fmla="*/ 55338 w 581"/>
                <a:gd name="T101" fmla="*/ 0 h 955"/>
                <a:gd name="T102" fmla="*/ 42040 w 581"/>
                <a:gd name="T103" fmla="*/ 2618 h 955"/>
                <a:gd name="T104" fmla="*/ 29600 w 581"/>
                <a:gd name="T105" fmla="*/ 12567 h 95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0" name="Freeform 437">
              <a:extLst>
                <a:ext uri="{FF2B5EF4-FFF2-40B4-BE49-F238E27FC236}">
                  <a16:creationId xmlns:a16="http://schemas.microsoft.com/office/drawing/2014/main" id="{36CDD547-4C0C-4110-A1F0-9389B23DBFA5}"/>
                </a:ext>
              </a:extLst>
            </p:cNvPr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5554664" y="2311400"/>
              <a:ext cx="15875" cy="57150"/>
            </a:xfrm>
            <a:custGeom>
              <a:avLst/>
              <a:gdLst>
                <a:gd name="T0" fmla="*/ 9172 w 45"/>
                <a:gd name="T1" fmla="*/ 0 h 36"/>
                <a:gd name="T2" fmla="*/ 0 w 45"/>
                <a:gd name="T3" fmla="*/ 28575 h 36"/>
                <a:gd name="T4" fmla="*/ 8114 w 45"/>
                <a:gd name="T5" fmla="*/ 57150 h 36"/>
                <a:gd name="T6" fmla="*/ 15875 w 45"/>
                <a:gd name="T7" fmla="*/ 23813 h 36"/>
                <a:gd name="T8" fmla="*/ 9172 w 45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291" name="Group 438">
              <a:extLst>
                <a:ext uri="{FF2B5EF4-FFF2-40B4-BE49-F238E27FC236}">
                  <a16:creationId xmlns:a16="http://schemas.microsoft.com/office/drawing/2014/main" id="{B54AD222-ED11-45D6-9D40-599B922F2075}"/>
                </a:ext>
              </a:extLst>
            </p:cNvPr>
            <p:cNvGrpSpPr>
              <a:grpSpLocks/>
            </p:cNvGrpSpPr>
            <p:nvPr>
              <p:custDataLst>
                <p:tags r:id="rId279"/>
              </p:custDataLst>
            </p:nvPr>
          </p:nvGrpSpPr>
          <p:grpSpPr bwMode="auto">
            <a:xfrm>
              <a:off x="3854451" y="4371976"/>
              <a:ext cx="384175" cy="1031875"/>
              <a:chOff x="1589" y="3126"/>
              <a:chExt cx="290" cy="657"/>
            </a:xfrm>
          </p:grpSpPr>
          <p:sp>
            <p:nvSpPr>
              <p:cNvPr id="401" name="Freeform 439">
                <a:extLst>
                  <a:ext uri="{FF2B5EF4-FFF2-40B4-BE49-F238E27FC236}">
                    <a16:creationId xmlns:a16="http://schemas.microsoft.com/office/drawing/2014/main" id="{3ABB5A68-F53E-46FE-A48C-2C89C4E16B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15 w 46"/>
                  <a:gd name="T1" fmla="*/ 4 h 51"/>
                  <a:gd name="T2" fmla="*/ 6 w 46"/>
                  <a:gd name="T3" fmla="*/ 0 h 51"/>
                  <a:gd name="T4" fmla="*/ 4 w 46"/>
                  <a:gd name="T5" fmla="*/ 2 h 51"/>
                  <a:gd name="T6" fmla="*/ 2 w 46"/>
                  <a:gd name="T7" fmla="*/ 3 h 51"/>
                  <a:gd name="T8" fmla="*/ 1 w 46"/>
                  <a:gd name="T9" fmla="*/ 4 h 51"/>
                  <a:gd name="T10" fmla="*/ 1 w 46"/>
                  <a:gd name="T11" fmla="*/ 5 h 51"/>
                  <a:gd name="T12" fmla="*/ 0 w 46"/>
                  <a:gd name="T13" fmla="*/ 5 h 51"/>
                  <a:gd name="T14" fmla="*/ 0 w 46"/>
                  <a:gd name="T15" fmla="*/ 6 h 51"/>
                  <a:gd name="T16" fmla="*/ 0 w 46"/>
                  <a:gd name="T17" fmla="*/ 8 h 51"/>
                  <a:gd name="T18" fmla="*/ 1 w 46"/>
                  <a:gd name="T19" fmla="*/ 10 h 51"/>
                  <a:gd name="T20" fmla="*/ 1 w 46"/>
                  <a:gd name="T21" fmla="*/ 12 h 51"/>
                  <a:gd name="T22" fmla="*/ 2 w 46"/>
                  <a:gd name="T23" fmla="*/ 14 h 51"/>
                  <a:gd name="T24" fmla="*/ 3 w 46"/>
                  <a:gd name="T25" fmla="*/ 15 h 51"/>
                  <a:gd name="T26" fmla="*/ 4 w 46"/>
                  <a:gd name="T27" fmla="*/ 16 h 51"/>
                  <a:gd name="T28" fmla="*/ 5 w 46"/>
                  <a:gd name="T29" fmla="*/ 17 h 51"/>
                  <a:gd name="T30" fmla="*/ 5 w 46"/>
                  <a:gd name="T31" fmla="*/ 17 h 51"/>
                  <a:gd name="T32" fmla="*/ 6 w 46"/>
                  <a:gd name="T33" fmla="*/ 17 h 51"/>
                  <a:gd name="T34" fmla="*/ 6 w 46"/>
                  <a:gd name="T35" fmla="*/ 17 h 51"/>
                  <a:gd name="T36" fmla="*/ 11 w 46"/>
                  <a:gd name="T37" fmla="*/ 17 h 51"/>
                  <a:gd name="T38" fmla="*/ 15 w 46"/>
                  <a:gd name="T39" fmla="*/ 17 h 51"/>
                  <a:gd name="T40" fmla="*/ 15 w 46"/>
                  <a:gd name="T41" fmla="*/ 12 h 51"/>
                  <a:gd name="T42" fmla="*/ 15 w 46"/>
                  <a:gd name="T43" fmla="*/ 9 h 51"/>
                  <a:gd name="T44" fmla="*/ 15 w 46"/>
                  <a:gd name="T45" fmla="*/ 6 h 51"/>
                  <a:gd name="T46" fmla="*/ 15 w 46"/>
                  <a:gd name="T47" fmla="*/ 4 h 5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02" name="Freeform 440">
                <a:extLst>
                  <a:ext uri="{FF2B5EF4-FFF2-40B4-BE49-F238E27FC236}">
                    <a16:creationId xmlns:a16="http://schemas.microsoft.com/office/drawing/2014/main" id="{C1CC1FBA-0423-468E-B09F-704D6FBC03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5 h 158"/>
                  <a:gd name="T4" fmla="*/ 1 w 192"/>
                  <a:gd name="T5" fmla="*/ 9 h 158"/>
                  <a:gd name="T6" fmla="*/ 1 w 192"/>
                  <a:gd name="T7" fmla="*/ 13 h 158"/>
                  <a:gd name="T8" fmla="*/ 2 w 192"/>
                  <a:gd name="T9" fmla="*/ 17 h 158"/>
                  <a:gd name="T10" fmla="*/ 4 w 192"/>
                  <a:gd name="T11" fmla="*/ 20 h 158"/>
                  <a:gd name="T12" fmla="*/ 5 w 192"/>
                  <a:gd name="T13" fmla="*/ 24 h 158"/>
                  <a:gd name="T14" fmla="*/ 7 w 192"/>
                  <a:gd name="T15" fmla="*/ 27 h 158"/>
                  <a:gd name="T16" fmla="*/ 8 w 192"/>
                  <a:gd name="T17" fmla="*/ 30 h 158"/>
                  <a:gd name="T18" fmla="*/ 15 w 192"/>
                  <a:gd name="T19" fmla="*/ 41 h 158"/>
                  <a:gd name="T20" fmla="*/ 22 w 192"/>
                  <a:gd name="T21" fmla="*/ 50 h 158"/>
                  <a:gd name="T22" fmla="*/ 24 w 192"/>
                  <a:gd name="T23" fmla="*/ 51 h 158"/>
                  <a:gd name="T24" fmla="*/ 26 w 192"/>
                  <a:gd name="T25" fmla="*/ 51 h 158"/>
                  <a:gd name="T26" fmla="*/ 28 w 192"/>
                  <a:gd name="T27" fmla="*/ 52 h 158"/>
                  <a:gd name="T28" fmla="*/ 30 w 192"/>
                  <a:gd name="T29" fmla="*/ 52 h 158"/>
                  <a:gd name="T30" fmla="*/ 34 w 192"/>
                  <a:gd name="T31" fmla="*/ 53 h 158"/>
                  <a:gd name="T32" fmla="*/ 39 w 192"/>
                  <a:gd name="T33" fmla="*/ 53 h 158"/>
                  <a:gd name="T34" fmla="*/ 50 w 192"/>
                  <a:gd name="T35" fmla="*/ 52 h 158"/>
                  <a:gd name="T36" fmla="*/ 63 w 192"/>
                  <a:gd name="T37" fmla="*/ 52 h 158"/>
                  <a:gd name="T38" fmla="*/ 60 w 192"/>
                  <a:gd name="T39" fmla="*/ 51 h 158"/>
                  <a:gd name="T40" fmla="*/ 58 w 192"/>
                  <a:gd name="T41" fmla="*/ 51 h 158"/>
                  <a:gd name="T42" fmla="*/ 55 w 192"/>
                  <a:gd name="T43" fmla="*/ 51 h 158"/>
                  <a:gd name="T44" fmla="*/ 53 w 192"/>
                  <a:gd name="T45" fmla="*/ 50 h 158"/>
                  <a:gd name="T46" fmla="*/ 48 w 192"/>
                  <a:gd name="T47" fmla="*/ 48 h 158"/>
                  <a:gd name="T48" fmla="*/ 42 w 192"/>
                  <a:gd name="T49" fmla="*/ 46 h 158"/>
                  <a:gd name="T50" fmla="*/ 38 w 192"/>
                  <a:gd name="T51" fmla="*/ 44 h 158"/>
                  <a:gd name="T52" fmla="*/ 33 w 192"/>
                  <a:gd name="T53" fmla="*/ 40 h 158"/>
                  <a:gd name="T54" fmla="*/ 29 w 192"/>
                  <a:gd name="T55" fmla="*/ 37 h 158"/>
                  <a:gd name="T56" fmla="*/ 25 w 192"/>
                  <a:gd name="T57" fmla="*/ 33 h 158"/>
                  <a:gd name="T58" fmla="*/ 21 w 192"/>
                  <a:gd name="T59" fmla="*/ 29 h 158"/>
                  <a:gd name="T60" fmla="*/ 17 w 192"/>
                  <a:gd name="T61" fmla="*/ 25 h 158"/>
                  <a:gd name="T62" fmla="*/ 14 w 192"/>
                  <a:gd name="T63" fmla="*/ 21 h 158"/>
                  <a:gd name="T64" fmla="*/ 11 w 192"/>
                  <a:gd name="T65" fmla="*/ 17 h 158"/>
                  <a:gd name="T66" fmla="*/ 9 w 192"/>
                  <a:gd name="T67" fmla="*/ 13 h 158"/>
                  <a:gd name="T68" fmla="*/ 7 w 192"/>
                  <a:gd name="T69" fmla="*/ 9 h 158"/>
                  <a:gd name="T70" fmla="*/ 5 w 192"/>
                  <a:gd name="T71" fmla="*/ 5 h 158"/>
                  <a:gd name="T72" fmla="*/ 4 w 192"/>
                  <a:gd name="T73" fmla="*/ 2 h 158"/>
                  <a:gd name="T74" fmla="*/ 0 w 192"/>
                  <a:gd name="T75" fmla="*/ 0 h 15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03" name="Freeform 441">
                <a:extLst>
                  <a:ext uri="{FF2B5EF4-FFF2-40B4-BE49-F238E27FC236}">
                    <a16:creationId xmlns:a16="http://schemas.microsoft.com/office/drawing/2014/main" id="{DE9214C8-3961-42F5-A5D3-9D99FA1F50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253 w 884"/>
                  <a:gd name="T1" fmla="*/ 138 h 1818"/>
                  <a:gd name="T2" fmla="*/ 286 w 884"/>
                  <a:gd name="T3" fmla="*/ 114 h 1818"/>
                  <a:gd name="T4" fmla="*/ 290 w 884"/>
                  <a:gd name="T5" fmla="*/ 77 h 1818"/>
                  <a:gd name="T6" fmla="*/ 276 w 884"/>
                  <a:gd name="T7" fmla="*/ 64 h 1818"/>
                  <a:gd name="T8" fmla="*/ 276 w 884"/>
                  <a:gd name="T9" fmla="*/ 87 h 1818"/>
                  <a:gd name="T10" fmla="*/ 254 w 884"/>
                  <a:gd name="T11" fmla="*/ 109 h 1818"/>
                  <a:gd name="T12" fmla="*/ 219 w 884"/>
                  <a:gd name="T13" fmla="*/ 110 h 1818"/>
                  <a:gd name="T14" fmla="*/ 205 w 884"/>
                  <a:gd name="T15" fmla="*/ 97 h 1818"/>
                  <a:gd name="T16" fmla="*/ 216 w 884"/>
                  <a:gd name="T17" fmla="*/ 72 h 1818"/>
                  <a:gd name="T18" fmla="*/ 178 w 884"/>
                  <a:gd name="T19" fmla="*/ 49 h 1818"/>
                  <a:gd name="T20" fmla="*/ 139 w 884"/>
                  <a:gd name="T21" fmla="*/ 29 h 1818"/>
                  <a:gd name="T22" fmla="*/ 122 w 884"/>
                  <a:gd name="T23" fmla="*/ 3 h 1818"/>
                  <a:gd name="T24" fmla="*/ 94 w 884"/>
                  <a:gd name="T25" fmla="*/ 7 h 1818"/>
                  <a:gd name="T26" fmla="*/ 77 w 884"/>
                  <a:gd name="T27" fmla="*/ 8 h 1818"/>
                  <a:gd name="T28" fmla="*/ 56 w 884"/>
                  <a:gd name="T29" fmla="*/ 3 h 1818"/>
                  <a:gd name="T30" fmla="*/ 32 w 884"/>
                  <a:gd name="T31" fmla="*/ 18 h 1818"/>
                  <a:gd name="T32" fmla="*/ 22 w 884"/>
                  <a:gd name="T33" fmla="*/ 39 h 1818"/>
                  <a:gd name="T34" fmla="*/ 9 w 884"/>
                  <a:gd name="T35" fmla="*/ 60 h 1818"/>
                  <a:gd name="T36" fmla="*/ 18 w 884"/>
                  <a:gd name="T37" fmla="*/ 84 h 1818"/>
                  <a:gd name="T38" fmla="*/ 17 w 884"/>
                  <a:gd name="T39" fmla="*/ 106 h 1818"/>
                  <a:gd name="T40" fmla="*/ 0 w 884"/>
                  <a:gd name="T41" fmla="*/ 144 h 1818"/>
                  <a:gd name="T42" fmla="*/ 4 w 884"/>
                  <a:gd name="T43" fmla="*/ 203 h 1818"/>
                  <a:gd name="T44" fmla="*/ 25 w 884"/>
                  <a:gd name="T45" fmla="*/ 232 h 1818"/>
                  <a:gd name="T46" fmla="*/ 20 w 884"/>
                  <a:gd name="T47" fmla="*/ 251 h 1818"/>
                  <a:gd name="T48" fmla="*/ 20 w 884"/>
                  <a:gd name="T49" fmla="*/ 269 h 1818"/>
                  <a:gd name="T50" fmla="*/ 27 w 884"/>
                  <a:gd name="T51" fmla="*/ 283 h 1818"/>
                  <a:gd name="T52" fmla="*/ 17 w 884"/>
                  <a:gd name="T53" fmla="*/ 300 h 1818"/>
                  <a:gd name="T54" fmla="*/ 27 w 884"/>
                  <a:gd name="T55" fmla="*/ 328 h 1818"/>
                  <a:gd name="T56" fmla="*/ 27 w 884"/>
                  <a:gd name="T57" fmla="*/ 352 h 1818"/>
                  <a:gd name="T58" fmla="*/ 26 w 884"/>
                  <a:gd name="T59" fmla="*/ 384 h 1818"/>
                  <a:gd name="T60" fmla="*/ 45 w 884"/>
                  <a:gd name="T61" fmla="*/ 422 h 1818"/>
                  <a:gd name="T62" fmla="*/ 65 w 884"/>
                  <a:gd name="T63" fmla="*/ 465 h 1818"/>
                  <a:gd name="T64" fmla="*/ 71 w 884"/>
                  <a:gd name="T65" fmla="*/ 488 h 1818"/>
                  <a:gd name="T66" fmla="*/ 75 w 884"/>
                  <a:gd name="T67" fmla="*/ 509 h 1818"/>
                  <a:gd name="T68" fmla="*/ 70 w 884"/>
                  <a:gd name="T69" fmla="*/ 530 h 1818"/>
                  <a:gd name="T70" fmla="*/ 66 w 884"/>
                  <a:gd name="T71" fmla="*/ 548 h 1818"/>
                  <a:gd name="T72" fmla="*/ 75 w 884"/>
                  <a:gd name="T73" fmla="*/ 573 h 1818"/>
                  <a:gd name="T74" fmla="*/ 102 w 884"/>
                  <a:gd name="T75" fmla="*/ 591 h 1818"/>
                  <a:gd name="T76" fmla="*/ 129 w 884"/>
                  <a:gd name="T77" fmla="*/ 599 h 1818"/>
                  <a:gd name="T78" fmla="*/ 148 w 884"/>
                  <a:gd name="T79" fmla="*/ 595 h 1818"/>
                  <a:gd name="T80" fmla="*/ 149 w 884"/>
                  <a:gd name="T81" fmla="*/ 568 h 1818"/>
                  <a:gd name="T82" fmla="*/ 154 w 884"/>
                  <a:gd name="T83" fmla="*/ 537 h 1818"/>
                  <a:gd name="T84" fmla="*/ 162 w 884"/>
                  <a:gd name="T85" fmla="*/ 503 h 1818"/>
                  <a:gd name="T86" fmla="*/ 138 w 884"/>
                  <a:gd name="T87" fmla="*/ 495 h 1818"/>
                  <a:gd name="T88" fmla="*/ 132 w 884"/>
                  <a:gd name="T89" fmla="*/ 477 h 1818"/>
                  <a:gd name="T90" fmla="*/ 149 w 884"/>
                  <a:gd name="T91" fmla="*/ 465 h 1818"/>
                  <a:gd name="T92" fmla="*/ 159 w 884"/>
                  <a:gd name="T93" fmla="*/ 444 h 1818"/>
                  <a:gd name="T94" fmla="*/ 149 w 884"/>
                  <a:gd name="T95" fmla="*/ 408 h 1818"/>
                  <a:gd name="T96" fmla="*/ 139 w 884"/>
                  <a:gd name="T97" fmla="*/ 380 h 1818"/>
                  <a:gd name="T98" fmla="*/ 170 w 884"/>
                  <a:gd name="T99" fmla="*/ 389 h 1818"/>
                  <a:gd name="T100" fmla="*/ 186 w 884"/>
                  <a:gd name="T101" fmla="*/ 384 h 1818"/>
                  <a:gd name="T102" fmla="*/ 183 w 884"/>
                  <a:gd name="T103" fmla="*/ 359 h 1818"/>
                  <a:gd name="T104" fmla="*/ 185 w 884"/>
                  <a:gd name="T105" fmla="*/ 343 h 1818"/>
                  <a:gd name="T106" fmla="*/ 222 w 884"/>
                  <a:gd name="T107" fmla="*/ 341 h 1818"/>
                  <a:gd name="T108" fmla="*/ 261 w 884"/>
                  <a:gd name="T109" fmla="*/ 324 h 1818"/>
                  <a:gd name="T110" fmla="*/ 268 w 884"/>
                  <a:gd name="T111" fmla="*/ 294 h 1818"/>
                  <a:gd name="T112" fmla="*/ 256 w 884"/>
                  <a:gd name="T113" fmla="*/ 284 h 1818"/>
                  <a:gd name="T114" fmla="*/ 249 w 884"/>
                  <a:gd name="T115" fmla="*/ 270 h 1818"/>
                  <a:gd name="T116" fmla="*/ 227 w 884"/>
                  <a:gd name="T117" fmla="*/ 251 h 1818"/>
                  <a:gd name="T118" fmla="*/ 230 w 884"/>
                  <a:gd name="T119" fmla="*/ 177 h 181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292" name="Freeform 442">
              <a:extLst>
                <a:ext uri="{FF2B5EF4-FFF2-40B4-BE49-F238E27FC236}">
                  <a16:creationId xmlns:a16="http://schemas.microsoft.com/office/drawing/2014/main" id="{DCE446C1-1B3D-4AC8-B04A-22018DBE7A02}"/>
                </a:ext>
              </a:extLst>
            </p:cNvPr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6564314" y="2324100"/>
              <a:ext cx="123825" cy="109538"/>
            </a:xfrm>
            <a:custGeom>
              <a:avLst/>
              <a:gdLst>
                <a:gd name="T0" fmla="*/ 14646 w 279"/>
                <a:gd name="T1" fmla="*/ 46715 h 204"/>
                <a:gd name="T2" fmla="*/ 26185 w 279"/>
                <a:gd name="T3" fmla="*/ 76247 h 204"/>
                <a:gd name="T4" fmla="*/ 26185 w 279"/>
                <a:gd name="T5" fmla="*/ 96114 h 204"/>
                <a:gd name="T6" fmla="*/ 45269 w 279"/>
                <a:gd name="T7" fmla="*/ 105242 h 204"/>
                <a:gd name="T8" fmla="*/ 54146 w 279"/>
                <a:gd name="T9" fmla="*/ 108464 h 204"/>
                <a:gd name="T10" fmla="*/ 61691 w 279"/>
                <a:gd name="T11" fmla="*/ 109538 h 204"/>
                <a:gd name="T12" fmla="*/ 64797 w 279"/>
                <a:gd name="T13" fmla="*/ 107927 h 204"/>
                <a:gd name="T14" fmla="*/ 67016 w 279"/>
                <a:gd name="T15" fmla="*/ 104168 h 204"/>
                <a:gd name="T16" fmla="*/ 71011 w 279"/>
                <a:gd name="T17" fmla="*/ 92356 h 204"/>
                <a:gd name="T18" fmla="*/ 76337 w 279"/>
                <a:gd name="T19" fmla="*/ 80006 h 204"/>
                <a:gd name="T20" fmla="*/ 80331 w 279"/>
                <a:gd name="T21" fmla="*/ 75710 h 204"/>
                <a:gd name="T22" fmla="*/ 85213 w 279"/>
                <a:gd name="T23" fmla="*/ 73025 h 204"/>
                <a:gd name="T24" fmla="*/ 92758 w 279"/>
                <a:gd name="T25" fmla="*/ 74099 h 204"/>
                <a:gd name="T26" fmla="*/ 97640 w 279"/>
                <a:gd name="T27" fmla="*/ 76247 h 204"/>
                <a:gd name="T28" fmla="*/ 101190 w 279"/>
                <a:gd name="T29" fmla="*/ 79469 h 204"/>
                <a:gd name="T30" fmla="*/ 102522 w 279"/>
                <a:gd name="T31" fmla="*/ 82690 h 204"/>
                <a:gd name="T32" fmla="*/ 103853 w 279"/>
                <a:gd name="T33" fmla="*/ 88060 h 204"/>
                <a:gd name="T34" fmla="*/ 102522 w 279"/>
                <a:gd name="T35" fmla="*/ 89671 h 204"/>
                <a:gd name="T36" fmla="*/ 103853 w 279"/>
                <a:gd name="T37" fmla="*/ 82154 h 204"/>
                <a:gd name="T38" fmla="*/ 105628 w 279"/>
                <a:gd name="T39" fmla="*/ 75173 h 204"/>
                <a:gd name="T40" fmla="*/ 108735 w 279"/>
                <a:gd name="T41" fmla="*/ 62823 h 204"/>
                <a:gd name="T42" fmla="*/ 112730 w 279"/>
                <a:gd name="T43" fmla="*/ 61749 h 204"/>
                <a:gd name="T44" fmla="*/ 117168 w 279"/>
                <a:gd name="T45" fmla="*/ 59065 h 204"/>
                <a:gd name="T46" fmla="*/ 123825 w 279"/>
                <a:gd name="T47" fmla="*/ 53158 h 204"/>
                <a:gd name="T48" fmla="*/ 111842 w 279"/>
                <a:gd name="T49" fmla="*/ 40271 h 204"/>
                <a:gd name="T50" fmla="*/ 100747 w 279"/>
                <a:gd name="T51" fmla="*/ 31143 h 204"/>
                <a:gd name="T52" fmla="*/ 90539 w 279"/>
                <a:gd name="T53" fmla="*/ 23626 h 204"/>
                <a:gd name="T54" fmla="*/ 82106 w 279"/>
                <a:gd name="T55" fmla="*/ 16645 h 204"/>
                <a:gd name="T56" fmla="*/ 64797 w 279"/>
                <a:gd name="T57" fmla="*/ 36513 h 204"/>
                <a:gd name="T58" fmla="*/ 35062 w 279"/>
                <a:gd name="T59" fmla="*/ 13424 h 204"/>
                <a:gd name="T60" fmla="*/ 23078 w 279"/>
                <a:gd name="T61" fmla="*/ 6443 h 204"/>
                <a:gd name="T62" fmla="*/ 20416 w 279"/>
                <a:gd name="T63" fmla="*/ 33291 h 204"/>
                <a:gd name="T64" fmla="*/ 0 w 279"/>
                <a:gd name="T65" fmla="*/ 30069 h 2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3" name="Freeform 443">
              <a:extLst>
                <a:ext uri="{FF2B5EF4-FFF2-40B4-BE49-F238E27FC236}">
                  <a16:creationId xmlns:a16="http://schemas.microsoft.com/office/drawing/2014/main" id="{4F10F5B9-B7BD-45D6-B972-83C472096B8B}"/>
                </a:ext>
              </a:extLst>
            </p:cNvPr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6030913" y="1897063"/>
              <a:ext cx="209550" cy="150812"/>
            </a:xfrm>
            <a:custGeom>
              <a:avLst/>
              <a:gdLst>
                <a:gd name="T0" fmla="*/ 108880 w 485"/>
                <a:gd name="T1" fmla="*/ 10365 h 291"/>
                <a:gd name="T2" fmla="*/ 129619 w 485"/>
                <a:gd name="T3" fmla="*/ 22803 h 291"/>
                <a:gd name="T4" fmla="*/ 160727 w 485"/>
                <a:gd name="T5" fmla="*/ 22803 h 291"/>
                <a:gd name="T6" fmla="*/ 183626 w 485"/>
                <a:gd name="T7" fmla="*/ 67891 h 291"/>
                <a:gd name="T8" fmla="*/ 209550 w 485"/>
                <a:gd name="T9" fmla="*/ 86548 h 291"/>
                <a:gd name="T10" fmla="*/ 178009 w 485"/>
                <a:gd name="T11" fmla="*/ 89658 h 291"/>
                <a:gd name="T12" fmla="*/ 187083 w 485"/>
                <a:gd name="T13" fmla="*/ 108833 h 291"/>
                <a:gd name="T14" fmla="*/ 169368 w 485"/>
                <a:gd name="T15" fmla="*/ 124899 h 291"/>
                <a:gd name="T16" fmla="*/ 166344 w 485"/>
                <a:gd name="T17" fmla="*/ 150812 h 291"/>
                <a:gd name="T18" fmla="*/ 123138 w 485"/>
                <a:gd name="T19" fmla="*/ 137856 h 291"/>
                <a:gd name="T20" fmla="*/ 74747 w 485"/>
                <a:gd name="T21" fmla="*/ 131637 h 291"/>
                <a:gd name="T22" fmla="*/ 25924 w 485"/>
                <a:gd name="T23" fmla="*/ 137856 h 291"/>
                <a:gd name="T24" fmla="*/ 6481 w 485"/>
                <a:gd name="T25" fmla="*/ 140447 h 291"/>
                <a:gd name="T26" fmla="*/ 3456 w 485"/>
                <a:gd name="T27" fmla="*/ 133191 h 291"/>
                <a:gd name="T28" fmla="*/ 1296 w 485"/>
                <a:gd name="T29" fmla="*/ 126454 h 291"/>
                <a:gd name="T30" fmla="*/ 0 w 485"/>
                <a:gd name="T31" fmla="*/ 118680 h 291"/>
                <a:gd name="T32" fmla="*/ 2160 w 485"/>
                <a:gd name="T33" fmla="*/ 113498 h 291"/>
                <a:gd name="T34" fmla="*/ 6049 w 485"/>
                <a:gd name="T35" fmla="*/ 107279 h 291"/>
                <a:gd name="T36" fmla="*/ 9937 w 485"/>
                <a:gd name="T37" fmla="*/ 97950 h 291"/>
                <a:gd name="T38" fmla="*/ 13394 w 485"/>
                <a:gd name="T39" fmla="*/ 86030 h 291"/>
                <a:gd name="T40" fmla="*/ 17715 w 485"/>
                <a:gd name="T41" fmla="*/ 71001 h 291"/>
                <a:gd name="T42" fmla="*/ 20739 w 485"/>
                <a:gd name="T43" fmla="*/ 65300 h 291"/>
                <a:gd name="T44" fmla="*/ 25924 w 485"/>
                <a:gd name="T45" fmla="*/ 61672 h 291"/>
                <a:gd name="T46" fmla="*/ 37589 w 485"/>
                <a:gd name="T47" fmla="*/ 57526 h 291"/>
                <a:gd name="T48" fmla="*/ 38454 w 485"/>
                <a:gd name="T49" fmla="*/ 54935 h 291"/>
                <a:gd name="T50" fmla="*/ 40614 w 485"/>
                <a:gd name="T51" fmla="*/ 51825 h 291"/>
                <a:gd name="T52" fmla="*/ 43638 w 485"/>
                <a:gd name="T53" fmla="*/ 49234 h 291"/>
                <a:gd name="T54" fmla="*/ 45799 w 485"/>
                <a:gd name="T55" fmla="*/ 48198 h 291"/>
                <a:gd name="T56" fmla="*/ 45799 w 485"/>
                <a:gd name="T57" fmla="*/ 39387 h 291"/>
                <a:gd name="T58" fmla="*/ 47095 w 485"/>
                <a:gd name="T59" fmla="*/ 36278 h 291"/>
                <a:gd name="T60" fmla="*/ 48823 w 485"/>
                <a:gd name="T61" fmla="*/ 34723 h 291"/>
                <a:gd name="T62" fmla="*/ 52712 w 485"/>
                <a:gd name="T63" fmla="*/ 35760 h 291"/>
                <a:gd name="T64" fmla="*/ 55304 w 485"/>
                <a:gd name="T65" fmla="*/ 35760 h 291"/>
                <a:gd name="T66" fmla="*/ 57032 w 485"/>
                <a:gd name="T67" fmla="*/ 34205 h 291"/>
                <a:gd name="T68" fmla="*/ 57896 w 485"/>
                <a:gd name="T69" fmla="*/ 29022 h 291"/>
                <a:gd name="T70" fmla="*/ 60057 w 485"/>
                <a:gd name="T71" fmla="*/ 22803 h 291"/>
                <a:gd name="T72" fmla="*/ 62217 w 485"/>
                <a:gd name="T73" fmla="*/ 20212 h 291"/>
                <a:gd name="T74" fmla="*/ 92029 w 485"/>
                <a:gd name="T75" fmla="*/ 0 h 29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4" name="Freeform 444">
              <a:extLst>
                <a:ext uri="{FF2B5EF4-FFF2-40B4-BE49-F238E27FC236}">
                  <a16:creationId xmlns:a16="http://schemas.microsoft.com/office/drawing/2014/main" id="{F7123DD3-3055-46E9-900B-D33A93C13859}"/>
                </a:ext>
              </a:extLst>
            </p:cNvPr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5888038" y="2228851"/>
              <a:ext cx="82550" cy="87313"/>
            </a:xfrm>
            <a:custGeom>
              <a:avLst/>
              <a:gdLst>
                <a:gd name="T0" fmla="*/ 38168 w 186"/>
                <a:gd name="T1" fmla="*/ 77319 h 166"/>
                <a:gd name="T2" fmla="*/ 36837 w 186"/>
                <a:gd name="T3" fmla="*/ 71534 h 166"/>
                <a:gd name="T4" fmla="*/ 34618 w 186"/>
                <a:gd name="T5" fmla="*/ 66800 h 166"/>
                <a:gd name="T6" fmla="*/ 32842 w 186"/>
                <a:gd name="T7" fmla="*/ 62066 h 166"/>
                <a:gd name="T8" fmla="*/ 31067 w 186"/>
                <a:gd name="T9" fmla="*/ 57858 h 166"/>
                <a:gd name="T10" fmla="*/ 26629 w 186"/>
                <a:gd name="T11" fmla="*/ 49968 h 166"/>
                <a:gd name="T12" fmla="*/ 21747 w 186"/>
                <a:gd name="T13" fmla="*/ 43131 h 166"/>
                <a:gd name="T14" fmla="*/ 16421 w 186"/>
                <a:gd name="T15" fmla="*/ 36819 h 166"/>
                <a:gd name="T16" fmla="*/ 11095 w 186"/>
                <a:gd name="T17" fmla="*/ 29455 h 166"/>
                <a:gd name="T18" fmla="*/ 5770 w 186"/>
                <a:gd name="T19" fmla="*/ 19987 h 166"/>
                <a:gd name="T20" fmla="*/ 0 w 186"/>
                <a:gd name="T21" fmla="*/ 9468 h 166"/>
                <a:gd name="T22" fmla="*/ 0 w 186"/>
                <a:gd name="T23" fmla="*/ 0 h 166"/>
                <a:gd name="T24" fmla="*/ 3107 w 186"/>
                <a:gd name="T25" fmla="*/ 1052 h 166"/>
                <a:gd name="T26" fmla="*/ 6213 w 186"/>
                <a:gd name="T27" fmla="*/ 1578 h 166"/>
                <a:gd name="T28" fmla="*/ 8876 w 186"/>
                <a:gd name="T29" fmla="*/ 2104 h 166"/>
                <a:gd name="T30" fmla="*/ 11983 w 186"/>
                <a:gd name="T31" fmla="*/ 2104 h 166"/>
                <a:gd name="T32" fmla="*/ 14646 w 186"/>
                <a:gd name="T33" fmla="*/ 2104 h 166"/>
                <a:gd name="T34" fmla="*/ 17753 w 186"/>
                <a:gd name="T35" fmla="*/ 1578 h 166"/>
                <a:gd name="T36" fmla="*/ 20859 w 186"/>
                <a:gd name="T37" fmla="*/ 1052 h 166"/>
                <a:gd name="T38" fmla="*/ 23522 w 186"/>
                <a:gd name="T39" fmla="*/ 0 h 166"/>
                <a:gd name="T40" fmla="*/ 62134 w 186"/>
                <a:gd name="T41" fmla="*/ 6312 h 166"/>
                <a:gd name="T42" fmla="*/ 82550 w 186"/>
                <a:gd name="T43" fmla="*/ 47864 h 166"/>
                <a:gd name="T44" fmla="*/ 75893 w 186"/>
                <a:gd name="T45" fmla="*/ 58910 h 166"/>
                <a:gd name="T46" fmla="*/ 68792 w 186"/>
                <a:gd name="T47" fmla="*/ 67852 h 166"/>
                <a:gd name="T48" fmla="*/ 66129 w 186"/>
                <a:gd name="T49" fmla="*/ 72060 h 166"/>
                <a:gd name="T50" fmla="*/ 63910 w 186"/>
                <a:gd name="T51" fmla="*/ 76267 h 166"/>
                <a:gd name="T52" fmla="*/ 63022 w 186"/>
                <a:gd name="T53" fmla="*/ 78897 h 166"/>
                <a:gd name="T54" fmla="*/ 62578 w 186"/>
                <a:gd name="T55" fmla="*/ 82053 h 166"/>
                <a:gd name="T56" fmla="*/ 62134 w 186"/>
                <a:gd name="T57" fmla="*/ 84683 h 166"/>
                <a:gd name="T58" fmla="*/ 62134 w 186"/>
                <a:gd name="T59" fmla="*/ 87313 h 166"/>
                <a:gd name="T60" fmla="*/ 38168 w 186"/>
                <a:gd name="T61" fmla="*/ 77319 h 16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95" name="Freeform 445">
              <a:extLst>
                <a:ext uri="{FF2B5EF4-FFF2-40B4-BE49-F238E27FC236}">
                  <a16:creationId xmlns:a16="http://schemas.microsoft.com/office/drawing/2014/main" id="{D6C0A390-D5A2-4C49-969C-3731714E22A8}"/>
                </a:ext>
              </a:extLst>
            </p:cNvPr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4252913" y="3665538"/>
              <a:ext cx="82550" cy="57150"/>
            </a:xfrm>
            <a:custGeom>
              <a:avLst/>
              <a:gdLst>
                <a:gd name="T0" fmla="*/ 67904 w 186"/>
                <a:gd name="T1" fmla="*/ 11540 h 104"/>
                <a:gd name="T2" fmla="*/ 64797 w 186"/>
                <a:gd name="T3" fmla="*/ 11540 h 104"/>
                <a:gd name="T4" fmla="*/ 62578 w 186"/>
                <a:gd name="T5" fmla="*/ 10990 h 104"/>
                <a:gd name="T6" fmla="*/ 60359 w 186"/>
                <a:gd name="T7" fmla="*/ 9891 h 104"/>
                <a:gd name="T8" fmla="*/ 59028 w 186"/>
                <a:gd name="T9" fmla="*/ 8243 h 104"/>
                <a:gd name="T10" fmla="*/ 57696 w 186"/>
                <a:gd name="T11" fmla="*/ 7144 h 104"/>
                <a:gd name="T12" fmla="*/ 55477 w 186"/>
                <a:gd name="T13" fmla="*/ 6045 h 104"/>
                <a:gd name="T14" fmla="*/ 53258 w 186"/>
                <a:gd name="T15" fmla="*/ 5495 h 104"/>
                <a:gd name="T16" fmla="*/ 50151 w 186"/>
                <a:gd name="T17" fmla="*/ 4946 h 104"/>
                <a:gd name="T18" fmla="*/ 44382 w 186"/>
                <a:gd name="T19" fmla="*/ 4396 h 104"/>
                <a:gd name="T20" fmla="*/ 39056 w 186"/>
                <a:gd name="T21" fmla="*/ 3297 h 104"/>
                <a:gd name="T22" fmla="*/ 33286 w 186"/>
                <a:gd name="T23" fmla="*/ 1649 h 104"/>
                <a:gd name="T24" fmla="*/ 28404 w 186"/>
                <a:gd name="T25" fmla="*/ 550 h 104"/>
                <a:gd name="T26" fmla="*/ 26629 w 186"/>
                <a:gd name="T27" fmla="*/ 0 h 104"/>
                <a:gd name="T28" fmla="*/ 23966 w 186"/>
                <a:gd name="T29" fmla="*/ 0 h 104"/>
                <a:gd name="T30" fmla="*/ 22635 w 186"/>
                <a:gd name="T31" fmla="*/ 550 h 104"/>
                <a:gd name="T32" fmla="*/ 20416 w 186"/>
                <a:gd name="T33" fmla="*/ 1099 h 104"/>
                <a:gd name="T34" fmla="*/ 19528 w 186"/>
                <a:gd name="T35" fmla="*/ 2198 h 104"/>
                <a:gd name="T36" fmla="*/ 18640 w 186"/>
                <a:gd name="T37" fmla="*/ 3297 h 104"/>
                <a:gd name="T38" fmla="*/ 18197 w 186"/>
                <a:gd name="T39" fmla="*/ 5495 h 104"/>
                <a:gd name="T40" fmla="*/ 17753 w 186"/>
                <a:gd name="T41" fmla="*/ 8243 h 104"/>
                <a:gd name="T42" fmla="*/ 15090 w 186"/>
                <a:gd name="T43" fmla="*/ 14837 h 104"/>
                <a:gd name="T44" fmla="*/ 8876 w 186"/>
                <a:gd name="T45" fmla="*/ 25827 h 104"/>
                <a:gd name="T46" fmla="*/ 3107 w 186"/>
                <a:gd name="T47" fmla="*/ 36268 h 104"/>
                <a:gd name="T48" fmla="*/ 0 w 186"/>
                <a:gd name="T49" fmla="*/ 42313 h 104"/>
                <a:gd name="T50" fmla="*/ 3551 w 186"/>
                <a:gd name="T51" fmla="*/ 42313 h 104"/>
                <a:gd name="T52" fmla="*/ 7101 w 186"/>
                <a:gd name="T53" fmla="*/ 42862 h 104"/>
                <a:gd name="T54" fmla="*/ 9320 w 186"/>
                <a:gd name="T55" fmla="*/ 43412 h 104"/>
                <a:gd name="T56" fmla="*/ 11095 w 186"/>
                <a:gd name="T57" fmla="*/ 44511 h 104"/>
                <a:gd name="T58" fmla="*/ 14646 w 186"/>
                <a:gd name="T59" fmla="*/ 46709 h 104"/>
                <a:gd name="T60" fmla="*/ 17753 w 186"/>
                <a:gd name="T61" fmla="*/ 48907 h 104"/>
                <a:gd name="T62" fmla="*/ 19972 w 186"/>
                <a:gd name="T63" fmla="*/ 51655 h 104"/>
                <a:gd name="T64" fmla="*/ 23078 w 186"/>
                <a:gd name="T65" fmla="*/ 53853 h 104"/>
                <a:gd name="T66" fmla="*/ 24854 w 186"/>
                <a:gd name="T67" fmla="*/ 54952 h 104"/>
                <a:gd name="T68" fmla="*/ 27073 w 186"/>
                <a:gd name="T69" fmla="*/ 55501 h 104"/>
                <a:gd name="T70" fmla="*/ 29292 w 186"/>
                <a:gd name="T71" fmla="*/ 56051 h 104"/>
                <a:gd name="T72" fmla="*/ 32842 w 186"/>
                <a:gd name="T73" fmla="*/ 56051 h 104"/>
                <a:gd name="T74" fmla="*/ 47488 w 186"/>
                <a:gd name="T75" fmla="*/ 56600 h 104"/>
                <a:gd name="T76" fmla="*/ 58140 w 186"/>
                <a:gd name="T77" fmla="*/ 57150 h 104"/>
                <a:gd name="T78" fmla="*/ 59915 w 186"/>
                <a:gd name="T79" fmla="*/ 56600 h 104"/>
                <a:gd name="T80" fmla="*/ 61691 w 186"/>
                <a:gd name="T81" fmla="*/ 56051 h 104"/>
                <a:gd name="T82" fmla="*/ 63022 w 186"/>
                <a:gd name="T83" fmla="*/ 54952 h 104"/>
                <a:gd name="T84" fmla="*/ 64353 w 186"/>
                <a:gd name="T85" fmla="*/ 53303 h 104"/>
                <a:gd name="T86" fmla="*/ 65241 w 186"/>
                <a:gd name="T87" fmla="*/ 51655 h 104"/>
                <a:gd name="T88" fmla="*/ 66573 w 186"/>
                <a:gd name="T89" fmla="*/ 48358 h 104"/>
                <a:gd name="T90" fmla="*/ 67460 w 186"/>
                <a:gd name="T91" fmla="*/ 45610 h 104"/>
                <a:gd name="T92" fmla="*/ 67904 w 186"/>
                <a:gd name="T93" fmla="*/ 42313 h 104"/>
                <a:gd name="T94" fmla="*/ 82550 w 186"/>
                <a:gd name="T95" fmla="*/ 14837 h 104"/>
                <a:gd name="T96" fmla="*/ 67904 w 186"/>
                <a:gd name="T97" fmla="*/ 11540 h 1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6" name="Freeform 446">
              <a:extLst>
                <a:ext uri="{FF2B5EF4-FFF2-40B4-BE49-F238E27FC236}">
                  <a16:creationId xmlns:a16="http://schemas.microsoft.com/office/drawing/2014/main" id="{4E7FB181-6FA8-41C8-8FD3-02B1A7AA0534}"/>
                </a:ext>
              </a:extLst>
            </p:cNvPr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6046788" y="2263775"/>
              <a:ext cx="133350" cy="96838"/>
            </a:xfrm>
            <a:custGeom>
              <a:avLst/>
              <a:gdLst>
                <a:gd name="T0" fmla="*/ 33873 w 311"/>
                <a:gd name="T1" fmla="*/ 20558 h 179"/>
                <a:gd name="T2" fmla="*/ 49309 w 311"/>
                <a:gd name="T3" fmla="*/ 14066 h 179"/>
                <a:gd name="T4" fmla="*/ 63459 w 311"/>
                <a:gd name="T5" fmla="*/ 7574 h 179"/>
                <a:gd name="T6" fmla="*/ 76323 w 311"/>
                <a:gd name="T7" fmla="*/ 2164 h 179"/>
                <a:gd name="T8" fmla="*/ 90472 w 311"/>
                <a:gd name="T9" fmla="*/ 0 h 179"/>
                <a:gd name="T10" fmla="*/ 101192 w 311"/>
                <a:gd name="T11" fmla="*/ 1082 h 179"/>
                <a:gd name="T12" fmla="*/ 109767 w 311"/>
                <a:gd name="T13" fmla="*/ 3246 h 179"/>
                <a:gd name="T14" fmla="*/ 125203 w 311"/>
                <a:gd name="T15" fmla="*/ 6492 h 179"/>
                <a:gd name="T16" fmla="*/ 123059 w 311"/>
                <a:gd name="T17" fmla="*/ 15148 h 179"/>
                <a:gd name="T18" fmla="*/ 119200 w 311"/>
                <a:gd name="T19" fmla="*/ 22722 h 179"/>
                <a:gd name="T20" fmla="*/ 115341 w 311"/>
                <a:gd name="T21" fmla="*/ 28673 h 179"/>
                <a:gd name="T22" fmla="*/ 113626 w 311"/>
                <a:gd name="T23" fmla="*/ 33542 h 179"/>
                <a:gd name="T24" fmla="*/ 114055 w 311"/>
                <a:gd name="T25" fmla="*/ 35706 h 179"/>
                <a:gd name="T26" fmla="*/ 116199 w 311"/>
                <a:gd name="T27" fmla="*/ 38411 h 179"/>
                <a:gd name="T28" fmla="*/ 122202 w 311"/>
                <a:gd name="T29" fmla="*/ 42739 h 179"/>
                <a:gd name="T30" fmla="*/ 133350 w 311"/>
                <a:gd name="T31" fmla="*/ 50312 h 179"/>
                <a:gd name="T32" fmla="*/ 123059 w 311"/>
                <a:gd name="T33" fmla="*/ 57886 h 179"/>
                <a:gd name="T34" fmla="*/ 120487 w 311"/>
                <a:gd name="T35" fmla="*/ 62214 h 179"/>
                <a:gd name="T36" fmla="*/ 119200 w 311"/>
                <a:gd name="T37" fmla="*/ 69788 h 179"/>
                <a:gd name="T38" fmla="*/ 108052 w 311"/>
                <a:gd name="T39" fmla="*/ 73575 h 179"/>
                <a:gd name="T40" fmla="*/ 90472 w 311"/>
                <a:gd name="T41" fmla="*/ 80067 h 179"/>
                <a:gd name="T42" fmla="*/ 81897 w 311"/>
                <a:gd name="T43" fmla="*/ 90887 h 179"/>
                <a:gd name="T44" fmla="*/ 76323 w 311"/>
                <a:gd name="T45" fmla="*/ 95215 h 179"/>
                <a:gd name="T46" fmla="*/ 70748 w 311"/>
                <a:gd name="T47" fmla="*/ 96838 h 179"/>
                <a:gd name="T48" fmla="*/ 64745 w 311"/>
                <a:gd name="T49" fmla="*/ 94674 h 179"/>
                <a:gd name="T50" fmla="*/ 58743 w 311"/>
                <a:gd name="T51" fmla="*/ 90346 h 179"/>
                <a:gd name="T52" fmla="*/ 51453 w 311"/>
                <a:gd name="T53" fmla="*/ 85477 h 179"/>
                <a:gd name="T54" fmla="*/ 42020 w 311"/>
                <a:gd name="T55" fmla="*/ 83854 h 179"/>
                <a:gd name="T56" fmla="*/ 28299 w 311"/>
                <a:gd name="T57" fmla="*/ 83854 h 179"/>
                <a:gd name="T58" fmla="*/ 21868 w 311"/>
                <a:gd name="T59" fmla="*/ 84936 h 179"/>
                <a:gd name="T60" fmla="*/ 16722 w 311"/>
                <a:gd name="T61" fmla="*/ 87100 h 179"/>
                <a:gd name="T62" fmla="*/ 15436 w 311"/>
                <a:gd name="T63" fmla="*/ 76821 h 179"/>
                <a:gd name="T64" fmla="*/ 13721 w 311"/>
                <a:gd name="T65" fmla="*/ 66542 h 179"/>
                <a:gd name="T66" fmla="*/ 9004 w 311"/>
                <a:gd name="T67" fmla="*/ 69247 h 179"/>
                <a:gd name="T68" fmla="*/ 5574 w 311"/>
                <a:gd name="T69" fmla="*/ 69788 h 179"/>
                <a:gd name="T70" fmla="*/ 3001 w 311"/>
                <a:gd name="T71" fmla="*/ 68165 h 179"/>
                <a:gd name="T72" fmla="*/ 1286 w 311"/>
                <a:gd name="T73" fmla="*/ 65460 h 179"/>
                <a:gd name="T74" fmla="*/ 0 w 311"/>
                <a:gd name="T75" fmla="*/ 56804 h 179"/>
                <a:gd name="T76" fmla="*/ 0 w 311"/>
                <a:gd name="T77" fmla="*/ 47067 h 179"/>
                <a:gd name="T78" fmla="*/ 1286 w 311"/>
                <a:gd name="T79" fmla="*/ 44362 h 179"/>
                <a:gd name="T80" fmla="*/ 5574 w 311"/>
                <a:gd name="T81" fmla="*/ 42198 h 179"/>
                <a:gd name="T82" fmla="*/ 9004 w 311"/>
                <a:gd name="T83" fmla="*/ 38952 h 179"/>
                <a:gd name="T84" fmla="*/ 10719 w 311"/>
                <a:gd name="T85" fmla="*/ 36788 h 179"/>
                <a:gd name="T86" fmla="*/ 11148 w 311"/>
                <a:gd name="T87" fmla="*/ 33542 h 179"/>
                <a:gd name="T88" fmla="*/ 10291 w 311"/>
                <a:gd name="T89" fmla="*/ 27591 h 179"/>
                <a:gd name="T90" fmla="*/ 8147 w 311"/>
                <a:gd name="T91" fmla="*/ 23263 h 179"/>
                <a:gd name="T92" fmla="*/ 3430 w 311"/>
                <a:gd name="T93" fmla="*/ 15689 h 179"/>
                <a:gd name="T94" fmla="*/ 429 w 311"/>
                <a:gd name="T95" fmla="*/ 9738 h 179"/>
                <a:gd name="T96" fmla="*/ 429 w 311"/>
                <a:gd name="T97" fmla="*/ 7033 h 179"/>
                <a:gd name="T98" fmla="*/ 2573 w 311"/>
                <a:gd name="T99" fmla="*/ 3246 h 179"/>
                <a:gd name="T100" fmla="*/ 0 w 311"/>
                <a:gd name="T101" fmla="*/ 3246 h 17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7" name="Freeform 447">
              <a:extLst>
                <a:ext uri="{FF2B5EF4-FFF2-40B4-BE49-F238E27FC236}">
                  <a16:creationId xmlns:a16="http://schemas.microsoft.com/office/drawing/2014/main" id="{607A565E-4732-4AD1-90B8-85C6F041FD70}"/>
                </a:ext>
              </a:extLst>
            </p:cNvPr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5402263" y="3190875"/>
              <a:ext cx="177800" cy="165100"/>
            </a:xfrm>
            <a:custGeom>
              <a:avLst/>
              <a:gdLst>
                <a:gd name="T0" fmla="*/ 2634 w 405"/>
                <a:gd name="T1" fmla="*/ 136707 h 314"/>
                <a:gd name="T2" fmla="*/ 5707 w 405"/>
                <a:gd name="T3" fmla="*/ 124614 h 314"/>
                <a:gd name="T4" fmla="*/ 7463 w 405"/>
                <a:gd name="T5" fmla="*/ 106211 h 314"/>
                <a:gd name="T6" fmla="*/ 10097 w 405"/>
                <a:gd name="T7" fmla="*/ 90963 h 314"/>
                <a:gd name="T8" fmla="*/ 14048 w 405"/>
                <a:gd name="T9" fmla="*/ 85179 h 314"/>
                <a:gd name="T10" fmla="*/ 21073 w 405"/>
                <a:gd name="T11" fmla="*/ 78869 h 314"/>
                <a:gd name="T12" fmla="*/ 31609 w 405"/>
                <a:gd name="T13" fmla="*/ 74137 h 314"/>
                <a:gd name="T14" fmla="*/ 40828 w 405"/>
                <a:gd name="T15" fmla="*/ 70457 h 314"/>
                <a:gd name="T16" fmla="*/ 45657 w 405"/>
                <a:gd name="T17" fmla="*/ 65725 h 314"/>
                <a:gd name="T18" fmla="*/ 49608 w 405"/>
                <a:gd name="T19" fmla="*/ 59941 h 314"/>
                <a:gd name="T20" fmla="*/ 53999 w 405"/>
                <a:gd name="T21" fmla="*/ 48899 h 314"/>
                <a:gd name="T22" fmla="*/ 59706 w 405"/>
                <a:gd name="T23" fmla="*/ 36280 h 314"/>
                <a:gd name="T24" fmla="*/ 64535 w 405"/>
                <a:gd name="T25" fmla="*/ 28919 h 314"/>
                <a:gd name="T26" fmla="*/ 68047 w 405"/>
                <a:gd name="T27" fmla="*/ 26816 h 314"/>
                <a:gd name="T28" fmla="*/ 74632 w 405"/>
                <a:gd name="T29" fmla="*/ 26816 h 314"/>
                <a:gd name="T30" fmla="*/ 82973 w 405"/>
                <a:gd name="T31" fmla="*/ 25238 h 314"/>
                <a:gd name="T32" fmla="*/ 93510 w 405"/>
                <a:gd name="T33" fmla="*/ 18403 h 314"/>
                <a:gd name="T34" fmla="*/ 104046 w 405"/>
                <a:gd name="T35" fmla="*/ 10516 h 314"/>
                <a:gd name="T36" fmla="*/ 112826 w 405"/>
                <a:gd name="T37" fmla="*/ 5784 h 314"/>
                <a:gd name="T38" fmla="*/ 123801 w 405"/>
                <a:gd name="T39" fmla="*/ 2103 h 314"/>
                <a:gd name="T40" fmla="*/ 137850 w 405"/>
                <a:gd name="T41" fmla="*/ 0 h 314"/>
                <a:gd name="T42" fmla="*/ 145752 w 405"/>
                <a:gd name="T43" fmla="*/ 7361 h 314"/>
                <a:gd name="T44" fmla="*/ 147947 w 405"/>
                <a:gd name="T45" fmla="*/ 17877 h 314"/>
                <a:gd name="T46" fmla="*/ 150581 w 405"/>
                <a:gd name="T47" fmla="*/ 26290 h 314"/>
                <a:gd name="T48" fmla="*/ 154532 w 405"/>
                <a:gd name="T49" fmla="*/ 32599 h 314"/>
                <a:gd name="T50" fmla="*/ 161557 w 405"/>
                <a:gd name="T51" fmla="*/ 38909 h 314"/>
                <a:gd name="T52" fmla="*/ 167703 w 405"/>
                <a:gd name="T53" fmla="*/ 44693 h 314"/>
                <a:gd name="T54" fmla="*/ 171215 w 405"/>
                <a:gd name="T55" fmla="*/ 48899 h 314"/>
                <a:gd name="T56" fmla="*/ 173849 w 405"/>
                <a:gd name="T57" fmla="*/ 60467 h 314"/>
                <a:gd name="T58" fmla="*/ 174727 w 405"/>
                <a:gd name="T59" fmla="*/ 75189 h 314"/>
                <a:gd name="T60" fmla="*/ 174727 w 405"/>
                <a:gd name="T61" fmla="*/ 89385 h 314"/>
                <a:gd name="T62" fmla="*/ 176483 w 405"/>
                <a:gd name="T63" fmla="*/ 103056 h 314"/>
                <a:gd name="T64" fmla="*/ 174727 w 405"/>
                <a:gd name="T65" fmla="*/ 114098 h 314"/>
                <a:gd name="T66" fmla="*/ 167703 w 405"/>
                <a:gd name="T67" fmla="*/ 118830 h 314"/>
                <a:gd name="T68" fmla="*/ 160240 w 405"/>
                <a:gd name="T69" fmla="*/ 126717 h 314"/>
                <a:gd name="T70" fmla="*/ 159361 w 405"/>
                <a:gd name="T71" fmla="*/ 124614 h 314"/>
                <a:gd name="T72" fmla="*/ 157166 w 405"/>
                <a:gd name="T73" fmla="*/ 122511 h 314"/>
                <a:gd name="T74" fmla="*/ 150142 w 405"/>
                <a:gd name="T75" fmla="*/ 119356 h 314"/>
                <a:gd name="T76" fmla="*/ 140045 w 405"/>
                <a:gd name="T77" fmla="*/ 117253 h 314"/>
                <a:gd name="T78" fmla="*/ 66730 w 405"/>
                <a:gd name="T79" fmla="*/ 126717 h 314"/>
                <a:gd name="T80" fmla="*/ 65852 w 405"/>
                <a:gd name="T81" fmla="*/ 135130 h 314"/>
                <a:gd name="T82" fmla="*/ 65852 w 405"/>
                <a:gd name="T83" fmla="*/ 144068 h 314"/>
                <a:gd name="T84" fmla="*/ 66730 w 405"/>
                <a:gd name="T85" fmla="*/ 165100 h 314"/>
                <a:gd name="T86" fmla="*/ 61023 w 405"/>
                <a:gd name="T87" fmla="*/ 164048 h 314"/>
                <a:gd name="T88" fmla="*/ 55316 w 405"/>
                <a:gd name="T89" fmla="*/ 160368 h 314"/>
                <a:gd name="T90" fmla="*/ 43901 w 405"/>
                <a:gd name="T91" fmla="*/ 152481 h 314"/>
                <a:gd name="T92" fmla="*/ 39072 w 405"/>
                <a:gd name="T93" fmla="*/ 161419 h 314"/>
                <a:gd name="T94" fmla="*/ 35999 w 405"/>
                <a:gd name="T95" fmla="*/ 164048 h 314"/>
                <a:gd name="T96" fmla="*/ 32048 w 405"/>
                <a:gd name="T97" fmla="*/ 165100 h 314"/>
                <a:gd name="T98" fmla="*/ 26341 w 405"/>
                <a:gd name="T99" fmla="*/ 163523 h 314"/>
                <a:gd name="T100" fmla="*/ 20634 w 405"/>
                <a:gd name="T101" fmla="*/ 158790 h 314"/>
                <a:gd name="T102" fmla="*/ 12292 w 405"/>
                <a:gd name="T103" fmla="*/ 153007 h 314"/>
                <a:gd name="T104" fmla="*/ 0 w 405"/>
                <a:gd name="T105" fmla="*/ 149326 h 31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8" name="Freeform 448">
              <a:extLst>
                <a:ext uri="{FF2B5EF4-FFF2-40B4-BE49-F238E27FC236}">
                  <a16:creationId xmlns:a16="http://schemas.microsoft.com/office/drawing/2014/main" id="{C9A4D96F-CB2E-4512-8F23-D75E73E112DB}"/>
                </a:ext>
              </a:extLst>
            </p:cNvPr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5749926" y="3259138"/>
              <a:ext cx="193675" cy="349250"/>
            </a:xfrm>
            <a:custGeom>
              <a:avLst/>
              <a:gdLst>
                <a:gd name="T0" fmla="*/ 143225 w 453"/>
                <a:gd name="T1" fmla="*/ 19021 h 661"/>
                <a:gd name="T2" fmla="*/ 137240 w 453"/>
                <a:gd name="T3" fmla="*/ 51780 h 661"/>
                <a:gd name="T4" fmla="*/ 118428 w 453"/>
                <a:gd name="T5" fmla="*/ 85595 h 661"/>
                <a:gd name="T6" fmla="*/ 108167 w 453"/>
                <a:gd name="T7" fmla="*/ 115712 h 661"/>
                <a:gd name="T8" fmla="*/ 99189 w 453"/>
                <a:gd name="T9" fmla="*/ 143716 h 661"/>
                <a:gd name="T10" fmla="*/ 89356 w 453"/>
                <a:gd name="T11" fmla="*/ 173832 h 661"/>
                <a:gd name="T12" fmla="*/ 83798 w 453"/>
                <a:gd name="T13" fmla="*/ 191269 h 661"/>
                <a:gd name="T14" fmla="*/ 76957 w 453"/>
                <a:gd name="T15" fmla="*/ 200779 h 661"/>
                <a:gd name="T16" fmla="*/ 71399 w 453"/>
                <a:gd name="T17" fmla="*/ 206063 h 661"/>
                <a:gd name="T18" fmla="*/ 60283 w 453"/>
                <a:gd name="T19" fmla="*/ 201836 h 661"/>
                <a:gd name="T20" fmla="*/ 51732 w 453"/>
                <a:gd name="T21" fmla="*/ 195495 h 661"/>
                <a:gd name="T22" fmla="*/ 40189 w 453"/>
                <a:gd name="T23" fmla="*/ 193910 h 661"/>
                <a:gd name="T24" fmla="*/ 27362 w 453"/>
                <a:gd name="T25" fmla="*/ 200779 h 661"/>
                <a:gd name="T26" fmla="*/ 18812 w 453"/>
                <a:gd name="T27" fmla="*/ 212932 h 661"/>
                <a:gd name="T28" fmla="*/ 8978 w 453"/>
                <a:gd name="T29" fmla="*/ 239878 h 661"/>
                <a:gd name="T30" fmla="*/ 2993 w 453"/>
                <a:gd name="T31" fmla="*/ 254672 h 661"/>
                <a:gd name="T32" fmla="*/ 428 w 453"/>
                <a:gd name="T33" fmla="*/ 264183 h 661"/>
                <a:gd name="T34" fmla="*/ 3420 w 453"/>
                <a:gd name="T35" fmla="*/ 273165 h 661"/>
                <a:gd name="T36" fmla="*/ 8551 w 453"/>
                <a:gd name="T37" fmla="*/ 277921 h 661"/>
                <a:gd name="T38" fmla="*/ 23515 w 453"/>
                <a:gd name="T39" fmla="*/ 277921 h 661"/>
                <a:gd name="T40" fmla="*/ 30355 w 453"/>
                <a:gd name="T41" fmla="*/ 289545 h 661"/>
                <a:gd name="T42" fmla="*/ 31210 w 453"/>
                <a:gd name="T43" fmla="*/ 311736 h 661"/>
                <a:gd name="T44" fmla="*/ 28645 w 453"/>
                <a:gd name="T45" fmla="*/ 332871 h 661"/>
                <a:gd name="T46" fmla="*/ 185124 w 453"/>
                <a:gd name="T47" fmla="*/ 349250 h 661"/>
                <a:gd name="T48" fmla="*/ 188972 w 453"/>
                <a:gd name="T49" fmla="*/ 307509 h 661"/>
                <a:gd name="T50" fmla="*/ 177429 w 453"/>
                <a:gd name="T51" fmla="*/ 300112 h 661"/>
                <a:gd name="T52" fmla="*/ 159472 w 453"/>
                <a:gd name="T53" fmla="*/ 294300 h 661"/>
                <a:gd name="T54" fmla="*/ 150921 w 453"/>
                <a:gd name="T55" fmla="*/ 290073 h 661"/>
                <a:gd name="T56" fmla="*/ 145363 w 453"/>
                <a:gd name="T57" fmla="*/ 283733 h 661"/>
                <a:gd name="T58" fmla="*/ 142370 w 453"/>
                <a:gd name="T59" fmla="*/ 272109 h 661"/>
                <a:gd name="T60" fmla="*/ 142370 w 453"/>
                <a:gd name="T61" fmla="*/ 245162 h 661"/>
                <a:gd name="T62" fmla="*/ 144081 w 453"/>
                <a:gd name="T63" fmla="*/ 226141 h 661"/>
                <a:gd name="T64" fmla="*/ 150066 w 453"/>
                <a:gd name="T65" fmla="*/ 209761 h 661"/>
                <a:gd name="T66" fmla="*/ 159472 w 453"/>
                <a:gd name="T67" fmla="*/ 192325 h 661"/>
                <a:gd name="T68" fmla="*/ 167595 w 453"/>
                <a:gd name="T69" fmla="*/ 174361 h 661"/>
                <a:gd name="T70" fmla="*/ 170588 w 453"/>
                <a:gd name="T71" fmla="*/ 156925 h 661"/>
                <a:gd name="T72" fmla="*/ 166313 w 453"/>
                <a:gd name="T73" fmla="*/ 141074 h 661"/>
                <a:gd name="T74" fmla="*/ 159472 w 453"/>
                <a:gd name="T75" fmla="*/ 129978 h 661"/>
                <a:gd name="T76" fmla="*/ 146646 w 453"/>
                <a:gd name="T77" fmla="*/ 114655 h 661"/>
                <a:gd name="T78" fmla="*/ 142370 w 453"/>
                <a:gd name="T79" fmla="*/ 101446 h 661"/>
                <a:gd name="T80" fmla="*/ 143225 w 453"/>
                <a:gd name="T81" fmla="*/ 91407 h 661"/>
                <a:gd name="T82" fmla="*/ 150921 w 453"/>
                <a:gd name="T83" fmla="*/ 86652 h 661"/>
                <a:gd name="T84" fmla="*/ 173581 w 453"/>
                <a:gd name="T85" fmla="*/ 85595 h 661"/>
                <a:gd name="T86" fmla="*/ 168878 w 453"/>
                <a:gd name="T87" fmla="*/ 79783 h 661"/>
                <a:gd name="T88" fmla="*/ 162037 w 453"/>
                <a:gd name="T89" fmla="*/ 61819 h 661"/>
                <a:gd name="T90" fmla="*/ 158617 w 453"/>
                <a:gd name="T91" fmla="*/ 38571 h 661"/>
                <a:gd name="T92" fmla="*/ 159472 w 453"/>
                <a:gd name="T93" fmla="*/ 23776 h 661"/>
                <a:gd name="T94" fmla="*/ 156907 w 453"/>
                <a:gd name="T95" fmla="*/ 5812 h 661"/>
                <a:gd name="T96" fmla="*/ 148356 w 453"/>
                <a:gd name="T97" fmla="*/ 0 h 66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9" name="Freeform 449">
              <a:extLst>
                <a:ext uri="{FF2B5EF4-FFF2-40B4-BE49-F238E27FC236}">
                  <a16:creationId xmlns:a16="http://schemas.microsoft.com/office/drawing/2014/main" id="{911920E7-CD84-4CB6-B0F9-DF89B620C75B}"/>
                </a:ext>
              </a:extLst>
            </p:cNvPr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8201026" y="3017838"/>
              <a:ext cx="55563" cy="57150"/>
            </a:xfrm>
            <a:custGeom>
              <a:avLst/>
              <a:gdLst>
                <a:gd name="T0" fmla="*/ 0 w 126"/>
                <a:gd name="T1" fmla="*/ 30480 h 105"/>
                <a:gd name="T2" fmla="*/ 1764 w 126"/>
                <a:gd name="T3" fmla="*/ 26670 h 105"/>
                <a:gd name="T4" fmla="*/ 4410 w 126"/>
                <a:gd name="T5" fmla="*/ 22316 h 105"/>
                <a:gd name="T6" fmla="*/ 7056 w 126"/>
                <a:gd name="T7" fmla="*/ 17961 h 105"/>
                <a:gd name="T8" fmla="*/ 10583 w 126"/>
                <a:gd name="T9" fmla="*/ 13607 h 105"/>
                <a:gd name="T10" fmla="*/ 16316 w 126"/>
                <a:gd name="T11" fmla="*/ 5987 h 105"/>
                <a:gd name="T12" fmla="*/ 20726 w 126"/>
                <a:gd name="T13" fmla="*/ 0 h 105"/>
                <a:gd name="T14" fmla="*/ 49830 w 126"/>
                <a:gd name="T15" fmla="*/ 0 h 105"/>
                <a:gd name="T16" fmla="*/ 50271 w 126"/>
                <a:gd name="T17" fmla="*/ 2177 h 105"/>
                <a:gd name="T18" fmla="*/ 50712 w 126"/>
                <a:gd name="T19" fmla="*/ 4354 h 105"/>
                <a:gd name="T20" fmla="*/ 51594 w 126"/>
                <a:gd name="T21" fmla="*/ 6531 h 105"/>
                <a:gd name="T22" fmla="*/ 52476 w 126"/>
                <a:gd name="T23" fmla="*/ 7620 h 105"/>
                <a:gd name="T24" fmla="*/ 54681 w 126"/>
                <a:gd name="T25" fmla="*/ 10886 h 105"/>
                <a:gd name="T26" fmla="*/ 55563 w 126"/>
                <a:gd name="T27" fmla="*/ 13063 h 105"/>
                <a:gd name="T28" fmla="*/ 55563 w 126"/>
                <a:gd name="T29" fmla="*/ 17417 h 105"/>
                <a:gd name="T30" fmla="*/ 55122 w 126"/>
                <a:gd name="T31" fmla="*/ 22316 h 105"/>
                <a:gd name="T32" fmla="*/ 54681 w 126"/>
                <a:gd name="T33" fmla="*/ 26126 h 105"/>
                <a:gd name="T34" fmla="*/ 53799 w 126"/>
                <a:gd name="T35" fmla="*/ 29936 h 105"/>
                <a:gd name="T36" fmla="*/ 52476 w 126"/>
                <a:gd name="T37" fmla="*/ 33746 h 105"/>
                <a:gd name="T38" fmla="*/ 51153 w 126"/>
                <a:gd name="T39" fmla="*/ 37556 h 105"/>
                <a:gd name="T40" fmla="*/ 49389 w 126"/>
                <a:gd name="T41" fmla="*/ 40821 h 105"/>
                <a:gd name="T42" fmla="*/ 47625 w 126"/>
                <a:gd name="T43" fmla="*/ 44087 h 105"/>
                <a:gd name="T44" fmla="*/ 45862 w 126"/>
                <a:gd name="T45" fmla="*/ 46809 h 105"/>
                <a:gd name="T46" fmla="*/ 43657 w 126"/>
                <a:gd name="T47" fmla="*/ 48986 h 105"/>
                <a:gd name="T48" fmla="*/ 41011 w 126"/>
                <a:gd name="T49" fmla="*/ 51163 h 105"/>
                <a:gd name="T50" fmla="*/ 38806 w 126"/>
                <a:gd name="T51" fmla="*/ 53884 h 105"/>
                <a:gd name="T52" fmla="*/ 35719 w 126"/>
                <a:gd name="T53" fmla="*/ 54973 h 105"/>
                <a:gd name="T54" fmla="*/ 32632 w 126"/>
                <a:gd name="T55" fmla="*/ 56061 h 105"/>
                <a:gd name="T56" fmla="*/ 29545 w 126"/>
                <a:gd name="T57" fmla="*/ 57150 h 105"/>
                <a:gd name="T58" fmla="*/ 26459 w 126"/>
                <a:gd name="T59" fmla="*/ 57150 h 105"/>
                <a:gd name="T60" fmla="*/ 21167 w 126"/>
                <a:gd name="T61" fmla="*/ 56606 h 105"/>
                <a:gd name="T62" fmla="*/ 16757 w 126"/>
                <a:gd name="T63" fmla="*/ 55517 h 105"/>
                <a:gd name="T64" fmla="*/ 13670 w 126"/>
                <a:gd name="T65" fmla="*/ 53340 h 105"/>
                <a:gd name="T66" fmla="*/ 10583 w 126"/>
                <a:gd name="T67" fmla="*/ 50074 h 105"/>
                <a:gd name="T68" fmla="*/ 8820 w 126"/>
                <a:gd name="T69" fmla="*/ 46809 h 105"/>
                <a:gd name="T70" fmla="*/ 7056 w 126"/>
                <a:gd name="T71" fmla="*/ 42454 h 105"/>
                <a:gd name="T72" fmla="*/ 6174 w 126"/>
                <a:gd name="T73" fmla="*/ 38100 h 105"/>
                <a:gd name="T74" fmla="*/ 5733 w 126"/>
                <a:gd name="T75" fmla="*/ 33746 h 105"/>
                <a:gd name="T76" fmla="*/ 0 w 126"/>
                <a:gd name="T77" fmla="*/ 30480 h 10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0" name="Freeform 450">
              <a:extLst>
                <a:ext uri="{FF2B5EF4-FFF2-40B4-BE49-F238E27FC236}">
                  <a16:creationId xmlns:a16="http://schemas.microsoft.com/office/drawing/2014/main" id="{61D4870E-72EE-4F14-986C-F2E0B3194AFC}"/>
                </a:ext>
              </a:extLst>
            </p:cNvPr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3556000" y="3281364"/>
              <a:ext cx="298450" cy="523875"/>
            </a:xfrm>
            <a:custGeom>
              <a:avLst/>
              <a:gdLst>
                <a:gd name="T0" fmla="*/ 292778 w 684"/>
                <a:gd name="T1" fmla="*/ 300782 h 998"/>
                <a:gd name="T2" fmla="*/ 296705 w 684"/>
                <a:gd name="T3" fmla="*/ 288709 h 998"/>
                <a:gd name="T4" fmla="*/ 292778 w 684"/>
                <a:gd name="T5" fmla="*/ 257738 h 998"/>
                <a:gd name="T6" fmla="*/ 287542 w 684"/>
                <a:gd name="T7" fmla="*/ 222043 h 998"/>
                <a:gd name="T8" fmla="*/ 295832 w 684"/>
                <a:gd name="T9" fmla="*/ 204196 h 998"/>
                <a:gd name="T10" fmla="*/ 243036 w 684"/>
                <a:gd name="T11" fmla="*/ 189498 h 998"/>
                <a:gd name="T12" fmla="*/ 232564 w 684"/>
                <a:gd name="T13" fmla="*/ 171126 h 998"/>
                <a:gd name="T14" fmla="*/ 201585 w 684"/>
                <a:gd name="T15" fmla="*/ 162727 h 998"/>
                <a:gd name="T16" fmla="*/ 175405 w 684"/>
                <a:gd name="T17" fmla="*/ 141730 h 998"/>
                <a:gd name="T18" fmla="*/ 163624 w 684"/>
                <a:gd name="T19" fmla="*/ 105510 h 998"/>
                <a:gd name="T20" fmla="*/ 163624 w 684"/>
                <a:gd name="T21" fmla="*/ 69815 h 998"/>
                <a:gd name="T22" fmla="*/ 172351 w 684"/>
                <a:gd name="T23" fmla="*/ 44094 h 998"/>
                <a:gd name="T24" fmla="*/ 189804 w 684"/>
                <a:gd name="T25" fmla="*/ 25196 h 998"/>
                <a:gd name="T26" fmla="*/ 202021 w 684"/>
                <a:gd name="T27" fmla="*/ 5774 h 998"/>
                <a:gd name="T28" fmla="*/ 169733 w 684"/>
                <a:gd name="T29" fmla="*/ 20472 h 998"/>
                <a:gd name="T30" fmla="*/ 146171 w 684"/>
                <a:gd name="T31" fmla="*/ 35695 h 998"/>
                <a:gd name="T32" fmla="*/ 132644 w 684"/>
                <a:gd name="T33" fmla="*/ 40944 h 998"/>
                <a:gd name="T34" fmla="*/ 121300 w 684"/>
                <a:gd name="T35" fmla="*/ 44094 h 998"/>
                <a:gd name="T36" fmla="*/ 105156 w 684"/>
                <a:gd name="T37" fmla="*/ 42519 h 998"/>
                <a:gd name="T38" fmla="*/ 94684 w 684"/>
                <a:gd name="T39" fmla="*/ 56692 h 998"/>
                <a:gd name="T40" fmla="*/ 85521 w 684"/>
                <a:gd name="T41" fmla="*/ 91862 h 998"/>
                <a:gd name="T42" fmla="*/ 68504 w 684"/>
                <a:gd name="T43" fmla="*/ 119158 h 998"/>
                <a:gd name="T44" fmla="*/ 46687 w 684"/>
                <a:gd name="T45" fmla="*/ 149079 h 998"/>
                <a:gd name="T46" fmla="*/ 39270 w 684"/>
                <a:gd name="T47" fmla="*/ 166401 h 998"/>
                <a:gd name="T48" fmla="*/ 37524 w 684"/>
                <a:gd name="T49" fmla="*/ 186873 h 998"/>
                <a:gd name="T50" fmla="*/ 42324 w 684"/>
                <a:gd name="T51" fmla="*/ 200521 h 998"/>
                <a:gd name="T52" fmla="*/ 42324 w 684"/>
                <a:gd name="T53" fmla="*/ 236741 h 998"/>
                <a:gd name="T54" fmla="*/ 41451 w 684"/>
                <a:gd name="T55" fmla="*/ 275586 h 998"/>
                <a:gd name="T56" fmla="*/ 31416 w 684"/>
                <a:gd name="T57" fmla="*/ 295533 h 998"/>
                <a:gd name="T58" fmla="*/ 16144 w 684"/>
                <a:gd name="T59" fmla="*/ 310756 h 998"/>
                <a:gd name="T60" fmla="*/ 4800 w 684"/>
                <a:gd name="T61" fmla="*/ 321254 h 998"/>
                <a:gd name="T62" fmla="*/ 13090 w 684"/>
                <a:gd name="T63" fmla="*/ 350650 h 998"/>
                <a:gd name="T64" fmla="*/ 53669 w 684"/>
                <a:gd name="T65" fmla="*/ 380571 h 998"/>
                <a:gd name="T66" fmla="*/ 76358 w 684"/>
                <a:gd name="T67" fmla="*/ 382145 h 998"/>
                <a:gd name="T68" fmla="*/ 102101 w 684"/>
                <a:gd name="T69" fmla="*/ 391594 h 998"/>
                <a:gd name="T70" fmla="*/ 130463 w 684"/>
                <a:gd name="T71" fmla="*/ 417315 h 998"/>
                <a:gd name="T72" fmla="*/ 147043 w 684"/>
                <a:gd name="T73" fmla="*/ 446186 h 998"/>
                <a:gd name="T74" fmla="*/ 160133 w 684"/>
                <a:gd name="T75" fmla="*/ 462459 h 998"/>
                <a:gd name="T76" fmla="*/ 179768 w 684"/>
                <a:gd name="T77" fmla="*/ 465083 h 998"/>
                <a:gd name="T78" fmla="*/ 201585 w 684"/>
                <a:gd name="T79" fmla="*/ 459834 h 998"/>
                <a:gd name="T80" fmla="*/ 214675 w 684"/>
                <a:gd name="T81" fmla="*/ 460884 h 998"/>
                <a:gd name="T82" fmla="*/ 224710 w 684"/>
                <a:gd name="T83" fmla="*/ 474532 h 998"/>
                <a:gd name="T84" fmla="*/ 223838 w 684"/>
                <a:gd name="T85" fmla="*/ 483981 h 998"/>
                <a:gd name="T86" fmla="*/ 212929 w 684"/>
                <a:gd name="T87" fmla="*/ 491855 h 998"/>
                <a:gd name="T88" fmla="*/ 212929 w 684"/>
                <a:gd name="T89" fmla="*/ 505503 h 998"/>
                <a:gd name="T90" fmla="*/ 222965 w 684"/>
                <a:gd name="T91" fmla="*/ 521775 h 998"/>
                <a:gd name="T92" fmla="*/ 236491 w 684"/>
                <a:gd name="T93" fmla="*/ 504978 h 998"/>
                <a:gd name="T94" fmla="*/ 246963 w 684"/>
                <a:gd name="T95" fmla="*/ 451960 h 998"/>
                <a:gd name="T96" fmla="*/ 249145 w 684"/>
                <a:gd name="T97" fmla="*/ 421515 h 998"/>
                <a:gd name="T98" fmla="*/ 242163 w 684"/>
                <a:gd name="T99" fmla="*/ 404717 h 998"/>
                <a:gd name="T100" fmla="*/ 228201 w 684"/>
                <a:gd name="T101" fmla="*/ 393169 h 998"/>
                <a:gd name="T102" fmla="*/ 227328 w 684"/>
                <a:gd name="T103" fmla="*/ 379521 h 998"/>
                <a:gd name="T104" fmla="*/ 246963 w 684"/>
                <a:gd name="T105" fmla="*/ 367447 h 998"/>
                <a:gd name="T106" fmla="*/ 242600 w 684"/>
                <a:gd name="T107" fmla="*/ 349075 h 998"/>
                <a:gd name="T108" fmla="*/ 242600 w 684"/>
                <a:gd name="T109" fmla="*/ 340676 h 998"/>
                <a:gd name="T110" fmla="*/ 285796 w 684"/>
                <a:gd name="T111" fmla="*/ 329653 h 99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1" name="Freeform 451">
              <a:extLst>
                <a:ext uri="{FF2B5EF4-FFF2-40B4-BE49-F238E27FC236}">
                  <a16:creationId xmlns:a16="http://schemas.microsoft.com/office/drawing/2014/main" id="{4C324100-8214-497A-A156-E0D787E74DDB}"/>
                </a:ext>
              </a:extLst>
            </p:cNvPr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5808664" y="3549650"/>
              <a:ext cx="187325" cy="274638"/>
            </a:xfrm>
            <a:custGeom>
              <a:avLst/>
              <a:gdLst>
                <a:gd name="T0" fmla="*/ 187325 w 429"/>
                <a:gd name="T1" fmla="*/ 11531 h 524"/>
                <a:gd name="T2" fmla="*/ 186888 w 429"/>
                <a:gd name="T3" fmla="*/ 22537 h 524"/>
                <a:gd name="T4" fmla="*/ 185142 w 429"/>
                <a:gd name="T5" fmla="*/ 28302 h 524"/>
                <a:gd name="T6" fmla="*/ 181212 w 429"/>
                <a:gd name="T7" fmla="*/ 35116 h 524"/>
                <a:gd name="T8" fmla="*/ 180339 w 429"/>
                <a:gd name="T9" fmla="*/ 42454 h 524"/>
                <a:gd name="T10" fmla="*/ 180775 w 429"/>
                <a:gd name="T11" fmla="*/ 83859 h 524"/>
                <a:gd name="T12" fmla="*/ 178155 w 429"/>
                <a:gd name="T13" fmla="*/ 108492 h 524"/>
                <a:gd name="T14" fmla="*/ 172915 w 429"/>
                <a:gd name="T15" fmla="*/ 126313 h 524"/>
                <a:gd name="T16" fmla="*/ 162436 w 429"/>
                <a:gd name="T17" fmla="*/ 145705 h 524"/>
                <a:gd name="T18" fmla="*/ 147589 w 429"/>
                <a:gd name="T19" fmla="*/ 161953 h 524"/>
                <a:gd name="T20" fmla="*/ 139293 w 429"/>
                <a:gd name="T21" fmla="*/ 174531 h 524"/>
                <a:gd name="T22" fmla="*/ 136236 w 429"/>
                <a:gd name="T23" fmla="*/ 215937 h 524"/>
                <a:gd name="T24" fmla="*/ 132743 w 429"/>
                <a:gd name="T25" fmla="*/ 230088 h 524"/>
                <a:gd name="T26" fmla="*/ 126630 w 429"/>
                <a:gd name="T27" fmla="*/ 234805 h 524"/>
                <a:gd name="T28" fmla="*/ 117460 w 429"/>
                <a:gd name="T29" fmla="*/ 238474 h 524"/>
                <a:gd name="T30" fmla="*/ 110474 w 429"/>
                <a:gd name="T31" fmla="*/ 247384 h 524"/>
                <a:gd name="T32" fmla="*/ 102177 w 429"/>
                <a:gd name="T33" fmla="*/ 262059 h 524"/>
                <a:gd name="T34" fmla="*/ 97374 w 429"/>
                <a:gd name="T35" fmla="*/ 264680 h 524"/>
                <a:gd name="T36" fmla="*/ 87768 w 429"/>
                <a:gd name="T37" fmla="*/ 264156 h 524"/>
                <a:gd name="T38" fmla="*/ 82528 w 429"/>
                <a:gd name="T39" fmla="*/ 261011 h 524"/>
                <a:gd name="T40" fmla="*/ 63315 w 429"/>
                <a:gd name="T41" fmla="*/ 262059 h 524"/>
                <a:gd name="T42" fmla="*/ 53709 w 429"/>
                <a:gd name="T43" fmla="*/ 262059 h 524"/>
                <a:gd name="T44" fmla="*/ 49342 w 429"/>
                <a:gd name="T45" fmla="*/ 258914 h 524"/>
                <a:gd name="T46" fmla="*/ 41482 w 429"/>
                <a:gd name="T47" fmla="*/ 258390 h 524"/>
                <a:gd name="T48" fmla="*/ 34059 w 429"/>
                <a:gd name="T49" fmla="*/ 263107 h 524"/>
                <a:gd name="T50" fmla="*/ 27073 w 429"/>
                <a:gd name="T51" fmla="*/ 272017 h 524"/>
                <a:gd name="T52" fmla="*/ 11790 w 429"/>
                <a:gd name="T53" fmla="*/ 257342 h 524"/>
                <a:gd name="T54" fmla="*/ 2620 w 429"/>
                <a:gd name="T55" fmla="*/ 234281 h 524"/>
                <a:gd name="T56" fmla="*/ 10916 w 429"/>
                <a:gd name="T57" fmla="*/ 225371 h 524"/>
                <a:gd name="T58" fmla="*/ 18340 w 429"/>
                <a:gd name="T59" fmla="*/ 222226 h 524"/>
                <a:gd name="T60" fmla="*/ 26636 w 429"/>
                <a:gd name="T61" fmla="*/ 224323 h 524"/>
                <a:gd name="T62" fmla="*/ 25326 w 429"/>
                <a:gd name="T63" fmla="*/ 219081 h 524"/>
                <a:gd name="T64" fmla="*/ 19649 w 429"/>
                <a:gd name="T65" fmla="*/ 202310 h 524"/>
                <a:gd name="T66" fmla="*/ 20523 w 429"/>
                <a:gd name="T67" fmla="*/ 191827 h 524"/>
                <a:gd name="T68" fmla="*/ 24889 w 429"/>
                <a:gd name="T69" fmla="*/ 186586 h 524"/>
                <a:gd name="T70" fmla="*/ 31003 w 429"/>
                <a:gd name="T71" fmla="*/ 184490 h 524"/>
                <a:gd name="T72" fmla="*/ 38862 w 429"/>
                <a:gd name="T73" fmla="*/ 176628 h 524"/>
                <a:gd name="T74" fmla="*/ 45412 w 429"/>
                <a:gd name="T75" fmla="*/ 174531 h 524"/>
                <a:gd name="T76" fmla="*/ 50215 w 429"/>
                <a:gd name="T77" fmla="*/ 179248 h 524"/>
                <a:gd name="T78" fmla="*/ 58948 w 429"/>
                <a:gd name="T79" fmla="*/ 188158 h 524"/>
                <a:gd name="T80" fmla="*/ 67245 w 429"/>
                <a:gd name="T81" fmla="*/ 183966 h 524"/>
                <a:gd name="T82" fmla="*/ 79035 w 429"/>
                <a:gd name="T83" fmla="*/ 185014 h 524"/>
                <a:gd name="T84" fmla="*/ 86894 w 429"/>
                <a:gd name="T85" fmla="*/ 178200 h 524"/>
                <a:gd name="T86" fmla="*/ 91698 w 429"/>
                <a:gd name="T87" fmla="*/ 165097 h 524"/>
                <a:gd name="T88" fmla="*/ 93008 w 429"/>
                <a:gd name="T89" fmla="*/ 151994 h 524"/>
                <a:gd name="T90" fmla="*/ 93881 w 429"/>
                <a:gd name="T91" fmla="*/ 140988 h 524"/>
                <a:gd name="T92" fmla="*/ 87768 w 429"/>
                <a:gd name="T93" fmla="*/ 123692 h 524"/>
                <a:gd name="T94" fmla="*/ 82091 w 429"/>
                <a:gd name="T95" fmla="*/ 106396 h 524"/>
                <a:gd name="T96" fmla="*/ 90388 w 429"/>
                <a:gd name="T97" fmla="*/ 92769 h 524"/>
                <a:gd name="T98" fmla="*/ 91698 w 429"/>
                <a:gd name="T99" fmla="*/ 85955 h 524"/>
                <a:gd name="T100" fmla="*/ 87331 w 429"/>
                <a:gd name="T101" fmla="*/ 81238 h 524"/>
                <a:gd name="T102" fmla="*/ 86021 w 429"/>
                <a:gd name="T103" fmla="*/ 71804 h 524"/>
                <a:gd name="T104" fmla="*/ 82091 w 429"/>
                <a:gd name="T105" fmla="*/ 67611 h 524"/>
                <a:gd name="T106" fmla="*/ 70301 w 429"/>
                <a:gd name="T107" fmla="*/ 69184 h 524"/>
                <a:gd name="T108" fmla="*/ 59822 w 429"/>
                <a:gd name="T109" fmla="*/ 68660 h 524"/>
                <a:gd name="T110" fmla="*/ 54582 w 429"/>
                <a:gd name="T111" fmla="*/ 62370 h 524"/>
                <a:gd name="T112" fmla="*/ 53709 w 429"/>
                <a:gd name="T113" fmla="*/ 53984 h 524"/>
                <a:gd name="T114" fmla="*/ 57638 w 429"/>
                <a:gd name="T115" fmla="*/ 39833 h 524"/>
                <a:gd name="T116" fmla="*/ 133616 w 429"/>
                <a:gd name="T117" fmla="*/ 19916 h 524"/>
                <a:gd name="T118" fmla="*/ 141040 w 429"/>
                <a:gd name="T119" fmla="*/ 8910 h 524"/>
                <a:gd name="T120" fmla="*/ 149773 w 429"/>
                <a:gd name="T121" fmla="*/ 3669 h 524"/>
                <a:gd name="T122" fmla="*/ 163309 w 429"/>
                <a:gd name="T123" fmla="*/ 2621 h 524"/>
                <a:gd name="T124" fmla="*/ 178155 w 429"/>
                <a:gd name="T125" fmla="*/ 2096 h 52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2" name="Freeform 452">
              <a:extLst>
                <a:ext uri="{FF2B5EF4-FFF2-40B4-BE49-F238E27FC236}">
                  <a16:creationId xmlns:a16="http://schemas.microsoft.com/office/drawing/2014/main" id="{6E185A91-DDE6-49C0-BA13-C1EFE1D135AC}"/>
                </a:ext>
              </a:extLst>
            </p:cNvPr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5840413" y="2192338"/>
              <a:ext cx="127000" cy="114300"/>
            </a:xfrm>
            <a:custGeom>
              <a:avLst/>
              <a:gdLst>
                <a:gd name="T0" fmla="*/ 112647 w 292"/>
                <a:gd name="T1" fmla="*/ 47668 h 223"/>
                <a:gd name="T2" fmla="*/ 72199 w 292"/>
                <a:gd name="T3" fmla="*/ 39467 h 223"/>
                <a:gd name="T4" fmla="*/ 66110 w 292"/>
                <a:gd name="T5" fmla="*/ 40492 h 223"/>
                <a:gd name="T6" fmla="*/ 60455 w 292"/>
                <a:gd name="T7" fmla="*/ 40492 h 223"/>
                <a:gd name="T8" fmla="*/ 54801 w 292"/>
                <a:gd name="T9" fmla="*/ 39467 h 223"/>
                <a:gd name="T10" fmla="*/ 51757 w 292"/>
                <a:gd name="T11" fmla="*/ 47668 h 223"/>
                <a:gd name="T12" fmla="*/ 62630 w 292"/>
                <a:gd name="T13" fmla="*/ 67145 h 223"/>
                <a:gd name="T14" fmla="*/ 73068 w 292"/>
                <a:gd name="T15" fmla="*/ 80471 h 223"/>
                <a:gd name="T16" fmla="*/ 82202 w 292"/>
                <a:gd name="T17" fmla="*/ 94823 h 223"/>
                <a:gd name="T18" fmla="*/ 85682 w 292"/>
                <a:gd name="T19" fmla="*/ 103536 h 223"/>
                <a:gd name="T20" fmla="*/ 89161 w 292"/>
                <a:gd name="T21" fmla="*/ 113787 h 223"/>
                <a:gd name="T22" fmla="*/ 76113 w 292"/>
                <a:gd name="T23" fmla="*/ 114300 h 223"/>
                <a:gd name="T24" fmla="*/ 70024 w 292"/>
                <a:gd name="T25" fmla="*/ 113787 h 223"/>
                <a:gd name="T26" fmla="*/ 63500 w 292"/>
                <a:gd name="T27" fmla="*/ 110712 h 223"/>
                <a:gd name="T28" fmla="*/ 58281 w 292"/>
                <a:gd name="T29" fmla="*/ 107124 h 223"/>
                <a:gd name="T30" fmla="*/ 55236 w 292"/>
                <a:gd name="T31" fmla="*/ 101486 h 223"/>
                <a:gd name="T32" fmla="*/ 52627 w 292"/>
                <a:gd name="T33" fmla="*/ 95848 h 223"/>
                <a:gd name="T34" fmla="*/ 49147 w 292"/>
                <a:gd name="T35" fmla="*/ 92260 h 223"/>
                <a:gd name="T36" fmla="*/ 39579 w 292"/>
                <a:gd name="T37" fmla="*/ 74321 h 223"/>
                <a:gd name="T38" fmla="*/ 29575 w 292"/>
                <a:gd name="T39" fmla="*/ 57919 h 223"/>
                <a:gd name="T40" fmla="*/ 23921 w 292"/>
                <a:gd name="T41" fmla="*/ 50743 h 223"/>
                <a:gd name="T42" fmla="*/ 18267 w 292"/>
                <a:gd name="T43" fmla="*/ 44592 h 223"/>
                <a:gd name="T44" fmla="*/ 11743 w 292"/>
                <a:gd name="T45" fmla="*/ 40492 h 223"/>
                <a:gd name="T46" fmla="*/ 5654 w 292"/>
                <a:gd name="T47" fmla="*/ 38442 h 223"/>
                <a:gd name="T48" fmla="*/ 1740 w 292"/>
                <a:gd name="T49" fmla="*/ 33316 h 223"/>
                <a:gd name="T50" fmla="*/ 435 w 292"/>
                <a:gd name="T51" fmla="*/ 29728 h 223"/>
                <a:gd name="T52" fmla="*/ 0 w 292"/>
                <a:gd name="T53" fmla="*/ 25115 h 223"/>
                <a:gd name="T54" fmla="*/ 17397 w 292"/>
                <a:gd name="T55" fmla="*/ 28191 h 223"/>
                <a:gd name="T56" fmla="*/ 30445 w 292"/>
                <a:gd name="T57" fmla="*/ 28191 h 223"/>
                <a:gd name="T58" fmla="*/ 39579 w 292"/>
                <a:gd name="T59" fmla="*/ 25628 h 223"/>
                <a:gd name="T60" fmla="*/ 46103 w 292"/>
                <a:gd name="T61" fmla="*/ 21015 h 223"/>
                <a:gd name="T62" fmla="*/ 55236 w 292"/>
                <a:gd name="T63" fmla="*/ 10251 h 223"/>
                <a:gd name="T64" fmla="*/ 60021 w 292"/>
                <a:gd name="T65" fmla="*/ 4613 h 223"/>
                <a:gd name="T66" fmla="*/ 66110 w 292"/>
                <a:gd name="T67" fmla="*/ 0 h 223"/>
                <a:gd name="T68" fmla="*/ 74808 w 292"/>
                <a:gd name="T69" fmla="*/ 7176 h 223"/>
                <a:gd name="T70" fmla="*/ 84377 w 292"/>
                <a:gd name="T71" fmla="*/ 13326 h 223"/>
                <a:gd name="T72" fmla="*/ 94815 w 292"/>
                <a:gd name="T73" fmla="*/ 17427 h 223"/>
                <a:gd name="T74" fmla="*/ 106993 w 292"/>
                <a:gd name="T75" fmla="*/ 18965 h 223"/>
                <a:gd name="T76" fmla="*/ 113952 w 292"/>
                <a:gd name="T77" fmla="*/ 17427 h 223"/>
                <a:gd name="T78" fmla="*/ 121346 w 292"/>
                <a:gd name="T79" fmla="*/ 15889 h 223"/>
                <a:gd name="T80" fmla="*/ 123955 w 292"/>
                <a:gd name="T81" fmla="*/ 24090 h 223"/>
                <a:gd name="T82" fmla="*/ 124825 w 292"/>
                <a:gd name="T83" fmla="*/ 25115 h 223"/>
                <a:gd name="T84" fmla="*/ 127000 w 292"/>
                <a:gd name="T85" fmla="*/ 35366 h 22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3" name="Freeform 453">
              <a:extLst>
                <a:ext uri="{FF2B5EF4-FFF2-40B4-BE49-F238E27FC236}">
                  <a16:creationId xmlns:a16="http://schemas.microsoft.com/office/drawing/2014/main" id="{78BD03C7-093E-4376-8E0D-F4FA557F5C48}"/>
                </a:ext>
              </a:extLst>
            </p:cNvPr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5791201" y="2051050"/>
              <a:ext cx="168275" cy="77788"/>
            </a:xfrm>
            <a:custGeom>
              <a:avLst/>
              <a:gdLst>
                <a:gd name="T0" fmla="*/ 166499 w 379"/>
                <a:gd name="T1" fmla="*/ 49742 h 147"/>
                <a:gd name="T2" fmla="*/ 159839 w 379"/>
                <a:gd name="T3" fmla="*/ 53446 h 147"/>
                <a:gd name="T4" fmla="*/ 157175 w 379"/>
                <a:gd name="T5" fmla="*/ 57150 h 147"/>
                <a:gd name="T6" fmla="*/ 154067 w 379"/>
                <a:gd name="T7" fmla="*/ 61913 h 147"/>
                <a:gd name="T8" fmla="*/ 147851 w 379"/>
                <a:gd name="T9" fmla="*/ 67205 h 147"/>
                <a:gd name="T10" fmla="*/ 142079 w 379"/>
                <a:gd name="T11" fmla="*/ 69321 h 147"/>
                <a:gd name="T12" fmla="*/ 138083 w 379"/>
                <a:gd name="T13" fmla="*/ 69850 h 147"/>
                <a:gd name="T14" fmla="*/ 133643 w 379"/>
                <a:gd name="T15" fmla="*/ 68792 h 147"/>
                <a:gd name="T16" fmla="*/ 129203 w 379"/>
                <a:gd name="T17" fmla="*/ 66675 h 147"/>
                <a:gd name="T18" fmla="*/ 124763 w 379"/>
                <a:gd name="T19" fmla="*/ 62971 h 147"/>
                <a:gd name="T20" fmla="*/ 122099 w 379"/>
                <a:gd name="T21" fmla="*/ 61384 h 147"/>
                <a:gd name="T22" fmla="*/ 119435 w 379"/>
                <a:gd name="T23" fmla="*/ 62442 h 147"/>
                <a:gd name="T24" fmla="*/ 118547 w 379"/>
                <a:gd name="T25" fmla="*/ 65088 h 147"/>
                <a:gd name="T26" fmla="*/ 118103 w 379"/>
                <a:gd name="T27" fmla="*/ 74084 h 147"/>
                <a:gd name="T28" fmla="*/ 114107 w 379"/>
                <a:gd name="T29" fmla="*/ 76730 h 147"/>
                <a:gd name="T30" fmla="*/ 108335 w 379"/>
                <a:gd name="T31" fmla="*/ 74084 h 147"/>
                <a:gd name="T32" fmla="*/ 101675 w 379"/>
                <a:gd name="T33" fmla="*/ 69321 h 147"/>
                <a:gd name="T34" fmla="*/ 50172 w 379"/>
                <a:gd name="T35" fmla="*/ 74613 h 147"/>
                <a:gd name="T36" fmla="*/ 35520 w 379"/>
                <a:gd name="T37" fmla="*/ 65617 h 147"/>
                <a:gd name="T38" fmla="*/ 25752 w 379"/>
                <a:gd name="T39" fmla="*/ 57680 h 147"/>
                <a:gd name="T40" fmla="*/ 19980 w 379"/>
                <a:gd name="T41" fmla="*/ 49742 h 147"/>
                <a:gd name="T42" fmla="*/ 16428 w 379"/>
                <a:gd name="T43" fmla="*/ 43392 h 147"/>
                <a:gd name="T44" fmla="*/ 11544 w 379"/>
                <a:gd name="T45" fmla="*/ 31221 h 147"/>
                <a:gd name="T46" fmla="*/ 7104 w 379"/>
                <a:gd name="T47" fmla="*/ 25400 h 147"/>
                <a:gd name="T48" fmla="*/ 0 w 379"/>
                <a:gd name="T49" fmla="*/ 19050 h 147"/>
                <a:gd name="T50" fmla="*/ 12876 w 379"/>
                <a:gd name="T51" fmla="*/ 21167 h 147"/>
                <a:gd name="T52" fmla="*/ 23088 w 379"/>
                <a:gd name="T53" fmla="*/ 20108 h 147"/>
                <a:gd name="T54" fmla="*/ 31968 w 379"/>
                <a:gd name="T55" fmla="*/ 17463 h 147"/>
                <a:gd name="T56" fmla="*/ 38628 w 379"/>
                <a:gd name="T57" fmla="*/ 13229 h 147"/>
                <a:gd name="T58" fmla="*/ 52836 w 379"/>
                <a:gd name="T59" fmla="*/ 4233 h 147"/>
                <a:gd name="T60" fmla="*/ 61272 w 379"/>
                <a:gd name="T61" fmla="*/ 1058 h 147"/>
                <a:gd name="T62" fmla="*/ 70596 w 379"/>
                <a:gd name="T63" fmla="*/ 0 h 147"/>
                <a:gd name="T64" fmla="*/ 88799 w 379"/>
                <a:gd name="T65" fmla="*/ 12171 h 147"/>
                <a:gd name="T66" fmla="*/ 108335 w 379"/>
                <a:gd name="T67" fmla="*/ 23813 h 147"/>
                <a:gd name="T68" fmla="*/ 129647 w 379"/>
                <a:gd name="T69" fmla="*/ 35454 h 147"/>
                <a:gd name="T70" fmla="*/ 147851 w 379"/>
                <a:gd name="T71" fmla="*/ 42334 h 147"/>
                <a:gd name="T72" fmla="*/ 157175 w 379"/>
                <a:gd name="T73" fmla="*/ 45509 h 147"/>
                <a:gd name="T74" fmla="*/ 168275 w 379"/>
                <a:gd name="T75" fmla="*/ 48684 h 14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4" name="Freeform 454">
              <a:extLst>
                <a:ext uri="{FF2B5EF4-FFF2-40B4-BE49-F238E27FC236}">
                  <a16:creationId xmlns:a16="http://schemas.microsoft.com/office/drawing/2014/main" id="{2CBEDBF0-5BCB-4DD0-AE83-A6386765C859}"/>
                </a:ext>
              </a:extLst>
            </p:cNvPr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5754688" y="1906589"/>
              <a:ext cx="30162" cy="60325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8103 h 67"/>
                <a:gd name="T4" fmla="*/ 0 w 61"/>
                <a:gd name="T5" fmla="*/ 16207 h 67"/>
                <a:gd name="T6" fmla="*/ 494 w 61"/>
                <a:gd name="T7" fmla="*/ 21609 h 67"/>
                <a:gd name="T8" fmla="*/ 989 w 61"/>
                <a:gd name="T9" fmla="*/ 27011 h 67"/>
                <a:gd name="T10" fmla="*/ 1483 w 61"/>
                <a:gd name="T11" fmla="*/ 32413 h 67"/>
                <a:gd name="T12" fmla="*/ 2967 w 61"/>
                <a:gd name="T13" fmla="*/ 37816 h 67"/>
                <a:gd name="T14" fmla="*/ 5934 w 61"/>
                <a:gd name="T15" fmla="*/ 49521 h 67"/>
                <a:gd name="T16" fmla="*/ 10384 w 61"/>
                <a:gd name="T17" fmla="*/ 60325 h 67"/>
                <a:gd name="T18" fmla="*/ 13845 w 61"/>
                <a:gd name="T19" fmla="*/ 58524 h 67"/>
                <a:gd name="T20" fmla="*/ 17306 w 61"/>
                <a:gd name="T21" fmla="*/ 54923 h 67"/>
                <a:gd name="T22" fmla="*/ 20767 w 61"/>
                <a:gd name="T23" fmla="*/ 52222 h 67"/>
                <a:gd name="T24" fmla="*/ 23734 w 61"/>
                <a:gd name="T25" fmla="*/ 47720 h 67"/>
                <a:gd name="T26" fmla="*/ 26206 w 61"/>
                <a:gd name="T27" fmla="*/ 42318 h 67"/>
                <a:gd name="T28" fmla="*/ 28184 w 61"/>
                <a:gd name="T29" fmla="*/ 36015 h 67"/>
                <a:gd name="T30" fmla="*/ 29173 w 61"/>
                <a:gd name="T31" fmla="*/ 28812 h 67"/>
                <a:gd name="T32" fmla="*/ 30162 w 61"/>
                <a:gd name="T33" fmla="*/ 21609 h 67"/>
                <a:gd name="T34" fmla="*/ 26206 w 61"/>
                <a:gd name="T35" fmla="*/ 12605 h 67"/>
                <a:gd name="T36" fmla="*/ 20273 w 61"/>
                <a:gd name="T37" fmla="*/ 0 h 67"/>
                <a:gd name="T38" fmla="*/ 13845 w 61"/>
                <a:gd name="T39" fmla="*/ 2701 h 67"/>
                <a:gd name="T40" fmla="*/ 8900 w 61"/>
                <a:gd name="T41" fmla="*/ 3601 h 67"/>
                <a:gd name="T42" fmla="*/ 6428 w 61"/>
                <a:gd name="T43" fmla="*/ 3601 h 67"/>
                <a:gd name="T44" fmla="*/ 4945 w 61"/>
                <a:gd name="T45" fmla="*/ 2701 h 67"/>
                <a:gd name="T46" fmla="*/ 2967 w 61"/>
                <a:gd name="T47" fmla="*/ 1801 h 67"/>
                <a:gd name="T48" fmla="*/ 0 w 61"/>
                <a:gd name="T49" fmla="*/ 0 h 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5" name="Freeform 455">
              <a:extLst>
                <a:ext uri="{FF2B5EF4-FFF2-40B4-BE49-F238E27FC236}">
                  <a16:creationId xmlns:a16="http://schemas.microsoft.com/office/drawing/2014/main" id="{E9696883-1FD5-47B3-AC51-F6B287836FA5}"/>
                </a:ext>
              </a:extLst>
            </p:cNvPr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5726113" y="1911350"/>
              <a:ext cx="25400" cy="58738"/>
            </a:xfrm>
            <a:custGeom>
              <a:avLst/>
              <a:gdLst>
                <a:gd name="T0" fmla="*/ 0 w 60"/>
                <a:gd name="T1" fmla="*/ 6408 h 55"/>
                <a:gd name="T2" fmla="*/ 0 w 60"/>
                <a:gd name="T3" fmla="*/ 25631 h 55"/>
                <a:gd name="T4" fmla="*/ 2117 w 60"/>
                <a:gd name="T5" fmla="*/ 34175 h 55"/>
                <a:gd name="T6" fmla="*/ 4233 w 60"/>
                <a:gd name="T7" fmla="*/ 42719 h 55"/>
                <a:gd name="T8" fmla="*/ 6773 w 60"/>
                <a:gd name="T9" fmla="*/ 48058 h 55"/>
                <a:gd name="T10" fmla="*/ 8890 w 60"/>
                <a:gd name="T11" fmla="*/ 52330 h 55"/>
                <a:gd name="T12" fmla="*/ 11430 w 60"/>
                <a:gd name="T13" fmla="*/ 55534 h 55"/>
                <a:gd name="T14" fmla="*/ 13970 w 60"/>
                <a:gd name="T15" fmla="*/ 57670 h 55"/>
                <a:gd name="T16" fmla="*/ 16933 w 60"/>
                <a:gd name="T17" fmla="*/ 58738 h 55"/>
                <a:gd name="T18" fmla="*/ 19473 w 60"/>
                <a:gd name="T19" fmla="*/ 58738 h 55"/>
                <a:gd name="T20" fmla="*/ 22437 w 60"/>
                <a:gd name="T21" fmla="*/ 55534 h 55"/>
                <a:gd name="T22" fmla="*/ 25400 w 60"/>
                <a:gd name="T23" fmla="*/ 52330 h 55"/>
                <a:gd name="T24" fmla="*/ 21167 w 60"/>
                <a:gd name="T25" fmla="*/ 36311 h 55"/>
                <a:gd name="T26" fmla="*/ 17780 w 60"/>
                <a:gd name="T27" fmla="*/ 23495 h 55"/>
                <a:gd name="T28" fmla="*/ 16510 w 60"/>
                <a:gd name="T29" fmla="*/ 18155 h 55"/>
                <a:gd name="T30" fmla="*/ 14817 w 60"/>
                <a:gd name="T31" fmla="*/ 12816 h 55"/>
                <a:gd name="T32" fmla="*/ 14393 w 60"/>
                <a:gd name="T33" fmla="*/ 6408 h 55"/>
                <a:gd name="T34" fmla="*/ 13970 w 60"/>
                <a:gd name="T35" fmla="*/ 0 h 55"/>
                <a:gd name="T36" fmla="*/ 9737 w 60"/>
                <a:gd name="T37" fmla="*/ 1068 h 55"/>
                <a:gd name="T38" fmla="*/ 6350 w 60"/>
                <a:gd name="T39" fmla="*/ 3204 h 55"/>
                <a:gd name="T40" fmla="*/ 2963 w 60"/>
                <a:gd name="T41" fmla="*/ 5340 h 55"/>
                <a:gd name="T42" fmla="*/ 0 w 60"/>
                <a:gd name="T43" fmla="*/ 6408 h 5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6" name="Freeform 456">
              <a:extLst>
                <a:ext uri="{FF2B5EF4-FFF2-40B4-BE49-F238E27FC236}">
                  <a16:creationId xmlns:a16="http://schemas.microsoft.com/office/drawing/2014/main" id="{9760DDF8-79F0-4B16-86FA-2D8575B49B27}"/>
                </a:ext>
              </a:extLst>
            </p:cNvPr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5695950" y="1857375"/>
              <a:ext cx="52388" cy="77788"/>
            </a:xfrm>
            <a:custGeom>
              <a:avLst/>
              <a:gdLst>
                <a:gd name="T0" fmla="*/ 32306 w 120"/>
                <a:gd name="T1" fmla="*/ 67802 h 148"/>
                <a:gd name="T2" fmla="*/ 30560 w 120"/>
                <a:gd name="T3" fmla="*/ 68853 h 148"/>
                <a:gd name="T4" fmla="*/ 29250 w 120"/>
                <a:gd name="T5" fmla="*/ 69378 h 148"/>
                <a:gd name="T6" fmla="*/ 27940 w 120"/>
                <a:gd name="T7" fmla="*/ 69904 h 148"/>
                <a:gd name="T8" fmla="*/ 26194 w 120"/>
                <a:gd name="T9" fmla="*/ 69904 h 148"/>
                <a:gd name="T10" fmla="*/ 24448 w 120"/>
                <a:gd name="T11" fmla="*/ 69904 h 148"/>
                <a:gd name="T12" fmla="*/ 23138 w 120"/>
                <a:gd name="T13" fmla="*/ 69378 h 148"/>
                <a:gd name="T14" fmla="*/ 21828 w 120"/>
                <a:gd name="T15" fmla="*/ 68853 h 148"/>
                <a:gd name="T16" fmla="*/ 20519 w 120"/>
                <a:gd name="T17" fmla="*/ 67802 h 148"/>
                <a:gd name="T18" fmla="*/ 17899 w 120"/>
                <a:gd name="T19" fmla="*/ 67276 h 148"/>
                <a:gd name="T20" fmla="*/ 14843 w 120"/>
                <a:gd name="T21" fmla="*/ 65699 h 148"/>
                <a:gd name="T22" fmla="*/ 11351 w 120"/>
                <a:gd name="T23" fmla="*/ 63071 h 148"/>
                <a:gd name="T24" fmla="*/ 8295 w 120"/>
                <a:gd name="T25" fmla="*/ 60443 h 148"/>
                <a:gd name="T26" fmla="*/ 4802 w 120"/>
                <a:gd name="T27" fmla="*/ 56764 h 148"/>
                <a:gd name="T28" fmla="*/ 2619 w 120"/>
                <a:gd name="T29" fmla="*/ 53085 h 148"/>
                <a:gd name="T30" fmla="*/ 1310 w 120"/>
                <a:gd name="T31" fmla="*/ 50983 h 148"/>
                <a:gd name="T32" fmla="*/ 873 w 120"/>
                <a:gd name="T33" fmla="*/ 49406 h 148"/>
                <a:gd name="T34" fmla="*/ 437 w 120"/>
                <a:gd name="T35" fmla="*/ 47304 h 148"/>
                <a:gd name="T36" fmla="*/ 0 w 120"/>
                <a:gd name="T37" fmla="*/ 45727 h 148"/>
                <a:gd name="T38" fmla="*/ 873 w 120"/>
                <a:gd name="T39" fmla="*/ 38368 h 148"/>
                <a:gd name="T40" fmla="*/ 3493 w 120"/>
                <a:gd name="T41" fmla="*/ 28908 h 148"/>
                <a:gd name="T42" fmla="*/ 6112 w 120"/>
                <a:gd name="T43" fmla="*/ 18396 h 148"/>
                <a:gd name="T44" fmla="*/ 8731 w 120"/>
                <a:gd name="T45" fmla="*/ 9461 h 148"/>
                <a:gd name="T46" fmla="*/ 13970 w 120"/>
                <a:gd name="T47" fmla="*/ 8935 h 148"/>
                <a:gd name="T48" fmla="*/ 18336 w 120"/>
                <a:gd name="T49" fmla="*/ 8410 h 148"/>
                <a:gd name="T50" fmla="*/ 22265 w 120"/>
                <a:gd name="T51" fmla="*/ 7358 h 148"/>
                <a:gd name="T52" fmla="*/ 25321 w 120"/>
                <a:gd name="T53" fmla="*/ 5782 h 148"/>
                <a:gd name="T54" fmla="*/ 30560 w 120"/>
                <a:gd name="T55" fmla="*/ 2628 h 148"/>
                <a:gd name="T56" fmla="*/ 34925 w 120"/>
                <a:gd name="T57" fmla="*/ 0 h 148"/>
                <a:gd name="T58" fmla="*/ 37108 w 120"/>
                <a:gd name="T59" fmla="*/ 1051 h 148"/>
                <a:gd name="T60" fmla="*/ 40601 w 120"/>
                <a:gd name="T61" fmla="*/ 3679 h 148"/>
                <a:gd name="T62" fmla="*/ 42784 w 120"/>
                <a:gd name="T63" fmla="*/ 5256 h 148"/>
                <a:gd name="T64" fmla="*/ 44530 w 120"/>
                <a:gd name="T65" fmla="*/ 6833 h 148"/>
                <a:gd name="T66" fmla="*/ 46276 w 120"/>
                <a:gd name="T67" fmla="*/ 8410 h 148"/>
                <a:gd name="T68" fmla="*/ 46713 w 120"/>
                <a:gd name="T69" fmla="*/ 9461 h 148"/>
                <a:gd name="T70" fmla="*/ 43657 w 120"/>
                <a:gd name="T71" fmla="*/ 14717 h 148"/>
                <a:gd name="T72" fmla="*/ 40601 w 120"/>
                <a:gd name="T73" fmla="*/ 19447 h 148"/>
                <a:gd name="T74" fmla="*/ 41474 w 120"/>
                <a:gd name="T75" fmla="*/ 22075 h 148"/>
                <a:gd name="T76" fmla="*/ 42784 w 120"/>
                <a:gd name="T77" fmla="*/ 25754 h 148"/>
                <a:gd name="T78" fmla="*/ 44530 w 120"/>
                <a:gd name="T79" fmla="*/ 29433 h 148"/>
                <a:gd name="T80" fmla="*/ 46713 w 120"/>
                <a:gd name="T81" fmla="*/ 33112 h 148"/>
                <a:gd name="T82" fmla="*/ 50205 w 120"/>
                <a:gd name="T83" fmla="*/ 39420 h 148"/>
                <a:gd name="T84" fmla="*/ 52388 w 120"/>
                <a:gd name="T85" fmla="*/ 41522 h 148"/>
                <a:gd name="T86" fmla="*/ 49332 w 120"/>
                <a:gd name="T87" fmla="*/ 42573 h 148"/>
                <a:gd name="T88" fmla="*/ 46713 w 120"/>
                <a:gd name="T89" fmla="*/ 44150 h 148"/>
                <a:gd name="T90" fmla="*/ 43657 w 120"/>
                <a:gd name="T91" fmla="*/ 45727 h 148"/>
                <a:gd name="T92" fmla="*/ 41910 w 120"/>
                <a:gd name="T93" fmla="*/ 47829 h 148"/>
                <a:gd name="T94" fmla="*/ 39291 w 120"/>
                <a:gd name="T95" fmla="*/ 49931 h 148"/>
                <a:gd name="T96" fmla="*/ 37981 w 120"/>
                <a:gd name="T97" fmla="*/ 52034 h 148"/>
                <a:gd name="T98" fmla="*/ 35798 w 120"/>
                <a:gd name="T99" fmla="*/ 54662 h 148"/>
                <a:gd name="T100" fmla="*/ 34925 w 120"/>
                <a:gd name="T101" fmla="*/ 57290 h 148"/>
                <a:gd name="T102" fmla="*/ 34052 w 120"/>
                <a:gd name="T103" fmla="*/ 59918 h 148"/>
                <a:gd name="T104" fmla="*/ 33616 w 120"/>
                <a:gd name="T105" fmla="*/ 63071 h 148"/>
                <a:gd name="T106" fmla="*/ 33179 w 120"/>
                <a:gd name="T107" fmla="*/ 65699 h 148"/>
                <a:gd name="T108" fmla="*/ 32743 w 120"/>
                <a:gd name="T109" fmla="*/ 68327 h 148"/>
                <a:gd name="T110" fmla="*/ 33179 w 120"/>
                <a:gd name="T111" fmla="*/ 70955 h 148"/>
                <a:gd name="T112" fmla="*/ 33616 w 120"/>
                <a:gd name="T113" fmla="*/ 73583 h 148"/>
                <a:gd name="T114" fmla="*/ 34052 w 120"/>
                <a:gd name="T115" fmla="*/ 75686 h 148"/>
                <a:gd name="T116" fmla="*/ 34925 w 120"/>
                <a:gd name="T117" fmla="*/ 77788 h 148"/>
                <a:gd name="T118" fmla="*/ 32306 w 120"/>
                <a:gd name="T119" fmla="*/ 67802 h 14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307" name="Freeform 457">
              <a:extLst>
                <a:ext uri="{FF2B5EF4-FFF2-40B4-BE49-F238E27FC236}">
                  <a16:creationId xmlns:a16="http://schemas.microsoft.com/office/drawing/2014/main" id="{AA9DEF5D-E666-47ED-8902-AD7A57E8CC77}"/>
                </a:ext>
              </a:extLst>
            </p:cNvPr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6127750" y="2662239"/>
              <a:ext cx="273050" cy="307975"/>
            </a:xfrm>
            <a:custGeom>
              <a:avLst/>
              <a:gdLst>
                <a:gd name="T0" fmla="*/ 9087 w 631"/>
                <a:gd name="T1" fmla="*/ 1040 h 592"/>
                <a:gd name="T2" fmla="*/ 13847 w 631"/>
                <a:gd name="T3" fmla="*/ 2081 h 592"/>
                <a:gd name="T4" fmla="*/ 23367 w 631"/>
                <a:gd name="T5" fmla="*/ 4162 h 592"/>
                <a:gd name="T6" fmla="*/ 33753 w 631"/>
                <a:gd name="T7" fmla="*/ 5723 h 592"/>
                <a:gd name="T8" fmla="*/ 45003 w 631"/>
                <a:gd name="T9" fmla="*/ 9884 h 592"/>
                <a:gd name="T10" fmla="*/ 56254 w 631"/>
                <a:gd name="T11" fmla="*/ 16647 h 592"/>
                <a:gd name="T12" fmla="*/ 63178 w 631"/>
                <a:gd name="T13" fmla="*/ 20809 h 592"/>
                <a:gd name="T14" fmla="*/ 68803 w 631"/>
                <a:gd name="T15" fmla="*/ 22370 h 592"/>
                <a:gd name="T16" fmla="*/ 81785 w 631"/>
                <a:gd name="T17" fmla="*/ 22370 h 592"/>
                <a:gd name="T18" fmla="*/ 98229 w 631"/>
                <a:gd name="T19" fmla="*/ 19248 h 592"/>
                <a:gd name="T20" fmla="*/ 119865 w 631"/>
                <a:gd name="T21" fmla="*/ 11965 h 592"/>
                <a:gd name="T22" fmla="*/ 172658 w 631"/>
                <a:gd name="T23" fmla="*/ 19769 h 592"/>
                <a:gd name="T24" fmla="*/ 174389 w 631"/>
                <a:gd name="T25" fmla="*/ 35896 h 592"/>
                <a:gd name="T26" fmla="*/ 177418 w 631"/>
                <a:gd name="T27" fmla="*/ 49422 h 592"/>
                <a:gd name="T28" fmla="*/ 180447 w 631"/>
                <a:gd name="T29" fmla="*/ 61907 h 592"/>
                <a:gd name="T30" fmla="*/ 184774 w 631"/>
                <a:gd name="T31" fmla="*/ 72832 h 592"/>
                <a:gd name="T32" fmla="*/ 194727 w 631"/>
                <a:gd name="T33" fmla="*/ 91040 h 592"/>
                <a:gd name="T34" fmla="*/ 204247 w 631"/>
                <a:gd name="T35" fmla="*/ 106127 h 592"/>
                <a:gd name="T36" fmla="*/ 208574 w 631"/>
                <a:gd name="T37" fmla="*/ 115491 h 592"/>
                <a:gd name="T38" fmla="*/ 209872 w 631"/>
                <a:gd name="T39" fmla="*/ 124855 h 592"/>
                <a:gd name="T40" fmla="*/ 212468 w 631"/>
                <a:gd name="T41" fmla="*/ 132658 h 592"/>
                <a:gd name="T42" fmla="*/ 214632 w 631"/>
                <a:gd name="T43" fmla="*/ 135780 h 592"/>
                <a:gd name="T44" fmla="*/ 218527 w 631"/>
                <a:gd name="T45" fmla="*/ 138381 h 592"/>
                <a:gd name="T46" fmla="*/ 221988 w 631"/>
                <a:gd name="T47" fmla="*/ 140462 h 592"/>
                <a:gd name="T48" fmla="*/ 224585 w 631"/>
                <a:gd name="T49" fmla="*/ 144623 h 592"/>
                <a:gd name="T50" fmla="*/ 230643 w 631"/>
                <a:gd name="T51" fmla="*/ 157629 h 592"/>
                <a:gd name="T52" fmla="*/ 234105 w 631"/>
                <a:gd name="T53" fmla="*/ 172195 h 592"/>
                <a:gd name="T54" fmla="*/ 235836 w 631"/>
                <a:gd name="T55" fmla="*/ 186242 h 592"/>
                <a:gd name="T56" fmla="*/ 237134 w 631"/>
                <a:gd name="T57" fmla="*/ 191444 h 592"/>
                <a:gd name="T58" fmla="*/ 241028 w 631"/>
                <a:gd name="T59" fmla="*/ 198207 h 592"/>
                <a:gd name="T60" fmla="*/ 252279 w 631"/>
                <a:gd name="T61" fmla="*/ 215895 h 592"/>
                <a:gd name="T62" fmla="*/ 264828 w 631"/>
                <a:gd name="T63" fmla="*/ 232542 h 592"/>
                <a:gd name="T64" fmla="*/ 273050 w 631"/>
                <a:gd name="T65" fmla="*/ 240866 h 592"/>
                <a:gd name="T66" fmla="*/ 264828 w 631"/>
                <a:gd name="T67" fmla="*/ 250230 h 592"/>
                <a:gd name="T68" fmla="*/ 270021 w 631"/>
                <a:gd name="T69" fmla="*/ 258033 h 592"/>
                <a:gd name="T70" fmla="*/ 270886 w 631"/>
                <a:gd name="T71" fmla="*/ 263756 h 592"/>
                <a:gd name="T72" fmla="*/ 270886 w 631"/>
                <a:gd name="T73" fmla="*/ 268438 h 592"/>
                <a:gd name="T74" fmla="*/ 273050 w 631"/>
                <a:gd name="T75" fmla="*/ 276241 h 592"/>
                <a:gd name="T76" fmla="*/ 270886 w 631"/>
                <a:gd name="T77" fmla="*/ 280403 h 592"/>
                <a:gd name="T78" fmla="*/ 266992 w 631"/>
                <a:gd name="T79" fmla="*/ 285085 h 592"/>
                <a:gd name="T80" fmla="*/ 256174 w 631"/>
                <a:gd name="T81" fmla="*/ 296010 h 592"/>
                <a:gd name="T82" fmla="*/ 241461 w 631"/>
                <a:gd name="T83" fmla="*/ 307975 h 592"/>
                <a:gd name="T84" fmla="*/ 19905 w 631"/>
                <a:gd name="T85" fmla="*/ 90520 h 592"/>
                <a:gd name="T86" fmla="*/ 10818 w 631"/>
                <a:gd name="T87" fmla="*/ 81676 h 592"/>
                <a:gd name="T88" fmla="*/ 4760 w 631"/>
                <a:gd name="T89" fmla="*/ 71791 h 592"/>
                <a:gd name="T90" fmla="*/ 865 w 631"/>
                <a:gd name="T91" fmla="*/ 60867 h 592"/>
                <a:gd name="T92" fmla="*/ 0 w 631"/>
                <a:gd name="T93" fmla="*/ 48381 h 592"/>
                <a:gd name="T94" fmla="*/ 1298 w 631"/>
                <a:gd name="T95" fmla="*/ 46300 h 592"/>
                <a:gd name="T96" fmla="*/ 4327 w 631"/>
                <a:gd name="T97" fmla="*/ 43179 h 592"/>
                <a:gd name="T98" fmla="*/ 7356 w 631"/>
                <a:gd name="T99" fmla="*/ 40058 h 592"/>
                <a:gd name="T100" fmla="*/ 8655 w 631"/>
                <a:gd name="T101" fmla="*/ 35896 h 592"/>
                <a:gd name="T102" fmla="*/ 7789 w 631"/>
                <a:gd name="T103" fmla="*/ 27572 h 592"/>
                <a:gd name="T104" fmla="*/ 5625 w 631"/>
                <a:gd name="T105" fmla="*/ 21850 h 592"/>
                <a:gd name="T106" fmla="*/ 3895 w 631"/>
                <a:gd name="T107" fmla="*/ 17688 h 592"/>
                <a:gd name="T108" fmla="*/ 3029 w 631"/>
                <a:gd name="T109" fmla="*/ 13526 h 592"/>
                <a:gd name="T110" fmla="*/ 5625 w 631"/>
                <a:gd name="T111" fmla="*/ 0 h 59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" name="Freeform 458">
              <a:extLst>
                <a:ext uri="{FF2B5EF4-FFF2-40B4-BE49-F238E27FC236}">
                  <a16:creationId xmlns:a16="http://schemas.microsoft.com/office/drawing/2014/main" id="{9C4A4BCA-AAB2-49B6-98B1-D7A36CFCDBB9}"/>
                </a:ext>
              </a:extLst>
            </p:cNvPr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5722938" y="2297113"/>
              <a:ext cx="17462" cy="57150"/>
            </a:xfrm>
            <a:custGeom>
              <a:avLst/>
              <a:gdLst>
                <a:gd name="T0" fmla="*/ 3056 w 40"/>
                <a:gd name="T1" fmla="*/ 19050 h 93"/>
                <a:gd name="T2" fmla="*/ 4366 w 40"/>
                <a:gd name="T3" fmla="*/ 18435 h 93"/>
                <a:gd name="T4" fmla="*/ 6112 w 40"/>
                <a:gd name="T5" fmla="*/ 15977 h 93"/>
                <a:gd name="T6" fmla="*/ 8731 w 40"/>
                <a:gd name="T7" fmla="*/ 12290 h 93"/>
                <a:gd name="T8" fmla="*/ 10914 w 40"/>
                <a:gd name="T9" fmla="*/ 9218 h 93"/>
                <a:gd name="T10" fmla="*/ 15279 w 40"/>
                <a:gd name="T11" fmla="*/ 2458 h 93"/>
                <a:gd name="T12" fmla="*/ 17462 w 40"/>
                <a:gd name="T13" fmla="*/ 0 h 93"/>
                <a:gd name="T14" fmla="*/ 16152 w 40"/>
                <a:gd name="T15" fmla="*/ 15977 h 93"/>
                <a:gd name="T16" fmla="*/ 15279 w 40"/>
                <a:gd name="T17" fmla="*/ 32569 h 93"/>
                <a:gd name="T18" fmla="*/ 14843 w 40"/>
                <a:gd name="T19" fmla="*/ 39944 h 93"/>
                <a:gd name="T20" fmla="*/ 14843 w 40"/>
                <a:gd name="T21" fmla="*/ 47318 h 93"/>
                <a:gd name="T22" fmla="*/ 15279 w 40"/>
                <a:gd name="T23" fmla="*/ 50390 h 93"/>
                <a:gd name="T24" fmla="*/ 15716 w 40"/>
                <a:gd name="T25" fmla="*/ 52848 h 93"/>
                <a:gd name="T26" fmla="*/ 16152 w 40"/>
                <a:gd name="T27" fmla="*/ 55306 h 93"/>
                <a:gd name="T28" fmla="*/ 17462 w 40"/>
                <a:gd name="T29" fmla="*/ 57150 h 93"/>
                <a:gd name="T30" fmla="*/ 11350 w 40"/>
                <a:gd name="T31" fmla="*/ 57150 h 93"/>
                <a:gd name="T32" fmla="*/ 5675 w 40"/>
                <a:gd name="T33" fmla="*/ 57150 h 93"/>
                <a:gd name="T34" fmla="*/ 4802 w 40"/>
                <a:gd name="T35" fmla="*/ 56535 h 93"/>
                <a:gd name="T36" fmla="*/ 3492 w 40"/>
                <a:gd name="T37" fmla="*/ 55921 h 93"/>
                <a:gd name="T38" fmla="*/ 2619 w 40"/>
                <a:gd name="T39" fmla="*/ 54077 h 93"/>
                <a:gd name="T40" fmla="*/ 1746 w 40"/>
                <a:gd name="T41" fmla="*/ 52848 h 93"/>
                <a:gd name="T42" fmla="*/ 437 w 40"/>
                <a:gd name="T43" fmla="*/ 49161 h 93"/>
                <a:gd name="T44" fmla="*/ 0 w 40"/>
                <a:gd name="T45" fmla="*/ 44860 h 93"/>
                <a:gd name="T46" fmla="*/ 437 w 40"/>
                <a:gd name="T47" fmla="*/ 39329 h 93"/>
                <a:gd name="T48" fmla="*/ 1310 w 40"/>
                <a:gd name="T49" fmla="*/ 30726 h 93"/>
                <a:gd name="T50" fmla="*/ 2619 w 40"/>
                <a:gd name="T51" fmla="*/ 22737 h 93"/>
                <a:gd name="T52" fmla="*/ 3056 w 40"/>
                <a:gd name="T53" fmla="*/ 19050 h 9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9" name="Freeform 459">
              <a:extLst>
                <a:ext uri="{FF2B5EF4-FFF2-40B4-BE49-F238E27FC236}">
                  <a16:creationId xmlns:a16="http://schemas.microsoft.com/office/drawing/2014/main" id="{9B91B679-9F21-4884-A58B-1F3973727EFD}"/>
                </a:ext>
              </a:extLst>
            </p:cNvPr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5362576" y="2047875"/>
              <a:ext cx="295275" cy="273050"/>
            </a:xfrm>
            <a:custGeom>
              <a:avLst/>
              <a:gdLst>
                <a:gd name="T0" fmla="*/ 66259 w 664"/>
                <a:gd name="T1" fmla="*/ 234570 h 518"/>
                <a:gd name="T2" fmla="*/ 67148 w 664"/>
                <a:gd name="T3" fmla="*/ 227190 h 518"/>
                <a:gd name="T4" fmla="*/ 64925 w 664"/>
                <a:gd name="T5" fmla="*/ 210849 h 518"/>
                <a:gd name="T6" fmla="*/ 67148 w 664"/>
                <a:gd name="T7" fmla="*/ 186075 h 518"/>
                <a:gd name="T8" fmla="*/ 64925 w 664"/>
                <a:gd name="T9" fmla="*/ 157083 h 518"/>
                <a:gd name="T10" fmla="*/ 59589 w 664"/>
                <a:gd name="T11" fmla="*/ 132308 h 518"/>
                <a:gd name="T12" fmla="*/ 48471 w 664"/>
                <a:gd name="T13" fmla="*/ 127037 h 518"/>
                <a:gd name="T14" fmla="*/ 8894 w 664"/>
                <a:gd name="T15" fmla="*/ 101208 h 518"/>
                <a:gd name="T16" fmla="*/ 10673 w 664"/>
                <a:gd name="T17" fmla="*/ 90138 h 518"/>
                <a:gd name="T18" fmla="*/ 16009 w 664"/>
                <a:gd name="T19" fmla="*/ 83813 h 518"/>
                <a:gd name="T20" fmla="*/ 21345 w 664"/>
                <a:gd name="T21" fmla="*/ 78014 h 518"/>
                <a:gd name="T22" fmla="*/ 44469 w 664"/>
                <a:gd name="T23" fmla="*/ 81704 h 518"/>
                <a:gd name="T24" fmla="*/ 55586 w 664"/>
                <a:gd name="T25" fmla="*/ 80123 h 518"/>
                <a:gd name="T26" fmla="*/ 65370 w 664"/>
                <a:gd name="T27" fmla="*/ 82758 h 518"/>
                <a:gd name="T28" fmla="*/ 73374 w 664"/>
                <a:gd name="T29" fmla="*/ 49550 h 518"/>
                <a:gd name="T30" fmla="*/ 82268 w 664"/>
                <a:gd name="T31" fmla="*/ 57456 h 518"/>
                <a:gd name="T32" fmla="*/ 92051 w 664"/>
                <a:gd name="T33" fmla="*/ 57984 h 518"/>
                <a:gd name="T34" fmla="*/ 104947 w 664"/>
                <a:gd name="T35" fmla="*/ 52185 h 518"/>
                <a:gd name="T36" fmla="*/ 117398 w 664"/>
                <a:gd name="T37" fmla="*/ 42170 h 518"/>
                <a:gd name="T38" fmla="*/ 128516 w 664"/>
                <a:gd name="T39" fmla="*/ 30046 h 518"/>
                <a:gd name="T40" fmla="*/ 136965 w 664"/>
                <a:gd name="T41" fmla="*/ 16868 h 518"/>
                <a:gd name="T42" fmla="*/ 141412 w 664"/>
                <a:gd name="T43" fmla="*/ 6325 h 518"/>
                <a:gd name="T44" fmla="*/ 164536 w 664"/>
                <a:gd name="T45" fmla="*/ 2108 h 518"/>
                <a:gd name="T46" fmla="*/ 179655 w 664"/>
                <a:gd name="T47" fmla="*/ 16868 h 518"/>
                <a:gd name="T48" fmla="*/ 203224 w 664"/>
                <a:gd name="T49" fmla="*/ 32155 h 518"/>
                <a:gd name="T50" fmla="*/ 227237 w 664"/>
                <a:gd name="T51" fmla="*/ 47441 h 518"/>
                <a:gd name="T52" fmla="*/ 245470 w 664"/>
                <a:gd name="T53" fmla="*/ 56402 h 518"/>
                <a:gd name="T54" fmla="*/ 257032 w 664"/>
                <a:gd name="T55" fmla="*/ 61146 h 518"/>
                <a:gd name="T56" fmla="*/ 277043 w 664"/>
                <a:gd name="T57" fmla="*/ 63782 h 518"/>
                <a:gd name="T58" fmla="*/ 292607 w 664"/>
                <a:gd name="T59" fmla="*/ 71689 h 518"/>
                <a:gd name="T60" fmla="*/ 286826 w 664"/>
                <a:gd name="T61" fmla="*/ 87503 h 518"/>
                <a:gd name="T62" fmla="*/ 275709 w 664"/>
                <a:gd name="T63" fmla="*/ 124401 h 518"/>
                <a:gd name="T64" fmla="*/ 265925 w 664"/>
                <a:gd name="T65" fmla="*/ 143378 h 518"/>
                <a:gd name="T66" fmla="*/ 260144 w 664"/>
                <a:gd name="T67" fmla="*/ 150757 h 518"/>
                <a:gd name="T68" fmla="*/ 266370 w 664"/>
                <a:gd name="T69" fmla="*/ 157083 h 518"/>
                <a:gd name="T70" fmla="*/ 274819 w 664"/>
                <a:gd name="T71" fmla="*/ 161827 h 518"/>
                <a:gd name="T72" fmla="*/ 277043 w 664"/>
                <a:gd name="T73" fmla="*/ 176059 h 518"/>
                <a:gd name="T74" fmla="*/ 275709 w 664"/>
                <a:gd name="T75" fmla="*/ 182912 h 518"/>
                <a:gd name="T76" fmla="*/ 274819 w 664"/>
                <a:gd name="T77" fmla="*/ 196090 h 518"/>
                <a:gd name="T78" fmla="*/ 276598 w 664"/>
                <a:gd name="T79" fmla="*/ 210322 h 518"/>
                <a:gd name="T80" fmla="*/ 281045 w 664"/>
                <a:gd name="T81" fmla="*/ 222973 h 518"/>
                <a:gd name="T82" fmla="*/ 270372 w 664"/>
                <a:gd name="T83" fmla="*/ 240895 h 518"/>
                <a:gd name="T84" fmla="*/ 253029 w 664"/>
                <a:gd name="T85" fmla="*/ 255128 h 518"/>
                <a:gd name="T86" fmla="*/ 241023 w 664"/>
                <a:gd name="T87" fmla="*/ 257763 h 518"/>
                <a:gd name="T88" fmla="*/ 226348 w 664"/>
                <a:gd name="T89" fmla="*/ 253546 h 518"/>
                <a:gd name="T90" fmla="*/ 212118 w 664"/>
                <a:gd name="T91" fmla="*/ 242477 h 518"/>
                <a:gd name="T92" fmla="*/ 205892 w 664"/>
                <a:gd name="T93" fmla="*/ 240368 h 518"/>
                <a:gd name="T94" fmla="*/ 196998 w 664"/>
                <a:gd name="T95" fmla="*/ 240895 h 518"/>
                <a:gd name="T96" fmla="*/ 188104 w 664"/>
                <a:gd name="T97" fmla="*/ 245112 h 518"/>
                <a:gd name="T98" fmla="*/ 180545 w 664"/>
                <a:gd name="T99" fmla="*/ 251438 h 518"/>
                <a:gd name="T100" fmla="*/ 172540 w 664"/>
                <a:gd name="T101" fmla="*/ 265143 h 518"/>
                <a:gd name="T102" fmla="*/ 171206 w 664"/>
                <a:gd name="T103" fmla="*/ 272523 h 518"/>
                <a:gd name="T104" fmla="*/ 148082 w 664"/>
                <a:gd name="T105" fmla="*/ 271469 h 518"/>
                <a:gd name="T106" fmla="*/ 140967 w 664"/>
                <a:gd name="T107" fmla="*/ 267252 h 518"/>
                <a:gd name="T108" fmla="*/ 136520 w 664"/>
                <a:gd name="T109" fmla="*/ 263562 h 518"/>
                <a:gd name="T110" fmla="*/ 131629 w 664"/>
                <a:gd name="T111" fmla="*/ 267779 h 518"/>
                <a:gd name="T112" fmla="*/ 127626 w 664"/>
                <a:gd name="T113" fmla="*/ 271996 h 518"/>
                <a:gd name="T114" fmla="*/ 119177 w 664"/>
                <a:gd name="T115" fmla="*/ 271996 h 518"/>
                <a:gd name="T116" fmla="*/ 100945 w 664"/>
                <a:gd name="T117" fmla="*/ 266725 h 518"/>
                <a:gd name="T118" fmla="*/ 82268 w 664"/>
                <a:gd name="T119" fmla="*/ 256709 h 518"/>
                <a:gd name="T120" fmla="*/ 71151 w 664"/>
                <a:gd name="T121" fmla="*/ 247221 h 518"/>
                <a:gd name="T122" fmla="*/ 64925 w 664"/>
                <a:gd name="T123" fmla="*/ 237206 h 51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310" name="Freeform 460">
              <a:extLst>
                <a:ext uri="{FF2B5EF4-FFF2-40B4-BE49-F238E27FC236}">
                  <a16:creationId xmlns:a16="http://schemas.microsoft.com/office/drawing/2014/main" id="{2530146E-1380-4F1E-B5A0-C3D06EF6B138}"/>
                </a:ext>
              </a:extLst>
            </p:cNvPr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6443663" y="2282825"/>
              <a:ext cx="150812" cy="82550"/>
            </a:xfrm>
            <a:custGeom>
              <a:avLst/>
              <a:gdLst>
                <a:gd name="T0" fmla="*/ 142243 w 352"/>
                <a:gd name="T1" fmla="*/ 49098 h 153"/>
                <a:gd name="T2" fmla="*/ 150812 w 352"/>
                <a:gd name="T3" fmla="*/ 82550 h 153"/>
                <a:gd name="T4" fmla="*/ 139672 w 352"/>
                <a:gd name="T5" fmla="*/ 76075 h 153"/>
                <a:gd name="T6" fmla="*/ 128105 w 352"/>
                <a:gd name="T7" fmla="*/ 69601 h 153"/>
                <a:gd name="T8" fmla="*/ 113966 w 352"/>
                <a:gd name="T9" fmla="*/ 76075 h 153"/>
                <a:gd name="T10" fmla="*/ 99399 w 352"/>
                <a:gd name="T11" fmla="*/ 76075 h 153"/>
                <a:gd name="T12" fmla="*/ 97257 w 352"/>
                <a:gd name="T13" fmla="*/ 72838 h 153"/>
                <a:gd name="T14" fmla="*/ 96828 w 352"/>
                <a:gd name="T15" fmla="*/ 72838 h 153"/>
                <a:gd name="T16" fmla="*/ 93829 w 352"/>
                <a:gd name="T17" fmla="*/ 69601 h 153"/>
                <a:gd name="T18" fmla="*/ 91258 w 352"/>
                <a:gd name="T19" fmla="*/ 67443 h 153"/>
                <a:gd name="T20" fmla="*/ 87831 w 352"/>
                <a:gd name="T21" fmla="*/ 65285 h 153"/>
                <a:gd name="T22" fmla="*/ 84403 w 352"/>
                <a:gd name="T23" fmla="*/ 63666 h 153"/>
                <a:gd name="T24" fmla="*/ 77548 w 352"/>
                <a:gd name="T25" fmla="*/ 60968 h 153"/>
                <a:gd name="T26" fmla="*/ 69836 w 352"/>
                <a:gd name="T27" fmla="*/ 59350 h 153"/>
                <a:gd name="T28" fmla="*/ 53984 w 352"/>
                <a:gd name="T29" fmla="*/ 57731 h 153"/>
                <a:gd name="T30" fmla="*/ 36846 w 352"/>
                <a:gd name="T31" fmla="*/ 56112 h 153"/>
                <a:gd name="T32" fmla="*/ 36418 w 352"/>
                <a:gd name="T33" fmla="*/ 50717 h 153"/>
                <a:gd name="T34" fmla="*/ 35132 w 352"/>
                <a:gd name="T35" fmla="*/ 45322 h 153"/>
                <a:gd name="T36" fmla="*/ 34275 w 352"/>
                <a:gd name="T37" fmla="*/ 40466 h 153"/>
                <a:gd name="T38" fmla="*/ 32133 w 352"/>
                <a:gd name="T39" fmla="*/ 36149 h 153"/>
                <a:gd name="T40" fmla="*/ 30419 w 352"/>
                <a:gd name="T41" fmla="*/ 31833 h 153"/>
                <a:gd name="T42" fmla="*/ 28706 w 352"/>
                <a:gd name="T43" fmla="*/ 28056 h 153"/>
                <a:gd name="T44" fmla="*/ 26135 w 352"/>
                <a:gd name="T45" fmla="*/ 23740 h 153"/>
                <a:gd name="T46" fmla="*/ 23993 w 352"/>
                <a:gd name="T47" fmla="*/ 19963 h 153"/>
                <a:gd name="T48" fmla="*/ 18852 w 352"/>
                <a:gd name="T49" fmla="*/ 14028 h 153"/>
                <a:gd name="T50" fmla="*/ 12425 w 352"/>
                <a:gd name="T51" fmla="*/ 8633 h 153"/>
                <a:gd name="T52" fmla="*/ 6427 w 352"/>
                <a:gd name="T53" fmla="*/ 3777 h 153"/>
                <a:gd name="T54" fmla="*/ 0 w 352"/>
                <a:gd name="T55" fmla="*/ 0 h 153"/>
                <a:gd name="T56" fmla="*/ 2999 w 352"/>
                <a:gd name="T57" fmla="*/ 0 h 153"/>
                <a:gd name="T58" fmla="*/ 25707 w 352"/>
                <a:gd name="T59" fmla="*/ 9712 h 153"/>
                <a:gd name="T60" fmla="*/ 45415 w 352"/>
                <a:gd name="T61" fmla="*/ 16186 h 153"/>
                <a:gd name="T62" fmla="*/ 57411 w 352"/>
                <a:gd name="T63" fmla="*/ 9712 h 153"/>
                <a:gd name="T64" fmla="*/ 77120 w 352"/>
                <a:gd name="T65" fmla="*/ 19424 h 153"/>
                <a:gd name="T66" fmla="*/ 88259 w 352"/>
                <a:gd name="T67" fmla="*/ 29675 h 153"/>
                <a:gd name="T68" fmla="*/ 105397 w 352"/>
                <a:gd name="T69" fmla="*/ 26438 h 153"/>
                <a:gd name="T70" fmla="*/ 122535 w 352"/>
                <a:gd name="T71" fmla="*/ 32912 h 153"/>
                <a:gd name="T72" fmla="*/ 134103 w 352"/>
                <a:gd name="T73" fmla="*/ 42624 h 153"/>
                <a:gd name="T74" fmla="*/ 142243 w 352"/>
                <a:gd name="T75" fmla="*/ 49098 h 15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1" name="Freeform 461">
              <a:extLst>
                <a:ext uri="{FF2B5EF4-FFF2-40B4-BE49-F238E27FC236}">
                  <a16:creationId xmlns:a16="http://schemas.microsoft.com/office/drawing/2014/main" id="{ACF79FB7-E017-4662-9D59-42C1DE3F3CF9}"/>
                </a:ext>
              </a:extLst>
            </p:cNvPr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5992814" y="2343150"/>
              <a:ext cx="147637" cy="173038"/>
            </a:xfrm>
            <a:custGeom>
              <a:avLst/>
              <a:gdLst>
                <a:gd name="T0" fmla="*/ 102588 w 331"/>
                <a:gd name="T1" fmla="*/ 21167 h 327"/>
                <a:gd name="T2" fmla="*/ 86084 w 331"/>
                <a:gd name="T3" fmla="*/ 29633 h 327"/>
                <a:gd name="T4" fmla="*/ 81178 w 331"/>
                <a:gd name="T5" fmla="*/ 35454 h 327"/>
                <a:gd name="T6" fmla="*/ 80732 w 331"/>
                <a:gd name="T7" fmla="*/ 42863 h 327"/>
                <a:gd name="T8" fmla="*/ 82070 w 331"/>
                <a:gd name="T9" fmla="*/ 49742 h 327"/>
                <a:gd name="T10" fmla="*/ 78948 w 331"/>
                <a:gd name="T11" fmla="*/ 53975 h 327"/>
                <a:gd name="T12" fmla="*/ 74934 w 331"/>
                <a:gd name="T13" fmla="*/ 55563 h 327"/>
                <a:gd name="T14" fmla="*/ 71365 w 331"/>
                <a:gd name="T15" fmla="*/ 51858 h 327"/>
                <a:gd name="T16" fmla="*/ 66459 w 331"/>
                <a:gd name="T17" fmla="*/ 44979 h 327"/>
                <a:gd name="T18" fmla="*/ 56200 w 331"/>
                <a:gd name="T19" fmla="*/ 39158 h 327"/>
                <a:gd name="T20" fmla="*/ 56646 w 331"/>
                <a:gd name="T21" fmla="*/ 50800 h 327"/>
                <a:gd name="T22" fmla="*/ 61999 w 331"/>
                <a:gd name="T23" fmla="*/ 61384 h 327"/>
                <a:gd name="T24" fmla="*/ 68689 w 331"/>
                <a:gd name="T25" fmla="*/ 68263 h 327"/>
                <a:gd name="T26" fmla="*/ 70919 w 331"/>
                <a:gd name="T27" fmla="*/ 68792 h 327"/>
                <a:gd name="T28" fmla="*/ 70919 w 331"/>
                <a:gd name="T29" fmla="*/ 93663 h 327"/>
                <a:gd name="T30" fmla="*/ 70919 w 331"/>
                <a:gd name="T31" fmla="*/ 125413 h 327"/>
                <a:gd name="T32" fmla="*/ 69581 w 331"/>
                <a:gd name="T33" fmla="*/ 132821 h 327"/>
                <a:gd name="T34" fmla="*/ 65567 w 331"/>
                <a:gd name="T35" fmla="*/ 137055 h 327"/>
                <a:gd name="T36" fmla="*/ 64675 w 331"/>
                <a:gd name="T37" fmla="*/ 139700 h 327"/>
                <a:gd name="T38" fmla="*/ 72257 w 331"/>
                <a:gd name="T39" fmla="*/ 146050 h 327"/>
                <a:gd name="T40" fmla="*/ 74488 w 331"/>
                <a:gd name="T41" fmla="*/ 151342 h 327"/>
                <a:gd name="T42" fmla="*/ 69135 w 331"/>
                <a:gd name="T43" fmla="*/ 156105 h 327"/>
                <a:gd name="T44" fmla="*/ 62445 w 331"/>
                <a:gd name="T45" fmla="*/ 157163 h 327"/>
                <a:gd name="T46" fmla="*/ 57984 w 331"/>
                <a:gd name="T47" fmla="*/ 162455 h 327"/>
                <a:gd name="T48" fmla="*/ 56200 w 331"/>
                <a:gd name="T49" fmla="*/ 169863 h 327"/>
                <a:gd name="T50" fmla="*/ 53970 w 331"/>
                <a:gd name="T51" fmla="*/ 158750 h 327"/>
                <a:gd name="T52" fmla="*/ 55308 w 331"/>
                <a:gd name="T53" fmla="*/ 152400 h 327"/>
                <a:gd name="T54" fmla="*/ 48618 w 331"/>
                <a:gd name="T55" fmla="*/ 151342 h 327"/>
                <a:gd name="T56" fmla="*/ 41481 w 331"/>
                <a:gd name="T57" fmla="*/ 154517 h 327"/>
                <a:gd name="T58" fmla="*/ 35237 w 331"/>
                <a:gd name="T59" fmla="*/ 156634 h 327"/>
                <a:gd name="T60" fmla="*/ 32560 w 331"/>
                <a:gd name="T61" fmla="*/ 128059 h 327"/>
                <a:gd name="T62" fmla="*/ 35237 w 331"/>
                <a:gd name="T63" fmla="*/ 114300 h 327"/>
                <a:gd name="T64" fmla="*/ 21410 w 331"/>
                <a:gd name="T65" fmla="*/ 111654 h 327"/>
                <a:gd name="T66" fmla="*/ 12489 w 331"/>
                <a:gd name="T67" fmla="*/ 104775 h 327"/>
                <a:gd name="T68" fmla="*/ 5798 w 331"/>
                <a:gd name="T69" fmla="*/ 91546 h 327"/>
                <a:gd name="T70" fmla="*/ 0 w 331"/>
                <a:gd name="T71" fmla="*/ 68792 h 327"/>
                <a:gd name="T72" fmla="*/ 12489 w 331"/>
                <a:gd name="T73" fmla="*/ 58738 h 327"/>
                <a:gd name="T74" fmla="*/ 22302 w 331"/>
                <a:gd name="T75" fmla="*/ 42863 h 327"/>
                <a:gd name="T76" fmla="*/ 32560 w 331"/>
                <a:gd name="T77" fmla="*/ 29104 h 327"/>
                <a:gd name="T78" fmla="*/ 51294 w 331"/>
                <a:gd name="T79" fmla="*/ 21696 h 327"/>
                <a:gd name="T80" fmla="*/ 80286 w 331"/>
                <a:gd name="T81" fmla="*/ 7408 h 327"/>
                <a:gd name="T82" fmla="*/ 97235 w 331"/>
                <a:gd name="T83" fmla="*/ 3704 h 327"/>
                <a:gd name="T84" fmla="*/ 111062 w 331"/>
                <a:gd name="T85" fmla="*/ 7408 h 327"/>
                <a:gd name="T86" fmla="*/ 120875 w 331"/>
                <a:gd name="T87" fmla="*/ 14288 h 327"/>
                <a:gd name="T88" fmla="*/ 130242 w 331"/>
                <a:gd name="T89" fmla="*/ 15875 h 327"/>
                <a:gd name="T90" fmla="*/ 136932 w 331"/>
                <a:gd name="T91" fmla="*/ 10583 h 327"/>
                <a:gd name="T92" fmla="*/ 145853 w 331"/>
                <a:gd name="T93" fmla="*/ 3175 h 327"/>
                <a:gd name="T94" fmla="*/ 147191 w 331"/>
                <a:gd name="T95" fmla="*/ 16933 h 3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2" name="Freeform 462">
              <a:extLst>
                <a:ext uri="{FF2B5EF4-FFF2-40B4-BE49-F238E27FC236}">
                  <a16:creationId xmlns:a16="http://schemas.microsoft.com/office/drawing/2014/main" id="{41163BB5-1729-446A-AED2-236B3079A5FF}"/>
                </a:ext>
              </a:extLst>
            </p:cNvPr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6076950" y="2535238"/>
              <a:ext cx="69850" cy="57150"/>
            </a:xfrm>
            <a:custGeom>
              <a:avLst/>
              <a:gdLst>
                <a:gd name="T0" fmla="*/ 0 w 153"/>
                <a:gd name="T1" fmla="*/ 0 h 49"/>
                <a:gd name="T2" fmla="*/ 20088 w 153"/>
                <a:gd name="T3" fmla="*/ 2333 h 49"/>
                <a:gd name="T4" fmla="*/ 37892 w 153"/>
                <a:gd name="T5" fmla="*/ 6998 h 49"/>
                <a:gd name="T6" fmla="*/ 47023 w 153"/>
                <a:gd name="T7" fmla="*/ 9331 h 49"/>
                <a:gd name="T8" fmla="*/ 55241 w 153"/>
                <a:gd name="T9" fmla="*/ 8164 h 49"/>
                <a:gd name="T10" fmla="*/ 59350 w 153"/>
                <a:gd name="T11" fmla="*/ 6998 h 49"/>
                <a:gd name="T12" fmla="*/ 62545 w 153"/>
                <a:gd name="T13" fmla="*/ 5832 h 49"/>
                <a:gd name="T14" fmla="*/ 66198 w 153"/>
                <a:gd name="T15" fmla="*/ 3499 h 49"/>
                <a:gd name="T16" fmla="*/ 69850 w 153"/>
                <a:gd name="T17" fmla="*/ 0 h 49"/>
                <a:gd name="T18" fmla="*/ 69850 w 153"/>
                <a:gd name="T19" fmla="*/ 10497 h 49"/>
                <a:gd name="T20" fmla="*/ 69850 w 153"/>
                <a:gd name="T21" fmla="*/ 29158 h 49"/>
                <a:gd name="T22" fmla="*/ 65285 w 153"/>
                <a:gd name="T23" fmla="*/ 36156 h 49"/>
                <a:gd name="T24" fmla="*/ 60719 w 153"/>
                <a:gd name="T25" fmla="*/ 41988 h 49"/>
                <a:gd name="T26" fmla="*/ 56610 w 153"/>
                <a:gd name="T27" fmla="*/ 46653 h 49"/>
                <a:gd name="T28" fmla="*/ 52045 w 153"/>
                <a:gd name="T29" fmla="*/ 51318 h 49"/>
                <a:gd name="T30" fmla="*/ 48393 w 153"/>
                <a:gd name="T31" fmla="*/ 53651 h 49"/>
                <a:gd name="T32" fmla="*/ 45197 w 153"/>
                <a:gd name="T33" fmla="*/ 55984 h 49"/>
                <a:gd name="T34" fmla="*/ 42001 w 153"/>
                <a:gd name="T35" fmla="*/ 57150 h 49"/>
                <a:gd name="T36" fmla="*/ 39719 w 153"/>
                <a:gd name="T37" fmla="*/ 57150 h 49"/>
                <a:gd name="T38" fmla="*/ 32871 w 153"/>
                <a:gd name="T39" fmla="*/ 55984 h 49"/>
                <a:gd name="T40" fmla="*/ 27392 w 153"/>
                <a:gd name="T41" fmla="*/ 53651 h 49"/>
                <a:gd name="T42" fmla="*/ 22827 w 153"/>
                <a:gd name="T43" fmla="*/ 50152 h 49"/>
                <a:gd name="T44" fmla="*/ 18718 w 153"/>
                <a:gd name="T45" fmla="*/ 44320 h 49"/>
                <a:gd name="T46" fmla="*/ 10044 w 153"/>
                <a:gd name="T47" fmla="*/ 33823 h 49"/>
                <a:gd name="T48" fmla="*/ 0 w 153"/>
                <a:gd name="T49" fmla="*/ 22160 h 49"/>
                <a:gd name="T50" fmla="*/ 0 w 153"/>
                <a:gd name="T51" fmla="*/ 0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13" name="Freeform 463">
              <a:extLst>
                <a:ext uri="{FF2B5EF4-FFF2-40B4-BE49-F238E27FC236}">
                  <a16:creationId xmlns:a16="http://schemas.microsoft.com/office/drawing/2014/main" id="{AC9A0C50-DE79-42AB-8A99-D073CF2A8E48}"/>
                </a:ext>
              </a:extLst>
            </p:cNvPr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5156201" y="3267075"/>
              <a:ext cx="187325" cy="158750"/>
            </a:xfrm>
            <a:custGeom>
              <a:avLst/>
              <a:gdLst>
                <a:gd name="T0" fmla="*/ 85308 w 426"/>
                <a:gd name="T1" fmla="*/ 8495 h 299"/>
                <a:gd name="T2" fmla="*/ 94982 w 426"/>
                <a:gd name="T3" fmla="*/ 11681 h 299"/>
                <a:gd name="T4" fmla="*/ 101138 w 426"/>
                <a:gd name="T5" fmla="*/ 15397 h 299"/>
                <a:gd name="T6" fmla="*/ 111252 w 426"/>
                <a:gd name="T7" fmla="*/ 18583 h 299"/>
                <a:gd name="T8" fmla="*/ 122685 w 426"/>
                <a:gd name="T9" fmla="*/ 19645 h 299"/>
                <a:gd name="T10" fmla="*/ 131919 w 426"/>
                <a:gd name="T11" fmla="*/ 19645 h 299"/>
                <a:gd name="T12" fmla="*/ 140274 w 426"/>
                <a:gd name="T13" fmla="*/ 18052 h 299"/>
                <a:gd name="T14" fmla="*/ 144671 w 426"/>
                <a:gd name="T15" fmla="*/ 15397 h 299"/>
                <a:gd name="T16" fmla="*/ 160501 w 426"/>
                <a:gd name="T17" fmla="*/ 13273 h 299"/>
                <a:gd name="T18" fmla="*/ 163580 w 426"/>
                <a:gd name="T19" fmla="*/ 26016 h 299"/>
                <a:gd name="T20" fmla="*/ 168417 w 426"/>
                <a:gd name="T21" fmla="*/ 39289 h 299"/>
                <a:gd name="T22" fmla="*/ 171934 w 426"/>
                <a:gd name="T23" fmla="*/ 44599 h 299"/>
                <a:gd name="T24" fmla="*/ 175892 w 426"/>
                <a:gd name="T25" fmla="*/ 48846 h 299"/>
                <a:gd name="T26" fmla="*/ 181169 w 426"/>
                <a:gd name="T27" fmla="*/ 51501 h 299"/>
                <a:gd name="T28" fmla="*/ 186885 w 426"/>
                <a:gd name="T29" fmla="*/ 52563 h 299"/>
                <a:gd name="T30" fmla="*/ 186885 w 426"/>
                <a:gd name="T31" fmla="*/ 63712 h 299"/>
                <a:gd name="T32" fmla="*/ 186885 w 426"/>
                <a:gd name="T33" fmla="*/ 75393 h 299"/>
                <a:gd name="T34" fmla="*/ 182928 w 426"/>
                <a:gd name="T35" fmla="*/ 83888 h 299"/>
                <a:gd name="T36" fmla="*/ 181169 w 426"/>
                <a:gd name="T37" fmla="*/ 90259 h 299"/>
                <a:gd name="T38" fmla="*/ 181169 w 426"/>
                <a:gd name="T39" fmla="*/ 96099 h 299"/>
                <a:gd name="T40" fmla="*/ 182488 w 426"/>
                <a:gd name="T41" fmla="*/ 100878 h 299"/>
                <a:gd name="T42" fmla="*/ 186006 w 426"/>
                <a:gd name="T43" fmla="*/ 112028 h 299"/>
                <a:gd name="T44" fmla="*/ 187325 w 426"/>
                <a:gd name="T45" fmla="*/ 119992 h 299"/>
                <a:gd name="T46" fmla="*/ 186885 w 426"/>
                <a:gd name="T47" fmla="*/ 131141 h 299"/>
                <a:gd name="T48" fmla="*/ 187325 w 426"/>
                <a:gd name="T49" fmla="*/ 145477 h 299"/>
                <a:gd name="T50" fmla="*/ 186006 w 426"/>
                <a:gd name="T51" fmla="*/ 151317 h 299"/>
                <a:gd name="T52" fmla="*/ 181169 w 426"/>
                <a:gd name="T53" fmla="*/ 157157 h 299"/>
                <a:gd name="T54" fmla="*/ 167097 w 426"/>
                <a:gd name="T55" fmla="*/ 158219 h 299"/>
                <a:gd name="T56" fmla="*/ 162700 w 426"/>
                <a:gd name="T57" fmla="*/ 158750 h 299"/>
                <a:gd name="T58" fmla="*/ 158303 w 426"/>
                <a:gd name="T59" fmla="*/ 157157 h 299"/>
                <a:gd name="T60" fmla="*/ 154345 w 426"/>
                <a:gd name="T61" fmla="*/ 153972 h 299"/>
                <a:gd name="T62" fmla="*/ 148629 w 426"/>
                <a:gd name="T63" fmla="*/ 147600 h 299"/>
                <a:gd name="T64" fmla="*/ 142473 w 426"/>
                <a:gd name="T65" fmla="*/ 138574 h 299"/>
                <a:gd name="T66" fmla="*/ 136756 w 426"/>
                <a:gd name="T67" fmla="*/ 134327 h 299"/>
                <a:gd name="T68" fmla="*/ 129281 w 426"/>
                <a:gd name="T69" fmla="*/ 133265 h 299"/>
                <a:gd name="T70" fmla="*/ 122245 w 426"/>
                <a:gd name="T71" fmla="*/ 123177 h 299"/>
                <a:gd name="T72" fmla="*/ 120486 w 426"/>
                <a:gd name="T73" fmla="*/ 111497 h 299"/>
                <a:gd name="T74" fmla="*/ 118287 w 426"/>
                <a:gd name="T75" fmla="*/ 104594 h 299"/>
                <a:gd name="T76" fmla="*/ 114770 w 426"/>
                <a:gd name="T77" fmla="*/ 97692 h 299"/>
                <a:gd name="T78" fmla="*/ 110372 w 426"/>
                <a:gd name="T79" fmla="*/ 91852 h 299"/>
                <a:gd name="T80" fmla="*/ 104656 w 426"/>
                <a:gd name="T81" fmla="*/ 87605 h 299"/>
                <a:gd name="T82" fmla="*/ 97620 w 426"/>
                <a:gd name="T83" fmla="*/ 85481 h 299"/>
                <a:gd name="T84" fmla="*/ 89705 w 426"/>
                <a:gd name="T85" fmla="*/ 85481 h 299"/>
                <a:gd name="T86" fmla="*/ 82669 w 426"/>
                <a:gd name="T87" fmla="*/ 86543 h 299"/>
                <a:gd name="T88" fmla="*/ 76073 w 426"/>
                <a:gd name="T89" fmla="*/ 89197 h 299"/>
                <a:gd name="T90" fmla="*/ 70357 w 426"/>
                <a:gd name="T91" fmla="*/ 93445 h 299"/>
                <a:gd name="T92" fmla="*/ 62002 w 426"/>
                <a:gd name="T93" fmla="*/ 101409 h 299"/>
                <a:gd name="T94" fmla="*/ 51888 w 426"/>
                <a:gd name="T95" fmla="*/ 114151 h 299"/>
                <a:gd name="T96" fmla="*/ 46172 w 426"/>
                <a:gd name="T97" fmla="*/ 115744 h 299"/>
                <a:gd name="T98" fmla="*/ 43973 w 426"/>
                <a:gd name="T99" fmla="*/ 106718 h 299"/>
                <a:gd name="T100" fmla="*/ 39576 w 426"/>
                <a:gd name="T101" fmla="*/ 98754 h 299"/>
                <a:gd name="T102" fmla="*/ 33419 w 426"/>
                <a:gd name="T103" fmla="*/ 90790 h 299"/>
                <a:gd name="T104" fmla="*/ 21987 w 426"/>
                <a:gd name="T105" fmla="*/ 81233 h 299"/>
                <a:gd name="T106" fmla="*/ 10554 w 426"/>
                <a:gd name="T107" fmla="*/ 71145 h 299"/>
                <a:gd name="T108" fmla="*/ 3518 w 426"/>
                <a:gd name="T109" fmla="*/ 63181 h 299"/>
                <a:gd name="T110" fmla="*/ 6596 w 426"/>
                <a:gd name="T111" fmla="*/ 53625 h 299"/>
                <a:gd name="T112" fmla="*/ 20228 w 426"/>
                <a:gd name="T113" fmla="*/ 40882 h 299"/>
                <a:gd name="T114" fmla="*/ 32980 w 426"/>
                <a:gd name="T115" fmla="*/ 25485 h 299"/>
                <a:gd name="T116" fmla="*/ 43094 w 426"/>
                <a:gd name="T117" fmla="*/ 9026 h 299"/>
                <a:gd name="T118" fmla="*/ 78712 w 426"/>
                <a:gd name="T119" fmla="*/ 6902 h 29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4" name="Freeform 464">
              <a:extLst>
                <a:ext uri="{FF2B5EF4-FFF2-40B4-BE49-F238E27FC236}">
                  <a16:creationId xmlns:a16="http://schemas.microsoft.com/office/drawing/2014/main" id="{816E010F-CA9E-48E2-B7A9-E706DAAA330B}"/>
                </a:ext>
              </a:extLst>
            </p:cNvPr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7200900" y="2530476"/>
              <a:ext cx="692150" cy="874713"/>
            </a:xfrm>
            <a:custGeom>
              <a:avLst/>
              <a:gdLst>
                <a:gd name="T0" fmla="*/ 207124 w 1594"/>
                <a:gd name="T1" fmla="*/ 56044 h 1670"/>
                <a:gd name="T2" fmla="*/ 210598 w 1594"/>
                <a:gd name="T3" fmla="*/ 96899 h 1670"/>
                <a:gd name="T4" fmla="*/ 250980 w 1594"/>
                <a:gd name="T5" fmla="*/ 150325 h 1670"/>
                <a:gd name="T6" fmla="*/ 304390 w 1594"/>
                <a:gd name="T7" fmla="*/ 240415 h 1670"/>
                <a:gd name="T8" fmla="*/ 345207 w 1594"/>
                <a:gd name="T9" fmla="*/ 261366 h 1670"/>
                <a:gd name="T10" fmla="*/ 380813 w 1594"/>
                <a:gd name="T11" fmla="*/ 258224 h 1670"/>
                <a:gd name="T12" fmla="*/ 403827 w 1594"/>
                <a:gd name="T13" fmla="*/ 281270 h 1670"/>
                <a:gd name="T14" fmla="*/ 478513 w 1594"/>
                <a:gd name="T15" fmla="*/ 296983 h 1670"/>
                <a:gd name="T16" fmla="*/ 486763 w 1594"/>
                <a:gd name="T17" fmla="*/ 241463 h 1670"/>
                <a:gd name="T18" fmla="*/ 511948 w 1594"/>
                <a:gd name="T19" fmla="*/ 282318 h 1670"/>
                <a:gd name="T20" fmla="*/ 539738 w 1594"/>
                <a:gd name="T21" fmla="*/ 293841 h 1670"/>
                <a:gd name="T22" fmla="*/ 564054 w 1594"/>
                <a:gd name="T23" fmla="*/ 260843 h 1670"/>
                <a:gd name="T24" fmla="*/ 609648 w 1594"/>
                <a:gd name="T25" fmla="*/ 214226 h 1670"/>
                <a:gd name="T26" fmla="*/ 672610 w 1594"/>
                <a:gd name="T27" fmla="*/ 224178 h 1670"/>
                <a:gd name="T28" fmla="*/ 685637 w 1594"/>
                <a:gd name="T29" fmla="*/ 260843 h 1670"/>
                <a:gd name="T30" fmla="*/ 653070 w 1594"/>
                <a:gd name="T31" fmla="*/ 283889 h 1670"/>
                <a:gd name="T32" fmla="*/ 644820 w 1594"/>
                <a:gd name="T33" fmla="*/ 355647 h 1670"/>
                <a:gd name="T34" fmla="*/ 620503 w 1594"/>
                <a:gd name="T35" fmla="*/ 368741 h 1670"/>
                <a:gd name="T36" fmla="*/ 611385 w 1594"/>
                <a:gd name="T37" fmla="*/ 426357 h 1670"/>
                <a:gd name="T38" fmla="*/ 573607 w 1594"/>
                <a:gd name="T39" fmla="*/ 394930 h 1670"/>
                <a:gd name="T40" fmla="*/ 574476 w 1594"/>
                <a:gd name="T41" fmla="*/ 365599 h 1670"/>
                <a:gd name="T42" fmla="*/ 531922 w 1594"/>
                <a:gd name="T43" fmla="*/ 334172 h 1670"/>
                <a:gd name="T44" fmla="*/ 515422 w 1594"/>
                <a:gd name="T45" fmla="*/ 307983 h 1670"/>
                <a:gd name="T46" fmla="*/ 491105 w 1594"/>
                <a:gd name="T47" fmla="*/ 301174 h 1670"/>
                <a:gd name="T48" fmla="*/ 489368 w 1594"/>
                <a:gd name="T49" fmla="*/ 327363 h 1670"/>
                <a:gd name="T50" fmla="*/ 485026 w 1594"/>
                <a:gd name="T51" fmla="*/ 357742 h 1670"/>
                <a:gd name="T52" fmla="*/ 503698 w 1594"/>
                <a:gd name="T53" fmla="*/ 384978 h 1670"/>
                <a:gd name="T54" fmla="*/ 498921 w 1594"/>
                <a:gd name="T55" fmla="*/ 441547 h 1670"/>
                <a:gd name="T56" fmla="*/ 466789 w 1594"/>
                <a:gd name="T57" fmla="*/ 452546 h 1670"/>
                <a:gd name="T58" fmla="*/ 455499 w 1594"/>
                <a:gd name="T59" fmla="*/ 490782 h 1670"/>
                <a:gd name="T60" fmla="*/ 414248 w 1594"/>
                <a:gd name="T61" fmla="*/ 524304 h 1670"/>
                <a:gd name="T62" fmla="*/ 396011 w 1594"/>
                <a:gd name="T63" fmla="*/ 549969 h 1670"/>
                <a:gd name="T64" fmla="*/ 338693 w 1594"/>
                <a:gd name="T65" fmla="*/ 622251 h 1670"/>
                <a:gd name="T66" fmla="*/ 313943 w 1594"/>
                <a:gd name="T67" fmla="*/ 645821 h 1670"/>
                <a:gd name="T68" fmla="*/ 323061 w 1594"/>
                <a:gd name="T69" fmla="*/ 703961 h 1670"/>
                <a:gd name="T70" fmla="*/ 309166 w 1594"/>
                <a:gd name="T71" fmla="*/ 756862 h 1670"/>
                <a:gd name="T72" fmla="*/ 313508 w 1594"/>
                <a:gd name="T73" fmla="*/ 798241 h 1670"/>
                <a:gd name="T74" fmla="*/ 300916 w 1594"/>
                <a:gd name="T75" fmla="*/ 825478 h 1670"/>
                <a:gd name="T76" fmla="*/ 258362 w 1594"/>
                <a:gd name="T77" fmla="*/ 871047 h 1670"/>
                <a:gd name="T78" fmla="*/ 224059 w 1594"/>
                <a:gd name="T79" fmla="*/ 800860 h 1670"/>
                <a:gd name="T80" fmla="*/ 181939 w 1594"/>
                <a:gd name="T81" fmla="*/ 698723 h 1670"/>
                <a:gd name="T82" fmla="*/ 130701 w 1594"/>
                <a:gd name="T83" fmla="*/ 583491 h 1670"/>
                <a:gd name="T84" fmla="*/ 112464 w 1594"/>
                <a:gd name="T85" fmla="*/ 450975 h 1670"/>
                <a:gd name="T86" fmla="*/ 99871 w 1594"/>
                <a:gd name="T87" fmla="*/ 426357 h 1670"/>
                <a:gd name="T88" fmla="*/ 71212 w 1594"/>
                <a:gd name="T89" fmla="*/ 471402 h 1670"/>
                <a:gd name="T90" fmla="*/ 39080 w 1594"/>
                <a:gd name="T91" fmla="*/ 458831 h 1670"/>
                <a:gd name="T92" fmla="*/ 22145 w 1594"/>
                <a:gd name="T93" fmla="*/ 417977 h 1670"/>
                <a:gd name="T94" fmla="*/ 13027 w 1594"/>
                <a:gd name="T95" fmla="*/ 403835 h 1670"/>
                <a:gd name="T96" fmla="*/ 13895 w 1594"/>
                <a:gd name="T97" fmla="*/ 370836 h 1670"/>
                <a:gd name="T98" fmla="*/ 69041 w 1594"/>
                <a:gd name="T99" fmla="*/ 345171 h 1670"/>
                <a:gd name="T100" fmla="*/ 39948 w 1594"/>
                <a:gd name="T101" fmla="*/ 298031 h 1670"/>
                <a:gd name="T102" fmla="*/ 25619 w 1594"/>
                <a:gd name="T103" fmla="*/ 261890 h 1670"/>
                <a:gd name="T104" fmla="*/ 70344 w 1594"/>
                <a:gd name="T105" fmla="*/ 240415 h 1670"/>
                <a:gd name="T106" fmla="*/ 117240 w 1594"/>
                <a:gd name="T107" fmla="*/ 153991 h 1670"/>
                <a:gd name="T108" fmla="*/ 118977 w 1594"/>
                <a:gd name="T109" fmla="*/ 120469 h 1670"/>
                <a:gd name="T110" fmla="*/ 98568 w 1594"/>
                <a:gd name="T111" fmla="*/ 74377 h 1670"/>
                <a:gd name="T112" fmla="*/ 139820 w 1594"/>
                <a:gd name="T113" fmla="*/ 28284 h 16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15" name="Freeform 465">
              <a:extLst>
                <a:ext uri="{FF2B5EF4-FFF2-40B4-BE49-F238E27FC236}">
                  <a16:creationId xmlns:a16="http://schemas.microsoft.com/office/drawing/2014/main" id="{B46A9A33-B31F-44DB-8EA2-28074BA9A2EF}"/>
                </a:ext>
              </a:extLst>
            </p:cNvPr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5322888" y="3325814"/>
              <a:ext cx="158750" cy="206375"/>
            </a:xfrm>
            <a:custGeom>
              <a:avLst/>
              <a:gdLst>
                <a:gd name="T0" fmla="*/ 23437 w 359"/>
                <a:gd name="T1" fmla="*/ 200089 h 394"/>
                <a:gd name="T2" fmla="*/ 23437 w 359"/>
                <a:gd name="T3" fmla="*/ 187518 h 394"/>
                <a:gd name="T4" fmla="*/ 23437 w 359"/>
                <a:gd name="T5" fmla="*/ 174424 h 394"/>
                <a:gd name="T6" fmla="*/ 22110 w 359"/>
                <a:gd name="T7" fmla="*/ 163424 h 394"/>
                <a:gd name="T8" fmla="*/ 19015 w 359"/>
                <a:gd name="T9" fmla="*/ 153472 h 394"/>
                <a:gd name="T10" fmla="*/ 15477 w 359"/>
                <a:gd name="T11" fmla="*/ 145091 h 394"/>
                <a:gd name="T12" fmla="*/ 5749 w 359"/>
                <a:gd name="T13" fmla="*/ 128330 h 394"/>
                <a:gd name="T14" fmla="*/ 0 w 359"/>
                <a:gd name="T15" fmla="*/ 96902 h 394"/>
                <a:gd name="T16" fmla="*/ 14593 w 359"/>
                <a:gd name="T17" fmla="*/ 94807 h 394"/>
                <a:gd name="T18" fmla="*/ 17688 w 359"/>
                <a:gd name="T19" fmla="*/ 88521 h 394"/>
                <a:gd name="T20" fmla="*/ 18130 w 359"/>
                <a:gd name="T21" fmla="*/ 78569 h 394"/>
                <a:gd name="T22" fmla="*/ 16804 w 359"/>
                <a:gd name="T23" fmla="*/ 56046 h 394"/>
                <a:gd name="T24" fmla="*/ 13708 w 359"/>
                <a:gd name="T25" fmla="*/ 34047 h 394"/>
                <a:gd name="T26" fmla="*/ 14150 w 359"/>
                <a:gd name="T27" fmla="*/ 24618 h 394"/>
                <a:gd name="T28" fmla="*/ 15919 w 359"/>
                <a:gd name="T29" fmla="*/ 18857 h 394"/>
                <a:gd name="T30" fmla="*/ 53064 w 359"/>
                <a:gd name="T31" fmla="*/ 16238 h 394"/>
                <a:gd name="T32" fmla="*/ 53948 w 359"/>
                <a:gd name="T33" fmla="*/ 11523 h 394"/>
                <a:gd name="T34" fmla="*/ 56602 w 359"/>
                <a:gd name="T35" fmla="*/ 7333 h 394"/>
                <a:gd name="T36" fmla="*/ 61908 w 359"/>
                <a:gd name="T37" fmla="*/ 0 h 394"/>
                <a:gd name="T38" fmla="*/ 62792 w 359"/>
                <a:gd name="T39" fmla="*/ 9428 h 394"/>
                <a:gd name="T40" fmla="*/ 62792 w 359"/>
                <a:gd name="T41" fmla="*/ 13619 h 394"/>
                <a:gd name="T42" fmla="*/ 61908 w 359"/>
                <a:gd name="T43" fmla="*/ 16238 h 394"/>
                <a:gd name="T44" fmla="*/ 74290 w 359"/>
                <a:gd name="T45" fmla="*/ 16238 h 394"/>
                <a:gd name="T46" fmla="*/ 82249 w 359"/>
                <a:gd name="T47" fmla="*/ 16238 h 394"/>
                <a:gd name="T48" fmla="*/ 94631 w 359"/>
                <a:gd name="T49" fmla="*/ 19904 h 394"/>
                <a:gd name="T50" fmla="*/ 103033 w 359"/>
                <a:gd name="T51" fmla="*/ 25666 h 394"/>
                <a:gd name="T52" fmla="*/ 108781 w 359"/>
                <a:gd name="T53" fmla="*/ 30380 h 394"/>
                <a:gd name="T54" fmla="*/ 114530 w 359"/>
                <a:gd name="T55" fmla="*/ 31951 h 394"/>
                <a:gd name="T56" fmla="*/ 118510 w 359"/>
                <a:gd name="T57" fmla="*/ 30904 h 394"/>
                <a:gd name="T58" fmla="*/ 121605 w 359"/>
                <a:gd name="T59" fmla="*/ 28285 h 394"/>
                <a:gd name="T60" fmla="*/ 126469 w 359"/>
                <a:gd name="T61" fmla="*/ 19380 h 394"/>
                <a:gd name="T62" fmla="*/ 137967 w 359"/>
                <a:gd name="T63" fmla="*/ 27237 h 394"/>
                <a:gd name="T64" fmla="*/ 143715 w 359"/>
                <a:gd name="T65" fmla="*/ 30904 h 394"/>
                <a:gd name="T66" fmla="*/ 149464 w 359"/>
                <a:gd name="T67" fmla="*/ 31951 h 394"/>
                <a:gd name="T68" fmla="*/ 156097 w 359"/>
                <a:gd name="T69" fmla="*/ 84331 h 394"/>
                <a:gd name="T70" fmla="*/ 149464 w 359"/>
                <a:gd name="T71" fmla="*/ 96902 h 394"/>
                <a:gd name="T72" fmla="*/ 142831 w 359"/>
                <a:gd name="T73" fmla="*/ 107902 h 394"/>
                <a:gd name="T74" fmla="*/ 139293 w 359"/>
                <a:gd name="T75" fmla="*/ 117330 h 394"/>
                <a:gd name="T76" fmla="*/ 138409 w 359"/>
                <a:gd name="T77" fmla="*/ 125187 h 394"/>
                <a:gd name="T78" fmla="*/ 138409 w 359"/>
                <a:gd name="T79" fmla="*/ 133568 h 394"/>
                <a:gd name="T80" fmla="*/ 141946 w 359"/>
                <a:gd name="T81" fmla="*/ 142996 h 394"/>
                <a:gd name="T82" fmla="*/ 146368 w 359"/>
                <a:gd name="T83" fmla="*/ 153472 h 394"/>
                <a:gd name="T84" fmla="*/ 149022 w 359"/>
                <a:gd name="T85" fmla="*/ 161852 h 394"/>
                <a:gd name="T86" fmla="*/ 149022 w 359"/>
                <a:gd name="T87" fmla="*/ 168138 h 394"/>
                <a:gd name="T88" fmla="*/ 145926 w 359"/>
                <a:gd name="T89" fmla="*/ 176519 h 394"/>
                <a:gd name="T90" fmla="*/ 144157 w 359"/>
                <a:gd name="T91" fmla="*/ 183852 h 394"/>
                <a:gd name="T92" fmla="*/ 141062 w 359"/>
                <a:gd name="T93" fmla="*/ 187518 h 394"/>
                <a:gd name="T94" fmla="*/ 136198 w 359"/>
                <a:gd name="T95" fmla="*/ 186471 h 394"/>
                <a:gd name="T96" fmla="*/ 131776 w 359"/>
                <a:gd name="T97" fmla="*/ 183328 h 394"/>
                <a:gd name="T98" fmla="*/ 126912 w 359"/>
                <a:gd name="T99" fmla="*/ 178090 h 394"/>
                <a:gd name="T100" fmla="*/ 122490 w 359"/>
                <a:gd name="T101" fmla="*/ 175471 h 394"/>
                <a:gd name="T102" fmla="*/ 117625 w 359"/>
                <a:gd name="T103" fmla="*/ 174424 h 394"/>
                <a:gd name="T104" fmla="*/ 108781 w 359"/>
                <a:gd name="T105" fmla="*/ 174424 h 394"/>
                <a:gd name="T106" fmla="*/ 97726 w 359"/>
                <a:gd name="T107" fmla="*/ 175995 h 394"/>
                <a:gd name="T108" fmla="*/ 80038 w 359"/>
                <a:gd name="T109" fmla="*/ 179661 h 394"/>
                <a:gd name="T110" fmla="*/ 57928 w 359"/>
                <a:gd name="T111" fmla="*/ 188042 h 394"/>
                <a:gd name="T112" fmla="*/ 38029 w 359"/>
                <a:gd name="T113" fmla="*/ 196423 h 394"/>
                <a:gd name="T114" fmla="*/ 23437 w 359"/>
                <a:gd name="T115" fmla="*/ 206375 h 39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6" name="Freeform 466">
              <a:extLst>
                <a:ext uri="{FF2B5EF4-FFF2-40B4-BE49-F238E27FC236}">
                  <a16:creationId xmlns:a16="http://schemas.microsoft.com/office/drawing/2014/main" id="{16C252E3-6CC9-4733-9D80-5EC2B5316533}"/>
                </a:ext>
              </a:extLst>
            </p:cNvPr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6391275" y="3521076"/>
              <a:ext cx="192088" cy="271463"/>
            </a:xfrm>
            <a:custGeom>
              <a:avLst/>
              <a:gdLst>
                <a:gd name="T0" fmla="*/ 175403 w 449"/>
                <a:gd name="T1" fmla="*/ 54500 h 523"/>
                <a:gd name="T2" fmla="*/ 173264 w 449"/>
                <a:gd name="T3" fmla="*/ 50867 h 523"/>
                <a:gd name="T4" fmla="*/ 174548 w 449"/>
                <a:gd name="T5" fmla="*/ 47753 h 523"/>
                <a:gd name="T6" fmla="*/ 180537 w 449"/>
                <a:gd name="T7" fmla="*/ 39967 h 523"/>
                <a:gd name="T8" fmla="*/ 188665 w 449"/>
                <a:gd name="T9" fmla="*/ 31143 h 523"/>
                <a:gd name="T10" fmla="*/ 191232 w 449"/>
                <a:gd name="T11" fmla="*/ 25952 h 523"/>
                <a:gd name="T12" fmla="*/ 192088 w 449"/>
                <a:gd name="T13" fmla="*/ 19205 h 523"/>
                <a:gd name="T14" fmla="*/ 184815 w 449"/>
                <a:gd name="T15" fmla="*/ 17648 h 523"/>
                <a:gd name="T16" fmla="*/ 180537 w 449"/>
                <a:gd name="T17" fmla="*/ 14014 h 523"/>
                <a:gd name="T18" fmla="*/ 175831 w 449"/>
                <a:gd name="T19" fmla="*/ 10900 h 523"/>
                <a:gd name="T20" fmla="*/ 166847 w 449"/>
                <a:gd name="T21" fmla="*/ 9343 h 523"/>
                <a:gd name="T22" fmla="*/ 161285 w 449"/>
                <a:gd name="T23" fmla="*/ 10381 h 523"/>
                <a:gd name="T24" fmla="*/ 157435 w 449"/>
                <a:gd name="T25" fmla="*/ 12457 h 523"/>
                <a:gd name="T26" fmla="*/ 151874 w 449"/>
                <a:gd name="T27" fmla="*/ 19205 h 523"/>
                <a:gd name="T28" fmla="*/ 145456 w 449"/>
                <a:gd name="T29" fmla="*/ 25952 h 523"/>
                <a:gd name="T30" fmla="*/ 139467 w 449"/>
                <a:gd name="T31" fmla="*/ 28029 h 523"/>
                <a:gd name="T32" fmla="*/ 132622 w 449"/>
                <a:gd name="T33" fmla="*/ 28548 h 523"/>
                <a:gd name="T34" fmla="*/ 122782 w 449"/>
                <a:gd name="T35" fmla="*/ 28029 h 523"/>
                <a:gd name="T36" fmla="*/ 114226 w 449"/>
                <a:gd name="T37" fmla="*/ 25952 h 523"/>
                <a:gd name="T38" fmla="*/ 100536 w 449"/>
                <a:gd name="T39" fmla="*/ 18686 h 523"/>
                <a:gd name="T40" fmla="*/ 88129 w 449"/>
                <a:gd name="T41" fmla="*/ 9862 h 523"/>
                <a:gd name="T42" fmla="*/ 80857 w 449"/>
                <a:gd name="T43" fmla="*/ 6229 h 523"/>
                <a:gd name="T44" fmla="*/ 72728 w 449"/>
                <a:gd name="T45" fmla="*/ 3114 h 523"/>
                <a:gd name="T46" fmla="*/ 57327 w 449"/>
                <a:gd name="T47" fmla="*/ 4152 h 523"/>
                <a:gd name="T48" fmla="*/ 50910 w 449"/>
                <a:gd name="T49" fmla="*/ 3114 h 523"/>
                <a:gd name="T50" fmla="*/ 44065 w 449"/>
                <a:gd name="T51" fmla="*/ 0 h 523"/>
                <a:gd name="T52" fmla="*/ 22246 w 449"/>
                <a:gd name="T53" fmla="*/ 0 h 523"/>
                <a:gd name="T54" fmla="*/ 2139 w 449"/>
                <a:gd name="T55" fmla="*/ 0 h 523"/>
                <a:gd name="T56" fmla="*/ 2139 w 449"/>
                <a:gd name="T57" fmla="*/ 9343 h 523"/>
                <a:gd name="T58" fmla="*/ 2139 w 449"/>
                <a:gd name="T59" fmla="*/ 19205 h 523"/>
                <a:gd name="T60" fmla="*/ 6417 w 449"/>
                <a:gd name="T61" fmla="*/ 31143 h 523"/>
                <a:gd name="T62" fmla="*/ 9840 w 449"/>
                <a:gd name="T63" fmla="*/ 47234 h 523"/>
                <a:gd name="T64" fmla="*/ 13262 w 449"/>
                <a:gd name="T65" fmla="*/ 66438 h 523"/>
                <a:gd name="T66" fmla="*/ 16257 w 449"/>
                <a:gd name="T67" fmla="*/ 89277 h 523"/>
                <a:gd name="T68" fmla="*/ 15829 w 449"/>
                <a:gd name="T69" fmla="*/ 106924 h 523"/>
                <a:gd name="T70" fmla="*/ 12407 w 449"/>
                <a:gd name="T71" fmla="*/ 119381 h 523"/>
                <a:gd name="T72" fmla="*/ 2995 w 449"/>
                <a:gd name="T73" fmla="*/ 139624 h 523"/>
                <a:gd name="T74" fmla="*/ 4278 w 449"/>
                <a:gd name="T75" fmla="*/ 166615 h 523"/>
                <a:gd name="T76" fmla="*/ 11979 w 449"/>
                <a:gd name="T77" fmla="*/ 175958 h 523"/>
                <a:gd name="T78" fmla="*/ 35936 w 449"/>
                <a:gd name="T79" fmla="*/ 190491 h 523"/>
                <a:gd name="T80" fmla="*/ 58183 w 449"/>
                <a:gd name="T81" fmla="*/ 205544 h 523"/>
                <a:gd name="T82" fmla="*/ 72728 w 449"/>
                <a:gd name="T83" fmla="*/ 218001 h 523"/>
                <a:gd name="T84" fmla="*/ 80857 w 449"/>
                <a:gd name="T85" fmla="*/ 226306 h 523"/>
                <a:gd name="T86" fmla="*/ 84707 w 449"/>
                <a:gd name="T87" fmla="*/ 234091 h 523"/>
                <a:gd name="T88" fmla="*/ 85990 w 449"/>
                <a:gd name="T89" fmla="*/ 240839 h 523"/>
                <a:gd name="T90" fmla="*/ 89413 w 449"/>
                <a:gd name="T91" fmla="*/ 248625 h 523"/>
                <a:gd name="T92" fmla="*/ 94119 w 449"/>
                <a:gd name="T93" fmla="*/ 255372 h 523"/>
                <a:gd name="T94" fmla="*/ 99680 w 449"/>
                <a:gd name="T95" fmla="*/ 261082 h 523"/>
                <a:gd name="T96" fmla="*/ 105670 w 449"/>
                <a:gd name="T97" fmla="*/ 265753 h 523"/>
                <a:gd name="T98" fmla="*/ 112943 w 449"/>
                <a:gd name="T99" fmla="*/ 269387 h 523"/>
                <a:gd name="T100" fmla="*/ 120215 w 449"/>
                <a:gd name="T101" fmla="*/ 271463 h 523"/>
                <a:gd name="T102" fmla="*/ 130055 w 449"/>
                <a:gd name="T103" fmla="*/ 260563 h 523"/>
                <a:gd name="T104" fmla="*/ 143317 w 449"/>
                <a:gd name="T105" fmla="*/ 239801 h 523"/>
                <a:gd name="T106" fmla="*/ 156152 w 449"/>
                <a:gd name="T107" fmla="*/ 221634 h 523"/>
                <a:gd name="T108" fmla="*/ 168558 w 449"/>
                <a:gd name="T109" fmla="*/ 202429 h 52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7" name="Freeform 467">
              <a:extLst>
                <a:ext uri="{FF2B5EF4-FFF2-40B4-BE49-F238E27FC236}">
                  <a16:creationId xmlns:a16="http://schemas.microsoft.com/office/drawing/2014/main" id="{08A3BDC5-1B62-4868-9393-CA2B0C5DD2E2}"/>
                </a:ext>
              </a:extLst>
            </p:cNvPr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6373813" y="2606676"/>
              <a:ext cx="101600" cy="130175"/>
            </a:xfrm>
            <a:custGeom>
              <a:avLst/>
              <a:gdLst>
                <a:gd name="T0" fmla="*/ 5395 w 226"/>
                <a:gd name="T1" fmla="*/ 120650 h 246"/>
                <a:gd name="T2" fmla="*/ 16184 w 226"/>
                <a:gd name="T3" fmla="*/ 127000 h 246"/>
                <a:gd name="T4" fmla="*/ 23827 w 226"/>
                <a:gd name="T5" fmla="*/ 129646 h 246"/>
                <a:gd name="T6" fmla="*/ 30570 w 226"/>
                <a:gd name="T7" fmla="*/ 129646 h 246"/>
                <a:gd name="T8" fmla="*/ 38212 w 226"/>
                <a:gd name="T9" fmla="*/ 127529 h 246"/>
                <a:gd name="T10" fmla="*/ 49451 w 226"/>
                <a:gd name="T11" fmla="*/ 120650 h 246"/>
                <a:gd name="T12" fmla="*/ 63388 w 226"/>
                <a:gd name="T13" fmla="*/ 108479 h 246"/>
                <a:gd name="T14" fmla="*/ 72379 w 226"/>
                <a:gd name="T15" fmla="*/ 97367 h 246"/>
                <a:gd name="T16" fmla="*/ 71480 w 226"/>
                <a:gd name="T17" fmla="*/ 91546 h 246"/>
                <a:gd name="T18" fmla="*/ 66984 w 226"/>
                <a:gd name="T19" fmla="*/ 84667 h 246"/>
                <a:gd name="T20" fmla="*/ 64287 w 226"/>
                <a:gd name="T21" fmla="*/ 76729 h 246"/>
                <a:gd name="T22" fmla="*/ 63388 w 226"/>
                <a:gd name="T23" fmla="*/ 68792 h 246"/>
                <a:gd name="T24" fmla="*/ 63388 w 226"/>
                <a:gd name="T25" fmla="*/ 61383 h 246"/>
                <a:gd name="T26" fmla="*/ 65635 w 226"/>
                <a:gd name="T27" fmla="*/ 55562 h 246"/>
                <a:gd name="T28" fmla="*/ 70131 w 226"/>
                <a:gd name="T29" fmla="*/ 49742 h 246"/>
                <a:gd name="T30" fmla="*/ 75526 w 226"/>
                <a:gd name="T31" fmla="*/ 45508 h 246"/>
                <a:gd name="T32" fmla="*/ 91710 w 226"/>
                <a:gd name="T33" fmla="*/ 37571 h 246"/>
                <a:gd name="T34" fmla="*/ 101150 w 226"/>
                <a:gd name="T35" fmla="*/ 25929 h 246"/>
                <a:gd name="T36" fmla="*/ 99352 w 226"/>
                <a:gd name="T37" fmla="*/ 15875 h 246"/>
                <a:gd name="T38" fmla="*/ 96205 w 226"/>
                <a:gd name="T39" fmla="*/ 8996 h 246"/>
                <a:gd name="T40" fmla="*/ 95306 w 226"/>
                <a:gd name="T41" fmla="*/ 3175 h 246"/>
                <a:gd name="T42" fmla="*/ 90811 w 226"/>
                <a:gd name="T43" fmla="*/ 529 h 246"/>
                <a:gd name="T44" fmla="*/ 81370 w 226"/>
                <a:gd name="T45" fmla="*/ 3704 h 246"/>
                <a:gd name="T46" fmla="*/ 69232 w 226"/>
                <a:gd name="T47" fmla="*/ 10583 h 246"/>
                <a:gd name="T48" fmla="*/ 54396 w 226"/>
                <a:gd name="T49" fmla="*/ 20108 h 246"/>
                <a:gd name="T50" fmla="*/ 44956 w 226"/>
                <a:gd name="T51" fmla="*/ 26987 h 246"/>
                <a:gd name="T52" fmla="*/ 39112 w 226"/>
                <a:gd name="T53" fmla="*/ 29104 h 246"/>
                <a:gd name="T54" fmla="*/ 33717 w 226"/>
                <a:gd name="T55" fmla="*/ 28575 h 246"/>
                <a:gd name="T56" fmla="*/ 26524 w 226"/>
                <a:gd name="T57" fmla="*/ 24871 h 246"/>
                <a:gd name="T58" fmla="*/ 16184 w 226"/>
                <a:gd name="T59" fmla="*/ 16404 h 246"/>
                <a:gd name="T60" fmla="*/ 10789 w 226"/>
                <a:gd name="T61" fmla="*/ 20638 h 246"/>
                <a:gd name="T62" fmla="*/ 8092 w 226"/>
                <a:gd name="T63" fmla="*/ 50271 h 246"/>
                <a:gd name="T64" fmla="*/ 4496 w 226"/>
                <a:gd name="T65" fmla="*/ 86254 h 246"/>
                <a:gd name="T66" fmla="*/ 1349 w 226"/>
                <a:gd name="T67" fmla="*/ 112183 h 24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8" name="Freeform 468">
              <a:extLst>
                <a:ext uri="{FF2B5EF4-FFF2-40B4-BE49-F238E27FC236}">
                  <a16:creationId xmlns:a16="http://schemas.microsoft.com/office/drawing/2014/main" id="{2C7D60E9-427D-46E4-8124-0EEF0C784147}"/>
                </a:ext>
              </a:extLst>
            </p:cNvPr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6672264" y="2709863"/>
              <a:ext cx="22225" cy="55562"/>
            </a:xfrm>
            <a:custGeom>
              <a:avLst/>
              <a:gdLst>
                <a:gd name="T0" fmla="*/ 10001 w 60"/>
                <a:gd name="T1" fmla="*/ 0 h 81"/>
                <a:gd name="T2" fmla="*/ 10742 w 60"/>
                <a:gd name="T3" fmla="*/ 1372 h 81"/>
                <a:gd name="T4" fmla="*/ 11853 w 60"/>
                <a:gd name="T5" fmla="*/ 2058 h 81"/>
                <a:gd name="T6" fmla="*/ 13335 w 60"/>
                <a:gd name="T7" fmla="*/ 2058 h 81"/>
                <a:gd name="T8" fmla="*/ 14817 w 60"/>
                <a:gd name="T9" fmla="*/ 1372 h 81"/>
                <a:gd name="T10" fmla="*/ 17410 w 60"/>
                <a:gd name="T11" fmla="*/ 686 h 81"/>
                <a:gd name="T12" fmla="*/ 19632 w 60"/>
                <a:gd name="T13" fmla="*/ 0 h 81"/>
                <a:gd name="T14" fmla="*/ 19632 w 60"/>
                <a:gd name="T15" fmla="*/ 17835 h 81"/>
                <a:gd name="T16" fmla="*/ 20003 w 60"/>
                <a:gd name="T17" fmla="*/ 32240 h 81"/>
                <a:gd name="T18" fmla="*/ 20003 w 60"/>
                <a:gd name="T19" fmla="*/ 39099 h 81"/>
                <a:gd name="T20" fmla="*/ 20743 w 60"/>
                <a:gd name="T21" fmla="*/ 44587 h 81"/>
                <a:gd name="T22" fmla="*/ 21484 w 60"/>
                <a:gd name="T23" fmla="*/ 50074 h 81"/>
                <a:gd name="T24" fmla="*/ 22225 w 60"/>
                <a:gd name="T25" fmla="*/ 55562 h 81"/>
                <a:gd name="T26" fmla="*/ 7408 w 60"/>
                <a:gd name="T27" fmla="*/ 55562 h 81"/>
                <a:gd name="T28" fmla="*/ 5186 w 60"/>
                <a:gd name="T29" fmla="*/ 54876 h 81"/>
                <a:gd name="T30" fmla="*/ 2593 w 60"/>
                <a:gd name="T31" fmla="*/ 52818 h 81"/>
                <a:gd name="T32" fmla="*/ 1852 w 60"/>
                <a:gd name="T33" fmla="*/ 50760 h 81"/>
                <a:gd name="T34" fmla="*/ 741 w 60"/>
                <a:gd name="T35" fmla="*/ 49388 h 81"/>
                <a:gd name="T36" fmla="*/ 370 w 60"/>
                <a:gd name="T37" fmla="*/ 48017 h 81"/>
                <a:gd name="T38" fmla="*/ 0 w 60"/>
                <a:gd name="T39" fmla="*/ 46645 h 81"/>
                <a:gd name="T40" fmla="*/ 2593 w 60"/>
                <a:gd name="T41" fmla="*/ 8231 h 81"/>
                <a:gd name="T42" fmla="*/ 7408 w 60"/>
                <a:gd name="T43" fmla="*/ 4116 h 81"/>
                <a:gd name="T44" fmla="*/ 12594 w 60"/>
                <a:gd name="T45" fmla="*/ 0 h 81"/>
                <a:gd name="T46" fmla="*/ 10001 w 60"/>
                <a:gd name="T47" fmla="*/ 0 h 8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9" name="Freeform 469">
              <a:extLst>
                <a:ext uri="{FF2B5EF4-FFF2-40B4-BE49-F238E27FC236}">
                  <a16:creationId xmlns:a16="http://schemas.microsoft.com/office/drawing/2014/main" id="{332CD8E4-F605-4EC5-BA0A-7BB76F251B45}"/>
                </a:ext>
              </a:extLst>
            </p:cNvPr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5959476" y="1844676"/>
              <a:ext cx="161925" cy="66675"/>
            </a:xfrm>
            <a:custGeom>
              <a:avLst/>
              <a:gdLst>
                <a:gd name="T0" fmla="*/ 109409 w 370"/>
                <a:gd name="T1" fmla="*/ 60473 h 129"/>
                <a:gd name="T2" fmla="*/ 112910 w 370"/>
                <a:gd name="T3" fmla="*/ 61506 h 129"/>
                <a:gd name="T4" fmla="*/ 121225 w 370"/>
                <a:gd name="T5" fmla="*/ 63574 h 129"/>
                <a:gd name="T6" fmla="*/ 129102 w 370"/>
                <a:gd name="T7" fmla="*/ 65641 h 129"/>
                <a:gd name="T8" fmla="*/ 132603 w 370"/>
                <a:gd name="T9" fmla="*/ 66675 h 129"/>
                <a:gd name="T10" fmla="*/ 161925 w 370"/>
                <a:gd name="T11" fmla="*/ 50135 h 129"/>
                <a:gd name="T12" fmla="*/ 156673 w 370"/>
                <a:gd name="T13" fmla="*/ 38765 h 129"/>
                <a:gd name="T14" fmla="*/ 150984 w 370"/>
                <a:gd name="T15" fmla="*/ 24809 h 129"/>
                <a:gd name="T16" fmla="*/ 146608 w 370"/>
                <a:gd name="T17" fmla="*/ 13955 h 129"/>
                <a:gd name="T18" fmla="*/ 144420 w 370"/>
                <a:gd name="T19" fmla="*/ 9303 h 129"/>
                <a:gd name="T20" fmla="*/ 131291 w 370"/>
                <a:gd name="T21" fmla="*/ 7753 h 129"/>
                <a:gd name="T22" fmla="*/ 112472 w 370"/>
                <a:gd name="T23" fmla="*/ 4652 h 129"/>
                <a:gd name="T24" fmla="*/ 93654 w 370"/>
                <a:gd name="T25" fmla="*/ 1034 h 129"/>
                <a:gd name="T26" fmla="*/ 80087 w 370"/>
                <a:gd name="T27" fmla="*/ 0 h 129"/>
                <a:gd name="T28" fmla="*/ 78337 w 370"/>
                <a:gd name="T29" fmla="*/ 0 h 129"/>
                <a:gd name="T30" fmla="*/ 77024 w 370"/>
                <a:gd name="T31" fmla="*/ 517 h 129"/>
                <a:gd name="T32" fmla="*/ 75273 w 370"/>
                <a:gd name="T33" fmla="*/ 1034 h 129"/>
                <a:gd name="T34" fmla="*/ 74398 w 370"/>
                <a:gd name="T35" fmla="*/ 1551 h 129"/>
                <a:gd name="T36" fmla="*/ 70897 w 370"/>
                <a:gd name="T37" fmla="*/ 3618 h 129"/>
                <a:gd name="T38" fmla="*/ 65645 w 370"/>
                <a:gd name="T39" fmla="*/ 6202 h 129"/>
                <a:gd name="T40" fmla="*/ 64332 w 370"/>
                <a:gd name="T41" fmla="*/ 10854 h 129"/>
                <a:gd name="T42" fmla="*/ 61269 w 370"/>
                <a:gd name="T43" fmla="*/ 18090 h 129"/>
                <a:gd name="T44" fmla="*/ 58643 w 370"/>
                <a:gd name="T45" fmla="*/ 24809 h 129"/>
                <a:gd name="T46" fmla="*/ 57330 w 370"/>
                <a:gd name="T47" fmla="*/ 28427 h 129"/>
                <a:gd name="T48" fmla="*/ 53391 w 370"/>
                <a:gd name="T49" fmla="*/ 27910 h 129"/>
                <a:gd name="T50" fmla="*/ 48578 w 370"/>
                <a:gd name="T51" fmla="*/ 25326 h 129"/>
                <a:gd name="T52" fmla="*/ 42888 w 370"/>
                <a:gd name="T53" fmla="*/ 22742 h 129"/>
                <a:gd name="T54" fmla="*/ 36761 w 370"/>
                <a:gd name="T55" fmla="*/ 19641 h 129"/>
                <a:gd name="T56" fmla="*/ 26258 w 370"/>
                <a:gd name="T57" fmla="*/ 13438 h 129"/>
                <a:gd name="T58" fmla="*/ 19256 w 370"/>
                <a:gd name="T59" fmla="*/ 9303 h 129"/>
                <a:gd name="T60" fmla="*/ 14004 w 370"/>
                <a:gd name="T61" fmla="*/ 12922 h 129"/>
                <a:gd name="T62" fmla="*/ 9190 w 370"/>
                <a:gd name="T63" fmla="*/ 17056 h 129"/>
                <a:gd name="T64" fmla="*/ 7002 w 370"/>
                <a:gd name="T65" fmla="*/ 19124 h 129"/>
                <a:gd name="T66" fmla="*/ 5252 w 370"/>
                <a:gd name="T67" fmla="*/ 21191 h 129"/>
                <a:gd name="T68" fmla="*/ 3939 w 370"/>
                <a:gd name="T69" fmla="*/ 23776 h 129"/>
                <a:gd name="T70" fmla="*/ 2188 w 370"/>
                <a:gd name="T71" fmla="*/ 26877 h 129"/>
                <a:gd name="T72" fmla="*/ 1313 w 370"/>
                <a:gd name="T73" fmla="*/ 29461 h 129"/>
                <a:gd name="T74" fmla="*/ 438 w 370"/>
                <a:gd name="T75" fmla="*/ 32562 h 129"/>
                <a:gd name="T76" fmla="*/ 0 w 370"/>
                <a:gd name="T77" fmla="*/ 35663 h 129"/>
                <a:gd name="T78" fmla="*/ 0 w 370"/>
                <a:gd name="T79" fmla="*/ 38765 h 129"/>
                <a:gd name="T80" fmla="*/ 438 w 370"/>
                <a:gd name="T81" fmla="*/ 42383 h 129"/>
                <a:gd name="T82" fmla="*/ 1313 w 370"/>
                <a:gd name="T83" fmla="*/ 45484 h 129"/>
                <a:gd name="T84" fmla="*/ 2626 w 370"/>
                <a:gd name="T85" fmla="*/ 49619 h 129"/>
                <a:gd name="T86" fmla="*/ 4814 w 370"/>
                <a:gd name="T87" fmla="*/ 53237 h 129"/>
                <a:gd name="T88" fmla="*/ 8753 w 370"/>
                <a:gd name="T89" fmla="*/ 52203 h 129"/>
                <a:gd name="T90" fmla="*/ 14442 w 370"/>
                <a:gd name="T91" fmla="*/ 51169 h 129"/>
                <a:gd name="T92" fmla="*/ 21882 w 370"/>
                <a:gd name="T93" fmla="*/ 50135 h 129"/>
                <a:gd name="T94" fmla="*/ 30197 w 370"/>
                <a:gd name="T95" fmla="*/ 49102 h 129"/>
                <a:gd name="T96" fmla="*/ 44639 w 370"/>
                <a:gd name="T97" fmla="*/ 47551 h 129"/>
                <a:gd name="T98" fmla="*/ 51203 w 370"/>
                <a:gd name="T99" fmla="*/ 47034 h 129"/>
                <a:gd name="T100" fmla="*/ 59956 w 370"/>
                <a:gd name="T101" fmla="*/ 47551 h 129"/>
                <a:gd name="T102" fmla="*/ 66521 w 370"/>
                <a:gd name="T103" fmla="*/ 48585 h 129"/>
                <a:gd name="T104" fmla="*/ 72647 w 370"/>
                <a:gd name="T105" fmla="*/ 50135 h 129"/>
                <a:gd name="T106" fmla="*/ 77461 w 370"/>
                <a:gd name="T107" fmla="*/ 51686 h 129"/>
                <a:gd name="T108" fmla="*/ 82713 w 370"/>
                <a:gd name="T109" fmla="*/ 53753 h 129"/>
                <a:gd name="T110" fmla="*/ 87965 w 370"/>
                <a:gd name="T111" fmla="*/ 55821 h 129"/>
                <a:gd name="T112" fmla="*/ 94967 w 370"/>
                <a:gd name="T113" fmla="*/ 56855 h 129"/>
                <a:gd name="T114" fmla="*/ 103720 w 370"/>
                <a:gd name="T115" fmla="*/ 57372 h 129"/>
                <a:gd name="T116" fmla="*/ 103720 w 370"/>
                <a:gd name="T117" fmla="*/ 60473 h 129"/>
                <a:gd name="T118" fmla="*/ 109409 w 370"/>
                <a:gd name="T119" fmla="*/ 60473 h 12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320" name="Freeform 470">
              <a:extLst>
                <a:ext uri="{FF2B5EF4-FFF2-40B4-BE49-F238E27FC236}">
                  <a16:creationId xmlns:a16="http://schemas.microsoft.com/office/drawing/2014/main" id="{5FB69EE2-D269-4E42-8DD3-5007817D92D6}"/>
                </a:ext>
              </a:extLst>
            </p:cNvPr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6370638" y="2565400"/>
              <a:ext cx="30162" cy="57150"/>
            </a:xfrm>
            <a:custGeom>
              <a:avLst/>
              <a:gdLst>
                <a:gd name="T0" fmla="*/ 10180 w 80"/>
                <a:gd name="T1" fmla="*/ 608 h 94"/>
                <a:gd name="T2" fmla="*/ 12819 w 80"/>
                <a:gd name="T3" fmla="*/ 0 h 94"/>
                <a:gd name="T4" fmla="*/ 15458 w 80"/>
                <a:gd name="T5" fmla="*/ 0 h 94"/>
                <a:gd name="T6" fmla="*/ 17720 w 80"/>
                <a:gd name="T7" fmla="*/ 1216 h 94"/>
                <a:gd name="T8" fmla="*/ 20359 w 80"/>
                <a:gd name="T9" fmla="*/ 2432 h 94"/>
                <a:gd name="T10" fmla="*/ 22622 w 80"/>
                <a:gd name="T11" fmla="*/ 3648 h 94"/>
                <a:gd name="T12" fmla="*/ 24884 w 80"/>
                <a:gd name="T13" fmla="*/ 4864 h 94"/>
                <a:gd name="T14" fmla="*/ 27523 w 80"/>
                <a:gd name="T15" fmla="*/ 4864 h 94"/>
                <a:gd name="T16" fmla="*/ 30162 w 80"/>
                <a:gd name="T17" fmla="*/ 4256 h 94"/>
                <a:gd name="T18" fmla="*/ 30162 w 80"/>
                <a:gd name="T19" fmla="*/ 23103 h 94"/>
                <a:gd name="T20" fmla="*/ 28277 w 80"/>
                <a:gd name="T21" fmla="*/ 26751 h 94"/>
                <a:gd name="T22" fmla="*/ 26015 w 80"/>
                <a:gd name="T23" fmla="*/ 31007 h 94"/>
                <a:gd name="T24" fmla="*/ 24130 w 80"/>
                <a:gd name="T25" fmla="*/ 35871 h 94"/>
                <a:gd name="T26" fmla="*/ 21867 w 80"/>
                <a:gd name="T27" fmla="*/ 41343 h 94"/>
                <a:gd name="T28" fmla="*/ 19228 w 80"/>
                <a:gd name="T29" fmla="*/ 51070 h 94"/>
                <a:gd name="T30" fmla="*/ 17720 w 80"/>
                <a:gd name="T31" fmla="*/ 57150 h 94"/>
                <a:gd name="T32" fmla="*/ 16212 w 80"/>
                <a:gd name="T33" fmla="*/ 56542 h 94"/>
                <a:gd name="T34" fmla="*/ 15081 w 80"/>
                <a:gd name="T35" fmla="*/ 55934 h 94"/>
                <a:gd name="T36" fmla="*/ 13950 w 80"/>
                <a:gd name="T37" fmla="*/ 55326 h 94"/>
                <a:gd name="T38" fmla="*/ 12819 w 80"/>
                <a:gd name="T39" fmla="*/ 54110 h 94"/>
                <a:gd name="T40" fmla="*/ 10934 w 80"/>
                <a:gd name="T41" fmla="*/ 51070 h 94"/>
                <a:gd name="T42" fmla="*/ 8672 w 80"/>
                <a:gd name="T43" fmla="*/ 47422 h 94"/>
                <a:gd name="T44" fmla="*/ 7163 w 80"/>
                <a:gd name="T45" fmla="*/ 43774 h 94"/>
                <a:gd name="T46" fmla="*/ 4901 w 80"/>
                <a:gd name="T47" fmla="*/ 39519 h 94"/>
                <a:gd name="T48" fmla="*/ 2639 w 80"/>
                <a:gd name="T49" fmla="*/ 36479 h 94"/>
                <a:gd name="T50" fmla="*/ 0 w 80"/>
                <a:gd name="T51" fmla="*/ 34047 h 94"/>
                <a:gd name="T52" fmla="*/ 3016 w 80"/>
                <a:gd name="T53" fmla="*/ 24927 h 94"/>
                <a:gd name="T54" fmla="*/ 4901 w 80"/>
                <a:gd name="T55" fmla="*/ 17631 h 94"/>
                <a:gd name="T56" fmla="*/ 7163 w 80"/>
                <a:gd name="T57" fmla="*/ 10336 h 94"/>
                <a:gd name="T58" fmla="*/ 10180 w 80"/>
                <a:gd name="T59" fmla="*/ 608 h 9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1" name="Freeform 471">
              <a:extLst>
                <a:ext uri="{FF2B5EF4-FFF2-40B4-BE49-F238E27FC236}">
                  <a16:creationId xmlns:a16="http://schemas.microsoft.com/office/drawing/2014/main" id="{480DA5AA-383C-4C0C-B86A-2223C59790A9}"/>
                </a:ext>
              </a:extLst>
            </p:cNvPr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6186488" y="4576763"/>
              <a:ext cx="61912" cy="57150"/>
            </a:xfrm>
            <a:custGeom>
              <a:avLst/>
              <a:gdLst>
                <a:gd name="T0" fmla="*/ 1376 w 135"/>
                <a:gd name="T1" fmla="*/ 32074 h 98"/>
                <a:gd name="T2" fmla="*/ 5045 w 135"/>
                <a:gd name="T3" fmla="*/ 31491 h 98"/>
                <a:gd name="T4" fmla="*/ 8255 w 135"/>
                <a:gd name="T5" fmla="*/ 30908 h 98"/>
                <a:gd name="T6" fmla="*/ 11007 w 135"/>
                <a:gd name="T7" fmla="*/ 29158 h 98"/>
                <a:gd name="T8" fmla="*/ 14217 w 135"/>
                <a:gd name="T9" fmla="*/ 27409 h 98"/>
                <a:gd name="T10" fmla="*/ 19262 w 135"/>
                <a:gd name="T11" fmla="*/ 22160 h 98"/>
                <a:gd name="T12" fmla="*/ 23848 w 135"/>
                <a:gd name="T13" fmla="*/ 16329 h 98"/>
                <a:gd name="T14" fmla="*/ 27975 w 135"/>
                <a:gd name="T15" fmla="*/ 10497 h 98"/>
                <a:gd name="T16" fmla="*/ 32561 w 135"/>
                <a:gd name="T17" fmla="*/ 4665 h 98"/>
                <a:gd name="T18" fmla="*/ 34854 w 135"/>
                <a:gd name="T19" fmla="*/ 2916 h 98"/>
                <a:gd name="T20" fmla="*/ 37606 w 135"/>
                <a:gd name="T21" fmla="*/ 1166 h 98"/>
                <a:gd name="T22" fmla="*/ 40357 w 135"/>
                <a:gd name="T23" fmla="*/ 0 h 98"/>
                <a:gd name="T24" fmla="*/ 44026 w 135"/>
                <a:gd name="T25" fmla="*/ 0 h 98"/>
                <a:gd name="T26" fmla="*/ 46778 w 135"/>
                <a:gd name="T27" fmla="*/ 0 h 98"/>
                <a:gd name="T28" fmla="*/ 50447 w 135"/>
                <a:gd name="T29" fmla="*/ 1749 h 98"/>
                <a:gd name="T30" fmla="*/ 53657 w 135"/>
                <a:gd name="T31" fmla="*/ 3499 h 98"/>
                <a:gd name="T32" fmla="*/ 56409 w 135"/>
                <a:gd name="T33" fmla="*/ 6415 h 98"/>
                <a:gd name="T34" fmla="*/ 58702 w 135"/>
                <a:gd name="T35" fmla="*/ 9331 h 98"/>
                <a:gd name="T36" fmla="*/ 60536 w 135"/>
                <a:gd name="T37" fmla="*/ 13996 h 98"/>
                <a:gd name="T38" fmla="*/ 61453 w 135"/>
                <a:gd name="T39" fmla="*/ 17495 h 98"/>
                <a:gd name="T40" fmla="*/ 61912 w 135"/>
                <a:gd name="T41" fmla="*/ 21577 h 98"/>
                <a:gd name="T42" fmla="*/ 61453 w 135"/>
                <a:gd name="T43" fmla="*/ 23327 h 98"/>
                <a:gd name="T44" fmla="*/ 60536 w 135"/>
                <a:gd name="T45" fmla="*/ 25076 h 98"/>
                <a:gd name="T46" fmla="*/ 59160 w 135"/>
                <a:gd name="T47" fmla="*/ 27409 h 98"/>
                <a:gd name="T48" fmla="*/ 56867 w 135"/>
                <a:gd name="T49" fmla="*/ 29741 h 98"/>
                <a:gd name="T50" fmla="*/ 51823 w 135"/>
                <a:gd name="T51" fmla="*/ 35573 h 98"/>
                <a:gd name="T52" fmla="*/ 45861 w 135"/>
                <a:gd name="T53" fmla="*/ 41988 h 98"/>
                <a:gd name="T54" fmla="*/ 39899 w 135"/>
                <a:gd name="T55" fmla="*/ 47819 h 98"/>
                <a:gd name="T56" fmla="*/ 33937 w 135"/>
                <a:gd name="T57" fmla="*/ 53068 h 98"/>
                <a:gd name="T58" fmla="*/ 28892 w 135"/>
                <a:gd name="T59" fmla="*/ 55984 h 98"/>
                <a:gd name="T60" fmla="*/ 25223 w 135"/>
                <a:gd name="T61" fmla="*/ 57150 h 98"/>
                <a:gd name="T62" fmla="*/ 23389 w 135"/>
                <a:gd name="T63" fmla="*/ 56567 h 98"/>
                <a:gd name="T64" fmla="*/ 19720 w 135"/>
                <a:gd name="T65" fmla="*/ 53651 h 98"/>
                <a:gd name="T66" fmla="*/ 14675 w 135"/>
                <a:gd name="T67" fmla="*/ 49569 h 98"/>
                <a:gd name="T68" fmla="*/ 9631 w 135"/>
                <a:gd name="T69" fmla="*/ 44904 h 98"/>
                <a:gd name="T70" fmla="*/ 5045 w 135"/>
                <a:gd name="T71" fmla="*/ 39655 h 98"/>
                <a:gd name="T72" fmla="*/ 2293 w 135"/>
                <a:gd name="T73" fmla="*/ 36156 h 98"/>
                <a:gd name="T74" fmla="*/ 459 w 135"/>
                <a:gd name="T75" fmla="*/ 34407 h 98"/>
                <a:gd name="T76" fmla="*/ 0 w 135"/>
                <a:gd name="T77" fmla="*/ 33240 h 98"/>
                <a:gd name="T78" fmla="*/ 0 w 135"/>
                <a:gd name="T79" fmla="*/ 32657 h 98"/>
                <a:gd name="T80" fmla="*/ 1376 w 135"/>
                <a:gd name="T81" fmla="*/ 32074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2" name="Freeform 472">
              <a:extLst>
                <a:ext uri="{FF2B5EF4-FFF2-40B4-BE49-F238E27FC236}">
                  <a16:creationId xmlns:a16="http://schemas.microsoft.com/office/drawing/2014/main" id="{94AAF8C3-ED09-40F2-8981-4E29EA12C1BD}"/>
                </a:ext>
              </a:extLst>
            </p:cNvPr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5957888" y="1892300"/>
              <a:ext cx="131762" cy="84138"/>
            </a:xfrm>
            <a:custGeom>
              <a:avLst/>
              <a:gdLst>
                <a:gd name="T0" fmla="*/ 81084 w 312"/>
                <a:gd name="T1" fmla="*/ 84138 h 155"/>
                <a:gd name="T2" fmla="*/ 81929 w 312"/>
                <a:gd name="T3" fmla="*/ 81967 h 155"/>
                <a:gd name="T4" fmla="*/ 83196 w 312"/>
                <a:gd name="T5" fmla="*/ 80338 h 155"/>
                <a:gd name="T6" fmla="*/ 84463 w 312"/>
                <a:gd name="T7" fmla="*/ 78710 h 155"/>
                <a:gd name="T8" fmla="*/ 85730 w 312"/>
                <a:gd name="T9" fmla="*/ 77081 h 155"/>
                <a:gd name="T10" fmla="*/ 89108 w 312"/>
                <a:gd name="T11" fmla="*/ 74367 h 155"/>
                <a:gd name="T12" fmla="*/ 92909 w 312"/>
                <a:gd name="T13" fmla="*/ 71653 h 155"/>
                <a:gd name="T14" fmla="*/ 100511 w 312"/>
                <a:gd name="T15" fmla="*/ 66768 h 155"/>
                <a:gd name="T16" fmla="*/ 106845 w 312"/>
                <a:gd name="T17" fmla="*/ 63511 h 155"/>
                <a:gd name="T18" fmla="*/ 107690 w 312"/>
                <a:gd name="T19" fmla="*/ 59168 h 155"/>
                <a:gd name="T20" fmla="*/ 109802 w 312"/>
                <a:gd name="T21" fmla="*/ 52654 h 155"/>
                <a:gd name="T22" fmla="*/ 111491 w 312"/>
                <a:gd name="T23" fmla="*/ 49397 h 155"/>
                <a:gd name="T24" fmla="*/ 112758 w 312"/>
                <a:gd name="T25" fmla="*/ 46683 h 155"/>
                <a:gd name="T26" fmla="*/ 113602 w 312"/>
                <a:gd name="T27" fmla="*/ 44512 h 155"/>
                <a:gd name="T28" fmla="*/ 114869 w 312"/>
                <a:gd name="T29" fmla="*/ 43969 h 155"/>
                <a:gd name="T30" fmla="*/ 131762 w 312"/>
                <a:gd name="T31" fmla="*/ 23884 h 155"/>
                <a:gd name="T32" fmla="*/ 131762 w 312"/>
                <a:gd name="T33" fmla="*/ 21170 h 155"/>
                <a:gd name="T34" fmla="*/ 130917 w 312"/>
                <a:gd name="T35" fmla="*/ 18999 h 155"/>
                <a:gd name="T36" fmla="*/ 129228 w 312"/>
                <a:gd name="T37" fmla="*/ 17370 h 155"/>
                <a:gd name="T38" fmla="*/ 127539 w 312"/>
                <a:gd name="T39" fmla="*/ 16285 h 155"/>
                <a:gd name="T40" fmla="*/ 122893 w 312"/>
                <a:gd name="T41" fmla="*/ 15199 h 155"/>
                <a:gd name="T42" fmla="*/ 118248 w 312"/>
                <a:gd name="T43" fmla="*/ 14656 h 155"/>
                <a:gd name="T44" fmla="*/ 113180 w 312"/>
                <a:gd name="T45" fmla="*/ 14656 h 155"/>
                <a:gd name="T46" fmla="*/ 109379 w 312"/>
                <a:gd name="T47" fmla="*/ 14656 h 155"/>
                <a:gd name="T48" fmla="*/ 108112 w 312"/>
                <a:gd name="T49" fmla="*/ 14113 h 155"/>
                <a:gd name="T50" fmla="*/ 106845 w 312"/>
                <a:gd name="T51" fmla="*/ 13571 h 155"/>
                <a:gd name="T52" fmla="*/ 106423 w 312"/>
                <a:gd name="T53" fmla="*/ 12485 h 155"/>
                <a:gd name="T54" fmla="*/ 106845 w 312"/>
                <a:gd name="T55" fmla="*/ 10857 h 155"/>
                <a:gd name="T56" fmla="*/ 97977 w 312"/>
                <a:gd name="T57" fmla="*/ 10314 h 155"/>
                <a:gd name="T58" fmla="*/ 91220 w 312"/>
                <a:gd name="T59" fmla="*/ 9228 h 155"/>
                <a:gd name="T60" fmla="*/ 85307 w 312"/>
                <a:gd name="T61" fmla="*/ 7057 h 155"/>
                <a:gd name="T62" fmla="*/ 79817 w 312"/>
                <a:gd name="T63" fmla="*/ 4885 h 155"/>
                <a:gd name="T64" fmla="*/ 74750 w 312"/>
                <a:gd name="T65" fmla="*/ 3257 h 155"/>
                <a:gd name="T66" fmla="*/ 68837 w 312"/>
                <a:gd name="T67" fmla="*/ 1628 h 155"/>
                <a:gd name="T68" fmla="*/ 61658 w 312"/>
                <a:gd name="T69" fmla="*/ 543 h 155"/>
                <a:gd name="T70" fmla="*/ 53212 w 312"/>
                <a:gd name="T71" fmla="*/ 0 h 155"/>
                <a:gd name="T72" fmla="*/ 46455 w 312"/>
                <a:gd name="T73" fmla="*/ 543 h 155"/>
                <a:gd name="T74" fmla="*/ 31251 w 312"/>
                <a:gd name="T75" fmla="*/ 2171 h 155"/>
                <a:gd name="T76" fmla="*/ 22383 w 312"/>
                <a:gd name="T77" fmla="*/ 3257 h 155"/>
                <a:gd name="T78" fmla="*/ 14359 w 312"/>
                <a:gd name="T79" fmla="*/ 4343 h 155"/>
                <a:gd name="T80" fmla="*/ 7602 w 312"/>
                <a:gd name="T81" fmla="*/ 5428 h 155"/>
                <a:gd name="T82" fmla="*/ 2956 w 312"/>
                <a:gd name="T83" fmla="*/ 6514 h 155"/>
                <a:gd name="T84" fmla="*/ 3801 w 312"/>
                <a:gd name="T85" fmla="*/ 9228 h 155"/>
                <a:gd name="T86" fmla="*/ 4645 w 312"/>
                <a:gd name="T87" fmla="*/ 10314 h 155"/>
                <a:gd name="T88" fmla="*/ 5490 w 312"/>
                <a:gd name="T89" fmla="*/ 10314 h 155"/>
                <a:gd name="T90" fmla="*/ 6335 w 312"/>
                <a:gd name="T91" fmla="*/ 10857 h 155"/>
                <a:gd name="T92" fmla="*/ 7602 w 312"/>
                <a:gd name="T93" fmla="*/ 10857 h 155"/>
                <a:gd name="T94" fmla="*/ 8024 w 312"/>
                <a:gd name="T95" fmla="*/ 10857 h 155"/>
                <a:gd name="T96" fmla="*/ 8446 w 312"/>
                <a:gd name="T97" fmla="*/ 11942 h 155"/>
                <a:gd name="T98" fmla="*/ 8446 w 312"/>
                <a:gd name="T99" fmla="*/ 14113 h 155"/>
                <a:gd name="T100" fmla="*/ 8446 w 312"/>
                <a:gd name="T101" fmla="*/ 16285 h 155"/>
                <a:gd name="T102" fmla="*/ 8024 w 312"/>
                <a:gd name="T103" fmla="*/ 18999 h 155"/>
                <a:gd name="T104" fmla="*/ 7602 w 312"/>
                <a:gd name="T105" fmla="*/ 21170 h 155"/>
                <a:gd name="T106" fmla="*/ 6335 w 312"/>
                <a:gd name="T107" fmla="*/ 22799 h 155"/>
                <a:gd name="T108" fmla="*/ 5068 w 312"/>
                <a:gd name="T109" fmla="*/ 24427 h 155"/>
                <a:gd name="T110" fmla="*/ 3801 w 312"/>
                <a:gd name="T111" fmla="*/ 26056 h 155"/>
                <a:gd name="T112" fmla="*/ 1689 w 312"/>
                <a:gd name="T113" fmla="*/ 26598 h 155"/>
                <a:gd name="T114" fmla="*/ 0 w 312"/>
                <a:gd name="T115" fmla="*/ 27141 h 155"/>
                <a:gd name="T116" fmla="*/ 31251 w 312"/>
                <a:gd name="T117" fmla="*/ 36912 h 155"/>
                <a:gd name="T118" fmla="*/ 36741 w 312"/>
                <a:gd name="T119" fmla="*/ 60254 h 155"/>
                <a:gd name="T120" fmla="*/ 70104 w 312"/>
                <a:gd name="T121" fmla="*/ 66768 h 155"/>
                <a:gd name="T122" fmla="*/ 81084 w 312"/>
                <a:gd name="T123" fmla="*/ 84138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23" name="Freeform 473">
              <a:extLst>
                <a:ext uri="{FF2B5EF4-FFF2-40B4-BE49-F238E27FC236}">
                  <a16:creationId xmlns:a16="http://schemas.microsoft.com/office/drawing/2014/main" id="{F5E0CCCE-7AF4-4290-9A52-723CD9C15301}"/>
                </a:ext>
              </a:extLst>
            </p:cNvPr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5664200" y="2078039"/>
              <a:ext cx="19050" cy="60325"/>
            </a:xfrm>
            <a:custGeom>
              <a:avLst/>
              <a:gdLst>
                <a:gd name="T0" fmla="*/ 0 w 46"/>
                <a:gd name="T1" fmla="*/ 30163 h 50"/>
                <a:gd name="T2" fmla="*/ 828 w 46"/>
                <a:gd name="T3" fmla="*/ 21717 h 50"/>
                <a:gd name="T4" fmla="*/ 414 w 46"/>
                <a:gd name="T5" fmla="*/ 16891 h 50"/>
                <a:gd name="T6" fmla="*/ 828 w 46"/>
                <a:gd name="T7" fmla="*/ 15685 h 50"/>
                <a:gd name="T8" fmla="*/ 1242 w 46"/>
                <a:gd name="T9" fmla="*/ 15685 h 50"/>
                <a:gd name="T10" fmla="*/ 2485 w 46"/>
                <a:gd name="T11" fmla="*/ 14478 h 50"/>
                <a:gd name="T12" fmla="*/ 5384 w 46"/>
                <a:gd name="T13" fmla="*/ 14478 h 50"/>
                <a:gd name="T14" fmla="*/ 19050 w 46"/>
                <a:gd name="T15" fmla="*/ 0 h 50"/>
                <a:gd name="T16" fmla="*/ 19050 w 46"/>
                <a:gd name="T17" fmla="*/ 60325 h 50"/>
                <a:gd name="T18" fmla="*/ 16565 w 46"/>
                <a:gd name="T19" fmla="*/ 59119 h 50"/>
                <a:gd name="T20" fmla="*/ 13666 w 46"/>
                <a:gd name="T21" fmla="*/ 54293 h 50"/>
                <a:gd name="T22" fmla="*/ 10353 w 46"/>
                <a:gd name="T23" fmla="*/ 49467 h 50"/>
                <a:gd name="T24" fmla="*/ 7040 w 46"/>
                <a:gd name="T25" fmla="*/ 44641 h 50"/>
                <a:gd name="T26" fmla="*/ 2071 w 46"/>
                <a:gd name="T27" fmla="*/ 33782 h 50"/>
                <a:gd name="T28" fmla="*/ 0 w 46"/>
                <a:gd name="T29" fmla="*/ 30163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24" name="Freeform 474">
              <a:extLst>
                <a:ext uri="{FF2B5EF4-FFF2-40B4-BE49-F238E27FC236}">
                  <a16:creationId xmlns:a16="http://schemas.microsoft.com/office/drawing/2014/main" id="{C3F130B1-1591-425C-BB3E-BC3F944B191C}"/>
                </a:ext>
              </a:extLst>
            </p:cNvPr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6361113" y="3962400"/>
              <a:ext cx="69850" cy="241300"/>
            </a:xfrm>
            <a:custGeom>
              <a:avLst/>
              <a:gdLst>
                <a:gd name="T0" fmla="*/ 4208 w 166"/>
                <a:gd name="T1" fmla="*/ 149225 h 456"/>
                <a:gd name="T2" fmla="*/ 7995 w 166"/>
                <a:gd name="T3" fmla="*/ 153458 h 456"/>
                <a:gd name="T4" fmla="*/ 15569 w 166"/>
                <a:gd name="T5" fmla="*/ 158750 h 456"/>
                <a:gd name="T6" fmla="*/ 24405 w 166"/>
                <a:gd name="T7" fmla="*/ 161925 h 456"/>
                <a:gd name="T8" fmla="*/ 29455 w 166"/>
                <a:gd name="T9" fmla="*/ 165100 h 456"/>
                <a:gd name="T10" fmla="*/ 33663 w 166"/>
                <a:gd name="T11" fmla="*/ 169333 h 456"/>
                <a:gd name="T12" fmla="*/ 36187 w 166"/>
                <a:gd name="T13" fmla="*/ 175154 h 456"/>
                <a:gd name="T14" fmla="*/ 36187 w 166"/>
                <a:gd name="T15" fmla="*/ 183621 h 456"/>
                <a:gd name="T16" fmla="*/ 32821 w 166"/>
                <a:gd name="T17" fmla="*/ 192088 h 456"/>
                <a:gd name="T18" fmla="*/ 28613 w 166"/>
                <a:gd name="T19" fmla="*/ 198438 h 456"/>
                <a:gd name="T20" fmla="*/ 26089 w 166"/>
                <a:gd name="T21" fmla="*/ 205317 h 456"/>
                <a:gd name="T22" fmla="*/ 25247 w 166"/>
                <a:gd name="T23" fmla="*/ 211667 h 456"/>
                <a:gd name="T24" fmla="*/ 26930 w 166"/>
                <a:gd name="T25" fmla="*/ 217487 h 456"/>
                <a:gd name="T26" fmla="*/ 31980 w 166"/>
                <a:gd name="T27" fmla="*/ 224367 h 456"/>
                <a:gd name="T28" fmla="*/ 43761 w 166"/>
                <a:gd name="T29" fmla="*/ 235479 h 456"/>
                <a:gd name="T30" fmla="*/ 50494 w 166"/>
                <a:gd name="T31" fmla="*/ 234421 h 456"/>
                <a:gd name="T32" fmla="*/ 50494 w 166"/>
                <a:gd name="T33" fmla="*/ 223837 h 456"/>
                <a:gd name="T34" fmla="*/ 55123 w 166"/>
                <a:gd name="T35" fmla="*/ 218546 h 456"/>
                <a:gd name="T36" fmla="*/ 61014 w 166"/>
                <a:gd name="T37" fmla="*/ 215371 h 456"/>
                <a:gd name="T38" fmla="*/ 64380 w 166"/>
                <a:gd name="T39" fmla="*/ 212725 h 456"/>
                <a:gd name="T40" fmla="*/ 67325 w 166"/>
                <a:gd name="T41" fmla="*/ 207962 h 456"/>
                <a:gd name="T42" fmla="*/ 69850 w 166"/>
                <a:gd name="T43" fmla="*/ 198438 h 456"/>
                <a:gd name="T44" fmla="*/ 69429 w 166"/>
                <a:gd name="T45" fmla="*/ 185208 h 456"/>
                <a:gd name="T46" fmla="*/ 66484 w 166"/>
                <a:gd name="T47" fmla="*/ 173567 h 456"/>
                <a:gd name="T48" fmla="*/ 62276 w 166"/>
                <a:gd name="T49" fmla="*/ 162454 h 456"/>
                <a:gd name="T50" fmla="*/ 59330 w 166"/>
                <a:gd name="T51" fmla="*/ 150283 h 456"/>
                <a:gd name="T52" fmla="*/ 56806 w 166"/>
                <a:gd name="T53" fmla="*/ 142346 h 456"/>
                <a:gd name="T54" fmla="*/ 49652 w 166"/>
                <a:gd name="T55" fmla="*/ 132821 h 456"/>
                <a:gd name="T56" fmla="*/ 40816 w 166"/>
                <a:gd name="T57" fmla="*/ 118533 h 456"/>
                <a:gd name="T58" fmla="*/ 35767 w 166"/>
                <a:gd name="T59" fmla="*/ 109008 h 456"/>
                <a:gd name="T60" fmla="*/ 33663 w 166"/>
                <a:gd name="T61" fmla="*/ 103187 h 456"/>
                <a:gd name="T62" fmla="*/ 34083 w 166"/>
                <a:gd name="T63" fmla="*/ 93663 h 456"/>
                <a:gd name="T64" fmla="*/ 37029 w 166"/>
                <a:gd name="T65" fmla="*/ 77788 h 456"/>
                <a:gd name="T66" fmla="*/ 40395 w 166"/>
                <a:gd name="T67" fmla="*/ 68263 h 456"/>
                <a:gd name="T68" fmla="*/ 41237 w 166"/>
                <a:gd name="T69" fmla="*/ 59796 h 456"/>
                <a:gd name="T70" fmla="*/ 39974 w 166"/>
                <a:gd name="T71" fmla="*/ 43392 h 456"/>
                <a:gd name="T72" fmla="*/ 38712 w 166"/>
                <a:gd name="T73" fmla="*/ 23813 h 456"/>
                <a:gd name="T74" fmla="*/ 37450 w 166"/>
                <a:gd name="T75" fmla="*/ 9525 h 456"/>
                <a:gd name="T76" fmla="*/ 29876 w 166"/>
                <a:gd name="T77" fmla="*/ 4233 h 456"/>
                <a:gd name="T78" fmla="*/ 13886 w 166"/>
                <a:gd name="T79" fmla="*/ 2117 h 456"/>
                <a:gd name="T80" fmla="*/ 5049 w 166"/>
                <a:gd name="T81" fmla="*/ 5292 h 456"/>
                <a:gd name="T82" fmla="*/ 9257 w 166"/>
                <a:gd name="T83" fmla="*/ 13229 h 456"/>
                <a:gd name="T84" fmla="*/ 13886 w 166"/>
                <a:gd name="T85" fmla="*/ 15875 h 456"/>
                <a:gd name="T86" fmla="*/ 16831 w 166"/>
                <a:gd name="T87" fmla="*/ 23283 h 456"/>
                <a:gd name="T88" fmla="*/ 16831 w 166"/>
                <a:gd name="T89" fmla="*/ 33867 h 456"/>
                <a:gd name="T90" fmla="*/ 16831 w 166"/>
                <a:gd name="T91" fmla="*/ 41275 h 456"/>
                <a:gd name="T92" fmla="*/ 15148 w 166"/>
                <a:gd name="T93" fmla="*/ 44979 h 456"/>
                <a:gd name="T94" fmla="*/ 12203 w 166"/>
                <a:gd name="T95" fmla="*/ 50271 h 456"/>
                <a:gd name="T96" fmla="*/ 6312 w 166"/>
                <a:gd name="T97" fmla="*/ 57679 h 456"/>
                <a:gd name="T98" fmla="*/ 1262 w 166"/>
                <a:gd name="T99" fmla="*/ 64558 h 456"/>
                <a:gd name="T100" fmla="*/ 2945 w 166"/>
                <a:gd name="T101" fmla="*/ 146579 h 4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5" name="Freeform 475">
              <a:extLst>
                <a:ext uri="{FF2B5EF4-FFF2-40B4-BE49-F238E27FC236}">
                  <a16:creationId xmlns:a16="http://schemas.microsoft.com/office/drawing/2014/main" id="{31F574C9-D50B-4419-A0C8-91CCFF0BE3F6}"/>
                </a:ext>
              </a:extLst>
            </p:cNvPr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5853114" y="2533650"/>
              <a:ext cx="14287" cy="57150"/>
            </a:xfrm>
            <a:custGeom>
              <a:avLst/>
              <a:gdLst>
                <a:gd name="T0" fmla="*/ 14287 w 27"/>
                <a:gd name="T1" fmla="*/ 0 h 19"/>
                <a:gd name="T2" fmla="*/ 14287 w 27"/>
                <a:gd name="T3" fmla="*/ 36095 h 19"/>
                <a:gd name="T4" fmla="*/ 14287 w 27"/>
                <a:gd name="T5" fmla="*/ 57150 h 19"/>
                <a:gd name="T6" fmla="*/ 4762 w 27"/>
                <a:gd name="T7" fmla="*/ 57150 h 19"/>
                <a:gd name="T8" fmla="*/ 0 w 27"/>
                <a:gd name="T9" fmla="*/ 57150 h 19"/>
                <a:gd name="T10" fmla="*/ 4762 w 27"/>
                <a:gd name="T11" fmla="*/ 36095 h 19"/>
                <a:gd name="T12" fmla="*/ 1428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6" name="Freeform 476">
              <a:extLst>
                <a:ext uri="{FF2B5EF4-FFF2-40B4-BE49-F238E27FC236}">
                  <a16:creationId xmlns:a16="http://schemas.microsoft.com/office/drawing/2014/main" id="{5120C397-3C27-4387-B8DC-2E6B472D111A}"/>
                </a:ext>
              </a:extLst>
            </p:cNvPr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6172201" y="4154489"/>
              <a:ext cx="188913" cy="217487"/>
            </a:xfrm>
            <a:custGeom>
              <a:avLst/>
              <a:gdLst>
                <a:gd name="T0" fmla="*/ 122492 w 438"/>
                <a:gd name="T1" fmla="*/ 4285 h 406"/>
                <a:gd name="T2" fmla="*/ 138019 w 438"/>
                <a:gd name="T3" fmla="*/ 14463 h 406"/>
                <a:gd name="T4" fmla="*/ 156565 w 438"/>
                <a:gd name="T5" fmla="*/ 25177 h 406"/>
                <a:gd name="T6" fmla="*/ 170367 w 438"/>
                <a:gd name="T7" fmla="*/ 31070 h 406"/>
                <a:gd name="T8" fmla="*/ 179424 w 438"/>
                <a:gd name="T9" fmla="*/ 32677 h 406"/>
                <a:gd name="T10" fmla="*/ 183306 w 438"/>
                <a:gd name="T11" fmla="*/ 43390 h 406"/>
                <a:gd name="T12" fmla="*/ 185031 w 438"/>
                <a:gd name="T13" fmla="*/ 64282 h 406"/>
                <a:gd name="T14" fmla="*/ 187188 w 438"/>
                <a:gd name="T15" fmla="*/ 84102 h 406"/>
                <a:gd name="T16" fmla="*/ 188913 w 438"/>
                <a:gd name="T17" fmla="*/ 104458 h 406"/>
                <a:gd name="T18" fmla="*/ 188913 w 438"/>
                <a:gd name="T19" fmla="*/ 119457 h 406"/>
                <a:gd name="T20" fmla="*/ 187619 w 438"/>
                <a:gd name="T21" fmla="*/ 126957 h 406"/>
                <a:gd name="T22" fmla="*/ 183306 w 438"/>
                <a:gd name="T23" fmla="*/ 138742 h 406"/>
                <a:gd name="T24" fmla="*/ 175542 w 438"/>
                <a:gd name="T25" fmla="*/ 153741 h 406"/>
                <a:gd name="T26" fmla="*/ 168642 w 438"/>
                <a:gd name="T27" fmla="*/ 164454 h 406"/>
                <a:gd name="T28" fmla="*/ 164328 w 438"/>
                <a:gd name="T29" fmla="*/ 171418 h 406"/>
                <a:gd name="T30" fmla="*/ 161309 w 438"/>
                <a:gd name="T31" fmla="*/ 177847 h 406"/>
                <a:gd name="T32" fmla="*/ 160447 w 438"/>
                <a:gd name="T33" fmla="*/ 188560 h 406"/>
                <a:gd name="T34" fmla="*/ 154840 w 438"/>
                <a:gd name="T35" fmla="*/ 199274 h 406"/>
                <a:gd name="T36" fmla="*/ 138450 w 438"/>
                <a:gd name="T37" fmla="*/ 214809 h 406"/>
                <a:gd name="T38" fmla="*/ 88418 w 438"/>
                <a:gd name="T39" fmla="*/ 207845 h 406"/>
                <a:gd name="T40" fmla="*/ 78498 w 438"/>
                <a:gd name="T41" fmla="*/ 203024 h 406"/>
                <a:gd name="T42" fmla="*/ 71166 w 438"/>
                <a:gd name="T43" fmla="*/ 198202 h 406"/>
                <a:gd name="T44" fmla="*/ 64696 w 438"/>
                <a:gd name="T45" fmla="*/ 192310 h 406"/>
                <a:gd name="T46" fmla="*/ 59952 w 438"/>
                <a:gd name="T47" fmla="*/ 185346 h 406"/>
                <a:gd name="T48" fmla="*/ 53482 w 438"/>
                <a:gd name="T49" fmla="*/ 172490 h 406"/>
                <a:gd name="T50" fmla="*/ 46581 w 438"/>
                <a:gd name="T51" fmla="*/ 158562 h 406"/>
                <a:gd name="T52" fmla="*/ 40543 w 438"/>
                <a:gd name="T53" fmla="*/ 149455 h 406"/>
                <a:gd name="T54" fmla="*/ 31054 w 438"/>
                <a:gd name="T55" fmla="*/ 138742 h 406"/>
                <a:gd name="T56" fmla="*/ 18978 w 438"/>
                <a:gd name="T57" fmla="*/ 125350 h 406"/>
                <a:gd name="T58" fmla="*/ 10351 w 438"/>
                <a:gd name="T59" fmla="*/ 114100 h 406"/>
                <a:gd name="T60" fmla="*/ 5607 w 438"/>
                <a:gd name="T61" fmla="*/ 104458 h 406"/>
                <a:gd name="T62" fmla="*/ 1725 w 438"/>
                <a:gd name="T63" fmla="*/ 94280 h 406"/>
                <a:gd name="T64" fmla="*/ 0 w 438"/>
                <a:gd name="T65" fmla="*/ 82495 h 406"/>
                <a:gd name="T66" fmla="*/ 7764 w 438"/>
                <a:gd name="T67" fmla="*/ 75531 h 406"/>
                <a:gd name="T68" fmla="*/ 17252 w 438"/>
                <a:gd name="T69" fmla="*/ 75531 h 406"/>
                <a:gd name="T70" fmla="*/ 22859 w 438"/>
                <a:gd name="T71" fmla="*/ 75531 h 406"/>
                <a:gd name="T72" fmla="*/ 27172 w 438"/>
                <a:gd name="T73" fmla="*/ 73924 h 406"/>
                <a:gd name="T74" fmla="*/ 33211 w 438"/>
                <a:gd name="T75" fmla="*/ 70174 h 406"/>
                <a:gd name="T76" fmla="*/ 42700 w 438"/>
                <a:gd name="T77" fmla="*/ 57854 h 406"/>
                <a:gd name="T78" fmla="*/ 50463 w 438"/>
                <a:gd name="T79" fmla="*/ 46604 h 406"/>
                <a:gd name="T80" fmla="*/ 56070 w 438"/>
                <a:gd name="T81" fmla="*/ 42855 h 406"/>
                <a:gd name="T82" fmla="*/ 64696 w 438"/>
                <a:gd name="T83" fmla="*/ 38033 h 406"/>
                <a:gd name="T84" fmla="*/ 77204 w 438"/>
                <a:gd name="T85" fmla="*/ 32141 h 406"/>
                <a:gd name="T86" fmla="*/ 87556 w 438"/>
                <a:gd name="T87" fmla="*/ 26784 h 406"/>
                <a:gd name="T88" fmla="*/ 91006 w 438"/>
                <a:gd name="T89" fmla="*/ 23034 h 406"/>
                <a:gd name="T90" fmla="*/ 90575 w 438"/>
                <a:gd name="T91" fmla="*/ 20356 h 406"/>
                <a:gd name="T92" fmla="*/ 91006 w 438"/>
                <a:gd name="T93" fmla="*/ 16070 h 406"/>
                <a:gd name="T94" fmla="*/ 91869 w 438"/>
                <a:gd name="T95" fmla="*/ 9107 h 406"/>
                <a:gd name="T96" fmla="*/ 93594 w 438"/>
                <a:gd name="T97" fmla="*/ 6428 h 406"/>
                <a:gd name="T98" fmla="*/ 97044 w 438"/>
                <a:gd name="T99" fmla="*/ 6428 h 406"/>
                <a:gd name="T100" fmla="*/ 100064 w 438"/>
                <a:gd name="T101" fmla="*/ 4821 h 406"/>
                <a:gd name="T102" fmla="*/ 101789 w 438"/>
                <a:gd name="T103" fmla="*/ 2143 h 406"/>
                <a:gd name="T104" fmla="*/ 105239 w 438"/>
                <a:gd name="T105" fmla="*/ 1071 h 406"/>
                <a:gd name="T106" fmla="*/ 108258 w 438"/>
                <a:gd name="T107" fmla="*/ 1607 h 406"/>
                <a:gd name="T108" fmla="*/ 113865 w 438"/>
                <a:gd name="T109" fmla="*/ 536 h 4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7" name="Freeform 477">
              <a:extLst>
                <a:ext uri="{FF2B5EF4-FFF2-40B4-BE49-F238E27FC236}">
                  <a16:creationId xmlns:a16="http://schemas.microsoft.com/office/drawing/2014/main" id="{BCA1E20D-9FAB-4AF1-A409-26FB56EC56BD}"/>
                </a:ext>
              </a:extLst>
            </p:cNvPr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6084889" y="3930650"/>
              <a:ext cx="293687" cy="300038"/>
            </a:xfrm>
            <a:custGeom>
              <a:avLst/>
              <a:gdLst>
                <a:gd name="T0" fmla="*/ 222215 w 678"/>
                <a:gd name="T1" fmla="*/ 4182 h 574"/>
                <a:gd name="T2" fmla="*/ 239108 w 678"/>
                <a:gd name="T3" fmla="*/ 13591 h 574"/>
                <a:gd name="T4" fmla="*/ 279393 w 678"/>
                <a:gd name="T5" fmla="*/ 32931 h 574"/>
                <a:gd name="T6" fmla="*/ 285890 w 678"/>
                <a:gd name="T7" fmla="*/ 45999 h 574"/>
                <a:gd name="T8" fmla="*/ 293687 w 678"/>
                <a:gd name="T9" fmla="*/ 49135 h 574"/>
                <a:gd name="T10" fmla="*/ 293687 w 678"/>
                <a:gd name="T11" fmla="*/ 66385 h 574"/>
                <a:gd name="T12" fmla="*/ 293254 w 678"/>
                <a:gd name="T13" fmla="*/ 75271 h 574"/>
                <a:gd name="T14" fmla="*/ 288922 w 678"/>
                <a:gd name="T15" fmla="*/ 82589 h 574"/>
                <a:gd name="T16" fmla="*/ 280259 w 678"/>
                <a:gd name="T17" fmla="*/ 93043 h 574"/>
                <a:gd name="T18" fmla="*/ 276360 w 678"/>
                <a:gd name="T19" fmla="*/ 180859 h 574"/>
                <a:gd name="T20" fmla="*/ 199690 w 678"/>
                <a:gd name="T21" fmla="*/ 202813 h 574"/>
                <a:gd name="T22" fmla="*/ 199690 w 678"/>
                <a:gd name="T23" fmla="*/ 216926 h 574"/>
                <a:gd name="T24" fmla="*/ 197091 w 678"/>
                <a:gd name="T25" fmla="*/ 227381 h 574"/>
                <a:gd name="T26" fmla="*/ 192326 w 678"/>
                <a:gd name="T27" fmla="*/ 227381 h 574"/>
                <a:gd name="T28" fmla="*/ 187994 w 678"/>
                <a:gd name="T29" fmla="*/ 229994 h 574"/>
                <a:gd name="T30" fmla="*/ 184096 w 678"/>
                <a:gd name="T31" fmla="*/ 232608 h 574"/>
                <a:gd name="T32" fmla="*/ 179331 w 678"/>
                <a:gd name="T33" fmla="*/ 233653 h 574"/>
                <a:gd name="T34" fmla="*/ 178032 w 678"/>
                <a:gd name="T35" fmla="*/ 242017 h 574"/>
                <a:gd name="T36" fmla="*/ 177598 w 678"/>
                <a:gd name="T37" fmla="*/ 247767 h 574"/>
                <a:gd name="T38" fmla="*/ 174566 w 678"/>
                <a:gd name="T39" fmla="*/ 252471 h 574"/>
                <a:gd name="T40" fmla="*/ 158106 w 678"/>
                <a:gd name="T41" fmla="*/ 260312 h 574"/>
                <a:gd name="T42" fmla="*/ 142945 w 678"/>
                <a:gd name="T43" fmla="*/ 268152 h 574"/>
                <a:gd name="T44" fmla="*/ 135581 w 678"/>
                <a:gd name="T45" fmla="*/ 274425 h 574"/>
                <a:gd name="T46" fmla="*/ 119987 w 678"/>
                <a:gd name="T47" fmla="*/ 294811 h 574"/>
                <a:gd name="T48" fmla="*/ 111757 w 678"/>
                <a:gd name="T49" fmla="*/ 299515 h 574"/>
                <a:gd name="T50" fmla="*/ 103094 w 678"/>
                <a:gd name="T51" fmla="*/ 300038 h 574"/>
                <a:gd name="T52" fmla="*/ 83601 w 678"/>
                <a:gd name="T53" fmla="*/ 300038 h 574"/>
                <a:gd name="T54" fmla="*/ 80569 w 678"/>
                <a:gd name="T55" fmla="*/ 292197 h 574"/>
                <a:gd name="T56" fmla="*/ 71473 w 678"/>
                <a:gd name="T57" fmla="*/ 285925 h 574"/>
                <a:gd name="T58" fmla="*/ 57611 w 678"/>
                <a:gd name="T59" fmla="*/ 284879 h 574"/>
                <a:gd name="T60" fmla="*/ 40285 w 678"/>
                <a:gd name="T61" fmla="*/ 290629 h 574"/>
                <a:gd name="T62" fmla="*/ 14295 w 678"/>
                <a:gd name="T63" fmla="*/ 275470 h 574"/>
                <a:gd name="T64" fmla="*/ 0 w 678"/>
                <a:gd name="T65" fmla="*/ 148974 h 574"/>
                <a:gd name="T66" fmla="*/ 31621 w 678"/>
                <a:gd name="T67" fmla="*/ 149496 h 574"/>
                <a:gd name="T68" fmla="*/ 44616 w 678"/>
                <a:gd name="T69" fmla="*/ 147405 h 574"/>
                <a:gd name="T70" fmla="*/ 51547 w 678"/>
                <a:gd name="T71" fmla="*/ 143746 h 574"/>
                <a:gd name="T72" fmla="*/ 55879 w 678"/>
                <a:gd name="T73" fmla="*/ 133815 h 574"/>
                <a:gd name="T74" fmla="*/ 56745 w 678"/>
                <a:gd name="T75" fmla="*/ 119702 h 574"/>
                <a:gd name="T76" fmla="*/ 54579 w 678"/>
                <a:gd name="T77" fmla="*/ 96702 h 574"/>
                <a:gd name="T78" fmla="*/ 56312 w 678"/>
                <a:gd name="T79" fmla="*/ 86248 h 574"/>
                <a:gd name="T80" fmla="*/ 60643 w 678"/>
                <a:gd name="T81" fmla="*/ 89384 h 574"/>
                <a:gd name="T82" fmla="*/ 75371 w 678"/>
                <a:gd name="T83" fmla="*/ 91475 h 574"/>
                <a:gd name="T84" fmla="*/ 81435 w 678"/>
                <a:gd name="T85" fmla="*/ 97225 h 574"/>
                <a:gd name="T86" fmla="*/ 84468 w 678"/>
                <a:gd name="T87" fmla="*/ 105066 h 574"/>
                <a:gd name="T88" fmla="*/ 90099 w 678"/>
                <a:gd name="T89" fmla="*/ 109770 h 574"/>
                <a:gd name="T90" fmla="*/ 104393 w 678"/>
                <a:gd name="T91" fmla="*/ 113429 h 574"/>
                <a:gd name="T92" fmla="*/ 116522 w 678"/>
                <a:gd name="T93" fmla="*/ 111861 h 574"/>
                <a:gd name="T94" fmla="*/ 130383 w 678"/>
                <a:gd name="T95" fmla="*/ 104020 h 574"/>
                <a:gd name="T96" fmla="*/ 138180 w 678"/>
                <a:gd name="T97" fmla="*/ 102452 h 574"/>
                <a:gd name="T98" fmla="*/ 143378 w 678"/>
                <a:gd name="T99" fmla="*/ 100884 h 574"/>
                <a:gd name="T100" fmla="*/ 148576 w 678"/>
                <a:gd name="T101" fmla="*/ 99316 h 574"/>
                <a:gd name="T102" fmla="*/ 154641 w 678"/>
                <a:gd name="T103" fmla="*/ 95134 h 574"/>
                <a:gd name="T104" fmla="*/ 159405 w 678"/>
                <a:gd name="T105" fmla="*/ 87816 h 574"/>
                <a:gd name="T106" fmla="*/ 165903 w 678"/>
                <a:gd name="T107" fmla="*/ 65862 h 574"/>
                <a:gd name="T108" fmla="*/ 174566 w 678"/>
                <a:gd name="T109" fmla="*/ 24568 h 574"/>
                <a:gd name="T110" fmla="*/ 179331 w 678"/>
                <a:gd name="T111" fmla="*/ 5227 h 574"/>
                <a:gd name="T112" fmla="*/ 186695 w 678"/>
                <a:gd name="T113" fmla="*/ 3136 h 574"/>
                <a:gd name="T114" fmla="*/ 196225 w 678"/>
                <a:gd name="T115" fmla="*/ 4182 h 574"/>
                <a:gd name="T116" fmla="*/ 208786 w 678"/>
                <a:gd name="T117" fmla="*/ 523 h 57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8" name="Freeform 478">
              <a:extLst>
                <a:ext uri="{FF2B5EF4-FFF2-40B4-BE49-F238E27FC236}">
                  <a16:creationId xmlns:a16="http://schemas.microsoft.com/office/drawing/2014/main" id="{BEB757D5-F29F-44E9-8F19-E0ED1CC89DE0}"/>
                </a:ext>
              </a:extLst>
            </p:cNvPr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5821364" y="4203700"/>
              <a:ext cx="350837" cy="381000"/>
            </a:xfrm>
            <a:custGeom>
              <a:avLst/>
              <a:gdLst>
                <a:gd name="T0" fmla="*/ 345206 w 810"/>
                <a:gd name="T1" fmla="*/ 22011 h 727"/>
                <a:gd name="T2" fmla="*/ 331779 w 810"/>
                <a:gd name="T3" fmla="*/ 13626 h 727"/>
                <a:gd name="T4" fmla="*/ 310989 w 810"/>
                <a:gd name="T5" fmla="*/ 17294 h 727"/>
                <a:gd name="T6" fmla="*/ 274606 w 810"/>
                <a:gd name="T7" fmla="*/ 23059 h 727"/>
                <a:gd name="T8" fmla="*/ 261612 w 810"/>
                <a:gd name="T9" fmla="*/ 28824 h 727"/>
                <a:gd name="T10" fmla="*/ 121277 w 810"/>
                <a:gd name="T11" fmla="*/ 20963 h 727"/>
                <a:gd name="T12" fmla="*/ 100487 w 810"/>
                <a:gd name="T13" fmla="*/ 19391 h 727"/>
                <a:gd name="T14" fmla="*/ 74499 w 810"/>
                <a:gd name="T15" fmla="*/ 8909 h 727"/>
                <a:gd name="T16" fmla="*/ 50243 w 810"/>
                <a:gd name="T17" fmla="*/ 0 h 727"/>
                <a:gd name="T18" fmla="*/ 35950 w 810"/>
                <a:gd name="T19" fmla="*/ 2620 h 727"/>
                <a:gd name="T20" fmla="*/ 22956 w 810"/>
                <a:gd name="T21" fmla="*/ 12578 h 727"/>
                <a:gd name="T22" fmla="*/ 0 w 810"/>
                <a:gd name="T23" fmla="*/ 28824 h 727"/>
                <a:gd name="T24" fmla="*/ 3032 w 810"/>
                <a:gd name="T25" fmla="*/ 35637 h 727"/>
                <a:gd name="T26" fmla="*/ 11261 w 810"/>
                <a:gd name="T27" fmla="*/ 38781 h 727"/>
                <a:gd name="T28" fmla="*/ 15593 w 810"/>
                <a:gd name="T29" fmla="*/ 67605 h 727"/>
                <a:gd name="T30" fmla="*/ 25988 w 810"/>
                <a:gd name="T31" fmla="*/ 100622 h 727"/>
                <a:gd name="T32" fmla="*/ 47211 w 810"/>
                <a:gd name="T33" fmla="*/ 144644 h 727"/>
                <a:gd name="T34" fmla="*/ 57607 w 810"/>
                <a:gd name="T35" fmla="*/ 157221 h 727"/>
                <a:gd name="T36" fmla="*/ 68868 w 810"/>
                <a:gd name="T37" fmla="*/ 158270 h 727"/>
                <a:gd name="T38" fmla="*/ 68868 w 810"/>
                <a:gd name="T39" fmla="*/ 173992 h 727"/>
                <a:gd name="T40" fmla="*/ 65836 w 810"/>
                <a:gd name="T41" fmla="*/ 188142 h 727"/>
                <a:gd name="T42" fmla="*/ 63237 w 810"/>
                <a:gd name="T43" fmla="*/ 206484 h 727"/>
                <a:gd name="T44" fmla="*/ 64970 w 810"/>
                <a:gd name="T45" fmla="*/ 222730 h 727"/>
                <a:gd name="T46" fmla="*/ 74932 w 810"/>
                <a:gd name="T47" fmla="*/ 253651 h 727"/>
                <a:gd name="T48" fmla="*/ 77531 w 810"/>
                <a:gd name="T49" fmla="*/ 271469 h 727"/>
                <a:gd name="T50" fmla="*/ 80996 w 810"/>
                <a:gd name="T51" fmla="*/ 317587 h 727"/>
                <a:gd name="T52" fmla="*/ 88359 w 810"/>
                <a:gd name="T53" fmla="*/ 339074 h 727"/>
                <a:gd name="T54" fmla="*/ 100054 w 810"/>
                <a:gd name="T55" fmla="*/ 361609 h 727"/>
                <a:gd name="T56" fmla="*/ 106117 w 810"/>
                <a:gd name="T57" fmla="*/ 366850 h 727"/>
                <a:gd name="T58" fmla="*/ 112181 w 810"/>
                <a:gd name="T59" fmla="*/ 374711 h 727"/>
                <a:gd name="T60" fmla="*/ 114780 w 810"/>
                <a:gd name="T61" fmla="*/ 355320 h 727"/>
                <a:gd name="T62" fmla="*/ 133405 w 810"/>
                <a:gd name="T63" fmla="*/ 364754 h 727"/>
                <a:gd name="T64" fmla="*/ 142067 w 810"/>
                <a:gd name="T65" fmla="*/ 373663 h 727"/>
                <a:gd name="T66" fmla="*/ 161125 w 810"/>
                <a:gd name="T67" fmla="*/ 380476 h 727"/>
                <a:gd name="T68" fmla="*/ 176285 w 810"/>
                <a:gd name="T69" fmla="*/ 378904 h 727"/>
                <a:gd name="T70" fmla="*/ 185814 w 810"/>
                <a:gd name="T71" fmla="*/ 372091 h 727"/>
                <a:gd name="T72" fmla="*/ 195776 w 810"/>
                <a:gd name="T73" fmla="*/ 353748 h 727"/>
                <a:gd name="T74" fmla="*/ 200540 w 810"/>
                <a:gd name="T75" fmla="*/ 277234 h 727"/>
                <a:gd name="T76" fmla="*/ 201406 w 810"/>
                <a:gd name="T77" fmla="*/ 251554 h 727"/>
                <a:gd name="T78" fmla="*/ 204005 w 810"/>
                <a:gd name="T79" fmla="*/ 245790 h 727"/>
                <a:gd name="T80" fmla="*/ 200540 w 810"/>
                <a:gd name="T81" fmla="*/ 223254 h 727"/>
                <a:gd name="T82" fmla="*/ 203139 w 810"/>
                <a:gd name="T83" fmla="*/ 192858 h 727"/>
                <a:gd name="T84" fmla="*/ 216566 w 810"/>
                <a:gd name="T85" fmla="*/ 172944 h 727"/>
                <a:gd name="T86" fmla="*/ 227394 w 810"/>
                <a:gd name="T87" fmla="*/ 167703 h 727"/>
                <a:gd name="T88" fmla="*/ 233025 w 810"/>
                <a:gd name="T89" fmla="*/ 121585 h 727"/>
                <a:gd name="T90" fmla="*/ 238656 w 810"/>
                <a:gd name="T91" fmla="*/ 77563 h 727"/>
                <a:gd name="T92" fmla="*/ 234324 w 810"/>
                <a:gd name="T93" fmla="*/ 64985 h 727"/>
                <a:gd name="T94" fmla="*/ 229993 w 810"/>
                <a:gd name="T95" fmla="*/ 51883 h 727"/>
                <a:gd name="T96" fmla="*/ 233458 w 810"/>
                <a:gd name="T97" fmla="*/ 45070 h 727"/>
                <a:gd name="T98" fmla="*/ 267243 w 810"/>
                <a:gd name="T99" fmla="*/ 41926 h 727"/>
                <a:gd name="T100" fmla="*/ 306658 w 810"/>
                <a:gd name="T101" fmla="*/ 33017 h 727"/>
                <a:gd name="T102" fmla="*/ 347805 w 810"/>
                <a:gd name="T103" fmla="*/ 31968 h 72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9" name="Freeform 479">
              <a:extLst>
                <a:ext uri="{FF2B5EF4-FFF2-40B4-BE49-F238E27FC236}">
                  <a16:creationId xmlns:a16="http://schemas.microsoft.com/office/drawing/2014/main" id="{B1BB42D7-F478-4787-9CB2-5C3B014DDD8B}"/>
                </a:ext>
              </a:extLst>
            </p:cNvPr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5100639" y="3133725"/>
              <a:ext cx="161925" cy="141288"/>
            </a:xfrm>
            <a:custGeom>
              <a:avLst/>
              <a:gdLst>
                <a:gd name="T0" fmla="*/ 90057 w 365"/>
                <a:gd name="T1" fmla="*/ 130339 h 271"/>
                <a:gd name="T2" fmla="*/ 72312 w 365"/>
                <a:gd name="T3" fmla="*/ 128254 h 271"/>
                <a:gd name="T4" fmla="*/ 53679 w 365"/>
                <a:gd name="T5" fmla="*/ 128775 h 271"/>
                <a:gd name="T6" fmla="*/ 40814 w 365"/>
                <a:gd name="T7" fmla="*/ 130339 h 271"/>
                <a:gd name="T8" fmla="*/ 32829 w 365"/>
                <a:gd name="T9" fmla="*/ 132946 h 271"/>
                <a:gd name="T10" fmla="*/ 11534 w 365"/>
                <a:gd name="T11" fmla="*/ 141288 h 271"/>
                <a:gd name="T12" fmla="*/ 8873 w 365"/>
                <a:gd name="T13" fmla="*/ 140767 h 271"/>
                <a:gd name="T14" fmla="*/ 7542 w 365"/>
                <a:gd name="T15" fmla="*/ 138681 h 271"/>
                <a:gd name="T16" fmla="*/ 7985 w 365"/>
                <a:gd name="T17" fmla="*/ 132425 h 271"/>
                <a:gd name="T18" fmla="*/ 11534 w 365"/>
                <a:gd name="T19" fmla="*/ 118870 h 271"/>
                <a:gd name="T20" fmla="*/ 27061 w 365"/>
                <a:gd name="T21" fmla="*/ 117827 h 271"/>
                <a:gd name="T22" fmla="*/ 39483 w 365"/>
                <a:gd name="T23" fmla="*/ 115741 h 271"/>
                <a:gd name="T24" fmla="*/ 51017 w 365"/>
                <a:gd name="T25" fmla="*/ 113656 h 271"/>
                <a:gd name="T26" fmla="*/ 64770 w 365"/>
                <a:gd name="T27" fmla="*/ 112613 h 271"/>
                <a:gd name="T28" fmla="*/ 80741 w 365"/>
                <a:gd name="T29" fmla="*/ 113656 h 271"/>
                <a:gd name="T30" fmla="*/ 88282 w 365"/>
                <a:gd name="T31" fmla="*/ 113656 h 271"/>
                <a:gd name="T32" fmla="*/ 97155 w 365"/>
                <a:gd name="T33" fmla="*/ 112613 h 271"/>
                <a:gd name="T34" fmla="*/ 95380 w 365"/>
                <a:gd name="T35" fmla="*/ 108442 h 271"/>
                <a:gd name="T36" fmla="*/ 93162 w 365"/>
                <a:gd name="T37" fmla="*/ 104793 h 271"/>
                <a:gd name="T38" fmla="*/ 86508 w 365"/>
                <a:gd name="T39" fmla="*/ 101143 h 271"/>
                <a:gd name="T40" fmla="*/ 77635 w 365"/>
                <a:gd name="T41" fmla="*/ 99579 h 271"/>
                <a:gd name="T42" fmla="*/ 67432 w 365"/>
                <a:gd name="T43" fmla="*/ 99058 h 271"/>
                <a:gd name="T44" fmla="*/ 41258 w 365"/>
                <a:gd name="T45" fmla="*/ 100101 h 271"/>
                <a:gd name="T46" fmla="*/ 28392 w 365"/>
                <a:gd name="T47" fmla="*/ 102186 h 271"/>
                <a:gd name="T48" fmla="*/ 14640 w 365"/>
                <a:gd name="T49" fmla="*/ 105836 h 271"/>
                <a:gd name="T50" fmla="*/ 16858 w 365"/>
                <a:gd name="T51" fmla="*/ 95409 h 271"/>
                <a:gd name="T52" fmla="*/ 17302 w 365"/>
                <a:gd name="T53" fmla="*/ 89674 h 271"/>
                <a:gd name="T54" fmla="*/ 11534 w 365"/>
                <a:gd name="T55" fmla="*/ 85503 h 271"/>
                <a:gd name="T56" fmla="*/ 5767 w 365"/>
                <a:gd name="T57" fmla="*/ 83417 h 271"/>
                <a:gd name="T58" fmla="*/ 4880 w 365"/>
                <a:gd name="T59" fmla="*/ 76640 h 271"/>
                <a:gd name="T60" fmla="*/ 2662 w 365"/>
                <a:gd name="T61" fmla="*/ 74554 h 271"/>
                <a:gd name="T62" fmla="*/ 887 w 365"/>
                <a:gd name="T63" fmla="*/ 73511 h 271"/>
                <a:gd name="T64" fmla="*/ 0 w 365"/>
                <a:gd name="T65" fmla="*/ 70383 h 271"/>
                <a:gd name="T66" fmla="*/ 2218 w 365"/>
                <a:gd name="T67" fmla="*/ 59956 h 271"/>
                <a:gd name="T68" fmla="*/ 7542 w 365"/>
                <a:gd name="T69" fmla="*/ 47965 h 271"/>
                <a:gd name="T70" fmla="*/ 13309 w 365"/>
                <a:gd name="T71" fmla="*/ 35974 h 271"/>
                <a:gd name="T72" fmla="*/ 17302 w 365"/>
                <a:gd name="T73" fmla="*/ 25547 h 271"/>
                <a:gd name="T74" fmla="*/ 21294 w 365"/>
                <a:gd name="T75" fmla="*/ 21897 h 271"/>
                <a:gd name="T76" fmla="*/ 21738 w 365"/>
                <a:gd name="T77" fmla="*/ 25025 h 271"/>
                <a:gd name="T78" fmla="*/ 23069 w 365"/>
                <a:gd name="T79" fmla="*/ 18769 h 271"/>
                <a:gd name="T80" fmla="*/ 33272 w 365"/>
                <a:gd name="T81" fmla="*/ 16162 h 271"/>
                <a:gd name="T82" fmla="*/ 50574 w 365"/>
                <a:gd name="T83" fmla="*/ 9384 h 271"/>
                <a:gd name="T84" fmla="*/ 73199 w 365"/>
                <a:gd name="T85" fmla="*/ 0 h 271"/>
                <a:gd name="T86" fmla="*/ 81628 w 365"/>
                <a:gd name="T87" fmla="*/ 7820 h 271"/>
                <a:gd name="T88" fmla="*/ 89613 w 365"/>
                <a:gd name="T89" fmla="*/ 12513 h 271"/>
                <a:gd name="T90" fmla="*/ 97599 w 365"/>
                <a:gd name="T91" fmla="*/ 15119 h 271"/>
                <a:gd name="T92" fmla="*/ 106028 w 365"/>
                <a:gd name="T93" fmla="*/ 15641 h 271"/>
                <a:gd name="T94" fmla="*/ 106915 w 365"/>
                <a:gd name="T95" fmla="*/ 27111 h 271"/>
                <a:gd name="T96" fmla="*/ 109577 w 365"/>
                <a:gd name="T97" fmla="*/ 35974 h 271"/>
                <a:gd name="T98" fmla="*/ 112682 w 365"/>
                <a:gd name="T99" fmla="*/ 43794 h 271"/>
                <a:gd name="T100" fmla="*/ 117118 w 365"/>
                <a:gd name="T101" fmla="*/ 49529 h 271"/>
                <a:gd name="T102" fmla="*/ 135307 w 365"/>
                <a:gd name="T103" fmla="*/ 67255 h 271"/>
                <a:gd name="T104" fmla="*/ 156158 w 365"/>
                <a:gd name="T105" fmla="*/ 121998 h 271"/>
                <a:gd name="T106" fmla="*/ 159263 w 365"/>
                <a:gd name="T107" fmla="*/ 133989 h 271"/>
                <a:gd name="T108" fmla="*/ 161925 w 365"/>
                <a:gd name="T109" fmla="*/ 141288 h 271"/>
                <a:gd name="T110" fmla="*/ 142405 w 365"/>
                <a:gd name="T111" fmla="*/ 135032 h 271"/>
                <a:gd name="T112" fmla="*/ 121998 w 365"/>
                <a:gd name="T113" fmla="*/ 131382 h 271"/>
                <a:gd name="T114" fmla="*/ 110020 w 365"/>
                <a:gd name="T115" fmla="*/ 130861 h 271"/>
                <a:gd name="T116" fmla="*/ 97155 w 365"/>
                <a:gd name="T117" fmla="*/ 131382 h 27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0" name="Freeform 480">
              <a:extLst>
                <a:ext uri="{FF2B5EF4-FFF2-40B4-BE49-F238E27FC236}">
                  <a16:creationId xmlns:a16="http://schemas.microsoft.com/office/drawing/2014/main" id="{A6DE9580-77E4-494F-8B74-9D2BB2C3F4AB}"/>
                </a:ext>
              </a:extLst>
            </p:cNvPr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6273801" y="3695701"/>
              <a:ext cx="269875" cy="334963"/>
            </a:xfrm>
            <a:custGeom>
              <a:avLst/>
              <a:gdLst>
                <a:gd name="T0" fmla="*/ 63144 w 624"/>
                <a:gd name="T1" fmla="*/ 6281 h 640"/>
                <a:gd name="T2" fmla="*/ 103366 w 624"/>
                <a:gd name="T3" fmla="*/ 6281 h 640"/>
                <a:gd name="T4" fmla="*/ 124125 w 624"/>
                <a:gd name="T5" fmla="*/ 2617 h 640"/>
                <a:gd name="T6" fmla="*/ 140992 w 624"/>
                <a:gd name="T7" fmla="*/ 11514 h 640"/>
                <a:gd name="T8" fmla="*/ 171267 w 624"/>
                <a:gd name="T9" fmla="*/ 34543 h 640"/>
                <a:gd name="T10" fmla="*/ 201109 w 624"/>
                <a:gd name="T11" fmla="*/ 58095 h 640"/>
                <a:gd name="T12" fmla="*/ 202839 w 624"/>
                <a:gd name="T13" fmla="*/ 68563 h 640"/>
                <a:gd name="T14" fmla="*/ 207596 w 624"/>
                <a:gd name="T15" fmla="*/ 80077 h 640"/>
                <a:gd name="T16" fmla="*/ 214949 w 624"/>
                <a:gd name="T17" fmla="*/ 88975 h 640"/>
                <a:gd name="T18" fmla="*/ 224463 w 624"/>
                <a:gd name="T19" fmla="*/ 95778 h 640"/>
                <a:gd name="T20" fmla="*/ 234843 w 624"/>
                <a:gd name="T21" fmla="*/ 99442 h 640"/>
                <a:gd name="T22" fmla="*/ 239601 w 624"/>
                <a:gd name="T23" fmla="*/ 102059 h 640"/>
                <a:gd name="T24" fmla="*/ 244358 w 624"/>
                <a:gd name="T25" fmla="*/ 107293 h 640"/>
                <a:gd name="T26" fmla="*/ 242628 w 624"/>
                <a:gd name="T27" fmla="*/ 118807 h 640"/>
                <a:gd name="T28" fmla="*/ 232248 w 624"/>
                <a:gd name="T29" fmla="*/ 131892 h 640"/>
                <a:gd name="T30" fmla="*/ 227058 w 624"/>
                <a:gd name="T31" fmla="*/ 141836 h 640"/>
                <a:gd name="T32" fmla="*/ 230518 w 624"/>
                <a:gd name="T33" fmla="*/ 150210 h 640"/>
                <a:gd name="T34" fmla="*/ 236573 w 624"/>
                <a:gd name="T35" fmla="*/ 156491 h 640"/>
                <a:gd name="T36" fmla="*/ 238736 w 624"/>
                <a:gd name="T37" fmla="*/ 222436 h 640"/>
                <a:gd name="T38" fmla="*/ 237871 w 624"/>
                <a:gd name="T39" fmla="*/ 229764 h 640"/>
                <a:gd name="T40" fmla="*/ 241331 w 624"/>
                <a:gd name="T41" fmla="*/ 241801 h 640"/>
                <a:gd name="T42" fmla="*/ 241331 w 624"/>
                <a:gd name="T43" fmla="*/ 255933 h 640"/>
                <a:gd name="T44" fmla="*/ 242628 w 624"/>
                <a:gd name="T45" fmla="*/ 269541 h 640"/>
                <a:gd name="T46" fmla="*/ 256900 w 624"/>
                <a:gd name="T47" fmla="*/ 287335 h 640"/>
                <a:gd name="T48" fmla="*/ 266415 w 624"/>
                <a:gd name="T49" fmla="*/ 303037 h 640"/>
                <a:gd name="T50" fmla="*/ 248683 w 624"/>
                <a:gd name="T51" fmla="*/ 314028 h 640"/>
                <a:gd name="T52" fmla="*/ 212354 w 624"/>
                <a:gd name="T53" fmla="*/ 330253 h 640"/>
                <a:gd name="T54" fmla="*/ 191594 w 624"/>
                <a:gd name="T55" fmla="*/ 333916 h 640"/>
                <a:gd name="T56" fmla="*/ 169537 w 624"/>
                <a:gd name="T57" fmla="*/ 328682 h 640"/>
                <a:gd name="T58" fmla="*/ 146615 w 624"/>
                <a:gd name="T59" fmla="*/ 331299 h 640"/>
                <a:gd name="T60" fmla="*/ 132343 w 624"/>
                <a:gd name="T61" fmla="*/ 328682 h 640"/>
                <a:gd name="T62" fmla="*/ 129315 w 624"/>
                <a:gd name="T63" fmla="*/ 321355 h 640"/>
                <a:gd name="T64" fmla="*/ 127153 w 624"/>
                <a:gd name="T65" fmla="*/ 299897 h 640"/>
                <a:gd name="T66" fmla="*/ 124558 w 624"/>
                <a:gd name="T67" fmla="*/ 276868 h 640"/>
                <a:gd name="T68" fmla="*/ 109420 w 624"/>
                <a:gd name="T69" fmla="*/ 270587 h 640"/>
                <a:gd name="T70" fmla="*/ 80011 w 624"/>
                <a:gd name="T71" fmla="*/ 262737 h 640"/>
                <a:gd name="T72" fmla="*/ 38924 w 624"/>
                <a:gd name="T73" fmla="*/ 240231 h 640"/>
                <a:gd name="T74" fmla="*/ 29409 w 624"/>
                <a:gd name="T75" fmla="*/ 233427 h 640"/>
                <a:gd name="T76" fmla="*/ 28544 w 624"/>
                <a:gd name="T77" fmla="*/ 224007 h 640"/>
                <a:gd name="T78" fmla="*/ 28112 w 624"/>
                <a:gd name="T79" fmla="*/ 210399 h 640"/>
                <a:gd name="T80" fmla="*/ 22922 w 624"/>
                <a:gd name="T81" fmla="*/ 197314 h 640"/>
                <a:gd name="T82" fmla="*/ 17732 w 624"/>
                <a:gd name="T83" fmla="*/ 186847 h 640"/>
                <a:gd name="T84" fmla="*/ 11677 w 624"/>
                <a:gd name="T85" fmla="*/ 181613 h 640"/>
                <a:gd name="T86" fmla="*/ 5190 w 624"/>
                <a:gd name="T87" fmla="*/ 173762 h 640"/>
                <a:gd name="T88" fmla="*/ 2162 w 624"/>
                <a:gd name="T89" fmla="*/ 161201 h 640"/>
                <a:gd name="T90" fmla="*/ 0 w 624"/>
                <a:gd name="T91" fmla="*/ 137125 h 640"/>
                <a:gd name="T92" fmla="*/ 0 w 624"/>
                <a:gd name="T93" fmla="*/ 122471 h 640"/>
                <a:gd name="T94" fmla="*/ 4325 w 624"/>
                <a:gd name="T95" fmla="*/ 110956 h 640"/>
                <a:gd name="T96" fmla="*/ 16435 w 624"/>
                <a:gd name="T97" fmla="*/ 102059 h 640"/>
                <a:gd name="T98" fmla="*/ 26382 w 624"/>
                <a:gd name="T99" fmla="*/ 90545 h 640"/>
                <a:gd name="T100" fmla="*/ 33302 w 624"/>
                <a:gd name="T101" fmla="*/ 40300 h 640"/>
                <a:gd name="T102" fmla="*/ 36329 w 624"/>
                <a:gd name="T103" fmla="*/ 22505 h 640"/>
                <a:gd name="T104" fmla="*/ 35464 w 624"/>
                <a:gd name="T105" fmla="*/ 4187 h 6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1" name="Freeform 481">
              <a:extLst>
                <a:ext uri="{FF2B5EF4-FFF2-40B4-BE49-F238E27FC236}">
                  <a16:creationId xmlns:a16="http://schemas.microsoft.com/office/drawing/2014/main" id="{1296FFDE-35FB-4497-8262-CD33E3087B70}"/>
                </a:ext>
              </a:extLst>
            </p:cNvPr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8837613" y="2209800"/>
              <a:ext cx="19050" cy="57150"/>
            </a:xfrm>
            <a:custGeom>
              <a:avLst/>
              <a:gdLst>
                <a:gd name="T0" fmla="*/ 4763 w 52"/>
                <a:gd name="T1" fmla="*/ 57150 h 50"/>
                <a:gd name="T2" fmla="*/ 0 w 52"/>
                <a:gd name="T3" fmla="*/ 36576 h 50"/>
                <a:gd name="T4" fmla="*/ 733 w 52"/>
                <a:gd name="T5" fmla="*/ 28575 h 50"/>
                <a:gd name="T6" fmla="*/ 2198 w 52"/>
                <a:gd name="T7" fmla="*/ 20574 h 50"/>
                <a:gd name="T8" fmla="*/ 4396 w 52"/>
                <a:gd name="T9" fmla="*/ 14859 h 50"/>
                <a:gd name="T10" fmla="*/ 6594 w 52"/>
                <a:gd name="T11" fmla="*/ 10287 h 50"/>
                <a:gd name="T12" fmla="*/ 9525 w 52"/>
                <a:gd name="T13" fmla="*/ 5715 h 50"/>
                <a:gd name="T14" fmla="*/ 12456 w 52"/>
                <a:gd name="T15" fmla="*/ 3429 h 50"/>
                <a:gd name="T16" fmla="*/ 15753 w 52"/>
                <a:gd name="T17" fmla="*/ 1143 h 50"/>
                <a:gd name="T18" fmla="*/ 19050 w 52"/>
                <a:gd name="T19" fmla="*/ 0 h 50"/>
                <a:gd name="T20" fmla="*/ 14654 w 52"/>
                <a:gd name="T21" fmla="*/ 12573 h 50"/>
                <a:gd name="T22" fmla="*/ 9891 w 52"/>
                <a:gd name="T23" fmla="*/ 25146 h 50"/>
                <a:gd name="T24" fmla="*/ 8060 w 52"/>
                <a:gd name="T25" fmla="*/ 34290 h 50"/>
                <a:gd name="T26" fmla="*/ 6228 w 52"/>
                <a:gd name="T27" fmla="*/ 41148 h 50"/>
                <a:gd name="T28" fmla="*/ 5129 w 52"/>
                <a:gd name="T29" fmla="*/ 49149 h 50"/>
                <a:gd name="T30" fmla="*/ 4763 w 52"/>
                <a:gd name="T31" fmla="*/ 57150 h 5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2" name="Freeform 482">
              <a:extLst>
                <a:ext uri="{FF2B5EF4-FFF2-40B4-BE49-F238E27FC236}">
                  <a16:creationId xmlns:a16="http://schemas.microsoft.com/office/drawing/2014/main" id="{E980A4EB-4186-4268-9A12-69D878E9EE21}"/>
                </a:ext>
              </a:extLst>
            </p:cNvPr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8696325" y="2211388"/>
              <a:ext cx="141288" cy="125412"/>
            </a:xfrm>
            <a:custGeom>
              <a:avLst/>
              <a:gdLst>
                <a:gd name="T0" fmla="*/ 33556 w 320"/>
                <a:gd name="T1" fmla="*/ 123804 h 234"/>
                <a:gd name="T2" fmla="*/ 26933 w 320"/>
                <a:gd name="T3" fmla="*/ 121124 h 234"/>
                <a:gd name="T4" fmla="*/ 29141 w 320"/>
                <a:gd name="T5" fmla="*/ 118981 h 234"/>
                <a:gd name="T6" fmla="*/ 33997 w 320"/>
                <a:gd name="T7" fmla="*/ 116301 h 234"/>
                <a:gd name="T8" fmla="*/ 28258 w 320"/>
                <a:gd name="T9" fmla="*/ 109334 h 234"/>
                <a:gd name="T10" fmla="*/ 18986 w 320"/>
                <a:gd name="T11" fmla="*/ 101294 h 234"/>
                <a:gd name="T12" fmla="*/ 15895 w 320"/>
                <a:gd name="T13" fmla="*/ 95935 h 234"/>
                <a:gd name="T14" fmla="*/ 15012 w 320"/>
                <a:gd name="T15" fmla="*/ 91647 h 234"/>
                <a:gd name="T16" fmla="*/ 15012 w 320"/>
                <a:gd name="T17" fmla="*/ 87896 h 234"/>
                <a:gd name="T18" fmla="*/ 15895 w 320"/>
                <a:gd name="T19" fmla="*/ 84144 h 234"/>
                <a:gd name="T20" fmla="*/ 18986 w 320"/>
                <a:gd name="T21" fmla="*/ 79856 h 234"/>
                <a:gd name="T22" fmla="*/ 24725 w 320"/>
                <a:gd name="T23" fmla="*/ 75569 h 234"/>
                <a:gd name="T24" fmla="*/ 32231 w 320"/>
                <a:gd name="T25" fmla="*/ 73425 h 234"/>
                <a:gd name="T26" fmla="*/ 35322 w 320"/>
                <a:gd name="T27" fmla="*/ 67530 h 234"/>
                <a:gd name="T28" fmla="*/ 29582 w 320"/>
                <a:gd name="T29" fmla="*/ 59490 h 234"/>
                <a:gd name="T30" fmla="*/ 26933 w 320"/>
                <a:gd name="T31" fmla="*/ 54667 h 234"/>
                <a:gd name="T32" fmla="*/ 26492 w 320"/>
                <a:gd name="T33" fmla="*/ 46092 h 234"/>
                <a:gd name="T34" fmla="*/ 24284 w 320"/>
                <a:gd name="T35" fmla="*/ 37516 h 234"/>
                <a:gd name="T36" fmla="*/ 20310 w 320"/>
                <a:gd name="T37" fmla="*/ 24654 h 234"/>
                <a:gd name="T38" fmla="*/ 14570 w 320"/>
                <a:gd name="T39" fmla="*/ 16614 h 234"/>
                <a:gd name="T40" fmla="*/ 8831 w 320"/>
                <a:gd name="T41" fmla="*/ 13399 h 234"/>
                <a:gd name="T42" fmla="*/ 3091 w 320"/>
                <a:gd name="T43" fmla="*/ 5359 h 234"/>
                <a:gd name="T44" fmla="*/ 3974 w 320"/>
                <a:gd name="T45" fmla="*/ 0 h 234"/>
                <a:gd name="T46" fmla="*/ 10597 w 320"/>
                <a:gd name="T47" fmla="*/ 0 h 234"/>
                <a:gd name="T48" fmla="*/ 16778 w 320"/>
                <a:gd name="T49" fmla="*/ 1608 h 234"/>
                <a:gd name="T50" fmla="*/ 24725 w 320"/>
                <a:gd name="T51" fmla="*/ 8575 h 234"/>
                <a:gd name="T52" fmla="*/ 34439 w 320"/>
                <a:gd name="T53" fmla="*/ 18758 h 234"/>
                <a:gd name="T54" fmla="*/ 42386 w 320"/>
                <a:gd name="T55" fmla="*/ 25726 h 234"/>
                <a:gd name="T56" fmla="*/ 52541 w 320"/>
                <a:gd name="T57" fmla="*/ 31085 h 234"/>
                <a:gd name="T58" fmla="*/ 67112 w 320"/>
                <a:gd name="T59" fmla="*/ 37516 h 234"/>
                <a:gd name="T60" fmla="*/ 79916 w 320"/>
                <a:gd name="T61" fmla="*/ 42340 h 234"/>
                <a:gd name="T62" fmla="*/ 94486 w 320"/>
                <a:gd name="T63" fmla="*/ 45556 h 234"/>
                <a:gd name="T64" fmla="*/ 104200 w 320"/>
                <a:gd name="T65" fmla="*/ 41268 h 234"/>
                <a:gd name="T66" fmla="*/ 113472 w 320"/>
                <a:gd name="T67" fmla="*/ 44484 h 234"/>
                <a:gd name="T68" fmla="*/ 125393 w 320"/>
                <a:gd name="T69" fmla="*/ 57347 h 234"/>
                <a:gd name="T70" fmla="*/ 134665 w 320"/>
                <a:gd name="T71" fmla="*/ 63778 h 234"/>
                <a:gd name="T72" fmla="*/ 131133 w 320"/>
                <a:gd name="T73" fmla="*/ 71281 h 234"/>
                <a:gd name="T74" fmla="*/ 118329 w 320"/>
                <a:gd name="T75" fmla="*/ 77177 h 234"/>
                <a:gd name="T76" fmla="*/ 109940 w 320"/>
                <a:gd name="T77" fmla="*/ 79320 h 234"/>
                <a:gd name="T78" fmla="*/ 104641 w 320"/>
                <a:gd name="T79" fmla="*/ 85216 h 234"/>
                <a:gd name="T80" fmla="*/ 102434 w 320"/>
                <a:gd name="T81" fmla="*/ 94327 h 234"/>
                <a:gd name="T82" fmla="*/ 101992 w 320"/>
                <a:gd name="T83" fmla="*/ 100222 h 234"/>
                <a:gd name="T84" fmla="*/ 98019 w 320"/>
                <a:gd name="T85" fmla="*/ 102902 h 234"/>
                <a:gd name="T86" fmla="*/ 90071 w 320"/>
                <a:gd name="T87" fmla="*/ 101294 h 234"/>
                <a:gd name="T88" fmla="*/ 82124 w 320"/>
                <a:gd name="T89" fmla="*/ 97007 h 234"/>
                <a:gd name="T90" fmla="*/ 74176 w 320"/>
                <a:gd name="T91" fmla="*/ 91111 h 234"/>
                <a:gd name="T92" fmla="*/ 68436 w 320"/>
                <a:gd name="T93" fmla="*/ 87896 h 234"/>
                <a:gd name="T94" fmla="*/ 64021 w 320"/>
                <a:gd name="T95" fmla="*/ 86288 h 234"/>
                <a:gd name="T96" fmla="*/ 57840 w 320"/>
                <a:gd name="T97" fmla="*/ 86824 h 234"/>
                <a:gd name="T98" fmla="*/ 50334 w 320"/>
                <a:gd name="T99" fmla="*/ 89503 h 234"/>
                <a:gd name="T100" fmla="*/ 44153 w 320"/>
                <a:gd name="T101" fmla="*/ 92719 h 234"/>
                <a:gd name="T102" fmla="*/ 38413 w 320"/>
                <a:gd name="T103" fmla="*/ 95399 h 234"/>
                <a:gd name="T104" fmla="*/ 37530 w 320"/>
                <a:gd name="T105" fmla="*/ 98079 h 234"/>
                <a:gd name="T106" fmla="*/ 42386 w 320"/>
                <a:gd name="T107" fmla="*/ 102366 h 234"/>
                <a:gd name="T108" fmla="*/ 51217 w 320"/>
                <a:gd name="T109" fmla="*/ 107190 h 234"/>
                <a:gd name="T110" fmla="*/ 55632 w 320"/>
                <a:gd name="T111" fmla="*/ 113621 h 234"/>
                <a:gd name="T112" fmla="*/ 49892 w 320"/>
                <a:gd name="T113" fmla="*/ 120053 h 234"/>
                <a:gd name="T114" fmla="*/ 45036 w 320"/>
                <a:gd name="T115" fmla="*/ 123804 h 234"/>
                <a:gd name="T116" fmla="*/ 40179 w 320"/>
                <a:gd name="T117" fmla="*/ 125412 h 23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3" name="Freeform 483">
              <a:extLst>
                <a:ext uri="{FF2B5EF4-FFF2-40B4-BE49-F238E27FC236}">
                  <a16:creationId xmlns:a16="http://schemas.microsoft.com/office/drawing/2014/main" id="{FDAE5EDB-B5C5-4976-A38C-7A321B71A6A3}"/>
                </a:ext>
              </a:extLst>
            </p:cNvPr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8666164" y="2565400"/>
              <a:ext cx="52387" cy="57150"/>
            </a:xfrm>
            <a:custGeom>
              <a:avLst/>
              <a:gdLst>
                <a:gd name="T0" fmla="*/ 13830 w 125"/>
                <a:gd name="T1" fmla="*/ 11676 h 93"/>
                <a:gd name="T2" fmla="*/ 18021 w 125"/>
                <a:gd name="T3" fmla="*/ 11676 h 93"/>
                <a:gd name="T4" fmla="*/ 21793 w 125"/>
                <a:gd name="T5" fmla="*/ 11676 h 93"/>
                <a:gd name="T6" fmla="*/ 23050 w 125"/>
                <a:gd name="T7" fmla="*/ 11676 h 93"/>
                <a:gd name="T8" fmla="*/ 24308 w 125"/>
                <a:gd name="T9" fmla="*/ 10447 h 93"/>
                <a:gd name="T10" fmla="*/ 25565 w 125"/>
                <a:gd name="T11" fmla="*/ 9218 h 93"/>
                <a:gd name="T12" fmla="*/ 27241 w 125"/>
                <a:gd name="T13" fmla="*/ 6760 h 93"/>
                <a:gd name="T14" fmla="*/ 28499 w 125"/>
                <a:gd name="T15" fmla="*/ 4916 h 93"/>
                <a:gd name="T16" fmla="*/ 29337 w 125"/>
                <a:gd name="T17" fmla="*/ 3073 h 93"/>
                <a:gd name="T18" fmla="*/ 30175 w 125"/>
                <a:gd name="T19" fmla="*/ 1844 h 93"/>
                <a:gd name="T20" fmla="*/ 30175 w 125"/>
                <a:gd name="T21" fmla="*/ 0 h 93"/>
                <a:gd name="T22" fmla="*/ 49453 w 125"/>
                <a:gd name="T23" fmla="*/ 0 h 93"/>
                <a:gd name="T24" fmla="*/ 51130 w 125"/>
                <a:gd name="T25" fmla="*/ 9218 h 93"/>
                <a:gd name="T26" fmla="*/ 52387 w 125"/>
                <a:gd name="T27" fmla="*/ 15363 h 93"/>
                <a:gd name="T28" fmla="*/ 51968 w 125"/>
                <a:gd name="T29" fmla="*/ 17821 h 93"/>
                <a:gd name="T30" fmla="*/ 51130 w 125"/>
                <a:gd name="T31" fmla="*/ 20279 h 93"/>
                <a:gd name="T32" fmla="*/ 49872 w 125"/>
                <a:gd name="T33" fmla="*/ 21508 h 93"/>
                <a:gd name="T34" fmla="*/ 49034 w 125"/>
                <a:gd name="T35" fmla="*/ 22737 h 93"/>
                <a:gd name="T36" fmla="*/ 46520 w 125"/>
                <a:gd name="T37" fmla="*/ 24581 h 93"/>
                <a:gd name="T38" fmla="*/ 43586 w 125"/>
                <a:gd name="T39" fmla="*/ 25195 h 93"/>
                <a:gd name="T40" fmla="*/ 36880 w 125"/>
                <a:gd name="T41" fmla="*/ 25195 h 93"/>
                <a:gd name="T42" fmla="*/ 30175 w 125"/>
                <a:gd name="T43" fmla="*/ 26424 h 93"/>
                <a:gd name="T44" fmla="*/ 29337 w 125"/>
                <a:gd name="T45" fmla="*/ 28882 h 93"/>
                <a:gd name="T46" fmla="*/ 28918 w 125"/>
                <a:gd name="T47" fmla="*/ 32569 h 93"/>
                <a:gd name="T48" fmla="*/ 28079 w 125"/>
                <a:gd name="T49" fmla="*/ 37485 h 93"/>
                <a:gd name="T50" fmla="*/ 28079 w 125"/>
                <a:gd name="T51" fmla="*/ 43631 h 93"/>
                <a:gd name="T52" fmla="*/ 27660 w 125"/>
                <a:gd name="T53" fmla="*/ 52848 h 93"/>
                <a:gd name="T54" fmla="*/ 27660 w 125"/>
                <a:gd name="T55" fmla="*/ 57150 h 93"/>
                <a:gd name="T56" fmla="*/ 20536 w 125"/>
                <a:gd name="T57" fmla="*/ 52234 h 93"/>
                <a:gd name="T58" fmla="*/ 11316 w 125"/>
                <a:gd name="T59" fmla="*/ 44860 h 93"/>
                <a:gd name="T60" fmla="*/ 6706 w 125"/>
                <a:gd name="T61" fmla="*/ 39944 h 93"/>
                <a:gd name="T62" fmla="*/ 2934 w 125"/>
                <a:gd name="T63" fmla="*/ 35642 h 93"/>
                <a:gd name="T64" fmla="*/ 1676 w 125"/>
                <a:gd name="T65" fmla="*/ 33184 h 93"/>
                <a:gd name="T66" fmla="*/ 838 w 125"/>
                <a:gd name="T67" fmla="*/ 30726 h 93"/>
                <a:gd name="T68" fmla="*/ 0 w 125"/>
                <a:gd name="T69" fmla="*/ 28882 h 93"/>
                <a:gd name="T70" fmla="*/ 0 w 125"/>
                <a:gd name="T71" fmla="*/ 26424 h 93"/>
                <a:gd name="T72" fmla="*/ 2934 w 125"/>
                <a:gd name="T73" fmla="*/ 26424 h 93"/>
                <a:gd name="T74" fmla="*/ 6286 w 125"/>
                <a:gd name="T75" fmla="*/ 25195 h 93"/>
                <a:gd name="T76" fmla="*/ 8382 w 125"/>
                <a:gd name="T77" fmla="*/ 23966 h 93"/>
                <a:gd name="T78" fmla="*/ 9639 w 125"/>
                <a:gd name="T79" fmla="*/ 22123 h 93"/>
                <a:gd name="T80" fmla="*/ 11735 w 125"/>
                <a:gd name="T81" fmla="*/ 17206 h 93"/>
                <a:gd name="T82" fmla="*/ 13830 w 125"/>
                <a:gd name="T83" fmla="*/ 11676 h 9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4" name="Freeform 484">
              <a:extLst>
                <a:ext uri="{FF2B5EF4-FFF2-40B4-BE49-F238E27FC236}">
                  <a16:creationId xmlns:a16="http://schemas.microsoft.com/office/drawing/2014/main" id="{774806AA-8D57-4DFE-BB00-4F8688D569CB}"/>
                </a:ext>
              </a:extLst>
            </p:cNvPr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8612189" y="2579689"/>
              <a:ext cx="60325" cy="84137"/>
            </a:xfrm>
            <a:custGeom>
              <a:avLst/>
              <a:gdLst>
                <a:gd name="T0" fmla="*/ 9071 w 133"/>
                <a:gd name="T1" fmla="*/ 6556 h 154"/>
                <a:gd name="T2" fmla="*/ 10886 w 133"/>
                <a:gd name="T3" fmla="*/ 5463 h 154"/>
                <a:gd name="T4" fmla="*/ 14061 w 133"/>
                <a:gd name="T5" fmla="*/ 3278 h 154"/>
                <a:gd name="T6" fmla="*/ 15421 w 133"/>
                <a:gd name="T7" fmla="*/ 2185 h 154"/>
                <a:gd name="T8" fmla="*/ 16782 w 133"/>
                <a:gd name="T9" fmla="*/ 1093 h 154"/>
                <a:gd name="T10" fmla="*/ 19050 w 133"/>
                <a:gd name="T11" fmla="*/ 546 h 154"/>
                <a:gd name="T12" fmla="*/ 20864 w 133"/>
                <a:gd name="T13" fmla="*/ 0 h 154"/>
                <a:gd name="T14" fmla="*/ 26761 w 133"/>
                <a:gd name="T15" fmla="*/ 546 h 154"/>
                <a:gd name="T16" fmla="*/ 31750 w 133"/>
                <a:gd name="T17" fmla="*/ 2185 h 154"/>
                <a:gd name="T18" fmla="*/ 36739 w 133"/>
                <a:gd name="T19" fmla="*/ 4371 h 154"/>
                <a:gd name="T20" fmla="*/ 40821 w 133"/>
                <a:gd name="T21" fmla="*/ 7649 h 154"/>
                <a:gd name="T22" fmla="*/ 44904 w 133"/>
                <a:gd name="T23" fmla="*/ 11473 h 154"/>
                <a:gd name="T24" fmla="*/ 47625 w 133"/>
                <a:gd name="T25" fmla="*/ 16390 h 154"/>
                <a:gd name="T26" fmla="*/ 50800 w 133"/>
                <a:gd name="T27" fmla="*/ 21854 h 154"/>
                <a:gd name="T28" fmla="*/ 52614 w 133"/>
                <a:gd name="T29" fmla="*/ 27317 h 154"/>
                <a:gd name="T30" fmla="*/ 54882 w 133"/>
                <a:gd name="T31" fmla="*/ 32781 h 154"/>
                <a:gd name="T32" fmla="*/ 56243 w 133"/>
                <a:gd name="T33" fmla="*/ 38790 h 154"/>
                <a:gd name="T34" fmla="*/ 57604 w 133"/>
                <a:gd name="T35" fmla="*/ 44800 h 154"/>
                <a:gd name="T36" fmla="*/ 58964 w 133"/>
                <a:gd name="T37" fmla="*/ 51356 h 154"/>
                <a:gd name="T38" fmla="*/ 59871 w 133"/>
                <a:gd name="T39" fmla="*/ 63376 h 154"/>
                <a:gd name="T40" fmla="*/ 60325 w 133"/>
                <a:gd name="T41" fmla="*/ 73756 h 154"/>
                <a:gd name="T42" fmla="*/ 59871 w 133"/>
                <a:gd name="T43" fmla="*/ 75395 h 154"/>
                <a:gd name="T44" fmla="*/ 58964 w 133"/>
                <a:gd name="T45" fmla="*/ 77035 h 154"/>
                <a:gd name="T46" fmla="*/ 56696 w 133"/>
                <a:gd name="T47" fmla="*/ 78674 h 154"/>
                <a:gd name="T48" fmla="*/ 54882 w 133"/>
                <a:gd name="T49" fmla="*/ 80313 h 154"/>
                <a:gd name="T50" fmla="*/ 52161 w 133"/>
                <a:gd name="T51" fmla="*/ 81952 h 154"/>
                <a:gd name="T52" fmla="*/ 49893 w 133"/>
                <a:gd name="T53" fmla="*/ 83591 h 154"/>
                <a:gd name="T54" fmla="*/ 47171 w 133"/>
                <a:gd name="T55" fmla="*/ 84137 h 154"/>
                <a:gd name="T56" fmla="*/ 44904 w 133"/>
                <a:gd name="T57" fmla="*/ 84137 h 154"/>
                <a:gd name="T58" fmla="*/ 42182 w 133"/>
                <a:gd name="T59" fmla="*/ 83591 h 154"/>
                <a:gd name="T60" fmla="*/ 39461 w 133"/>
                <a:gd name="T61" fmla="*/ 81405 h 154"/>
                <a:gd name="T62" fmla="*/ 35832 w 133"/>
                <a:gd name="T63" fmla="*/ 77035 h 154"/>
                <a:gd name="T64" fmla="*/ 32204 w 133"/>
                <a:gd name="T65" fmla="*/ 73210 h 154"/>
                <a:gd name="T66" fmla="*/ 29029 w 133"/>
                <a:gd name="T67" fmla="*/ 68839 h 154"/>
                <a:gd name="T68" fmla="*/ 26307 w 133"/>
                <a:gd name="T69" fmla="*/ 64469 h 154"/>
                <a:gd name="T70" fmla="*/ 24493 w 133"/>
                <a:gd name="T71" fmla="*/ 60644 h 154"/>
                <a:gd name="T72" fmla="*/ 24039 w 133"/>
                <a:gd name="T73" fmla="*/ 57366 h 154"/>
                <a:gd name="T74" fmla="*/ 24493 w 133"/>
                <a:gd name="T75" fmla="*/ 53542 h 154"/>
                <a:gd name="T76" fmla="*/ 25400 w 133"/>
                <a:gd name="T77" fmla="*/ 45347 h 154"/>
                <a:gd name="T78" fmla="*/ 26307 w 133"/>
                <a:gd name="T79" fmla="*/ 37151 h 154"/>
                <a:gd name="T80" fmla="*/ 26761 w 133"/>
                <a:gd name="T81" fmla="*/ 33873 h 154"/>
                <a:gd name="T82" fmla="*/ 21318 w 133"/>
                <a:gd name="T83" fmla="*/ 33327 h 154"/>
                <a:gd name="T84" fmla="*/ 16329 w 133"/>
                <a:gd name="T85" fmla="*/ 32234 h 154"/>
                <a:gd name="T86" fmla="*/ 11339 w 133"/>
                <a:gd name="T87" fmla="*/ 30595 h 154"/>
                <a:gd name="T88" fmla="*/ 7711 w 133"/>
                <a:gd name="T89" fmla="*/ 28410 h 154"/>
                <a:gd name="T90" fmla="*/ 5896 w 133"/>
                <a:gd name="T91" fmla="*/ 26771 h 154"/>
                <a:gd name="T92" fmla="*/ 4536 w 133"/>
                <a:gd name="T93" fmla="*/ 25132 h 154"/>
                <a:gd name="T94" fmla="*/ 3175 w 133"/>
                <a:gd name="T95" fmla="*/ 23493 h 154"/>
                <a:gd name="T96" fmla="*/ 1814 w 133"/>
                <a:gd name="T97" fmla="*/ 21307 h 154"/>
                <a:gd name="T98" fmla="*/ 907 w 133"/>
                <a:gd name="T99" fmla="*/ 18576 h 154"/>
                <a:gd name="T100" fmla="*/ 454 w 133"/>
                <a:gd name="T101" fmla="*/ 15844 h 154"/>
                <a:gd name="T102" fmla="*/ 0 w 133"/>
                <a:gd name="T103" fmla="*/ 13112 h 154"/>
                <a:gd name="T104" fmla="*/ 0 w 133"/>
                <a:gd name="T105" fmla="*/ 9834 h 154"/>
                <a:gd name="T106" fmla="*/ 3175 w 133"/>
                <a:gd name="T107" fmla="*/ 8195 h 154"/>
                <a:gd name="T108" fmla="*/ 9071 w 133"/>
                <a:gd name="T109" fmla="*/ 6556 h 15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5" name="Freeform 485">
              <a:extLst>
                <a:ext uri="{FF2B5EF4-FFF2-40B4-BE49-F238E27FC236}">
                  <a16:creationId xmlns:a16="http://schemas.microsoft.com/office/drawing/2014/main" id="{AC21152B-C4EA-4EC2-9F86-07757289C1BF}"/>
                </a:ext>
              </a:extLst>
            </p:cNvPr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8628063" y="2341564"/>
              <a:ext cx="209550" cy="244475"/>
            </a:xfrm>
            <a:custGeom>
              <a:avLst/>
              <a:gdLst>
                <a:gd name="T0" fmla="*/ 57896 w 485"/>
                <a:gd name="T1" fmla="*/ 183356 h 468"/>
                <a:gd name="T2" fmla="*/ 72154 w 485"/>
                <a:gd name="T3" fmla="*/ 177088 h 468"/>
                <a:gd name="T4" fmla="*/ 86412 w 485"/>
                <a:gd name="T5" fmla="*/ 177088 h 468"/>
                <a:gd name="T6" fmla="*/ 97646 w 485"/>
                <a:gd name="T7" fmla="*/ 181789 h 468"/>
                <a:gd name="T8" fmla="*/ 96782 w 485"/>
                <a:gd name="T9" fmla="*/ 170819 h 468"/>
                <a:gd name="T10" fmla="*/ 95054 w 485"/>
                <a:gd name="T11" fmla="*/ 165073 h 468"/>
                <a:gd name="T12" fmla="*/ 100670 w 485"/>
                <a:gd name="T13" fmla="*/ 158282 h 468"/>
                <a:gd name="T14" fmla="*/ 103263 w 485"/>
                <a:gd name="T15" fmla="*/ 144178 h 468"/>
                <a:gd name="T16" fmla="*/ 104559 w 485"/>
                <a:gd name="T17" fmla="*/ 128506 h 468"/>
                <a:gd name="T18" fmla="*/ 115793 w 485"/>
                <a:gd name="T19" fmla="*/ 133208 h 468"/>
                <a:gd name="T20" fmla="*/ 129619 w 485"/>
                <a:gd name="T21" fmla="*/ 124327 h 468"/>
                <a:gd name="T22" fmla="*/ 136532 w 485"/>
                <a:gd name="T23" fmla="*/ 113357 h 468"/>
                <a:gd name="T24" fmla="*/ 126594 w 485"/>
                <a:gd name="T25" fmla="*/ 101342 h 468"/>
                <a:gd name="T26" fmla="*/ 137396 w 485"/>
                <a:gd name="T27" fmla="*/ 103954 h 468"/>
                <a:gd name="T28" fmla="*/ 148197 w 485"/>
                <a:gd name="T29" fmla="*/ 105521 h 468"/>
                <a:gd name="T30" fmla="*/ 149493 w 485"/>
                <a:gd name="T31" fmla="*/ 96641 h 468"/>
                <a:gd name="T32" fmla="*/ 127458 w 485"/>
                <a:gd name="T33" fmla="*/ 50149 h 468"/>
                <a:gd name="T34" fmla="*/ 123138 w 485"/>
                <a:gd name="T35" fmla="*/ 27686 h 468"/>
                <a:gd name="T36" fmla="*/ 125730 w 485"/>
                <a:gd name="T37" fmla="*/ 9925 h 468"/>
                <a:gd name="T38" fmla="*/ 136532 w 485"/>
                <a:gd name="T39" fmla="*/ 522 h 468"/>
                <a:gd name="T40" fmla="*/ 145173 w 485"/>
                <a:gd name="T41" fmla="*/ 9403 h 468"/>
                <a:gd name="T42" fmla="*/ 162887 w 485"/>
                <a:gd name="T43" fmla="*/ 23507 h 468"/>
                <a:gd name="T44" fmla="*/ 179306 w 485"/>
                <a:gd name="T45" fmla="*/ 37612 h 468"/>
                <a:gd name="T46" fmla="*/ 184058 w 485"/>
                <a:gd name="T47" fmla="*/ 51193 h 468"/>
                <a:gd name="T48" fmla="*/ 188379 w 485"/>
                <a:gd name="T49" fmla="*/ 71566 h 468"/>
                <a:gd name="T50" fmla="*/ 192268 w 485"/>
                <a:gd name="T51" fmla="*/ 90372 h 468"/>
                <a:gd name="T52" fmla="*/ 184922 w 485"/>
                <a:gd name="T53" fmla="*/ 93506 h 468"/>
                <a:gd name="T54" fmla="*/ 178009 w 485"/>
                <a:gd name="T55" fmla="*/ 96641 h 468"/>
                <a:gd name="T56" fmla="*/ 184058 w 485"/>
                <a:gd name="T57" fmla="*/ 103954 h 468"/>
                <a:gd name="T58" fmla="*/ 192268 w 485"/>
                <a:gd name="T59" fmla="*/ 106044 h 468"/>
                <a:gd name="T60" fmla="*/ 196588 w 485"/>
                <a:gd name="T61" fmla="*/ 136864 h 468"/>
                <a:gd name="T62" fmla="*/ 205229 w 485"/>
                <a:gd name="T63" fmla="*/ 162983 h 468"/>
                <a:gd name="T64" fmla="*/ 207390 w 485"/>
                <a:gd name="T65" fmla="*/ 199028 h 468"/>
                <a:gd name="T66" fmla="*/ 200045 w 485"/>
                <a:gd name="T67" fmla="*/ 190147 h 468"/>
                <a:gd name="T68" fmla="*/ 195724 w 485"/>
                <a:gd name="T69" fmla="*/ 185968 h 468"/>
                <a:gd name="T70" fmla="*/ 188379 w 485"/>
                <a:gd name="T71" fmla="*/ 189625 h 468"/>
                <a:gd name="T72" fmla="*/ 185355 w 485"/>
                <a:gd name="T73" fmla="*/ 208431 h 468"/>
                <a:gd name="T74" fmla="*/ 176281 w 485"/>
                <a:gd name="T75" fmla="*/ 203207 h 468"/>
                <a:gd name="T76" fmla="*/ 168072 w 485"/>
                <a:gd name="T77" fmla="*/ 199550 h 468"/>
                <a:gd name="T78" fmla="*/ 162455 w 485"/>
                <a:gd name="T79" fmla="*/ 209998 h 468"/>
                <a:gd name="T80" fmla="*/ 149061 w 485"/>
                <a:gd name="T81" fmla="*/ 215744 h 468"/>
                <a:gd name="T82" fmla="*/ 144309 w 485"/>
                <a:gd name="T83" fmla="*/ 208953 h 468"/>
                <a:gd name="T84" fmla="*/ 134803 w 485"/>
                <a:gd name="T85" fmla="*/ 206341 h 468"/>
                <a:gd name="T86" fmla="*/ 130915 w 485"/>
                <a:gd name="T87" fmla="*/ 222535 h 468"/>
                <a:gd name="T88" fmla="*/ 129186 w 485"/>
                <a:gd name="T89" fmla="*/ 235072 h 468"/>
                <a:gd name="T90" fmla="*/ 132643 w 485"/>
                <a:gd name="T91" fmla="*/ 243430 h 468"/>
                <a:gd name="T92" fmla="*/ 117521 w 485"/>
                <a:gd name="T93" fmla="*/ 244475 h 468"/>
                <a:gd name="T94" fmla="*/ 111472 w 485"/>
                <a:gd name="T95" fmla="*/ 242908 h 468"/>
                <a:gd name="T96" fmla="*/ 105423 w 485"/>
                <a:gd name="T97" fmla="*/ 229848 h 468"/>
                <a:gd name="T98" fmla="*/ 98942 w 485"/>
                <a:gd name="T99" fmla="*/ 218356 h 468"/>
                <a:gd name="T100" fmla="*/ 88141 w 485"/>
                <a:gd name="T101" fmla="*/ 212087 h 468"/>
                <a:gd name="T102" fmla="*/ 82092 w 485"/>
                <a:gd name="T103" fmla="*/ 205819 h 468"/>
                <a:gd name="T104" fmla="*/ 58760 w 485"/>
                <a:gd name="T105" fmla="*/ 217833 h 468"/>
                <a:gd name="T106" fmla="*/ 38886 w 485"/>
                <a:gd name="T107" fmla="*/ 227236 h 468"/>
                <a:gd name="T108" fmla="*/ 28084 w 485"/>
                <a:gd name="T109" fmla="*/ 239774 h 468"/>
                <a:gd name="T110" fmla="*/ 11666 w 485"/>
                <a:gd name="T111" fmla="*/ 240818 h 468"/>
                <a:gd name="T112" fmla="*/ 3024 w 485"/>
                <a:gd name="T113" fmla="*/ 228804 h 468"/>
                <a:gd name="T114" fmla="*/ 0 w 485"/>
                <a:gd name="T115" fmla="*/ 217833 h 468"/>
                <a:gd name="T116" fmla="*/ 3024 w 485"/>
                <a:gd name="T117" fmla="*/ 215744 h 468"/>
                <a:gd name="T118" fmla="*/ 11666 w 485"/>
                <a:gd name="T119" fmla="*/ 216266 h 468"/>
                <a:gd name="T120" fmla="*/ 20739 w 485"/>
                <a:gd name="T121" fmla="*/ 211565 h 468"/>
                <a:gd name="T122" fmla="*/ 31108 w 485"/>
                <a:gd name="T123" fmla="*/ 192759 h 468"/>
                <a:gd name="T124" fmla="*/ 40182 w 485"/>
                <a:gd name="T125" fmla="*/ 183879 h 46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6" name="Freeform 486">
              <a:extLst>
                <a:ext uri="{FF2B5EF4-FFF2-40B4-BE49-F238E27FC236}">
                  <a16:creationId xmlns:a16="http://schemas.microsoft.com/office/drawing/2014/main" id="{E0895880-3D2E-41B1-95A1-8CC428F38DEA}"/>
                </a:ext>
              </a:extLst>
            </p:cNvPr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6211888" y="1231901"/>
              <a:ext cx="107950" cy="60325"/>
            </a:xfrm>
            <a:custGeom>
              <a:avLst/>
              <a:gdLst>
                <a:gd name="T0" fmla="*/ 11848 w 246"/>
                <a:gd name="T1" fmla="*/ 51707 h 42"/>
                <a:gd name="T2" fmla="*/ 15798 w 246"/>
                <a:gd name="T3" fmla="*/ 51707 h 42"/>
                <a:gd name="T4" fmla="*/ 19747 w 246"/>
                <a:gd name="T5" fmla="*/ 50271 h 42"/>
                <a:gd name="T6" fmla="*/ 23258 w 246"/>
                <a:gd name="T7" fmla="*/ 47398 h 42"/>
                <a:gd name="T8" fmla="*/ 25890 w 246"/>
                <a:gd name="T9" fmla="*/ 44526 h 42"/>
                <a:gd name="T10" fmla="*/ 28962 w 246"/>
                <a:gd name="T11" fmla="*/ 43089 h 42"/>
                <a:gd name="T12" fmla="*/ 31595 w 246"/>
                <a:gd name="T13" fmla="*/ 41653 h 42"/>
                <a:gd name="T14" fmla="*/ 35106 w 246"/>
                <a:gd name="T15" fmla="*/ 41653 h 42"/>
                <a:gd name="T16" fmla="*/ 38177 w 246"/>
                <a:gd name="T17" fmla="*/ 43089 h 42"/>
                <a:gd name="T18" fmla="*/ 38177 w 246"/>
                <a:gd name="T19" fmla="*/ 60325 h 42"/>
                <a:gd name="T20" fmla="*/ 67578 w 246"/>
                <a:gd name="T21" fmla="*/ 60325 h 42"/>
                <a:gd name="T22" fmla="*/ 67578 w 246"/>
                <a:gd name="T23" fmla="*/ 56016 h 42"/>
                <a:gd name="T24" fmla="*/ 68456 w 246"/>
                <a:gd name="T25" fmla="*/ 51707 h 42"/>
                <a:gd name="T26" fmla="*/ 69773 w 246"/>
                <a:gd name="T27" fmla="*/ 47398 h 42"/>
                <a:gd name="T28" fmla="*/ 71528 w 246"/>
                <a:gd name="T29" fmla="*/ 44526 h 42"/>
                <a:gd name="T30" fmla="*/ 76794 w 246"/>
                <a:gd name="T31" fmla="*/ 37344 h 42"/>
                <a:gd name="T32" fmla="*/ 83376 w 246"/>
                <a:gd name="T33" fmla="*/ 33035 h 42"/>
                <a:gd name="T34" fmla="*/ 96979 w 246"/>
                <a:gd name="T35" fmla="*/ 24417 h 42"/>
                <a:gd name="T36" fmla="*/ 107950 w 246"/>
                <a:gd name="T37" fmla="*/ 17236 h 42"/>
                <a:gd name="T38" fmla="*/ 93030 w 246"/>
                <a:gd name="T39" fmla="*/ 18672 h 42"/>
                <a:gd name="T40" fmla="*/ 81621 w 246"/>
                <a:gd name="T41" fmla="*/ 20108 h 42"/>
                <a:gd name="T42" fmla="*/ 78110 w 246"/>
                <a:gd name="T43" fmla="*/ 21545 h 42"/>
                <a:gd name="T44" fmla="*/ 75038 w 246"/>
                <a:gd name="T45" fmla="*/ 21545 h 42"/>
                <a:gd name="T46" fmla="*/ 73722 w 246"/>
                <a:gd name="T47" fmla="*/ 20108 h 42"/>
                <a:gd name="T48" fmla="*/ 73283 w 246"/>
                <a:gd name="T49" fmla="*/ 17236 h 42"/>
                <a:gd name="T50" fmla="*/ 69773 w 246"/>
                <a:gd name="T51" fmla="*/ 22981 h 42"/>
                <a:gd name="T52" fmla="*/ 66701 w 246"/>
                <a:gd name="T53" fmla="*/ 24417 h 42"/>
                <a:gd name="T54" fmla="*/ 64507 w 246"/>
                <a:gd name="T55" fmla="*/ 24417 h 42"/>
                <a:gd name="T56" fmla="*/ 61874 w 246"/>
                <a:gd name="T57" fmla="*/ 21545 h 42"/>
                <a:gd name="T58" fmla="*/ 60118 w 246"/>
                <a:gd name="T59" fmla="*/ 17236 h 42"/>
                <a:gd name="T60" fmla="*/ 58363 w 246"/>
                <a:gd name="T61" fmla="*/ 12927 h 42"/>
                <a:gd name="T62" fmla="*/ 56608 w 246"/>
                <a:gd name="T63" fmla="*/ 7182 h 42"/>
                <a:gd name="T64" fmla="*/ 55291 w 246"/>
                <a:gd name="T65" fmla="*/ 0 h 42"/>
                <a:gd name="T66" fmla="*/ 53097 w 246"/>
                <a:gd name="T67" fmla="*/ 2873 h 42"/>
                <a:gd name="T68" fmla="*/ 49587 w 246"/>
                <a:gd name="T69" fmla="*/ 5745 h 42"/>
                <a:gd name="T70" fmla="*/ 45199 w 246"/>
                <a:gd name="T71" fmla="*/ 7182 h 42"/>
                <a:gd name="T72" fmla="*/ 40810 w 246"/>
                <a:gd name="T73" fmla="*/ 7182 h 42"/>
                <a:gd name="T74" fmla="*/ 32473 w 246"/>
                <a:gd name="T75" fmla="*/ 8618 h 42"/>
                <a:gd name="T76" fmla="*/ 26329 w 246"/>
                <a:gd name="T77" fmla="*/ 8618 h 42"/>
                <a:gd name="T78" fmla="*/ 25452 w 246"/>
                <a:gd name="T79" fmla="*/ 12927 h 42"/>
                <a:gd name="T80" fmla="*/ 24574 w 246"/>
                <a:gd name="T81" fmla="*/ 17236 h 42"/>
                <a:gd name="T82" fmla="*/ 23696 w 246"/>
                <a:gd name="T83" fmla="*/ 21545 h 42"/>
                <a:gd name="T84" fmla="*/ 21941 w 246"/>
                <a:gd name="T85" fmla="*/ 24417 h 42"/>
                <a:gd name="T86" fmla="*/ 18430 w 246"/>
                <a:gd name="T87" fmla="*/ 28726 h 42"/>
                <a:gd name="T88" fmla="*/ 14481 w 246"/>
                <a:gd name="T89" fmla="*/ 31599 h 42"/>
                <a:gd name="T90" fmla="*/ 6143 w 246"/>
                <a:gd name="T91" fmla="*/ 34471 h 42"/>
                <a:gd name="T92" fmla="*/ 0 w 246"/>
                <a:gd name="T93" fmla="*/ 34471 h 42"/>
                <a:gd name="T94" fmla="*/ 439 w 246"/>
                <a:gd name="T95" fmla="*/ 38780 h 42"/>
                <a:gd name="T96" fmla="*/ 1316 w 246"/>
                <a:gd name="T97" fmla="*/ 41653 h 42"/>
                <a:gd name="T98" fmla="*/ 2194 w 246"/>
                <a:gd name="T99" fmla="*/ 44526 h 42"/>
                <a:gd name="T100" fmla="*/ 3949 w 246"/>
                <a:gd name="T101" fmla="*/ 47398 h 42"/>
                <a:gd name="T102" fmla="*/ 7460 w 246"/>
                <a:gd name="T103" fmla="*/ 50271 h 42"/>
                <a:gd name="T104" fmla="*/ 11848 w 246"/>
                <a:gd name="T105" fmla="*/ 5170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7" name="Freeform 487">
              <a:extLst>
                <a:ext uri="{FF2B5EF4-FFF2-40B4-BE49-F238E27FC236}">
                  <a16:creationId xmlns:a16="http://schemas.microsoft.com/office/drawing/2014/main" id="{30C69881-8F7B-4598-81D2-BDBCC561EFCA}"/>
                </a:ext>
              </a:extLst>
            </p:cNvPr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6354763" y="1214438"/>
              <a:ext cx="63500" cy="57150"/>
            </a:xfrm>
            <a:custGeom>
              <a:avLst/>
              <a:gdLst>
                <a:gd name="T0" fmla="*/ 43896 w 149"/>
                <a:gd name="T1" fmla="*/ 0 h 61"/>
                <a:gd name="T2" fmla="*/ 50289 w 149"/>
                <a:gd name="T3" fmla="*/ 937 h 61"/>
                <a:gd name="T4" fmla="*/ 57107 w 149"/>
                <a:gd name="T5" fmla="*/ 2811 h 61"/>
                <a:gd name="T6" fmla="*/ 61795 w 149"/>
                <a:gd name="T7" fmla="*/ 4684 h 61"/>
                <a:gd name="T8" fmla="*/ 63500 w 149"/>
                <a:gd name="T9" fmla="*/ 5621 h 61"/>
                <a:gd name="T10" fmla="*/ 63500 w 149"/>
                <a:gd name="T11" fmla="*/ 7495 h 61"/>
                <a:gd name="T12" fmla="*/ 62648 w 149"/>
                <a:gd name="T13" fmla="*/ 9369 h 61"/>
                <a:gd name="T14" fmla="*/ 61795 w 149"/>
                <a:gd name="T15" fmla="*/ 11243 h 61"/>
                <a:gd name="T16" fmla="*/ 60091 w 149"/>
                <a:gd name="T17" fmla="*/ 12180 h 61"/>
                <a:gd name="T18" fmla="*/ 58386 w 149"/>
                <a:gd name="T19" fmla="*/ 13116 h 61"/>
                <a:gd name="T20" fmla="*/ 56255 w 149"/>
                <a:gd name="T21" fmla="*/ 13116 h 61"/>
                <a:gd name="T22" fmla="*/ 54124 w 149"/>
                <a:gd name="T23" fmla="*/ 13116 h 61"/>
                <a:gd name="T24" fmla="*/ 52419 w 149"/>
                <a:gd name="T25" fmla="*/ 11243 h 61"/>
                <a:gd name="T26" fmla="*/ 52419 w 149"/>
                <a:gd name="T27" fmla="*/ 21548 h 61"/>
                <a:gd name="T28" fmla="*/ 52419 w 149"/>
                <a:gd name="T29" fmla="*/ 30917 h 61"/>
                <a:gd name="T30" fmla="*/ 52419 w 149"/>
                <a:gd name="T31" fmla="*/ 38412 h 61"/>
                <a:gd name="T32" fmla="*/ 52419 w 149"/>
                <a:gd name="T33" fmla="*/ 45907 h 61"/>
                <a:gd name="T34" fmla="*/ 49436 w 149"/>
                <a:gd name="T35" fmla="*/ 46844 h 61"/>
                <a:gd name="T36" fmla="*/ 46453 w 149"/>
                <a:gd name="T37" fmla="*/ 47781 h 61"/>
                <a:gd name="T38" fmla="*/ 44322 w 149"/>
                <a:gd name="T39" fmla="*/ 49655 h 61"/>
                <a:gd name="T40" fmla="*/ 42617 w 149"/>
                <a:gd name="T41" fmla="*/ 51529 h 61"/>
                <a:gd name="T42" fmla="*/ 40060 w 149"/>
                <a:gd name="T43" fmla="*/ 53402 h 61"/>
                <a:gd name="T44" fmla="*/ 37930 w 149"/>
                <a:gd name="T45" fmla="*/ 55276 h 61"/>
                <a:gd name="T46" fmla="*/ 35372 w 149"/>
                <a:gd name="T47" fmla="*/ 57150 h 61"/>
                <a:gd name="T48" fmla="*/ 32389 w 149"/>
                <a:gd name="T49" fmla="*/ 57150 h 61"/>
                <a:gd name="T50" fmla="*/ 28554 w 149"/>
                <a:gd name="T51" fmla="*/ 56213 h 61"/>
                <a:gd name="T52" fmla="*/ 22587 w 149"/>
                <a:gd name="T53" fmla="*/ 53402 h 61"/>
                <a:gd name="T54" fmla="*/ 16621 w 149"/>
                <a:gd name="T55" fmla="*/ 50592 h 61"/>
                <a:gd name="T56" fmla="*/ 10654 w 149"/>
                <a:gd name="T57" fmla="*/ 45907 h 61"/>
                <a:gd name="T58" fmla="*/ 5114 w 149"/>
                <a:gd name="T59" fmla="*/ 42160 h 61"/>
                <a:gd name="T60" fmla="*/ 1279 w 149"/>
                <a:gd name="T61" fmla="*/ 38412 h 61"/>
                <a:gd name="T62" fmla="*/ 426 w 149"/>
                <a:gd name="T63" fmla="*/ 36539 h 61"/>
                <a:gd name="T64" fmla="*/ 0 w 149"/>
                <a:gd name="T65" fmla="*/ 35602 h 61"/>
                <a:gd name="T66" fmla="*/ 0 w 149"/>
                <a:gd name="T67" fmla="*/ 34665 h 61"/>
                <a:gd name="T68" fmla="*/ 1279 w 149"/>
                <a:gd name="T69" fmla="*/ 34665 h 61"/>
                <a:gd name="T70" fmla="*/ 8097 w 149"/>
                <a:gd name="T71" fmla="*/ 33728 h 61"/>
                <a:gd name="T72" fmla="*/ 14916 w 149"/>
                <a:gd name="T73" fmla="*/ 32791 h 61"/>
                <a:gd name="T74" fmla="*/ 20456 w 149"/>
                <a:gd name="T75" fmla="*/ 29980 h 61"/>
                <a:gd name="T76" fmla="*/ 25570 w 149"/>
                <a:gd name="T77" fmla="*/ 25296 h 61"/>
                <a:gd name="T78" fmla="*/ 30685 w 149"/>
                <a:gd name="T79" fmla="*/ 20611 h 61"/>
                <a:gd name="T80" fmla="*/ 34946 w 149"/>
                <a:gd name="T81" fmla="*/ 14990 h 61"/>
                <a:gd name="T82" fmla="*/ 39634 w 149"/>
                <a:gd name="T83" fmla="*/ 7495 h 61"/>
                <a:gd name="T84" fmla="*/ 43896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8" name="Freeform 488">
              <a:extLst>
                <a:ext uri="{FF2B5EF4-FFF2-40B4-BE49-F238E27FC236}">
                  <a16:creationId xmlns:a16="http://schemas.microsoft.com/office/drawing/2014/main" id="{39059CB6-25F9-49B7-9A9A-7BEECAE801CE}"/>
                </a:ext>
              </a:extLst>
            </p:cNvPr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6391276" y="1222375"/>
              <a:ext cx="130175" cy="57150"/>
            </a:xfrm>
            <a:custGeom>
              <a:avLst/>
              <a:gdLst>
                <a:gd name="T0" fmla="*/ 57904 w 299"/>
                <a:gd name="T1" fmla="*/ 55605 h 74"/>
                <a:gd name="T2" fmla="*/ 67047 w 299"/>
                <a:gd name="T3" fmla="*/ 50199 h 74"/>
                <a:gd name="T4" fmla="*/ 77495 w 299"/>
                <a:gd name="T5" fmla="*/ 41704 h 74"/>
                <a:gd name="T6" fmla="*/ 86638 w 299"/>
                <a:gd name="T7" fmla="*/ 32436 h 74"/>
                <a:gd name="T8" fmla="*/ 90121 w 299"/>
                <a:gd name="T9" fmla="*/ 30892 h 74"/>
                <a:gd name="T10" fmla="*/ 91863 w 299"/>
                <a:gd name="T11" fmla="*/ 35526 h 74"/>
                <a:gd name="T12" fmla="*/ 95781 w 299"/>
                <a:gd name="T13" fmla="*/ 39387 h 74"/>
                <a:gd name="T14" fmla="*/ 105794 w 299"/>
                <a:gd name="T15" fmla="*/ 42476 h 74"/>
                <a:gd name="T16" fmla="*/ 117114 w 299"/>
                <a:gd name="T17" fmla="*/ 42476 h 74"/>
                <a:gd name="T18" fmla="*/ 124515 w 299"/>
                <a:gd name="T19" fmla="*/ 42476 h 74"/>
                <a:gd name="T20" fmla="*/ 127563 w 299"/>
                <a:gd name="T21" fmla="*/ 35526 h 74"/>
                <a:gd name="T22" fmla="*/ 129740 w 299"/>
                <a:gd name="T23" fmla="*/ 23941 h 74"/>
                <a:gd name="T24" fmla="*/ 121468 w 299"/>
                <a:gd name="T25" fmla="*/ 19307 h 74"/>
                <a:gd name="T26" fmla="*/ 106230 w 299"/>
                <a:gd name="T27" fmla="*/ 19307 h 74"/>
                <a:gd name="T28" fmla="*/ 97958 w 299"/>
                <a:gd name="T29" fmla="*/ 19307 h 74"/>
                <a:gd name="T30" fmla="*/ 93169 w 299"/>
                <a:gd name="T31" fmla="*/ 20852 h 74"/>
                <a:gd name="T32" fmla="*/ 88815 w 299"/>
                <a:gd name="T33" fmla="*/ 25486 h 74"/>
                <a:gd name="T34" fmla="*/ 74883 w 299"/>
                <a:gd name="T35" fmla="*/ 28575 h 74"/>
                <a:gd name="T36" fmla="*/ 76625 w 299"/>
                <a:gd name="T37" fmla="*/ 21624 h 74"/>
                <a:gd name="T38" fmla="*/ 78366 w 299"/>
                <a:gd name="T39" fmla="*/ 16218 h 74"/>
                <a:gd name="T40" fmla="*/ 84461 w 299"/>
                <a:gd name="T41" fmla="*/ 10040 h 74"/>
                <a:gd name="T42" fmla="*/ 91427 w 299"/>
                <a:gd name="T43" fmla="*/ 6951 h 74"/>
                <a:gd name="T44" fmla="*/ 97958 w 299"/>
                <a:gd name="T45" fmla="*/ 0 h 74"/>
                <a:gd name="T46" fmla="*/ 80543 w 299"/>
                <a:gd name="T47" fmla="*/ 2317 h 74"/>
                <a:gd name="T48" fmla="*/ 68353 w 299"/>
                <a:gd name="T49" fmla="*/ 8495 h 74"/>
                <a:gd name="T50" fmla="*/ 58339 w 299"/>
                <a:gd name="T51" fmla="*/ 19307 h 74"/>
                <a:gd name="T52" fmla="*/ 49632 w 299"/>
                <a:gd name="T53" fmla="*/ 30892 h 74"/>
                <a:gd name="T54" fmla="*/ 43537 w 299"/>
                <a:gd name="T55" fmla="*/ 40932 h 74"/>
                <a:gd name="T56" fmla="*/ 37877 w 299"/>
                <a:gd name="T57" fmla="*/ 45566 h 74"/>
                <a:gd name="T58" fmla="*/ 27864 w 299"/>
                <a:gd name="T59" fmla="*/ 48655 h 74"/>
                <a:gd name="T60" fmla="*/ 13932 w 299"/>
                <a:gd name="T61" fmla="*/ 49427 h 74"/>
                <a:gd name="T62" fmla="*/ 5224 w 299"/>
                <a:gd name="T63" fmla="*/ 51744 h 74"/>
                <a:gd name="T64" fmla="*/ 871 w 299"/>
                <a:gd name="T65" fmla="*/ 54061 h 74"/>
                <a:gd name="T66" fmla="*/ 16979 w 299"/>
                <a:gd name="T67" fmla="*/ 57150 h 74"/>
                <a:gd name="T68" fmla="*/ 44408 w 299"/>
                <a:gd name="T69" fmla="*/ 57150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9" name="Freeform 489">
              <a:extLst>
                <a:ext uri="{FF2B5EF4-FFF2-40B4-BE49-F238E27FC236}">
                  <a16:creationId xmlns:a16="http://schemas.microsoft.com/office/drawing/2014/main" id="{92CBB329-C73A-4366-8F12-D49BD88BC354}"/>
                </a:ext>
              </a:extLst>
            </p:cNvPr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6924676" y="1408113"/>
              <a:ext cx="41275" cy="57150"/>
            </a:xfrm>
            <a:custGeom>
              <a:avLst/>
              <a:gdLst>
                <a:gd name="T0" fmla="*/ 38386 w 100"/>
                <a:gd name="T1" fmla="*/ 0 h 42"/>
                <a:gd name="T2" fmla="*/ 40037 w 100"/>
                <a:gd name="T3" fmla="*/ 9525 h 42"/>
                <a:gd name="T4" fmla="*/ 41275 w 100"/>
                <a:gd name="T5" fmla="*/ 24493 h 42"/>
                <a:gd name="T6" fmla="*/ 37973 w 100"/>
                <a:gd name="T7" fmla="*/ 32657 h 42"/>
                <a:gd name="T8" fmla="*/ 35497 w 100"/>
                <a:gd name="T9" fmla="*/ 39461 h 42"/>
                <a:gd name="T10" fmla="*/ 32607 w 100"/>
                <a:gd name="T11" fmla="*/ 46264 h 42"/>
                <a:gd name="T12" fmla="*/ 29718 w 100"/>
                <a:gd name="T13" fmla="*/ 50346 h 42"/>
                <a:gd name="T14" fmla="*/ 26829 w 100"/>
                <a:gd name="T15" fmla="*/ 53068 h 42"/>
                <a:gd name="T16" fmla="*/ 23527 w 100"/>
                <a:gd name="T17" fmla="*/ 55789 h 42"/>
                <a:gd name="T18" fmla="*/ 20225 w 100"/>
                <a:gd name="T19" fmla="*/ 57150 h 42"/>
                <a:gd name="T20" fmla="*/ 16510 w 100"/>
                <a:gd name="T21" fmla="*/ 57150 h 42"/>
                <a:gd name="T22" fmla="*/ 11144 w 100"/>
                <a:gd name="T23" fmla="*/ 55789 h 42"/>
                <a:gd name="T24" fmla="*/ 4953 w 100"/>
                <a:gd name="T25" fmla="*/ 53068 h 42"/>
                <a:gd name="T26" fmla="*/ 413 w 100"/>
                <a:gd name="T27" fmla="*/ 50346 h 42"/>
                <a:gd name="T28" fmla="*/ 0 w 100"/>
                <a:gd name="T29" fmla="*/ 48986 h 42"/>
                <a:gd name="T30" fmla="*/ 2477 w 100"/>
                <a:gd name="T31" fmla="*/ 48986 h 42"/>
                <a:gd name="T32" fmla="*/ 4953 w 100"/>
                <a:gd name="T33" fmla="*/ 47625 h 42"/>
                <a:gd name="T34" fmla="*/ 7430 w 100"/>
                <a:gd name="T35" fmla="*/ 44904 h 42"/>
                <a:gd name="T36" fmla="*/ 9493 w 100"/>
                <a:gd name="T37" fmla="*/ 40821 h 42"/>
                <a:gd name="T38" fmla="*/ 13621 w 100"/>
                <a:gd name="T39" fmla="*/ 34018 h 42"/>
                <a:gd name="T40" fmla="*/ 18161 w 100"/>
                <a:gd name="T41" fmla="*/ 24493 h 42"/>
                <a:gd name="T42" fmla="*/ 22701 w 100"/>
                <a:gd name="T43" fmla="*/ 14968 h 42"/>
                <a:gd name="T44" fmla="*/ 27242 w 100"/>
                <a:gd name="T45" fmla="*/ 6804 h 42"/>
                <a:gd name="T46" fmla="*/ 29718 w 100"/>
                <a:gd name="T47" fmla="*/ 4082 h 42"/>
                <a:gd name="T48" fmla="*/ 32607 w 100"/>
                <a:gd name="T49" fmla="*/ 1361 h 42"/>
                <a:gd name="T50" fmla="*/ 35497 w 100"/>
                <a:gd name="T51" fmla="*/ 0 h 42"/>
                <a:gd name="T52" fmla="*/ 38386 w 100"/>
                <a:gd name="T53" fmla="*/ 0 h 4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0" name="Freeform 490">
              <a:extLst>
                <a:ext uri="{FF2B5EF4-FFF2-40B4-BE49-F238E27FC236}">
                  <a16:creationId xmlns:a16="http://schemas.microsoft.com/office/drawing/2014/main" id="{7A4866CE-FD8C-4AB9-8179-B7BE6728DEEC}"/>
                </a:ext>
              </a:extLst>
            </p:cNvPr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6834189" y="1266825"/>
              <a:ext cx="15875" cy="58738"/>
            </a:xfrm>
            <a:custGeom>
              <a:avLst/>
              <a:gdLst>
                <a:gd name="T0" fmla="*/ 15875 w 40"/>
                <a:gd name="T1" fmla="*/ 58738 h 5"/>
                <a:gd name="T2" fmla="*/ 0 w 40"/>
                <a:gd name="T3" fmla="*/ 58738 h 5"/>
                <a:gd name="T4" fmla="*/ 1984 w 40"/>
                <a:gd name="T5" fmla="*/ 35243 h 5"/>
                <a:gd name="T6" fmla="*/ 3572 w 40"/>
                <a:gd name="T7" fmla="*/ 11748 h 5"/>
                <a:gd name="T8" fmla="*/ 5953 w 40"/>
                <a:gd name="T9" fmla="*/ 0 h 5"/>
                <a:gd name="T10" fmla="*/ 7938 w 40"/>
                <a:gd name="T11" fmla="*/ 0 h 5"/>
                <a:gd name="T12" fmla="*/ 9922 w 40"/>
                <a:gd name="T13" fmla="*/ 0 h 5"/>
                <a:gd name="T14" fmla="*/ 11906 w 40"/>
                <a:gd name="T15" fmla="*/ 11748 h 5"/>
                <a:gd name="T16" fmla="*/ 13891 w 40"/>
                <a:gd name="T17" fmla="*/ 35243 h 5"/>
                <a:gd name="T18" fmla="*/ 15875 w 40"/>
                <a:gd name="T19" fmla="*/ 58738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1" name="Freeform 491">
              <a:extLst>
                <a:ext uri="{FF2B5EF4-FFF2-40B4-BE49-F238E27FC236}">
                  <a16:creationId xmlns:a16="http://schemas.microsoft.com/office/drawing/2014/main" id="{BFEB2ECD-279A-42A9-ACB9-81BED537E7F5}"/>
                </a:ext>
              </a:extLst>
            </p:cNvPr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6856414" y="1225551"/>
              <a:ext cx="14287" cy="60325"/>
            </a:xfrm>
            <a:custGeom>
              <a:avLst/>
              <a:gdLst>
                <a:gd name="T0" fmla="*/ 0 w 33"/>
                <a:gd name="T1" fmla="*/ 36973 h 31"/>
                <a:gd name="T2" fmla="*/ 8659 w 33"/>
                <a:gd name="T3" fmla="*/ 0 h 31"/>
                <a:gd name="T4" fmla="*/ 8659 w 33"/>
                <a:gd name="T5" fmla="*/ 7784 h 31"/>
                <a:gd name="T6" fmla="*/ 9525 w 33"/>
                <a:gd name="T7" fmla="*/ 19460 h 31"/>
                <a:gd name="T8" fmla="*/ 10823 w 33"/>
                <a:gd name="T9" fmla="*/ 27244 h 31"/>
                <a:gd name="T10" fmla="*/ 11689 w 33"/>
                <a:gd name="T11" fmla="*/ 35027 h 31"/>
                <a:gd name="T12" fmla="*/ 13421 w 33"/>
                <a:gd name="T13" fmla="*/ 50595 h 31"/>
                <a:gd name="T14" fmla="*/ 14287 w 33"/>
                <a:gd name="T15" fmla="*/ 60325 h 31"/>
                <a:gd name="T16" fmla="*/ 0 w 33"/>
                <a:gd name="T17" fmla="*/ 60325 h 31"/>
                <a:gd name="T18" fmla="*/ 0 w 33"/>
                <a:gd name="T19" fmla="*/ 48649 h 31"/>
                <a:gd name="T20" fmla="*/ 0 w 33"/>
                <a:gd name="T21" fmla="*/ 36973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2" name="Freeform 492">
              <a:extLst>
                <a:ext uri="{FF2B5EF4-FFF2-40B4-BE49-F238E27FC236}">
                  <a16:creationId xmlns:a16="http://schemas.microsoft.com/office/drawing/2014/main" id="{0EFDF423-1EFF-4B5E-9FB0-F5B9C347C220}"/>
                </a:ext>
              </a:extLst>
            </p:cNvPr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7000876" y="1341438"/>
              <a:ext cx="17463" cy="57150"/>
            </a:xfrm>
            <a:custGeom>
              <a:avLst/>
              <a:gdLst>
                <a:gd name="T0" fmla="*/ 17463 w 41"/>
                <a:gd name="T1" fmla="*/ 0 h 43"/>
                <a:gd name="T2" fmla="*/ 17463 w 41"/>
                <a:gd name="T3" fmla="*/ 57150 h 43"/>
                <a:gd name="T4" fmla="*/ 13204 w 41"/>
                <a:gd name="T5" fmla="*/ 55821 h 43"/>
                <a:gd name="T6" fmla="*/ 10222 w 41"/>
                <a:gd name="T7" fmla="*/ 53163 h 43"/>
                <a:gd name="T8" fmla="*/ 7667 w 41"/>
                <a:gd name="T9" fmla="*/ 49176 h 43"/>
                <a:gd name="T10" fmla="*/ 5537 w 41"/>
                <a:gd name="T11" fmla="*/ 43859 h 43"/>
                <a:gd name="T12" fmla="*/ 2130 w 41"/>
                <a:gd name="T13" fmla="*/ 33227 h 43"/>
                <a:gd name="T14" fmla="*/ 0 w 41"/>
                <a:gd name="T15" fmla="*/ 25252 h 43"/>
                <a:gd name="T16" fmla="*/ 5111 w 41"/>
                <a:gd name="T17" fmla="*/ 17278 h 43"/>
                <a:gd name="T18" fmla="*/ 10648 w 41"/>
                <a:gd name="T19" fmla="*/ 9303 h 43"/>
                <a:gd name="T20" fmla="*/ 15333 w 41"/>
                <a:gd name="T21" fmla="*/ 2658 h 43"/>
                <a:gd name="T22" fmla="*/ 17463 w 41"/>
                <a:gd name="T23" fmla="*/ 0 h 4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3" name="Freeform 493">
              <a:extLst>
                <a:ext uri="{FF2B5EF4-FFF2-40B4-BE49-F238E27FC236}">
                  <a16:creationId xmlns:a16="http://schemas.microsoft.com/office/drawing/2014/main" id="{A45E4B37-1546-4570-B58D-96A1803CD9AD}"/>
                </a:ext>
              </a:extLst>
            </p:cNvPr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7054851" y="1225551"/>
              <a:ext cx="93663" cy="60325"/>
            </a:xfrm>
            <a:custGeom>
              <a:avLst/>
              <a:gdLst>
                <a:gd name="T0" fmla="*/ 26824 w 213"/>
                <a:gd name="T1" fmla="*/ 0 h 62"/>
                <a:gd name="T2" fmla="*/ 36498 w 213"/>
                <a:gd name="T3" fmla="*/ 0 h 62"/>
                <a:gd name="T4" fmla="*/ 46172 w 213"/>
                <a:gd name="T5" fmla="*/ 973 h 62"/>
                <a:gd name="T6" fmla="*/ 55846 w 213"/>
                <a:gd name="T7" fmla="*/ 2919 h 62"/>
                <a:gd name="T8" fmla="*/ 64201 w 213"/>
                <a:gd name="T9" fmla="*/ 6811 h 62"/>
                <a:gd name="T10" fmla="*/ 72996 w 213"/>
                <a:gd name="T11" fmla="*/ 10703 h 62"/>
                <a:gd name="T12" fmla="*/ 80911 w 213"/>
                <a:gd name="T13" fmla="*/ 15568 h 62"/>
                <a:gd name="T14" fmla="*/ 83989 w 213"/>
                <a:gd name="T15" fmla="*/ 18487 h 62"/>
                <a:gd name="T16" fmla="*/ 87507 w 213"/>
                <a:gd name="T17" fmla="*/ 22379 h 62"/>
                <a:gd name="T18" fmla="*/ 91025 w 213"/>
                <a:gd name="T19" fmla="*/ 26271 h 62"/>
                <a:gd name="T20" fmla="*/ 93663 w 213"/>
                <a:gd name="T21" fmla="*/ 30163 h 62"/>
                <a:gd name="T22" fmla="*/ 92784 w 213"/>
                <a:gd name="T23" fmla="*/ 34054 h 62"/>
                <a:gd name="T24" fmla="*/ 91025 w 213"/>
                <a:gd name="T25" fmla="*/ 36973 h 62"/>
                <a:gd name="T26" fmla="*/ 88386 w 213"/>
                <a:gd name="T27" fmla="*/ 39892 h 62"/>
                <a:gd name="T28" fmla="*/ 85748 w 213"/>
                <a:gd name="T29" fmla="*/ 42811 h 62"/>
                <a:gd name="T30" fmla="*/ 77833 w 213"/>
                <a:gd name="T31" fmla="*/ 47676 h 62"/>
                <a:gd name="T32" fmla="*/ 68598 w 213"/>
                <a:gd name="T33" fmla="*/ 51568 h 62"/>
                <a:gd name="T34" fmla="*/ 59364 w 213"/>
                <a:gd name="T35" fmla="*/ 55460 h 62"/>
                <a:gd name="T36" fmla="*/ 50129 w 213"/>
                <a:gd name="T37" fmla="*/ 57406 h 62"/>
                <a:gd name="T38" fmla="*/ 41775 w 213"/>
                <a:gd name="T39" fmla="*/ 60325 h 62"/>
                <a:gd name="T40" fmla="*/ 35179 w 213"/>
                <a:gd name="T41" fmla="*/ 60325 h 62"/>
                <a:gd name="T42" fmla="*/ 27263 w 213"/>
                <a:gd name="T43" fmla="*/ 60325 h 62"/>
                <a:gd name="T44" fmla="*/ 18908 w 213"/>
                <a:gd name="T45" fmla="*/ 57406 h 62"/>
                <a:gd name="T46" fmla="*/ 14511 w 213"/>
                <a:gd name="T47" fmla="*/ 57406 h 62"/>
                <a:gd name="T48" fmla="*/ 10114 w 213"/>
                <a:gd name="T49" fmla="*/ 57406 h 62"/>
                <a:gd name="T50" fmla="*/ 5277 w 213"/>
                <a:gd name="T51" fmla="*/ 58379 h 62"/>
                <a:gd name="T52" fmla="*/ 0 w 213"/>
                <a:gd name="T53" fmla="*/ 60325 h 62"/>
                <a:gd name="T54" fmla="*/ 2638 w 213"/>
                <a:gd name="T55" fmla="*/ 48649 h 62"/>
                <a:gd name="T56" fmla="*/ 4837 w 213"/>
                <a:gd name="T57" fmla="*/ 37946 h 62"/>
                <a:gd name="T58" fmla="*/ 7475 w 213"/>
                <a:gd name="T59" fmla="*/ 28217 h 62"/>
                <a:gd name="T60" fmla="*/ 10114 w 213"/>
                <a:gd name="T61" fmla="*/ 19460 h 62"/>
                <a:gd name="T62" fmla="*/ 11873 w 213"/>
                <a:gd name="T63" fmla="*/ 15568 h 62"/>
                <a:gd name="T64" fmla="*/ 13192 w 213"/>
                <a:gd name="T65" fmla="*/ 11676 h 62"/>
                <a:gd name="T66" fmla="*/ 14951 w 213"/>
                <a:gd name="T67" fmla="*/ 8757 h 62"/>
                <a:gd name="T68" fmla="*/ 17150 w 213"/>
                <a:gd name="T69" fmla="*/ 5838 h 62"/>
                <a:gd name="T70" fmla="*/ 18908 w 213"/>
                <a:gd name="T71" fmla="*/ 2919 h 62"/>
                <a:gd name="T72" fmla="*/ 21547 w 213"/>
                <a:gd name="T73" fmla="*/ 973 h 62"/>
                <a:gd name="T74" fmla="*/ 23746 w 213"/>
                <a:gd name="T75" fmla="*/ 0 h 62"/>
                <a:gd name="T76" fmla="*/ 26824 w 213"/>
                <a:gd name="T77" fmla="*/ 0 h 6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4" name="Freeform 494">
              <a:extLst>
                <a:ext uri="{FF2B5EF4-FFF2-40B4-BE49-F238E27FC236}">
                  <a16:creationId xmlns:a16="http://schemas.microsoft.com/office/drawing/2014/main" id="{E3260049-D7ED-4FB3-8C2E-668387C1B3E1}"/>
                </a:ext>
              </a:extLst>
            </p:cNvPr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7115175" y="1250951"/>
              <a:ext cx="103188" cy="60325"/>
            </a:xfrm>
            <a:custGeom>
              <a:avLst/>
              <a:gdLst>
                <a:gd name="T0" fmla="*/ 17702 w 239"/>
                <a:gd name="T1" fmla="*/ 0 h 56"/>
                <a:gd name="T2" fmla="*/ 12952 w 239"/>
                <a:gd name="T3" fmla="*/ 3232 h 56"/>
                <a:gd name="T4" fmla="*/ 9930 w 239"/>
                <a:gd name="T5" fmla="*/ 5386 h 56"/>
                <a:gd name="T6" fmla="*/ 8203 w 239"/>
                <a:gd name="T7" fmla="*/ 7541 h 56"/>
                <a:gd name="T8" fmla="*/ 6476 w 239"/>
                <a:gd name="T9" fmla="*/ 9695 h 56"/>
                <a:gd name="T10" fmla="*/ 5613 w 239"/>
                <a:gd name="T11" fmla="*/ 14004 h 56"/>
                <a:gd name="T12" fmla="*/ 4317 w 239"/>
                <a:gd name="T13" fmla="*/ 16158 h 56"/>
                <a:gd name="T14" fmla="*/ 3022 w 239"/>
                <a:gd name="T15" fmla="*/ 18313 h 56"/>
                <a:gd name="T16" fmla="*/ 0 w 239"/>
                <a:gd name="T17" fmla="*/ 20467 h 56"/>
                <a:gd name="T18" fmla="*/ 863 w 239"/>
                <a:gd name="T19" fmla="*/ 25854 h 56"/>
                <a:gd name="T20" fmla="*/ 2159 w 239"/>
                <a:gd name="T21" fmla="*/ 29085 h 56"/>
                <a:gd name="T22" fmla="*/ 3022 w 239"/>
                <a:gd name="T23" fmla="*/ 32317 h 56"/>
                <a:gd name="T24" fmla="*/ 4317 w 239"/>
                <a:gd name="T25" fmla="*/ 35549 h 56"/>
                <a:gd name="T26" fmla="*/ 7340 w 239"/>
                <a:gd name="T27" fmla="*/ 38780 h 56"/>
                <a:gd name="T28" fmla="*/ 10362 w 239"/>
                <a:gd name="T29" fmla="*/ 40935 h 56"/>
                <a:gd name="T30" fmla="*/ 17702 w 239"/>
                <a:gd name="T31" fmla="*/ 40935 h 56"/>
                <a:gd name="T32" fmla="*/ 23314 w 239"/>
                <a:gd name="T33" fmla="*/ 40935 h 56"/>
                <a:gd name="T34" fmla="*/ 66058 w 239"/>
                <a:gd name="T35" fmla="*/ 40935 h 56"/>
                <a:gd name="T36" fmla="*/ 66921 w 239"/>
                <a:gd name="T37" fmla="*/ 44167 h 56"/>
                <a:gd name="T38" fmla="*/ 67353 w 239"/>
                <a:gd name="T39" fmla="*/ 47398 h 56"/>
                <a:gd name="T40" fmla="*/ 68648 w 239"/>
                <a:gd name="T41" fmla="*/ 49553 h 56"/>
                <a:gd name="T42" fmla="*/ 69943 w 239"/>
                <a:gd name="T43" fmla="*/ 51707 h 56"/>
                <a:gd name="T44" fmla="*/ 72102 w 239"/>
                <a:gd name="T45" fmla="*/ 54939 h 56"/>
                <a:gd name="T46" fmla="*/ 75124 w 239"/>
                <a:gd name="T47" fmla="*/ 58171 h 56"/>
                <a:gd name="T48" fmla="*/ 81169 w 239"/>
                <a:gd name="T49" fmla="*/ 60325 h 56"/>
                <a:gd name="T50" fmla="*/ 86350 w 239"/>
                <a:gd name="T51" fmla="*/ 60325 h 56"/>
                <a:gd name="T52" fmla="*/ 88077 w 239"/>
                <a:gd name="T53" fmla="*/ 59248 h 56"/>
                <a:gd name="T54" fmla="*/ 90667 w 239"/>
                <a:gd name="T55" fmla="*/ 58171 h 56"/>
                <a:gd name="T56" fmla="*/ 92394 w 239"/>
                <a:gd name="T57" fmla="*/ 56016 h 56"/>
                <a:gd name="T58" fmla="*/ 94985 w 239"/>
                <a:gd name="T59" fmla="*/ 52784 h 56"/>
                <a:gd name="T60" fmla="*/ 99302 w 239"/>
                <a:gd name="T61" fmla="*/ 46321 h 56"/>
                <a:gd name="T62" fmla="*/ 103188 w 239"/>
                <a:gd name="T63" fmla="*/ 40935 h 56"/>
                <a:gd name="T64" fmla="*/ 100166 w 239"/>
                <a:gd name="T65" fmla="*/ 39858 h 56"/>
                <a:gd name="T66" fmla="*/ 97144 w 239"/>
                <a:gd name="T67" fmla="*/ 38780 h 56"/>
                <a:gd name="T68" fmla="*/ 94553 w 239"/>
                <a:gd name="T69" fmla="*/ 36626 h 56"/>
                <a:gd name="T70" fmla="*/ 91963 w 239"/>
                <a:gd name="T71" fmla="*/ 34471 h 56"/>
                <a:gd name="T72" fmla="*/ 86782 w 239"/>
                <a:gd name="T73" fmla="*/ 28008 h 56"/>
                <a:gd name="T74" fmla="*/ 82032 w 239"/>
                <a:gd name="T75" fmla="*/ 20467 h 56"/>
                <a:gd name="T76" fmla="*/ 76851 w 239"/>
                <a:gd name="T77" fmla="*/ 14004 h 56"/>
                <a:gd name="T78" fmla="*/ 72102 w 239"/>
                <a:gd name="T79" fmla="*/ 6463 h 56"/>
                <a:gd name="T80" fmla="*/ 69080 w 239"/>
                <a:gd name="T81" fmla="*/ 4309 h 56"/>
                <a:gd name="T82" fmla="*/ 66489 w 239"/>
                <a:gd name="T83" fmla="*/ 2154 h 56"/>
                <a:gd name="T84" fmla="*/ 63467 w 239"/>
                <a:gd name="T85" fmla="*/ 1077 h 56"/>
                <a:gd name="T86" fmla="*/ 60445 w 239"/>
                <a:gd name="T87" fmla="*/ 0 h 56"/>
                <a:gd name="T88" fmla="*/ 57854 w 239"/>
                <a:gd name="T89" fmla="*/ 1077 h 56"/>
                <a:gd name="T90" fmla="*/ 54832 w 239"/>
                <a:gd name="T91" fmla="*/ 4309 h 56"/>
                <a:gd name="T92" fmla="*/ 53537 w 239"/>
                <a:gd name="T93" fmla="*/ 6463 h 56"/>
                <a:gd name="T94" fmla="*/ 52673 w 239"/>
                <a:gd name="T95" fmla="*/ 8618 h 56"/>
                <a:gd name="T96" fmla="*/ 52242 w 239"/>
                <a:gd name="T97" fmla="*/ 10772 h 56"/>
                <a:gd name="T98" fmla="*/ 51810 w 239"/>
                <a:gd name="T99" fmla="*/ 14004 h 56"/>
                <a:gd name="T100" fmla="*/ 43175 w 239"/>
                <a:gd name="T101" fmla="*/ 8618 h 56"/>
                <a:gd name="T102" fmla="*/ 34540 w 239"/>
                <a:gd name="T103" fmla="*/ 4309 h 56"/>
                <a:gd name="T104" fmla="*/ 26337 w 239"/>
                <a:gd name="T105" fmla="*/ 1077 h 56"/>
                <a:gd name="T106" fmla="*/ 17702 w 239"/>
                <a:gd name="T107" fmla="*/ 0 h 5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5" name="Freeform 495">
              <a:extLst>
                <a:ext uri="{FF2B5EF4-FFF2-40B4-BE49-F238E27FC236}">
                  <a16:creationId xmlns:a16="http://schemas.microsoft.com/office/drawing/2014/main" id="{B2D8D8BE-7D0E-4432-9C8F-776F806FCB4F}"/>
                </a:ext>
              </a:extLst>
            </p:cNvPr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7232650" y="1265238"/>
              <a:ext cx="82550" cy="57150"/>
            </a:xfrm>
            <a:custGeom>
              <a:avLst/>
              <a:gdLst>
                <a:gd name="T0" fmla="*/ 6180 w 187"/>
                <a:gd name="T1" fmla="*/ 13573 h 80"/>
                <a:gd name="T2" fmla="*/ 18099 w 187"/>
                <a:gd name="T3" fmla="*/ 0 h 80"/>
                <a:gd name="T4" fmla="*/ 19424 w 187"/>
                <a:gd name="T5" fmla="*/ 2143 h 80"/>
                <a:gd name="T6" fmla="*/ 22072 w 187"/>
                <a:gd name="T7" fmla="*/ 4286 h 80"/>
                <a:gd name="T8" fmla="*/ 25604 w 187"/>
                <a:gd name="T9" fmla="*/ 6429 h 80"/>
                <a:gd name="T10" fmla="*/ 29577 w 187"/>
                <a:gd name="T11" fmla="*/ 8573 h 80"/>
                <a:gd name="T12" fmla="*/ 39289 w 187"/>
                <a:gd name="T13" fmla="*/ 13573 h 80"/>
                <a:gd name="T14" fmla="*/ 50325 w 187"/>
                <a:gd name="T15" fmla="*/ 18574 h 80"/>
                <a:gd name="T16" fmla="*/ 61361 w 187"/>
                <a:gd name="T17" fmla="*/ 23574 h 80"/>
                <a:gd name="T18" fmla="*/ 71072 w 187"/>
                <a:gd name="T19" fmla="*/ 27146 h 80"/>
                <a:gd name="T20" fmla="*/ 78136 w 187"/>
                <a:gd name="T21" fmla="*/ 30004 h 80"/>
                <a:gd name="T22" fmla="*/ 82550 w 187"/>
                <a:gd name="T23" fmla="*/ 30718 h 80"/>
                <a:gd name="T24" fmla="*/ 82550 w 187"/>
                <a:gd name="T25" fmla="*/ 40005 h 80"/>
                <a:gd name="T26" fmla="*/ 82550 w 187"/>
                <a:gd name="T27" fmla="*/ 48578 h 80"/>
                <a:gd name="T28" fmla="*/ 75045 w 187"/>
                <a:gd name="T29" fmla="*/ 50006 h 80"/>
                <a:gd name="T30" fmla="*/ 66658 w 187"/>
                <a:gd name="T31" fmla="*/ 50721 h 80"/>
                <a:gd name="T32" fmla="*/ 58712 w 187"/>
                <a:gd name="T33" fmla="*/ 50721 h 80"/>
                <a:gd name="T34" fmla="*/ 51207 w 187"/>
                <a:gd name="T35" fmla="*/ 50006 h 80"/>
                <a:gd name="T36" fmla="*/ 37523 w 187"/>
                <a:gd name="T37" fmla="*/ 49292 h 80"/>
                <a:gd name="T38" fmla="*/ 26928 w 187"/>
                <a:gd name="T39" fmla="*/ 48578 h 80"/>
                <a:gd name="T40" fmla="*/ 24279 w 187"/>
                <a:gd name="T41" fmla="*/ 49292 h 80"/>
                <a:gd name="T42" fmla="*/ 22514 w 187"/>
                <a:gd name="T43" fmla="*/ 50006 h 80"/>
                <a:gd name="T44" fmla="*/ 19865 w 187"/>
                <a:gd name="T45" fmla="*/ 51435 h 80"/>
                <a:gd name="T46" fmla="*/ 18099 w 187"/>
                <a:gd name="T47" fmla="*/ 52864 h 80"/>
                <a:gd name="T48" fmla="*/ 14568 w 187"/>
                <a:gd name="T49" fmla="*/ 55721 h 80"/>
                <a:gd name="T50" fmla="*/ 12360 w 187"/>
                <a:gd name="T51" fmla="*/ 57150 h 80"/>
                <a:gd name="T52" fmla="*/ 9712 w 187"/>
                <a:gd name="T53" fmla="*/ 56436 h 80"/>
                <a:gd name="T54" fmla="*/ 7946 w 187"/>
                <a:gd name="T55" fmla="*/ 54293 h 80"/>
                <a:gd name="T56" fmla="*/ 6180 w 187"/>
                <a:gd name="T57" fmla="*/ 51435 h 80"/>
                <a:gd name="T58" fmla="*/ 3973 w 187"/>
                <a:gd name="T59" fmla="*/ 47863 h 80"/>
                <a:gd name="T60" fmla="*/ 2649 w 187"/>
                <a:gd name="T61" fmla="*/ 44291 h 80"/>
                <a:gd name="T62" fmla="*/ 1324 w 187"/>
                <a:gd name="T63" fmla="*/ 40719 h 80"/>
                <a:gd name="T64" fmla="*/ 883 w 187"/>
                <a:gd name="T65" fmla="*/ 37862 h 80"/>
                <a:gd name="T66" fmla="*/ 0 w 187"/>
                <a:gd name="T67" fmla="*/ 35719 h 80"/>
                <a:gd name="T68" fmla="*/ 883 w 187"/>
                <a:gd name="T69" fmla="*/ 31433 h 80"/>
                <a:gd name="T70" fmla="*/ 1324 w 187"/>
                <a:gd name="T71" fmla="*/ 28575 h 80"/>
                <a:gd name="T72" fmla="*/ 2207 w 187"/>
                <a:gd name="T73" fmla="*/ 25718 h 80"/>
                <a:gd name="T74" fmla="*/ 3090 w 187"/>
                <a:gd name="T75" fmla="*/ 22146 h 80"/>
                <a:gd name="T76" fmla="*/ 5739 w 187"/>
                <a:gd name="T77" fmla="*/ 17145 h 80"/>
                <a:gd name="T78" fmla="*/ 6180 w 187"/>
                <a:gd name="T79" fmla="*/ 13573 h 8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6" name="Freeform 496">
              <a:extLst>
                <a:ext uri="{FF2B5EF4-FFF2-40B4-BE49-F238E27FC236}">
                  <a16:creationId xmlns:a16="http://schemas.microsoft.com/office/drawing/2014/main" id="{BC366269-5E9E-410B-9389-01216F225F8B}"/>
                </a:ext>
              </a:extLst>
            </p:cNvPr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7759701" y="1390650"/>
              <a:ext cx="79375" cy="58738"/>
            </a:xfrm>
            <a:custGeom>
              <a:avLst/>
              <a:gdLst>
                <a:gd name="T0" fmla="*/ 21687 w 183"/>
                <a:gd name="T1" fmla="*/ 0 h 73"/>
                <a:gd name="T2" fmla="*/ 27326 w 183"/>
                <a:gd name="T3" fmla="*/ 0 h 73"/>
                <a:gd name="T4" fmla="*/ 32531 w 183"/>
                <a:gd name="T5" fmla="*/ 805 h 73"/>
                <a:gd name="T6" fmla="*/ 37302 w 183"/>
                <a:gd name="T7" fmla="*/ 3219 h 73"/>
                <a:gd name="T8" fmla="*/ 42073 w 183"/>
                <a:gd name="T9" fmla="*/ 5632 h 73"/>
                <a:gd name="T10" fmla="*/ 45977 w 183"/>
                <a:gd name="T11" fmla="*/ 8046 h 73"/>
                <a:gd name="T12" fmla="*/ 50314 w 183"/>
                <a:gd name="T13" fmla="*/ 12069 h 73"/>
                <a:gd name="T14" fmla="*/ 53784 w 183"/>
                <a:gd name="T15" fmla="*/ 15288 h 73"/>
                <a:gd name="T16" fmla="*/ 56820 w 183"/>
                <a:gd name="T17" fmla="*/ 20116 h 73"/>
                <a:gd name="T18" fmla="*/ 68965 w 183"/>
                <a:gd name="T19" fmla="*/ 39427 h 73"/>
                <a:gd name="T20" fmla="*/ 79375 w 183"/>
                <a:gd name="T21" fmla="*/ 58738 h 73"/>
                <a:gd name="T22" fmla="*/ 59423 w 183"/>
                <a:gd name="T23" fmla="*/ 58738 h 73"/>
                <a:gd name="T24" fmla="*/ 55519 w 183"/>
                <a:gd name="T25" fmla="*/ 57933 h 73"/>
                <a:gd name="T26" fmla="*/ 50748 w 183"/>
                <a:gd name="T27" fmla="*/ 56324 h 73"/>
                <a:gd name="T28" fmla="*/ 45109 w 183"/>
                <a:gd name="T29" fmla="*/ 53106 h 73"/>
                <a:gd name="T30" fmla="*/ 39037 w 183"/>
                <a:gd name="T31" fmla="*/ 49887 h 73"/>
                <a:gd name="T32" fmla="*/ 31663 w 183"/>
                <a:gd name="T33" fmla="*/ 45059 h 73"/>
                <a:gd name="T34" fmla="*/ 25157 w 183"/>
                <a:gd name="T35" fmla="*/ 40232 h 73"/>
                <a:gd name="T36" fmla="*/ 18217 w 183"/>
                <a:gd name="T37" fmla="*/ 35404 h 73"/>
                <a:gd name="T38" fmla="*/ 12145 w 183"/>
                <a:gd name="T39" fmla="*/ 29771 h 73"/>
                <a:gd name="T40" fmla="*/ 6940 w 183"/>
                <a:gd name="T41" fmla="*/ 24139 h 73"/>
                <a:gd name="T42" fmla="*/ 3036 w 183"/>
                <a:gd name="T43" fmla="*/ 18506 h 73"/>
                <a:gd name="T44" fmla="*/ 1735 w 183"/>
                <a:gd name="T45" fmla="*/ 15288 h 73"/>
                <a:gd name="T46" fmla="*/ 867 w 183"/>
                <a:gd name="T47" fmla="*/ 12874 h 73"/>
                <a:gd name="T48" fmla="*/ 434 w 183"/>
                <a:gd name="T49" fmla="*/ 11265 h 73"/>
                <a:gd name="T50" fmla="*/ 0 w 183"/>
                <a:gd name="T51" fmla="*/ 8851 h 73"/>
                <a:gd name="T52" fmla="*/ 434 w 183"/>
                <a:gd name="T53" fmla="*/ 6437 h 73"/>
                <a:gd name="T54" fmla="*/ 1301 w 183"/>
                <a:gd name="T55" fmla="*/ 4828 h 73"/>
                <a:gd name="T56" fmla="*/ 3036 w 183"/>
                <a:gd name="T57" fmla="*/ 3219 h 73"/>
                <a:gd name="T58" fmla="*/ 5639 w 183"/>
                <a:gd name="T59" fmla="*/ 2414 h 73"/>
                <a:gd name="T60" fmla="*/ 8241 w 183"/>
                <a:gd name="T61" fmla="*/ 805 h 73"/>
                <a:gd name="T62" fmla="*/ 12145 w 183"/>
                <a:gd name="T63" fmla="*/ 0 h 73"/>
                <a:gd name="T64" fmla="*/ 16482 w 183"/>
                <a:gd name="T65" fmla="*/ 0 h 73"/>
                <a:gd name="T66" fmla="*/ 21687 w 183"/>
                <a:gd name="T67" fmla="*/ 0 h 7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7" name="Freeform 497">
              <a:extLst>
                <a:ext uri="{FF2B5EF4-FFF2-40B4-BE49-F238E27FC236}">
                  <a16:creationId xmlns:a16="http://schemas.microsoft.com/office/drawing/2014/main" id="{331C027E-DFAE-4B21-9648-5F2C7B2F3D61}"/>
                </a:ext>
              </a:extLst>
            </p:cNvPr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7826375" y="1408113"/>
              <a:ext cx="33338" cy="57150"/>
            </a:xfrm>
            <a:custGeom>
              <a:avLst/>
              <a:gdLst>
                <a:gd name="T0" fmla="*/ 0 w 79"/>
                <a:gd name="T1" fmla="*/ 8164 h 42"/>
                <a:gd name="T2" fmla="*/ 9706 w 79"/>
                <a:gd name="T3" fmla="*/ 2721 h 42"/>
                <a:gd name="T4" fmla="*/ 17302 w 79"/>
                <a:gd name="T5" fmla="*/ 1361 h 42"/>
                <a:gd name="T6" fmla="*/ 25320 w 79"/>
                <a:gd name="T7" fmla="*/ 0 h 42"/>
                <a:gd name="T8" fmla="*/ 33338 w 79"/>
                <a:gd name="T9" fmla="*/ 0 h 42"/>
                <a:gd name="T10" fmla="*/ 33338 w 79"/>
                <a:gd name="T11" fmla="*/ 12246 h 42"/>
                <a:gd name="T12" fmla="*/ 33338 w 79"/>
                <a:gd name="T13" fmla="*/ 24493 h 42"/>
                <a:gd name="T14" fmla="*/ 33338 w 79"/>
                <a:gd name="T15" fmla="*/ 29936 h 42"/>
                <a:gd name="T16" fmla="*/ 31650 w 79"/>
                <a:gd name="T17" fmla="*/ 36739 h 42"/>
                <a:gd name="T18" fmla="*/ 30384 w 79"/>
                <a:gd name="T19" fmla="*/ 42182 h 42"/>
                <a:gd name="T20" fmla="*/ 28696 w 79"/>
                <a:gd name="T21" fmla="*/ 47625 h 42"/>
                <a:gd name="T22" fmla="*/ 26164 w 79"/>
                <a:gd name="T23" fmla="*/ 51707 h 42"/>
                <a:gd name="T24" fmla="*/ 24054 w 79"/>
                <a:gd name="T25" fmla="*/ 54429 h 42"/>
                <a:gd name="T26" fmla="*/ 21522 w 79"/>
                <a:gd name="T27" fmla="*/ 57150 h 42"/>
                <a:gd name="T28" fmla="*/ 19412 w 79"/>
                <a:gd name="T29" fmla="*/ 57150 h 42"/>
                <a:gd name="T30" fmla="*/ 16880 w 79"/>
                <a:gd name="T31" fmla="*/ 57150 h 42"/>
                <a:gd name="T32" fmla="*/ 14770 w 79"/>
                <a:gd name="T33" fmla="*/ 55789 h 42"/>
                <a:gd name="T34" fmla="*/ 12238 w 79"/>
                <a:gd name="T35" fmla="*/ 53068 h 42"/>
                <a:gd name="T36" fmla="*/ 10550 w 79"/>
                <a:gd name="T37" fmla="*/ 50346 h 42"/>
                <a:gd name="T38" fmla="*/ 6752 w 79"/>
                <a:gd name="T39" fmla="*/ 43543 h 42"/>
                <a:gd name="T40" fmla="*/ 4642 w 79"/>
                <a:gd name="T41" fmla="*/ 35379 h 42"/>
                <a:gd name="T42" fmla="*/ 2110 w 79"/>
                <a:gd name="T43" fmla="*/ 27214 h 42"/>
                <a:gd name="T44" fmla="*/ 844 w 79"/>
                <a:gd name="T45" fmla="*/ 19050 h 42"/>
                <a:gd name="T46" fmla="*/ 0 w 79"/>
                <a:gd name="T47" fmla="*/ 12246 h 42"/>
                <a:gd name="T48" fmla="*/ 0 w 79"/>
                <a:gd name="T49" fmla="*/ 8164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8" name="Freeform 498">
              <a:extLst>
                <a:ext uri="{FF2B5EF4-FFF2-40B4-BE49-F238E27FC236}">
                  <a16:creationId xmlns:a16="http://schemas.microsoft.com/office/drawing/2014/main" id="{574B45F0-0CA4-4F61-8013-DAF702CE6935}"/>
                </a:ext>
              </a:extLst>
            </p:cNvPr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7856539" y="1419225"/>
              <a:ext cx="52387" cy="58738"/>
            </a:xfrm>
            <a:custGeom>
              <a:avLst/>
              <a:gdLst>
                <a:gd name="T0" fmla="*/ 52387 w 113"/>
                <a:gd name="T1" fmla="*/ 44054 h 52"/>
                <a:gd name="T2" fmla="*/ 51923 w 113"/>
                <a:gd name="T3" fmla="*/ 47442 h 52"/>
                <a:gd name="T4" fmla="*/ 50533 w 113"/>
                <a:gd name="T5" fmla="*/ 50831 h 52"/>
                <a:gd name="T6" fmla="*/ 49142 w 113"/>
                <a:gd name="T7" fmla="*/ 53090 h 52"/>
                <a:gd name="T8" fmla="*/ 47751 w 113"/>
                <a:gd name="T9" fmla="*/ 55349 h 52"/>
                <a:gd name="T10" fmla="*/ 43579 w 113"/>
                <a:gd name="T11" fmla="*/ 57608 h 52"/>
                <a:gd name="T12" fmla="*/ 39406 w 113"/>
                <a:gd name="T13" fmla="*/ 58738 h 52"/>
                <a:gd name="T14" fmla="*/ 30598 w 113"/>
                <a:gd name="T15" fmla="*/ 58738 h 52"/>
                <a:gd name="T16" fmla="*/ 24571 w 113"/>
                <a:gd name="T17" fmla="*/ 57608 h 52"/>
                <a:gd name="T18" fmla="*/ 21789 w 113"/>
                <a:gd name="T19" fmla="*/ 57608 h 52"/>
                <a:gd name="T20" fmla="*/ 18080 w 113"/>
                <a:gd name="T21" fmla="*/ 54220 h 52"/>
                <a:gd name="T22" fmla="*/ 13908 w 113"/>
                <a:gd name="T23" fmla="*/ 50831 h 52"/>
                <a:gd name="T24" fmla="*/ 9736 w 113"/>
                <a:gd name="T25" fmla="*/ 46313 h 52"/>
                <a:gd name="T26" fmla="*/ 6027 w 113"/>
                <a:gd name="T27" fmla="*/ 40665 h 52"/>
                <a:gd name="T28" fmla="*/ 2782 w 113"/>
                <a:gd name="T29" fmla="*/ 35017 h 52"/>
                <a:gd name="T30" fmla="*/ 1854 w 113"/>
                <a:gd name="T31" fmla="*/ 31628 h 52"/>
                <a:gd name="T32" fmla="*/ 927 w 113"/>
                <a:gd name="T33" fmla="*/ 28239 h 52"/>
                <a:gd name="T34" fmla="*/ 464 w 113"/>
                <a:gd name="T35" fmla="*/ 24851 h 52"/>
                <a:gd name="T36" fmla="*/ 0 w 113"/>
                <a:gd name="T37" fmla="*/ 22592 h 52"/>
                <a:gd name="T38" fmla="*/ 464 w 113"/>
                <a:gd name="T39" fmla="*/ 16944 h 52"/>
                <a:gd name="T40" fmla="*/ 464 w 113"/>
                <a:gd name="T41" fmla="*/ 12425 h 52"/>
                <a:gd name="T42" fmla="*/ 1391 w 113"/>
                <a:gd name="T43" fmla="*/ 9037 h 52"/>
                <a:gd name="T44" fmla="*/ 2318 w 113"/>
                <a:gd name="T45" fmla="*/ 5648 h 52"/>
                <a:gd name="T46" fmla="*/ 3245 w 113"/>
                <a:gd name="T47" fmla="*/ 3389 h 52"/>
                <a:gd name="T48" fmla="*/ 4636 w 113"/>
                <a:gd name="T49" fmla="*/ 2259 h 52"/>
                <a:gd name="T50" fmla="*/ 6490 w 113"/>
                <a:gd name="T51" fmla="*/ 1130 h 52"/>
                <a:gd name="T52" fmla="*/ 7881 w 113"/>
                <a:gd name="T53" fmla="*/ 0 h 52"/>
                <a:gd name="T54" fmla="*/ 12054 w 113"/>
                <a:gd name="T55" fmla="*/ 0 h 52"/>
                <a:gd name="T56" fmla="*/ 16690 w 113"/>
                <a:gd name="T57" fmla="*/ 2259 h 52"/>
                <a:gd name="T58" fmla="*/ 21326 w 113"/>
                <a:gd name="T59" fmla="*/ 5648 h 52"/>
                <a:gd name="T60" fmla="*/ 26425 w 113"/>
                <a:gd name="T61" fmla="*/ 10166 h 52"/>
                <a:gd name="T62" fmla="*/ 35697 w 113"/>
                <a:gd name="T63" fmla="*/ 20332 h 52"/>
                <a:gd name="T64" fmla="*/ 44042 w 113"/>
                <a:gd name="T65" fmla="*/ 32758 h 52"/>
                <a:gd name="T66" fmla="*/ 50069 w 113"/>
                <a:gd name="T67" fmla="*/ 40665 h 52"/>
                <a:gd name="T68" fmla="*/ 52387 w 113"/>
                <a:gd name="T69" fmla="*/ 44054 h 5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9" name="Freeform 499">
              <a:extLst>
                <a:ext uri="{FF2B5EF4-FFF2-40B4-BE49-F238E27FC236}">
                  <a16:creationId xmlns:a16="http://schemas.microsoft.com/office/drawing/2014/main" id="{13185CF6-DC40-4DFA-B5FF-2660B2085351}"/>
                </a:ext>
              </a:extLst>
            </p:cNvPr>
            <p:cNvSpPr>
              <a:spLocks/>
            </p:cNvSpPr>
            <p:nvPr>
              <p:custDataLst>
                <p:tags r:id="rId337"/>
              </p:custDataLst>
            </p:nvPr>
          </p:nvSpPr>
          <p:spPr bwMode="auto">
            <a:xfrm>
              <a:off x="7627938" y="1392239"/>
              <a:ext cx="61912" cy="58737"/>
            </a:xfrm>
            <a:custGeom>
              <a:avLst/>
              <a:gdLst>
                <a:gd name="T0" fmla="*/ 0 w 139"/>
                <a:gd name="T1" fmla="*/ 11747 h 40"/>
                <a:gd name="T2" fmla="*/ 3563 w 139"/>
                <a:gd name="T3" fmla="*/ 13216 h 40"/>
                <a:gd name="T4" fmla="*/ 8463 w 139"/>
                <a:gd name="T5" fmla="*/ 11747 h 40"/>
                <a:gd name="T6" fmla="*/ 13362 w 139"/>
                <a:gd name="T7" fmla="*/ 10279 h 40"/>
                <a:gd name="T8" fmla="*/ 18707 w 139"/>
                <a:gd name="T9" fmla="*/ 7342 h 40"/>
                <a:gd name="T10" fmla="*/ 23607 w 139"/>
                <a:gd name="T11" fmla="*/ 2937 h 40"/>
                <a:gd name="T12" fmla="*/ 28506 w 139"/>
                <a:gd name="T13" fmla="*/ 1468 h 40"/>
                <a:gd name="T14" fmla="*/ 32515 w 139"/>
                <a:gd name="T15" fmla="*/ 0 h 40"/>
                <a:gd name="T16" fmla="*/ 35633 w 139"/>
                <a:gd name="T17" fmla="*/ 2937 h 40"/>
                <a:gd name="T18" fmla="*/ 61912 w 139"/>
                <a:gd name="T19" fmla="*/ 57269 h 40"/>
                <a:gd name="T20" fmla="*/ 59240 w 139"/>
                <a:gd name="T21" fmla="*/ 58737 h 40"/>
                <a:gd name="T22" fmla="*/ 55676 w 139"/>
                <a:gd name="T23" fmla="*/ 57269 h 40"/>
                <a:gd name="T24" fmla="*/ 51668 w 139"/>
                <a:gd name="T25" fmla="*/ 55800 h 40"/>
                <a:gd name="T26" fmla="*/ 47213 w 139"/>
                <a:gd name="T27" fmla="*/ 52863 h 40"/>
                <a:gd name="T28" fmla="*/ 38305 w 139"/>
                <a:gd name="T29" fmla="*/ 44053 h 40"/>
                <a:gd name="T30" fmla="*/ 28506 w 139"/>
                <a:gd name="T31" fmla="*/ 35242 h 40"/>
                <a:gd name="T32" fmla="*/ 19598 w 139"/>
                <a:gd name="T33" fmla="*/ 23495 h 40"/>
                <a:gd name="T34" fmla="*/ 11581 w 139"/>
                <a:gd name="T35" fmla="*/ 16153 h 40"/>
                <a:gd name="T36" fmla="*/ 7572 w 139"/>
                <a:gd name="T37" fmla="*/ 13216 h 40"/>
                <a:gd name="T38" fmla="*/ 4900 w 139"/>
                <a:gd name="T39" fmla="*/ 10279 h 40"/>
                <a:gd name="T40" fmla="*/ 1782 w 139"/>
                <a:gd name="T41" fmla="*/ 10279 h 40"/>
                <a:gd name="T42" fmla="*/ 0 w 139"/>
                <a:gd name="T43" fmla="*/ 11747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0" name="Freeform 500">
              <a:extLst>
                <a:ext uri="{FF2B5EF4-FFF2-40B4-BE49-F238E27FC236}">
                  <a16:creationId xmlns:a16="http://schemas.microsoft.com/office/drawing/2014/main" id="{98EDC367-F2E0-4BCE-8604-87B7AA63FCD1}"/>
                </a:ext>
              </a:extLst>
            </p:cNvPr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7927975" y="1333500"/>
              <a:ext cx="139700" cy="57150"/>
            </a:xfrm>
            <a:custGeom>
              <a:avLst/>
              <a:gdLst>
                <a:gd name="T0" fmla="*/ 4298 w 325"/>
                <a:gd name="T1" fmla="*/ 5635 h 71"/>
                <a:gd name="T2" fmla="*/ 13325 w 325"/>
                <a:gd name="T3" fmla="*/ 805 h 71"/>
                <a:gd name="T4" fmla="*/ 22782 w 325"/>
                <a:gd name="T5" fmla="*/ 0 h 71"/>
                <a:gd name="T6" fmla="*/ 31379 w 325"/>
                <a:gd name="T7" fmla="*/ 3220 h 71"/>
                <a:gd name="T8" fmla="*/ 39546 w 325"/>
                <a:gd name="T9" fmla="*/ 8049 h 71"/>
                <a:gd name="T10" fmla="*/ 47283 w 325"/>
                <a:gd name="T11" fmla="*/ 14489 h 71"/>
                <a:gd name="T12" fmla="*/ 52441 w 325"/>
                <a:gd name="T13" fmla="*/ 23343 h 71"/>
                <a:gd name="T14" fmla="*/ 55880 w 325"/>
                <a:gd name="T15" fmla="*/ 30587 h 71"/>
                <a:gd name="T16" fmla="*/ 58459 w 325"/>
                <a:gd name="T17" fmla="*/ 27368 h 71"/>
                <a:gd name="T18" fmla="*/ 59749 w 325"/>
                <a:gd name="T19" fmla="*/ 12074 h 71"/>
                <a:gd name="T20" fmla="*/ 69205 w 325"/>
                <a:gd name="T21" fmla="*/ 5635 h 71"/>
                <a:gd name="T22" fmla="*/ 92847 w 325"/>
                <a:gd name="T23" fmla="*/ 10464 h 71"/>
                <a:gd name="T24" fmla="*/ 110900 w 325"/>
                <a:gd name="T25" fmla="*/ 18513 h 71"/>
                <a:gd name="T26" fmla="*/ 121646 w 325"/>
                <a:gd name="T27" fmla="*/ 25758 h 71"/>
                <a:gd name="T28" fmla="*/ 131103 w 325"/>
                <a:gd name="T29" fmla="*/ 34612 h 71"/>
                <a:gd name="T30" fmla="*/ 137551 w 325"/>
                <a:gd name="T31" fmla="*/ 44271 h 71"/>
                <a:gd name="T32" fmla="*/ 135831 w 325"/>
                <a:gd name="T33" fmla="*/ 51515 h 71"/>
                <a:gd name="T34" fmla="*/ 126375 w 325"/>
                <a:gd name="T35" fmla="*/ 54735 h 71"/>
                <a:gd name="T36" fmla="*/ 111330 w 325"/>
                <a:gd name="T37" fmla="*/ 57150 h 71"/>
                <a:gd name="T38" fmla="*/ 90268 w 325"/>
                <a:gd name="T39" fmla="*/ 56345 h 71"/>
                <a:gd name="T40" fmla="*/ 71784 w 325"/>
                <a:gd name="T41" fmla="*/ 54735 h 71"/>
                <a:gd name="T42" fmla="*/ 57170 w 325"/>
                <a:gd name="T43" fmla="*/ 55540 h 71"/>
                <a:gd name="T44" fmla="*/ 38686 w 325"/>
                <a:gd name="T45" fmla="*/ 57150 h 71"/>
                <a:gd name="T46" fmla="*/ 30949 w 325"/>
                <a:gd name="T47" fmla="*/ 54735 h 71"/>
                <a:gd name="T48" fmla="*/ 28800 w 325"/>
                <a:gd name="T49" fmla="*/ 51515 h 71"/>
                <a:gd name="T50" fmla="*/ 24931 w 325"/>
                <a:gd name="T51" fmla="*/ 49101 h 71"/>
                <a:gd name="T52" fmla="*/ 19773 w 325"/>
                <a:gd name="T53" fmla="*/ 47491 h 71"/>
                <a:gd name="T54" fmla="*/ 15045 w 325"/>
                <a:gd name="T55" fmla="*/ 42661 h 71"/>
                <a:gd name="T56" fmla="*/ 10746 w 325"/>
                <a:gd name="T57" fmla="*/ 36222 h 71"/>
                <a:gd name="T58" fmla="*/ 6878 w 325"/>
                <a:gd name="T59" fmla="*/ 31392 h 71"/>
                <a:gd name="T60" fmla="*/ 2579 w 325"/>
                <a:gd name="T61" fmla="*/ 29782 h 71"/>
                <a:gd name="T62" fmla="*/ 0 w 325"/>
                <a:gd name="T63" fmla="*/ 17708 h 7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1" name="Freeform 501">
              <a:extLst>
                <a:ext uri="{FF2B5EF4-FFF2-40B4-BE49-F238E27FC236}">
                  <a16:creationId xmlns:a16="http://schemas.microsoft.com/office/drawing/2014/main" id="{520166AC-85E9-478A-8317-EFBC778E2EFA}"/>
                </a:ext>
              </a:extLst>
            </p:cNvPr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8088313" y="1341438"/>
              <a:ext cx="95250" cy="57150"/>
            </a:xfrm>
            <a:custGeom>
              <a:avLst/>
              <a:gdLst>
                <a:gd name="T0" fmla="*/ 37667 w 220"/>
                <a:gd name="T1" fmla="*/ 19844 h 72"/>
                <a:gd name="T2" fmla="*/ 39832 w 220"/>
                <a:gd name="T3" fmla="*/ 20638 h 72"/>
                <a:gd name="T4" fmla="*/ 42430 w 220"/>
                <a:gd name="T5" fmla="*/ 21431 h 72"/>
                <a:gd name="T6" fmla="*/ 43728 w 220"/>
                <a:gd name="T7" fmla="*/ 22225 h 72"/>
                <a:gd name="T8" fmla="*/ 45027 w 220"/>
                <a:gd name="T9" fmla="*/ 21431 h 72"/>
                <a:gd name="T10" fmla="*/ 47192 w 220"/>
                <a:gd name="T11" fmla="*/ 21431 h 72"/>
                <a:gd name="T12" fmla="*/ 48924 w 220"/>
                <a:gd name="T13" fmla="*/ 19844 h 72"/>
                <a:gd name="T14" fmla="*/ 49357 w 220"/>
                <a:gd name="T15" fmla="*/ 20638 h 72"/>
                <a:gd name="T16" fmla="*/ 49790 w 220"/>
                <a:gd name="T17" fmla="*/ 20638 h 72"/>
                <a:gd name="T18" fmla="*/ 50223 w 220"/>
                <a:gd name="T19" fmla="*/ 19844 h 72"/>
                <a:gd name="T20" fmla="*/ 50656 w 220"/>
                <a:gd name="T21" fmla="*/ 19844 h 72"/>
                <a:gd name="T22" fmla="*/ 51522 w 220"/>
                <a:gd name="T23" fmla="*/ 17463 h 72"/>
                <a:gd name="T24" fmla="*/ 51955 w 220"/>
                <a:gd name="T25" fmla="*/ 13494 h 72"/>
                <a:gd name="T26" fmla="*/ 51955 w 220"/>
                <a:gd name="T27" fmla="*/ 5556 h 72"/>
                <a:gd name="T28" fmla="*/ 51955 w 220"/>
                <a:gd name="T29" fmla="*/ 0 h 72"/>
                <a:gd name="T30" fmla="*/ 54119 w 220"/>
                <a:gd name="T31" fmla="*/ 3969 h 72"/>
                <a:gd name="T32" fmla="*/ 56717 w 220"/>
                <a:gd name="T33" fmla="*/ 7938 h 72"/>
                <a:gd name="T34" fmla="*/ 59315 w 220"/>
                <a:gd name="T35" fmla="*/ 11906 h 72"/>
                <a:gd name="T36" fmla="*/ 61913 w 220"/>
                <a:gd name="T37" fmla="*/ 15081 h 72"/>
                <a:gd name="T38" fmla="*/ 67541 w 220"/>
                <a:gd name="T39" fmla="*/ 19844 h 72"/>
                <a:gd name="T40" fmla="*/ 73602 w 220"/>
                <a:gd name="T41" fmla="*/ 23813 h 72"/>
                <a:gd name="T42" fmla="*/ 79231 w 220"/>
                <a:gd name="T43" fmla="*/ 27781 h 72"/>
                <a:gd name="T44" fmla="*/ 84859 w 220"/>
                <a:gd name="T45" fmla="*/ 32544 h 72"/>
                <a:gd name="T46" fmla="*/ 87890 w 220"/>
                <a:gd name="T47" fmla="*/ 34925 h 72"/>
                <a:gd name="T48" fmla="*/ 90488 w 220"/>
                <a:gd name="T49" fmla="*/ 37306 h 72"/>
                <a:gd name="T50" fmla="*/ 92652 w 220"/>
                <a:gd name="T51" fmla="*/ 40481 h 72"/>
                <a:gd name="T52" fmla="*/ 95250 w 220"/>
                <a:gd name="T53" fmla="*/ 43656 h 72"/>
                <a:gd name="T54" fmla="*/ 89189 w 220"/>
                <a:gd name="T55" fmla="*/ 44450 h 72"/>
                <a:gd name="T56" fmla="*/ 83993 w 220"/>
                <a:gd name="T57" fmla="*/ 45244 h 72"/>
                <a:gd name="T58" fmla="*/ 78798 w 220"/>
                <a:gd name="T59" fmla="*/ 46038 h 72"/>
                <a:gd name="T60" fmla="*/ 74035 w 220"/>
                <a:gd name="T61" fmla="*/ 47625 h 72"/>
                <a:gd name="T62" fmla="*/ 65376 w 220"/>
                <a:gd name="T63" fmla="*/ 51594 h 72"/>
                <a:gd name="T64" fmla="*/ 58016 w 220"/>
                <a:gd name="T65" fmla="*/ 55563 h 72"/>
                <a:gd name="T66" fmla="*/ 54552 w 220"/>
                <a:gd name="T67" fmla="*/ 56356 h 72"/>
                <a:gd name="T68" fmla="*/ 50656 w 220"/>
                <a:gd name="T69" fmla="*/ 57150 h 72"/>
                <a:gd name="T70" fmla="*/ 47625 w 220"/>
                <a:gd name="T71" fmla="*/ 57150 h 72"/>
                <a:gd name="T72" fmla="*/ 44594 w 220"/>
                <a:gd name="T73" fmla="*/ 57150 h 72"/>
                <a:gd name="T74" fmla="*/ 41131 w 220"/>
                <a:gd name="T75" fmla="*/ 55563 h 72"/>
                <a:gd name="T76" fmla="*/ 38100 w 220"/>
                <a:gd name="T77" fmla="*/ 52388 h 72"/>
                <a:gd name="T78" fmla="*/ 35069 w 220"/>
                <a:gd name="T79" fmla="*/ 48419 h 72"/>
                <a:gd name="T80" fmla="*/ 32039 w 220"/>
                <a:gd name="T81" fmla="*/ 43656 h 72"/>
                <a:gd name="T82" fmla="*/ 25544 w 220"/>
                <a:gd name="T83" fmla="*/ 42069 h 72"/>
                <a:gd name="T84" fmla="*/ 19483 w 220"/>
                <a:gd name="T85" fmla="*/ 39688 h 72"/>
                <a:gd name="T86" fmla="*/ 14288 w 220"/>
                <a:gd name="T87" fmla="*/ 37306 h 72"/>
                <a:gd name="T88" fmla="*/ 9525 w 220"/>
                <a:gd name="T89" fmla="*/ 34131 h 72"/>
                <a:gd name="T90" fmla="*/ 7793 w 220"/>
                <a:gd name="T91" fmla="*/ 32544 h 72"/>
                <a:gd name="T92" fmla="*/ 5628 w 220"/>
                <a:gd name="T93" fmla="*/ 30163 h 72"/>
                <a:gd name="T94" fmla="*/ 3897 w 220"/>
                <a:gd name="T95" fmla="*/ 27781 h 72"/>
                <a:gd name="T96" fmla="*/ 3031 w 220"/>
                <a:gd name="T97" fmla="*/ 24606 h 72"/>
                <a:gd name="T98" fmla="*/ 1299 w 220"/>
                <a:gd name="T99" fmla="*/ 21431 h 72"/>
                <a:gd name="T100" fmla="*/ 866 w 220"/>
                <a:gd name="T101" fmla="*/ 18256 h 72"/>
                <a:gd name="T102" fmla="*/ 433 w 220"/>
                <a:gd name="T103" fmla="*/ 14288 h 72"/>
                <a:gd name="T104" fmla="*/ 0 w 220"/>
                <a:gd name="T105" fmla="*/ 10319 h 72"/>
                <a:gd name="T106" fmla="*/ 9958 w 220"/>
                <a:gd name="T107" fmla="*/ 13494 h 72"/>
                <a:gd name="T108" fmla="*/ 19050 w 220"/>
                <a:gd name="T109" fmla="*/ 16669 h 72"/>
                <a:gd name="T110" fmla="*/ 27709 w 220"/>
                <a:gd name="T111" fmla="*/ 19050 h 72"/>
                <a:gd name="T112" fmla="*/ 37667 w 220"/>
                <a:gd name="T113" fmla="*/ 19844 h 7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2" name="Freeform 502">
              <a:extLst>
                <a:ext uri="{FF2B5EF4-FFF2-40B4-BE49-F238E27FC236}">
                  <a16:creationId xmlns:a16="http://schemas.microsoft.com/office/drawing/2014/main" id="{19B2203B-8783-4188-85D2-A2AA83F69E4A}"/>
                </a:ext>
              </a:extLst>
            </p:cNvPr>
            <p:cNvSpPr>
              <a:spLocks/>
            </p:cNvSpPr>
            <p:nvPr>
              <p:custDataLst>
                <p:tags r:id="rId340"/>
              </p:custDataLst>
            </p:nvPr>
          </p:nvSpPr>
          <p:spPr bwMode="auto">
            <a:xfrm>
              <a:off x="8048625" y="1389064"/>
              <a:ext cx="63500" cy="58737"/>
            </a:xfrm>
            <a:custGeom>
              <a:avLst/>
              <a:gdLst>
                <a:gd name="T0" fmla="*/ 63500 w 146"/>
                <a:gd name="T1" fmla="*/ 48948 h 30"/>
                <a:gd name="T2" fmla="*/ 60890 w 146"/>
                <a:gd name="T3" fmla="*/ 31326 h 30"/>
                <a:gd name="T4" fmla="*/ 59586 w 146"/>
                <a:gd name="T5" fmla="*/ 17621 h 30"/>
                <a:gd name="T6" fmla="*/ 57846 w 146"/>
                <a:gd name="T7" fmla="*/ 7832 h 30"/>
                <a:gd name="T8" fmla="*/ 55671 w 146"/>
                <a:gd name="T9" fmla="*/ 1958 h 30"/>
                <a:gd name="T10" fmla="*/ 54801 w 146"/>
                <a:gd name="T11" fmla="*/ 1958 h 30"/>
                <a:gd name="T12" fmla="*/ 53932 w 146"/>
                <a:gd name="T13" fmla="*/ 1958 h 30"/>
                <a:gd name="T14" fmla="*/ 52192 w 146"/>
                <a:gd name="T15" fmla="*/ 3916 h 30"/>
                <a:gd name="T16" fmla="*/ 51322 w 146"/>
                <a:gd name="T17" fmla="*/ 5874 h 30"/>
                <a:gd name="T18" fmla="*/ 49147 w 146"/>
                <a:gd name="T19" fmla="*/ 17621 h 30"/>
                <a:gd name="T20" fmla="*/ 45668 w 146"/>
                <a:gd name="T21" fmla="*/ 37200 h 30"/>
                <a:gd name="T22" fmla="*/ 31315 w 146"/>
                <a:gd name="T23" fmla="*/ 37200 h 30"/>
                <a:gd name="T24" fmla="*/ 27401 w 146"/>
                <a:gd name="T25" fmla="*/ 35242 h 30"/>
                <a:gd name="T26" fmla="*/ 23921 w 146"/>
                <a:gd name="T27" fmla="*/ 33284 h 30"/>
                <a:gd name="T28" fmla="*/ 20442 w 146"/>
                <a:gd name="T29" fmla="*/ 27411 h 30"/>
                <a:gd name="T30" fmla="*/ 17397 w 146"/>
                <a:gd name="T31" fmla="*/ 23495 h 30"/>
                <a:gd name="T32" fmla="*/ 12613 w 146"/>
                <a:gd name="T33" fmla="*/ 11747 h 30"/>
                <a:gd name="T34" fmla="*/ 8264 w 146"/>
                <a:gd name="T35" fmla="*/ 0 h 30"/>
                <a:gd name="T36" fmla="*/ 6089 w 146"/>
                <a:gd name="T37" fmla="*/ 17621 h 30"/>
                <a:gd name="T38" fmla="*/ 4349 w 146"/>
                <a:gd name="T39" fmla="*/ 29369 h 30"/>
                <a:gd name="T40" fmla="*/ 1740 w 146"/>
                <a:gd name="T41" fmla="*/ 39158 h 30"/>
                <a:gd name="T42" fmla="*/ 0 w 146"/>
                <a:gd name="T43" fmla="*/ 48948 h 30"/>
                <a:gd name="T44" fmla="*/ 14353 w 146"/>
                <a:gd name="T45" fmla="*/ 48948 h 30"/>
                <a:gd name="T46" fmla="*/ 24791 w 146"/>
                <a:gd name="T47" fmla="*/ 48948 h 30"/>
                <a:gd name="T48" fmla="*/ 33490 w 146"/>
                <a:gd name="T49" fmla="*/ 48948 h 30"/>
                <a:gd name="T50" fmla="*/ 43058 w 146"/>
                <a:gd name="T51" fmla="*/ 48948 h 30"/>
                <a:gd name="T52" fmla="*/ 47842 w 146"/>
                <a:gd name="T53" fmla="*/ 50905 h 30"/>
                <a:gd name="T54" fmla="*/ 53497 w 146"/>
                <a:gd name="T55" fmla="*/ 56779 h 30"/>
                <a:gd name="T56" fmla="*/ 55671 w 146"/>
                <a:gd name="T57" fmla="*/ 58737 h 30"/>
                <a:gd name="T58" fmla="*/ 58716 w 146"/>
                <a:gd name="T59" fmla="*/ 58737 h 30"/>
                <a:gd name="T60" fmla="*/ 60890 w 146"/>
                <a:gd name="T61" fmla="*/ 54821 h 30"/>
                <a:gd name="T62" fmla="*/ 63500 w 146"/>
                <a:gd name="T63" fmla="*/ 48948 h 3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3" name="Freeform 503">
              <a:extLst>
                <a:ext uri="{FF2B5EF4-FFF2-40B4-BE49-F238E27FC236}">
                  <a16:creationId xmlns:a16="http://schemas.microsoft.com/office/drawing/2014/main" id="{249E6514-5772-461A-BA5B-CC953FADF461}"/>
                </a:ext>
              </a:extLst>
            </p:cNvPr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8027989" y="1385889"/>
              <a:ext cx="20637" cy="58737"/>
            </a:xfrm>
            <a:custGeom>
              <a:avLst/>
              <a:gdLst>
                <a:gd name="T0" fmla="*/ 0 w 53"/>
                <a:gd name="T1" fmla="*/ 58737 h 9"/>
                <a:gd name="T2" fmla="*/ 6619 w 53"/>
                <a:gd name="T3" fmla="*/ 58737 h 9"/>
                <a:gd name="T4" fmla="*/ 11292 w 53"/>
                <a:gd name="T5" fmla="*/ 58737 h 9"/>
                <a:gd name="T6" fmla="*/ 15575 w 53"/>
                <a:gd name="T7" fmla="*/ 58737 h 9"/>
                <a:gd name="T8" fmla="*/ 20637 w 53"/>
                <a:gd name="T9" fmla="*/ 58737 h 9"/>
                <a:gd name="T10" fmla="*/ 17911 w 53"/>
                <a:gd name="T11" fmla="*/ 39158 h 9"/>
                <a:gd name="T12" fmla="*/ 14796 w 53"/>
                <a:gd name="T13" fmla="*/ 19579 h 9"/>
                <a:gd name="T14" fmla="*/ 12071 w 53"/>
                <a:gd name="T15" fmla="*/ 6526 h 9"/>
                <a:gd name="T16" fmla="*/ 9734 w 53"/>
                <a:gd name="T17" fmla="*/ 0 h 9"/>
                <a:gd name="T18" fmla="*/ 7398 w 53"/>
                <a:gd name="T19" fmla="*/ 0 h 9"/>
                <a:gd name="T20" fmla="*/ 5451 w 53"/>
                <a:gd name="T21" fmla="*/ 0 h 9"/>
                <a:gd name="T22" fmla="*/ 3504 w 53"/>
                <a:gd name="T23" fmla="*/ 6526 h 9"/>
                <a:gd name="T24" fmla="*/ 2336 w 53"/>
                <a:gd name="T25" fmla="*/ 19579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4" name="Line 504">
              <a:extLst>
                <a:ext uri="{FF2B5EF4-FFF2-40B4-BE49-F238E27FC236}">
                  <a16:creationId xmlns:a16="http://schemas.microsoft.com/office/drawing/2014/main" id="{45DAE10B-EB67-4F4E-96E0-C51311B9B501}"/>
                </a:ext>
              </a:extLst>
            </p:cNvPr>
            <p:cNvSpPr>
              <a:spLocks noChangeShapeType="1"/>
            </p:cNvSpPr>
            <p:nvPr>
              <p:custDataLst>
                <p:tags r:id="rId342"/>
              </p:custDataLst>
            </p:nvPr>
          </p:nvSpPr>
          <p:spPr bwMode="auto">
            <a:xfrm flipV="1">
              <a:off x="8029575" y="1384300"/>
              <a:ext cx="0" cy="158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5" name="Freeform 505">
              <a:extLst>
                <a:ext uri="{FF2B5EF4-FFF2-40B4-BE49-F238E27FC236}">
                  <a16:creationId xmlns:a16="http://schemas.microsoft.com/office/drawing/2014/main" id="{440B0B20-6071-40DA-BB66-6D50B466807A}"/>
                </a:ext>
              </a:extLst>
            </p:cNvPr>
            <p:cNvSpPr>
              <a:spLocks/>
            </p:cNvSpPr>
            <p:nvPr>
              <p:custDataLst>
                <p:tags r:id="rId343"/>
              </p:custDataLst>
            </p:nvPr>
          </p:nvSpPr>
          <p:spPr bwMode="auto">
            <a:xfrm>
              <a:off x="7199313" y="1312863"/>
              <a:ext cx="11112" cy="55562"/>
            </a:xfrm>
            <a:custGeom>
              <a:avLst/>
              <a:gdLst>
                <a:gd name="T0" fmla="*/ 0 w 26"/>
                <a:gd name="T1" fmla="*/ 55562 h 25"/>
                <a:gd name="T2" fmla="*/ 2137 w 26"/>
                <a:gd name="T3" fmla="*/ 37782 h 25"/>
                <a:gd name="T4" fmla="*/ 5556 w 26"/>
                <a:gd name="T5" fmla="*/ 17780 h 25"/>
                <a:gd name="T6" fmla="*/ 6838 w 26"/>
                <a:gd name="T7" fmla="*/ 11112 h 25"/>
                <a:gd name="T8" fmla="*/ 8548 w 26"/>
                <a:gd name="T9" fmla="*/ 4445 h 25"/>
                <a:gd name="T10" fmla="*/ 9830 w 26"/>
                <a:gd name="T11" fmla="*/ 2222 h 25"/>
                <a:gd name="T12" fmla="*/ 11112 w 26"/>
                <a:gd name="T13" fmla="*/ 0 h 25"/>
                <a:gd name="T14" fmla="*/ 11112 w 26"/>
                <a:gd name="T15" fmla="*/ 55562 h 25"/>
                <a:gd name="T16" fmla="*/ 8548 w 26"/>
                <a:gd name="T17" fmla="*/ 55562 h 25"/>
                <a:gd name="T18" fmla="*/ 5556 w 26"/>
                <a:gd name="T19" fmla="*/ 55562 h 25"/>
                <a:gd name="T20" fmla="*/ 0 w 26"/>
                <a:gd name="T21" fmla="*/ 55562 h 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6" name="Freeform 506">
              <a:extLst>
                <a:ext uri="{FF2B5EF4-FFF2-40B4-BE49-F238E27FC236}">
                  <a16:creationId xmlns:a16="http://schemas.microsoft.com/office/drawing/2014/main" id="{3D866CE8-304E-4D51-9D37-C15F9EBBCDFF}"/>
                </a:ext>
              </a:extLst>
            </p:cNvPr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7948614" y="1384300"/>
              <a:ext cx="9525" cy="57150"/>
            </a:xfrm>
            <a:custGeom>
              <a:avLst/>
              <a:gdLst>
                <a:gd name="T0" fmla="*/ 9525 w 33"/>
                <a:gd name="T1" fmla="*/ 57150 h 25"/>
                <a:gd name="T2" fmla="*/ 9525 w 33"/>
                <a:gd name="T3" fmla="*/ 27432 h 25"/>
                <a:gd name="T4" fmla="*/ 9525 w 33"/>
                <a:gd name="T5" fmla="*/ 0 h 25"/>
                <a:gd name="T6" fmla="*/ 0 w 33"/>
                <a:gd name="T7" fmla="*/ 0 h 25"/>
                <a:gd name="T8" fmla="*/ 2598 w 33"/>
                <a:gd name="T9" fmla="*/ 20574 h 25"/>
                <a:gd name="T10" fmla="*/ 4618 w 33"/>
                <a:gd name="T11" fmla="*/ 38862 h 25"/>
                <a:gd name="T12" fmla="*/ 5773 w 33"/>
                <a:gd name="T13" fmla="*/ 45720 h 25"/>
                <a:gd name="T14" fmla="*/ 6927 w 33"/>
                <a:gd name="T15" fmla="*/ 52578 h 25"/>
                <a:gd name="T16" fmla="*/ 8082 w 33"/>
                <a:gd name="T17" fmla="*/ 54864 h 25"/>
                <a:gd name="T18" fmla="*/ 9525 w 33"/>
                <a:gd name="T19" fmla="*/ 57150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7" name="Freeform 507">
              <a:extLst>
                <a:ext uri="{FF2B5EF4-FFF2-40B4-BE49-F238E27FC236}">
                  <a16:creationId xmlns:a16="http://schemas.microsoft.com/office/drawing/2014/main" id="{F679394C-A228-476B-865D-F9CE19DD89F9}"/>
                </a:ext>
              </a:extLst>
            </p:cNvPr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7902576" y="1347788"/>
              <a:ext cx="9525" cy="57150"/>
            </a:xfrm>
            <a:custGeom>
              <a:avLst/>
              <a:gdLst>
                <a:gd name="T0" fmla="*/ 0 w 20"/>
                <a:gd name="T1" fmla="*/ 0 h 18"/>
                <a:gd name="T2" fmla="*/ 6191 w 20"/>
                <a:gd name="T3" fmla="*/ 57150 h 18"/>
                <a:gd name="T4" fmla="*/ 7620 w 20"/>
                <a:gd name="T5" fmla="*/ 34925 h 18"/>
                <a:gd name="T6" fmla="*/ 9525 w 20"/>
                <a:gd name="T7" fmla="*/ 0 h 18"/>
                <a:gd name="T8" fmla="*/ 0 w 20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8" name="Freeform 508">
              <a:extLst>
                <a:ext uri="{FF2B5EF4-FFF2-40B4-BE49-F238E27FC236}">
                  <a16:creationId xmlns:a16="http://schemas.microsoft.com/office/drawing/2014/main" id="{7A667253-3D36-4851-99E6-A8662291E669}"/>
                </a:ext>
              </a:extLst>
            </p:cNvPr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8402638" y="1917700"/>
              <a:ext cx="12700" cy="58738"/>
            </a:xfrm>
            <a:custGeom>
              <a:avLst/>
              <a:gdLst>
                <a:gd name="T0" fmla="*/ 0 w 33"/>
                <a:gd name="T1" fmla="*/ 58738 h 31"/>
                <a:gd name="T2" fmla="*/ 0 w 33"/>
                <a:gd name="T3" fmla="*/ 0 h 31"/>
                <a:gd name="T4" fmla="*/ 3464 w 33"/>
                <a:gd name="T5" fmla="*/ 0 h 31"/>
                <a:gd name="T6" fmla="*/ 6158 w 33"/>
                <a:gd name="T7" fmla="*/ 0 h 31"/>
                <a:gd name="T8" fmla="*/ 9236 w 33"/>
                <a:gd name="T9" fmla="*/ 0 h 31"/>
                <a:gd name="T10" fmla="*/ 12700 w 33"/>
                <a:gd name="T11" fmla="*/ 0 h 31"/>
                <a:gd name="T12" fmla="*/ 11545 w 33"/>
                <a:gd name="T13" fmla="*/ 3790 h 31"/>
                <a:gd name="T14" fmla="*/ 11161 w 33"/>
                <a:gd name="T15" fmla="*/ 9474 h 31"/>
                <a:gd name="T16" fmla="*/ 10776 w 33"/>
                <a:gd name="T17" fmla="*/ 17053 h 31"/>
                <a:gd name="T18" fmla="*/ 10776 w 33"/>
                <a:gd name="T19" fmla="*/ 24632 h 31"/>
                <a:gd name="T20" fmla="*/ 10776 w 33"/>
                <a:gd name="T21" fmla="*/ 32211 h 31"/>
                <a:gd name="T22" fmla="*/ 11161 w 33"/>
                <a:gd name="T23" fmla="*/ 39790 h 31"/>
                <a:gd name="T24" fmla="*/ 11545 w 33"/>
                <a:gd name="T25" fmla="*/ 49264 h 31"/>
                <a:gd name="T26" fmla="*/ 12700 w 33"/>
                <a:gd name="T27" fmla="*/ 58738 h 31"/>
                <a:gd name="T28" fmla="*/ 0 w 33"/>
                <a:gd name="T29" fmla="*/ 58738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9" name="Freeform 509">
              <a:extLst>
                <a:ext uri="{FF2B5EF4-FFF2-40B4-BE49-F238E27FC236}">
                  <a16:creationId xmlns:a16="http://schemas.microsoft.com/office/drawing/2014/main" id="{D9997C01-1A9F-45F2-9FD5-0A1F23DE34AC}"/>
                </a:ext>
              </a:extLst>
            </p:cNvPr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8696326" y="1439864"/>
              <a:ext cx="55563" cy="58737"/>
            </a:xfrm>
            <a:custGeom>
              <a:avLst/>
              <a:gdLst>
                <a:gd name="T0" fmla="*/ 1292 w 129"/>
                <a:gd name="T1" fmla="*/ 46151 h 56"/>
                <a:gd name="T2" fmla="*/ 431 w 129"/>
                <a:gd name="T3" fmla="*/ 44053 h 56"/>
                <a:gd name="T4" fmla="*/ 431 w 129"/>
                <a:gd name="T5" fmla="*/ 41955 h 56"/>
                <a:gd name="T6" fmla="*/ 0 w 129"/>
                <a:gd name="T7" fmla="*/ 38808 h 56"/>
                <a:gd name="T8" fmla="*/ 431 w 129"/>
                <a:gd name="T9" fmla="*/ 34613 h 56"/>
                <a:gd name="T10" fmla="*/ 861 w 129"/>
                <a:gd name="T11" fmla="*/ 26222 h 56"/>
                <a:gd name="T12" fmla="*/ 1292 w 129"/>
                <a:gd name="T13" fmla="*/ 18880 h 56"/>
                <a:gd name="T14" fmla="*/ 3876 w 129"/>
                <a:gd name="T15" fmla="*/ 13635 h 56"/>
                <a:gd name="T16" fmla="*/ 6892 w 129"/>
                <a:gd name="T17" fmla="*/ 9440 h 56"/>
                <a:gd name="T18" fmla="*/ 9045 w 129"/>
                <a:gd name="T19" fmla="*/ 6293 h 56"/>
                <a:gd name="T20" fmla="*/ 11629 w 129"/>
                <a:gd name="T21" fmla="*/ 5244 h 56"/>
                <a:gd name="T22" fmla="*/ 16798 w 129"/>
                <a:gd name="T23" fmla="*/ 3147 h 56"/>
                <a:gd name="T24" fmla="*/ 24551 w 129"/>
                <a:gd name="T25" fmla="*/ 0 h 56"/>
                <a:gd name="T26" fmla="*/ 25843 w 129"/>
                <a:gd name="T27" fmla="*/ 5244 h 56"/>
                <a:gd name="T28" fmla="*/ 27566 w 129"/>
                <a:gd name="T29" fmla="*/ 8391 h 56"/>
                <a:gd name="T30" fmla="*/ 29720 w 129"/>
                <a:gd name="T31" fmla="*/ 11538 h 56"/>
                <a:gd name="T32" fmla="*/ 31443 w 129"/>
                <a:gd name="T33" fmla="*/ 14684 h 56"/>
                <a:gd name="T34" fmla="*/ 35750 w 129"/>
                <a:gd name="T35" fmla="*/ 18880 h 56"/>
                <a:gd name="T36" fmla="*/ 40057 w 129"/>
                <a:gd name="T37" fmla="*/ 22026 h 56"/>
                <a:gd name="T38" fmla="*/ 44364 w 129"/>
                <a:gd name="T39" fmla="*/ 26222 h 56"/>
                <a:gd name="T40" fmla="*/ 48671 w 129"/>
                <a:gd name="T41" fmla="*/ 30417 h 56"/>
                <a:gd name="T42" fmla="*/ 50394 w 129"/>
                <a:gd name="T43" fmla="*/ 33564 h 56"/>
                <a:gd name="T44" fmla="*/ 52117 w 129"/>
                <a:gd name="T45" fmla="*/ 36711 h 56"/>
                <a:gd name="T46" fmla="*/ 54271 w 129"/>
                <a:gd name="T47" fmla="*/ 39857 h 56"/>
                <a:gd name="T48" fmla="*/ 55563 w 129"/>
                <a:gd name="T49" fmla="*/ 46151 h 56"/>
                <a:gd name="T50" fmla="*/ 51256 w 129"/>
                <a:gd name="T51" fmla="*/ 50346 h 56"/>
                <a:gd name="T52" fmla="*/ 46949 w 129"/>
                <a:gd name="T53" fmla="*/ 53493 h 56"/>
                <a:gd name="T54" fmla="*/ 42641 w 129"/>
                <a:gd name="T55" fmla="*/ 55590 h 56"/>
                <a:gd name="T56" fmla="*/ 38765 w 129"/>
                <a:gd name="T57" fmla="*/ 56639 h 56"/>
                <a:gd name="T58" fmla="*/ 30150 w 129"/>
                <a:gd name="T59" fmla="*/ 58737 h 56"/>
                <a:gd name="T60" fmla="*/ 21105 w 129"/>
                <a:gd name="T61" fmla="*/ 58737 h 56"/>
                <a:gd name="T62" fmla="*/ 17229 w 129"/>
                <a:gd name="T63" fmla="*/ 57688 h 56"/>
                <a:gd name="T64" fmla="*/ 13352 w 129"/>
                <a:gd name="T65" fmla="*/ 56639 h 56"/>
                <a:gd name="T66" fmla="*/ 9907 w 129"/>
                <a:gd name="T67" fmla="*/ 54542 h 56"/>
                <a:gd name="T68" fmla="*/ 6892 w 129"/>
                <a:gd name="T69" fmla="*/ 52444 h 56"/>
                <a:gd name="T70" fmla="*/ 2584 w 129"/>
                <a:gd name="T71" fmla="*/ 48248 h 56"/>
                <a:gd name="T72" fmla="*/ 1292 w 129"/>
                <a:gd name="T73" fmla="*/ 46151 h 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0" name="Freeform 510">
              <a:extLst>
                <a:ext uri="{FF2B5EF4-FFF2-40B4-BE49-F238E27FC236}">
                  <a16:creationId xmlns:a16="http://schemas.microsoft.com/office/drawing/2014/main" id="{2F3AD8E5-5A20-46F3-B6EB-5CF1D06988CB}"/>
                </a:ext>
              </a:extLst>
            </p:cNvPr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8832850" y="1792288"/>
              <a:ext cx="14288" cy="57150"/>
            </a:xfrm>
            <a:custGeom>
              <a:avLst/>
              <a:gdLst>
                <a:gd name="T0" fmla="*/ 7318 w 41"/>
                <a:gd name="T1" fmla="*/ 57150 h 42"/>
                <a:gd name="T2" fmla="*/ 0 w 41"/>
                <a:gd name="T3" fmla="*/ 40821 h 42"/>
                <a:gd name="T4" fmla="*/ 0 w 41"/>
                <a:gd name="T5" fmla="*/ 8164 h 42"/>
                <a:gd name="T6" fmla="*/ 2439 w 41"/>
                <a:gd name="T7" fmla="*/ 6804 h 42"/>
                <a:gd name="T8" fmla="*/ 4879 w 41"/>
                <a:gd name="T9" fmla="*/ 4082 h 42"/>
                <a:gd name="T10" fmla="*/ 8364 w 41"/>
                <a:gd name="T11" fmla="*/ 1361 h 42"/>
                <a:gd name="T12" fmla="*/ 11849 w 41"/>
                <a:gd name="T13" fmla="*/ 0 h 42"/>
                <a:gd name="T14" fmla="*/ 11849 w 41"/>
                <a:gd name="T15" fmla="*/ 24493 h 42"/>
                <a:gd name="T16" fmla="*/ 14288 w 41"/>
                <a:gd name="T17" fmla="*/ 24493 h 42"/>
                <a:gd name="T18" fmla="*/ 7318 w 41"/>
                <a:gd name="T19" fmla="*/ 57150 h 4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1" name="Freeform 511">
              <a:extLst>
                <a:ext uri="{FF2B5EF4-FFF2-40B4-BE49-F238E27FC236}">
                  <a16:creationId xmlns:a16="http://schemas.microsoft.com/office/drawing/2014/main" id="{C35277CE-CE74-44F1-978A-08BDCB92839A}"/>
                </a:ext>
              </a:extLst>
            </p:cNvPr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8982076" y="1905001"/>
              <a:ext cx="42863" cy="60325"/>
            </a:xfrm>
            <a:custGeom>
              <a:avLst/>
              <a:gdLst>
                <a:gd name="T0" fmla="*/ 27654 w 93"/>
                <a:gd name="T1" fmla="*/ 13921 h 39"/>
                <a:gd name="T2" fmla="*/ 30880 w 93"/>
                <a:gd name="T3" fmla="*/ 27842 h 39"/>
                <a:gd name="T4" fmla="*/ 35489 w 93"/>
                <a:gd name="T5" fmla="*/ 43310 h 39"/>
                <a:gd name="T6" fmla="*/ 37332 w 93"/>
                <a:gd name="T7" fmla="*/ 51044 h 39"/>
                <a:gd name="T8" fmla="*/ 39637 w 93"/>
                <a:gd name="T9" fmla="*/ 55685 h 39"/>
                <a:gd name="T10" fmla="*/ 41480 w 93"/>
                <a:gd name="T11" fmla="*/ 58778 h 39"/>
                <a:gd name="T12" fmla="*/ 42863 w 93"/>
                <a:gd name="T13" fmla="*/ 60325 h 39"/>
                <a:gd name="T14" fmla="*/ 27654 w 93"/>
                <a:gd name="T15" fmla="*/ 60325 h 39"/>
                <a:gd name="T16" fmla="*/ 23045 w 93"/>
                <a:gd name="T17" fmla="*/ 55685 h 39"/>
                <a:gd name="T18" fmla="*/ 19818 w 93"/>
                <a:gd name="T19" fmla="*/ 49497 h 39"/>
                <a:gd name="T20" fmla="*/ 16592 w 93"/>
                <a:gd name="T21" fmla="*/ 43310 h 39"/>
                <a:gd name="T22" fmla="*/ 13827 w 93"/>
                <a:gd name="T23" fmla="*/ 35576 h 39"/>
                <a:gd name="T24" fmla="*/ 11061 w 93"/>
                <a:gd name="T25" fmla="*/ 27842 h 39"/>
                <a:gd name="T26" fmla="*/ 7374 w 93"/>
                <a:gd name="T27" fmla="*/ 20108 h 39"/>
                <a:gd name="T28" fmla="*/ 4148 w 93"/>
                <a:gd name="T29" fmla="*/ 10828 h 39"/>
                <a:gd name="T30" fmla="*/ 0 w 93"/>
                <a:gd name="T31" fmla="*/ 4640 h 39"/>
                <a:gd name="T32" fmla="*/ 5070 w 93"/>
                <a:gd name="T33" fmla="*/ 1547 h 39"/>
                <a:gd name="T34" fmla="*/ 9218 w 93"/>
                <a:gd name="T35" fmla="*/ 0 h 39"/>
                <a:gd name="T36" fmla="*/ 11983 w 93"/>
                <a:gd name="T37" fmla="*/ 0 h 39"/>
                <a:gd name="T38" fmla="*/ 15209 w 93"/>
                <a:gd name="T39" fmla="*/ 1547 h 39"/>
                <a:gd name="T40" fmla="*/ 20279 w 93"/>
                <a:gd name="T41" fmla="*/ 6187 h 39"/>
                <a:gd name="T42" fmla="*/ 27654 w 93"/>
                <a:gd name="T43" fmla="*/ 13921 h 3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2" name="Freeform 512">
              <a:extLst>
                <a:ext uri="{FF2B5EF4-FFF2-40B4-BE49-F238E27FC236}">
                  <a16:creationId xmlns:a16="http://schemas.microsoft.com/office/drawing/2014/main" id="{A225B3E0-1142-4412-9A41-E01F08FCF11A}"/>
                </a:ext>
              </a:extLst>
            </p:cNvPr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9032875" y="1920875"/>
              <a:ext cx="19050" cy="58738"/>
            </a:xfrm>
            <a:custGeom>
              <a:avLst/>
              <a:gdLst>
                <a:gd name="T0" fmla="*/ 19050 w 39"/>
                <a:gd name="T1" fmla="*/ 58738 h 19"/>
                <a:gd name="T2" fmla="*/ 6350 w 39"/>
                <a:gd name="T3" fmla="*/ 58738 h 19"/>
                <a:gd name="T4" fmla="*/ 3908 w 39"/>
                <a:gd name="T5" fmla="*/ 58738 h 19"/>
                <a:gd name="T6" fmla="*/ 2442 w 39"/>
                <a:gd name="T7" fmla="*/ 52555 h 19"/>
                <a:gd name="T8" fmla="*/ 1465 w 39"/>
                <a:gd name="T9" fmla="*/ 43281 h 19"/>
                <a:gd name="T10" fmla="*/ 977 w 39"/>
                <a:gd name="T11" fmla="*/ 34006 h 19"/>
                <a:gd name="T12" fmla="*/ 0 w 39"/>
                <a:gd name="T13" fmla="*/ 15457 h 19"/>
                <a:gd name="T14" fmla="*/ 0 w 39"/>
                <a:gd name="T15" fmla="*/ 0 h 19"/>
                <a:gd name="T16" fmla="*/ 6350 w 39"/>
                <a:gd name="T17" fmla="*/ 12366 h 19"/>
                <a:gd name="T18" fmla="*/ 10746 w 39"/>
                <a:gd name="T19" fmla="*/ 27823 h 19"/>
                <a:gd name="T20" fmla="*/ 14654 w 39"/>
                <a:gd name="T21" fmla="*/ 43281 h 19"/>
                <a:gd name="T22" fmla="*/ 19050 w 39"/>
                <a:gd name="T23" fmla="*/ 58738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3" name="Freeform 513">
              <a:extLst>
                <a:ext uri="{FF2B5EF4-FFF2-40B4-BE49-F238E27FC236}">
                  <a16:creationId xmlns:a16="http://schemas.microsoft.com/office/drawing/2014/main" id="{B956F34D-A57D-408F-9CC5-52D3AA1C9888}"/>
                </a:ext>
              </a:extLst>
            </p:cNvPr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8897939" y="2047875"/>
              <a:ext cx="14287" cy="57150"/>
            </a:xfrm>
            <a:custGeom>
              <a:avLst/>
              <a:gdLst>
                <a:gd name="T0" fmla="*/ 0 w 26"/>
                <a:gd name="T1" fmla="*/ 57150 h 36"/>
                <a:gd name="T2" fmla="*/ 1649 w 26"/>
                <a:gd name="T3" fmla="*/ 49213 h 36"/>
                <a:gd name="T4" fmla="*/ 5495 w 26"/>
                <a:gd name="T5" fmla="*/ 31750 h 36"/>
                <a:gd name="T6" fmla="*/ 9891 w 26"/>
                <a:gd name="T7" fmla="*/ 12700 h 36"/>
                <a:gd name="T8" fmla="*/ 14287 w 26"/>
                <a:gd name="T9" fmla="*/ 0 h 36"/>
                <a:gd name="T10" fmla="*/ 14287 w 26"/>
                <a:gd name="T11" fmla="*/ 14288 h 36"/>
                <a:gd name="T12" fmla="*/ 14287 w 26"/>
                <a:gd name="T13" fmla="*/ 28575 h 36"/>
                <a:gd name="T14" fmla="*/ 13738 w 26"/>
                <a:gd name="T15" fmla="*/ 34925 h 36"/>
                <a:gd name="T16" fmla="*/ 13188 w 26"/>
                <a:gd name="T17" fmla="*/ 41275 h 36"/>
                <a:gd name="T18" fmla="*/ 11540 w 26"/>
                <a:gd name="T19" fmla="*/ 46038 h 36"/>
                <a:gd name="T20" fmla="*/ 9342 w 26"/>
                <a:gd name="T21" fmla="*/ 50800 h 36"/>
                <a:gd name="T22" fmla="*/ 7693 w 26"/>
                <a:gd name="T23" fmla="*/ 53975 h 36"/>
                <a:gd name="T24" fmla="*/ 5495 w 26"/>
                <a:gd name="T25" fmla="*/ 55563 h 36"/>
                <a:gd name="T26" fmla="*/ 2198 w 26"/>
                <a:gd name="T27" fmla="*/ 57150 h 36"/>
                <a:gd name="T28" fmla="*/ 0 w 26"/>
                <a:gd name="T29" fmla="*/ 57150 h 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4" name="Freeform 514">
              <a:extLst>
                <a:ext uri="{FF2B5EF4-FFF2-40B4-BE49-F238E27FC236}">
                  <a16:creationId xmlns:a16="http://schemas.microsoft.com/office/drawing/2014/main" id="{4E249784-AB28-429C-B953-610547692D82}"/>
                </a:ext>
              </a:extLst>
            </p:cNvPr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8909051" y="2076451"/>
              <a:ext cx="3175" cy="60325"/>
            </a:xfrm>
            <a:custGeom>
              <a:avLst/>
              <a:gdLst>
                <a:gd name="T0" fmla="*/ 0 w 6"/>
                <a:gd name="T1" fmla="*/ 60325 h 37"/>
                <a:gd name="T2" fmla="*/ 0 w 6"/>
                <a:gd name="T3" fmla="*/ 0 h 37"/>
                <a:gd name="T4" fmla="*/ 3175 w 6"/>
                <a:gd name="T5" fmla="*/ 0 h 37"/>
                <a:gd name="T6" fmla="*/ 3175 w 6"/>
                <a:gd name="T7" fmla="*/ 50543 h 37"/>
                <a:gd name="T8" fmla="*/ 0 w 6"/>
                <a:gd name="T9" fmla="*/ 60325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5" name="Freeform 515">
              <a:extLst>
                <a:ext uri="{FF2B5EF4-FFF2-40B4-BE49-F238E27FC236}">
                  <a16:creationId xmlns:a16="http://schemas.microsoft.com/office/drawing/2014/main" id="{7F08D05F-8B57-43C6-9AC9-D092507ABE28}"/>
                </a:ext>
              </a:extLst>
            </p:cNvPr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8896351" y="2159001"/>
              <a:ext cx="9525" cy="55563"/>
            </a:xfrm>
            <a:custGeom>
              <a:avLst/>
              <a:gdLst>
                <a:gd name="T0" fmla="*/ 0 w 20"/>
                <a:gd name="T1" fmla="*/ 40057 h 43"/>
                <a:gd name="T2" fmla="*/ 0 w 20"/>
                <a:gd name="T3" fmla="*/ 32304 h 43"/>
                <a:gd name="T4" fmla="*/ 0 w 20"/>
                <a:gd name="T5" fmla="*/ 23259 h 43"/>
                <a:gd name="T6" fmla="*/ 953 w 20"/>
                <a:gd name="T7" fmla="*/ 11629 h 43"/>
                <a:gd name="T8" fmla="*/ 3334 w 20"/>
                <a:gd name="T9" fmla="*/ 0 h 43"/>
                <a:gd name="T10" fmla="*/ 5239 w 20"/>
                <a:gd name="T11" fmla="*/ 9045 h 43"/>
                <a:gd name="T12" fmla="*/ 7620 w 20"/>
                <a:gd name="T13" fmla="*/ 15506 h 43"/>
                <a:gd name="T14" fmla="*/ 8096 w 20"/>
                <a:gd name="T15" fmla="*/ 18090 h 43"/>
                <a:gd name="T16" fmla="*/ 9049 w 20"/>
                <a:gd name="T17" fmla="*/ 23259 h 43"/>
                <a:gd name="T18" fmla="*/ 9049 w 20"/>
                <a:gd name="T19" fmla="*/ 27135 h 43"/>
                <a:gd name="T20" fmla="*/ 9525 w 20"/>
                <a:gd name="T21" fmla="*/ 32304 h 43"/>
                <a:gd name="T22" fmla="*/ 9049 w 20"/>
                <a:gd name="T23" fmla="*/ 34888 h 43"/>
                <a:gd name="T24" fmla="*/ 8573 w 20"/>
                <a:gd name="T25" fmla="*/ 38765 h 43"/>
                <a:gd name="T26" fmla="*/ 7620 w 20"/>
                <a:gd name="T27" fmla="*/ 42641 h 43"/>
                <a:gd name="T28" fmla="*/ 5715 w 20"/>
                <a:gd name="T29" fmla="*/ 46518 h 43"/>
                <a:gd name="T30" fmla="*/ 4286 w 20"/>
                <a:gd name="T31" fmla="*/ 50394 h 43"/>
                <a:gd name="T32" fmla="*/ 2858 w 20"/>
                <a:gd name="T33" fmla="*/ 52979 h 43"/>
                <a:gd name="T34" fmla="*/ 953 w 20"/>
                <a:gd name="T35" fmla="*/ 54271 h 43"/>
                <a:gd name="T36" fmla="*/ 0 w 20"/>
                <a:gd name="T37" fmla="*/ 55563 h 43"/>
                <a:gd name="T38" fmla="*/ 0 w 20"/>
                <a:gd name="T39" fmla="*/ 40057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6" name="Freeform 516">
              <a:extLst>
                <a:ext uri="{FF2B5EF4-FFF2-40B4-BE49-F238E27FC236}">
                  <a16:creationId xmlns:a16="http://schemas.microsoft.com/office/drawing/2014/main" id="{A0D55EC6-CEBB-4574-AB1B-C14A8752C8B9}"/>
                </a:ext>
              </a:extLst>
            </p:cNvPr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8874125" y="2193925"/>
              <a:ext cx="0" cy="58738"/>
            </a:xfrm>
            <a:custGeom>
              <a:avLst/>
              <a:gdLst>
                <a:gd name="T0" fmla="*/ 58738 h 30"/>
                <a:gd name="T1" fmla="*/ 48948 h 30"/>
                <a:gd name="T2" fmla="*/ 35243 h 30"/>
                <a:gd name="T3" fmla="*/ 17621 h 30"/>
                <a:gd name="T4" fmla="*/ 0 h 30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</a:gdLst>
              <a:ahLst/>
              <a:cxnLst>
                <a:cxn ang="T5">
                  <a:pos x="0" y="T0"/>
                </a:cxn>
                <a:cxn ang="T6">
                  <a:pos x="0" y="T1"/>
                </a:cxn>
                <a:cxn ang="T7">
                  <a:pos x="0" y="T2"/>
                </a:cxn>
                <a:cxn ang="T8">
                  <a:pos x="0" y="T3"/>
                </a:cxn>
                <a:cxn ang="T9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7" name="Freeform 517">
              <a:extLst>
                <a:ext uri="{FF2B5EF4-FFF2-40B4-BE49-F238E27FC236}">
                  <a16:creationId xmlns:a16="http://schemas.microsoft.com/office/drawing/2014/main" id="{8703266D-8E87-4E24-BD51-8CC12FD10725}"/>
                </a:ext>
              </a:extLst>
            </p:cNvPr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8874125" y="2193925"/>
              <a:ext cx="7938" cy="58738"/>
            </a:xfrm>
            <a:custGeom>
              <a:avLst/>
              <a:gdLst>
                <a:gd name="T0" fmla="*/ 0 w 20"/>
                <a:gd name="T1" fmla="*/ 0 h 24"/>
                <a:gd name="T2" fmla="*/ 7938 w 20"/>
                <a:gd name="T3" fmla="*/ 0 h 24"/>
                <a:gd name="T4" fmla="*/ 0 w 20"/>
                <a:gd name="T5" fmla="*/ 58738 h 24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8" name="Freeform 518">
              <a:extLst>
                <a:ext uri="{FF2B5EF4-FFF2-40B4-BE49-F238E27FC236}">
                  <a16:creationId xmlns:a16="http://schemas.microsoft.com/office/drawing/2014/main" id="{DC75933F-A507-410A-99DF-136F6255E1B9}"/>
                </a:ext>
              </a:extLst>
            </p:cNvPr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8628063" y="1781176"/>
              <a:ext cx="17462" cy="60325"/>
            </a:xfrm>
            <a:custGeom>
              <a:avLst/>
              <a:gdLst>
                <a:gd name="T0" fmla="*/ 0 w 46"/>
                <a:gd name="T1" fmla="*/ 0 h 19"/>
                <a:gd name="T2" fmla="*/ 3416 w 46"/>
                <a:gd name="T3" fmla="*/ 9525 h 19"/>
                <a:gd name="T4" fmla="*/ 5315 w 46"/>
                <a:gd name="T5" fmla="*/ 15875 h 19"/>
                <a:gd name="T6" fmla="*/ 7213 w 46"/>
                <a:gd name="T7" fmla="*/ 25400 h 19"/>
                <a:gd name="T8" fmla="*/ 8731 w 46"/>
                <a:gd name="T9" fmla="*/ 31750 h 19"/>
                <a:gd name="T10" fmla="*/ 9870 w 46"/>
                <a:gd name="T11" fmla="*/ 38100 h 19"/>
                <a:gd name="T12" fmla="*/ 12147 w 46"/>
                <a:gd name="T13" fmla="*/ 44450 h 19"/>
                <a:gd name="T14" fmla="*/ 14046 w 46"/>
                <a:gd name="T15" fmla="*/ 53975 h 19"/>
                <a:gd name="T16" fmla="*/ 17462 w 46"/>
                <a:gd name="T17" fmla="*/ 60325 h 19"/>
                <a:gd name="T18" fmla="*/ 12527 w 46"/>
                <a:gd name="T19" fmla="*/ 60325 h 19"/>
                <a:gd name="T20" fmla="*/ 9111 w 46"/>
                <a:gd name="T21" fmla="*/ 60325 h 19"/>
                <a:gd name="T22" fmla="*/ 6833 w 46"/>
                <a:gd name="T23" fmla="*/ 57150 h 19"/>
                <a:gd name="T24" fmla="*/ 4935 w 46"/>
                <a:gd name="T25" fmla="*/ 53975 h 19"/>
                <a:gd name="T26" fmla="*/ 3796 w 46"/>
                <a:gd name="T27" fmla="*/ 44450 h 19"/>
                <a:gd name="T28" fmla="*/ 2657 w 46"/>
                <a:gd name="T29" fmla="*/ 34925 h 19"/>
                <a:gd name="T30" fmla="*/ 1518 w 46"/>
                <a:gd name="T31" fmla="*/ 22225 h 19"/>
                <a:gd name="T32" fmla="*/ 0 w 46"/>
                <a:gd name="T33" fmla="*/ 0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9" name="Freeform 519">
              <a:extLst>
                <a:ext uri="{FF2B5EF4-FFF2-40B4-BE49-F238E27FC236}">
                  <a16:creationId xmlns:a16="http://schemas.microsoft.com/office/drawing/2014/main" id="{642B4FF4-AF02-434A-A891-C63AEF01C56E}"/>
                </a:ext>
              </a:extLst>
            </p:cNvPr>
            <p:cNvSpPr>
              <a:spLocks/>
            </p:cNvSpPr>
            <p:nvPr>
              <p:custDataLst>
                <p:tags r:id="rId357"/>
              </p:custDataLst>
            </p:nvPr>
          </p:nvSpPr>
          <p:spPr bwMode="auto">
            <a:xfrm>
              <a:off x="5943601" y="1920875"/>
              <a:ext cx="47625" cy="58738"/>
            </a:xfrm>
            <a:custGeom>
              <a:avLst/>
              <a:gdLst>
                <a:gd name="T0" fmla="*/ 15716 w 100"/>
                <a:gd name="T1" fmla="*/ 0 h 55"/>
                <a:gd name="T2" fmla="*/ 47625 w 100"/>
                <a:gd name="T3" fmla="*/ 12816 h 55"/>
                <a:gd name="T4" fmla="*/ 47625 w 100"/>
                <a:gd name="T5" fmla="*/ 58738 h 55"/>
                <a:gd name="T6" fmla="*/ 6191 w 100"/>
                <a:gd name="T7" fmla="*/ 58738 h 55"/>
                <a:gd name="T8" fmla="*/ 0 w 100"/>
                <a:gd name="T9" fmla="*/ 45922 h 55"/>
                <a:gd name="T10" fmla="*/ 476 w 100"/>
                <a:gd name="T11" fmla="*/ 40583 h 55"/>
                <a:gd name="T12" fmla="*/ 1905 w 100"/>
                <a:gd name="T13" fmla="*/ 34175 h 55"/>
                <a:gd name="T14" fmla="*/ 4763 w 100"/>
                <a:gd name="T15" fmla="*/ 26699 h 55"/>
                <a:gd name="T16" fmla="*/ 7620 w 100"/>
                <a:gd name="T17" fmla="*/ 19223 h 55"/>
                <a:gd name="T18" fmla="*/ 12859 w 100"/>
                <a:gd name="T19" fmla="*/ 5340 h 55"/>
                <a:gd name="T20" fmla="*/ 15716 w 100"/>
                <a:gd name="T21" fmla="*/ 0 h 5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0" name="Freeform 520">
              <a:extLst>
                <a:ext uri="{FF2B5EF4-FFF2-40B4-BE49-F238E27FC236}">
                  <a16:creationId xmlns:a16="http://schemas.microsoft.com/office/drawing/2014/main" id="{0DD1FB14-A139-41F5-8256-531315100B54}"/>
                </a:ext>
              </a:extLst>
            </p:cNvPr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6392863" y="1512889"/>
              <a:ext cx="42862" cy="58737"/>
            </a:xfrm>
            <a:custGeom>
              <a:avLst/>
              <a:gdLst>
                <a:gd name="T0" fmla="*/ 22946 w 99"/>
                <a:gd name="T1" fmla="*/ 2303 h 51"/>
                <a:gd name="T2" fmla="*/ 25111 w 99"/>
                <a:gd name="T3" fmla="*/ 1152 h 51"/>
                <a:gd name="T4" fmla="*/ 26843 w 99"/>
                <a:gd name="T5" fmla="*/ 0 h 51"/>
                <a:gd name="T6" fmla="*/ 28142 w 99"/>
                <a:gd name="T7" fmla="*/ 0 h 51"/>
                <a:gd name="T8" fmla="*/ 29874 w 99"/>
                <a:gd name="T9" fmla="*/ 1152 h 51"/>
                <a:gd name="T10" fmla="*/ 32038 w 99"/>
                <a:gd name="T11" fmla="*/ 5759 h 51"/>
                <a:gd name="T12" fmla="*/ 34203 w 99"/>
                <a:gd name="T13" fmla="*/ 12669 h 51"/>
                <a:gd name="T14" fmla="*/ 35935 w 99"/>
                <a:gd name="T15" fmla="*/ 20731 h 51"/>
                <a:gd name="T16" fmla="*/ 37667 w 99"/>
                <a:gd name="T17" fmla="*/ 28793 h 51"/>
                <a:gd name="T18" fmla="*/ 39398 w 99"/>
                <a:gd name="T19" fmla="*/ 32248 h 51"/>
                <a:gd name="T20" fmla="*/ 40264 w 99"/>
                <a:gd name="T21" fmla="*/ 34551 h 51"/>
                <a:gd name="T22" fmla="*/ 41563 w 99"/>
                <a:gd name="T23" fmla="*/ 36855 h 51"/>
                <a:gd name="T24" fmla="*/ 42862 w 99"/>
                <a:gd name="T25" fmla="*/ 39158 h 51"/>
                <a:gd name="T26" fmla="*/ 42862 w 99"/>
                <a:gd name="T27" fmla="*/ 42613 h 51"/>
                <a:gd name="T28" fmla="*/ 41996 w 99"/>
                <a:gd name="T29" fmla="*/ 46068 h 51"/>
                <a:gd name="T30" fmla="*/ 41130 w 99"/>
                <a:gd name="T31" fmla="*/ 49523 h 51"/>
                <a:gd name="T32" fmla="*/ 39398 w 99"/>
                <a:gd name="T33" fmla="*/ 51827 h 51"/>
                <a:gd name="T34" fmla="*/ 37234 w 99"/>
                <a:gd name="T35" fmla="*/ 54130 h 51"/>
                <a:gd name="T36" fmla="*/ 35069 w 99"/>
                <a:gd name="T37" fmla="*/ 55282 h 51"/>
                <a:gd name="T38" fmla="*/ 32038 w 99"/>
                <a:gd name="T39" fmla="*/ 57585 h 51"/>
                <a:gd name="T40" fmla="*/ 29441 w 99"/>
                <a:gd name="T41" fmla="*/ 57585 h 51"/>
                <a:gd name="T42" fmla="*/ 22513 w 99"/>
                <a:gd name="T43" fmla="*/ 58737 h 51"/>
                <a:gd name="T44" fmla="*/ 15586 w 99"/>
                <a:gd name="T45" fmla="*/ 56434 h 51"/>
                <a:gd name="T46" fmla="*/ 11690 w 99"/>
                <a:gd name="T47" fmla="*/ 55282 h 51"/>
                <a:gd name="T48" fmla="*/ 7793 w 99"/>
                <a:gd name="T49" fmla="*/ 51827 h 51"/>
                <a:gd name="T50" fmla="*/ 3897 w 99"/>
                <a:gd name="T51" fmla="*/ 49523 h 51"/>
                <a:gd name="T52" fmla="*/ 433 w 99"/>
                <a:gd name="T53" fmla="*/ 46068 h 51"/>
                <a:gd name="T54" fmla="*/ 0 w 99"/>
                <a:gd name="T55" fmla="*/ 44917 h 51"/>
                <a:gd name="T56" fmla="*/ 433 w 99"/>
                <a:gd name="T57" fmla="*/ 42613 h 51"/>
                <a:gd name="T58" fmla="*/ 1299 w 99"/>
                <a:gd name="T59" fmla="*/ 40310 h 51"/>
                <a:gd name="T60" fmla="*/ 2598 w 99"/>
                <a:gd name="T61" fmla="*/ 38006 h 51"/>
                <a:gd name="T62" fmla="*/ 6061 w 99"/>
                <a:gd name="T63" fmla="*/ 33399 h 51"/>
                <a:gd name="T64" fmla="*/ 10824 w 99"/>
                <a:gd name="T65" fmla="*/ 27641 h 51"/>
                <a:gd name="T66" fmla="*/ 15153 w 99"/>
                <a:gd name="T67" fmla="*/ 21882 h 51"/>
                <a:gd name="T68" fmla="*/ 19483 w 99"/>
                <a:gd name="T69" fmla="*/ 13820 h 51"/>
                <a:gd name="T70" fmla="*/ 20782 w 99"/>
                <a:gd name="T71" fmla="*/ 11517 h 51"/>
                <a:gd name="T72" fmla="*/ 22080 w 99"/>
                <a:gd name="T73" fmla="*/ 8062 h 51"/>
                <a:gd name="T74" fmla="*/ 22513 w 99"/>
                <a:gd name="T75" fmla="*/ 5759 h 51"/>
                <a:gd name="T76" fmla="*/ 22946 w 99"/>
                <a:gd name="T77" fmla="*/ 2303 h 5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1" name="Freeform 521">
              <a:extLst>
                <a:ext uri="{FF2B5EF4-FFF2-40B4-BE49-F238E27FC236}">
                  <a16:creationId xmlns:a16="http://schemas.microsoft.com/office/drawing/2014/main" id="{CD36FF66-16FB-4937-8F28-B7FCE79D2BAF}"/>
                </a:ext>
              </a:extLst>
            </p:cNvPr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6427788" y="1325563"/>
              <a:ext cx="228600" cy="163512"/>
            </a:xfrm>
            <a:custGeom>
              <a:avLst/>
              <a:gdLst>
                <a:gd name="T0" fmla="*/ 137160 w 525"/>
                <a:gd name="T1" fmla="*/ 14196 h 311"/>
                <a:gd name="T2" fmla="*/ 148917 w 525"/>
                <a:gd name="T3" fmla="*/ 11041 h 311"/>
                <a:gd name="T4" fmla="*/ 167640 w 525"/>
                <a:gd name="T5" fmla="*/ 10515 h 311"/>
                <a:gd name="T6" fmla="*/ 177655 w 525"/>
                <a:gd name="T7" fmla="*/ 8938 h 311"/>
                <a:gd name="T8" fmla="*/ 185928 w 525"/>
                <a:gd name="T9" fmla="*/ 3680 h 311"/>
                <a:gd name="T10" fmla="*/ 223810 w 525"/>
                <a:gd name="T11" fmla="*/ 3155 h 311"/>
                <a:gd name="T12" fmla="*/ 228600 w 525"/>
                <a:gd name="T13" fmla="*/ 9989 h 311"/>
                <a:gd name="T14" fmla="*/ 203781 w 525"/>
                <a:gd name="T15" fmla="*/ 24711 h 311"/>
                <a:gd name="T16" fmla="*/ 170688 w 525"/>
                <a:gd name="T17" fmla="*/ 38381 h 311"/>
                <a:gd name="T18" fmla="*/ 155013 w 525"/>
                <a:gd name="T19" fmla="*/ 42061 h 311"/>
                <a:gd name="T20" fmla="*/ 139773 w 525"/>
                <a:gd name="T21" fmla="*/ 43638 h 311"/>
                <a:gd name="T22" fmla="*/ 121485 w 525"/>
                <a:gd name="T23" fmla="*/ 53102 h 311"/>
                <a:gd name="T24" fmla="*/ 106245 w 525"/>
                <a:gd name="T25" fmla="*/ 63617 h 311"/>
                <a:gd name="T26" fmla="*/ 94923 w 525"/>
                <a:gd name="T27" fmla="*/ 67823 h 311"/>
                <a:gd name="T28" fmla="*/ 81425 w 525"/>
                <a:gd name="T29" fmla="*/ 64669 h 311"/>
                <a:gd name="T30" fmla="*/ 77506 w 525"/>
                <a:gd name="T31" fmla="*/ 72029 h 311"/>
                <a:gd name="T32" fmla="*/ 76200 w 525"/>
                <a:gd name="T33" fmla="*/ 76235 h 311"/>
                <a:gd name="T34" fmla="*/ 80554 w 525"/>
                <a:gd name="T35" fmla="*/ 77813 h 311"/>
                <a:gd name="T36" fmla="*/ 80119 w 525"/>
                <a:gd name="T37" fmla="*/ 82545 h 311"/>
                <a:gd name="T38" fmla="*/ 76635 w 525"/>
                <a:gd name="T39" fmla="*/ 87802 h 311"/>
                <a:gd name="T40" fmla="*/ 78377 w 525"/>
                <a:gd name="T41" fmla="*/ 94111 h 311"/>
                <a:gd name="T42" fmla="*/ 70539 w 525"/>
                <a:gd name="T43" fmla="*/ 101998 h 311"/>
                <a:gd name="T44" fmla="*/ 62702 w 525"/>
                <a:gd name="T45" fmla="*/ 107255 h 311"/>
                <a:gd name="T46" fmla="*/ 61395 w 525"/>
                <a:gd name="T47" fmla="*/ 111987 h 311"/>
                <a:gd name="T48" fmla="*/ 62702 w 525"/>
                <a:gd name="T49" fmla="*/ 119874 h 311"/>
                <a:gd name="T50" fmla="*/ 70975 w 525"/>
                <a:gd name="T51" fmla="*/ 129863 h 311"/>
                <a:gd name="T52" fmla="*/ 83167 w 525"/>
                <a:gd name="T53" fmla="*/ 140378 h 311"/>
                <a:gd name="T54" fmla="*/ 111470 w 525"/>
                <a:gd name="T55" fmla="*/ 157729 h 311"/>
                <a:gd name="T56" fmla="*/ 105809 w 525"/>
                <a:gd name="T57" fmla="*/ 163512 h 311"/>
                <a:gd name="T58" fmla="*/ 82296 w 525"/>
                <a:gd name="T59" fmla="*/ 162460 h 311"/>
                <a:gd name="T60" fmla="*/ 63137 w 525"/>
                <a:gd name="T61" fmla="*/ 161935 h 311"/>
                <a:gd name="T62" fmla="*/ 56170 w 525"/>
                <a:gd name="T63" fmla="*/ 159832 h 311"/>
                <a:gd name="T64" fmla="*/ 53558 w 525"/>
                <a:gd name="T65" fmla="*/ 156677 h 311"/>
                <a:gd name="T66" fmla="*/ 52251 w 525"/>
                <a:gd name="T67" fmla="*/ 148265 h 311"/>
                <a:gd name="T68" fmla="*/ 50510 w 525"/>
                <a:gd name="T69" fmla="*/ 146162 h 311"/>
                <a:gd name="T70" fmla="*/ 41366 w 525"/>
                <a:gd name="T71" fmla="*/ 145636 h 311"/>
                <a:gd name="T72" fmla="*/ 34834 w 525"/>
                <a:gd name="T73" fmla="*/ 155626 h 311"/>
                <a:gd name="T74" fmla="*/ 19159 w 525"/>
                <a:gd name="T75" fmla="*/ 148265 h 311"/>
                <a:gd name="T76" fmla="*/ 0 w 525"/>
                <a:gd name="T77" fmla="*/ 129337 h 311"/>
                <a:gd name="T78" fmla="*/ 7838 w 525"/>
                <a:gd name="T79" fmla="*/ 125657 h 311"/>
                <a:gd name="T80" fmla="*/ 14805 w 525"/>
                <a:gd name="T81" fmla="*/ 116719 h 311"/>
                <a:gd name="T82" fmla="*/ 12192 w 525"/>
                <a:gd name="T83" fmla="*/ 111987 h 311"/>
                <a:gd name="T84" fmla="*/ 14805 w 525"/>
                <a:gd name="T85" fmla="*/ 105152 h 311"/>
                <a:gd name="T86" fmla="*/ 17417 w 525"/>
                <a:gd name="T87" fmla="*/ 98843 h 311"/>
                <a:gd name="T88" fmla="*/ 14805 w 525"/>
                <a:gd name="T89" fmla="*/ 94111 h 311"/>
                <a:gd name="T90" fmla="*/ 58347 w 525"/>
                <a:gd name="T91" fmla="*/ 94111 h 311"/>
                <a:gd name="T92" fmla="*/ 57041 w 525"/>
                <a:gd name="T93" fmla="*/ 93060 h 311"/>
                <a:gd name="T94" fmla="*/ 39189 w 525"/>
                <a:gd name="T95" fmla="*/ 87277 h 311"/>
                <a:gd name="T96" fmla="*/ 23513 w 525"/>
                <a:gd name="T97" fmla="*/ 77813 h 311"/>
                <a:gd name="T98" fmla="*/ 36576 w 525"/>
                <a:gd name="T99" fmla="*/ 70452 h 311"/>
                <a:gd name="T100" fmla="*/ 52251 w 525"/>
                <a:gd name="T101" fmla="*/ 58360 h 311"/>
                <a:gd name="T102" fmla="*/ 48333 w 525"/>
                <a:gd name="T103" fmla="*/ 54153 h 311"/>
                <a:gd name="T104" fmla="*/ 43543 w 525"/>
                <a:gd name="T105" fmla="*/ 42061 h 311"/>
                <a:gd name="T106" fmla="*/ 55299 w 525"/>
                <a:gd name="T107" fmla="*/ 39958 h 311"/>
                <a:gd name="T108" fmla="*/ 80119 w 525"/>
                <a:gd name="T109" fmla="*/ 30494 h 311"/>
                <a:gd name="T110" fmla="*/ 110599 w 525"/>
                <a:gd name="T111" fmla="*/ 18402 h 31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2" name="Freeform 522">
              <a:extLst>
                <a:ext uri="{FF2B5EF4-FFF2-40B4-BE49-F238E27FC236}">
                  <a16:creationId xmlns:a16="http://schemas.microsoft.com/office/drawing/2014/main" id="{55595E33-A3B1-4E79-809E-35CA14EAEFA4}"/>
                </a:ext>
              </a:extLst>
            </p:cNvPr>
            <p:cNvSpPr>
              <a:spLocks/>
            </p:cNvSpPr>
            <p:nvPr>
              <p:custDataLst>
                <p:tags r:id="rId360"/>
              </p:custDataLst>
            </p:nvPr>
          </p:nvSpPr>
          <p:spPr bwMode="auto">
            <a:xfrm>
              <a:off x="6219825" y="1636713"/>
              <a:ext cx="31750" cy="55562"/>
            </a:xfrm>
            <a:custGeom>
              <a:avLst/>
              <a:gdLst>
                <a:gd name="T0" fmla="*/ 18487 w 79"/>
                <a:gd name="T1" fmla="*/ 0 h 38"/>
                <a:gd name="T2" fmla="*/ 21703 w 79"/>
                <a:gd name="T3" fmla="*/ 1462 h 38"/>
                <a:gd name="T4" fmla="*/ 24918 w 79"/>
                <a:gd name="T5" fmla="*/ 4386 h 38"/>
                <a:gd name="T6" fmla="*/ 27329 w 79"/>
                <a:gd name="T7" fmla="*/ 10235 h 38"/>
                <a:gd name="T8" fmla="*/ 28937 w 79"/>
                <a:gd name="T9" fmla="*/ 17546 h 38"/>
                <a:gd name="T10" fmla="*/ 30142 w 79"/>
                <a:gd name="T11" fmla="*/ 24857 h 38"/>
                <a:gd name="T12" fmla="*/ 30946 w 79"/>
                <a:gd name="T13" fmla="*/ 32167 h 38"/>
                <a:gd name="T14" fmla="*/ 31750 w 79"/>
                <a:gd name="T15" fmla="*/ 39478 h 38"/>
                <a:gd name="T16" fmla="*/ 31750 w 79"/>
                <a:gd name="T17" fmla="*/ 46789 h 38"/>
                <a:gd name="T18" fmla="*/ 30946 w 79"/>
                <a:gd name="T19" fmla="*/ 49713 h 38"/>
                <a:gd name="T20" fmla="*/ 30142 w 79"/>
                <a:gd name="T21" fmla="*/ 51176 h 38"/>
                <a:gd name="T22" fmla="*/ 28937 w 79"/>
                <a:gd name="T23" fmla="*/ 52638 h 38"/>
                <a:gd name="T24" fmla="*/ 27329 w 79"/>
                <a:gd name="T25" fmla="*/ 54100 h 38"/>
                <a:gd name="T26" fmla="*/ 22908 w 79"/>
                <a:gd name="T27" fmla="*/ 55562 h 38"/>
                <a:gd name="T28" fmla="*/ 18487 w 79"/>
                <a:gd name="T29" fmla="*/ 55562 h 38"/>
                <a:gd name="T30" fmla="*/ 15272 w 79"/>
                <a:gd name="T31" fmla="*/ 54100 h 38"/>
                <a:gd name="T32" fmla="*/ 12057 w 79"/>
                <a:gd name="T33" fmla="*/ 52638 h 38"/>
                <a:gd name="T34" fmla="*/ 8440 w 79"/>
                <a:gd name="T35" fmla="*/ 51176 h 38"/>
                <a:gd name="T36" fmla="*/ 6028 w 79"/>
                <a:gd name="T37" fmla="*/ 46789 h 38"/>
                <a:gd name="T38" fmla="*/ 3215 w 79"/>
                <a:gd name="T39" fmla="*/ 42403 h 38"/>
                <a:gd name="T40" fmla="*/ 1608 w 79"/>
                <a:gd name="T41" fmla="*/ 36554 h 38"/>
                <a:gd name="T42" fmla="*/ 804 w 79"/>
                <a:gd name="T43" fmla="*/ 32167 h 38"/>
                <a:gd name="T44" fmla="*/ 402 w 79"/>
                <a:gd name="T45" fmla="*/ 29243 h 38"/>
                <a:gd name="T46" fmla="*/ 0 w 79"/>
                <a:gd name="T47" fmla="*/ 24857 h 38"/>
                <a:gd name="T48" fmla="*/ 0 w 79"/>
                <a:gd name="T49" fmla="*/ 19008 h 38"/>
                <a:gd name="T50" fmla="*/ 402 w 79"/>
                <a:gd name="T51" fmla="*/ 16084 h 38"/>
                <a:gd name="T52" fmla="*/ 1608 w 79"/>
                <a:gd name="T53" fmla="*/ 13159 h 38"/>
                <a:gd name="T54" fmla="*/ 4019 w 79"/>
                <a:gd name="T55" fmla="*/ 8773 h 38"/>
                <a:gd name="T56" fmla="*/ 6832 w 79"/>
                <a:gd name="T57" fmla="*/ 5849 h 38"/>
                <a:gd name="T58" fmla="*/ 12861 w 79"/>
                <a:gd name="T59" fmla="*/ 1462 h 38"/>
                <a:gd name="T60" fmla="*/ 18487 w 79"/>
                <a:gd name="T61" fmla="*/ 0 h 3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3" name="Freeform 523">
              <a:extLst>
                <a:ext uri="{FF2B5EF4-FFF2-40B4-BE49-F238E27FC236}">
                  <a16:creationId xmlns:a16="http://schemas.microsoft.com/office/drawing/2014/main" id="{9FAA7557-77EF-47B0-90FC-E2C7F422D4E6}"/>
                </a:ext>
              </a:extLst>
            </p:cNvPr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8524875" y="1933575"/>
              <a:ext cx="196850" cy="268288"/>
            </a:xfrm>
            <a:custGeom>
              <a:avLst/>
              <a:gdLst>
                <a:gd name="T0" fmla="*/ 11151 w 459"/>
                <a:gd name="T1" fmla="*/ 23626 h 511"/>
                <a:gd name="T2" fmla="*/ 5146 w 459"/>
                <a:gd name="T3" fmla="*/ 13126 h 511"/>
                <a:gd name="T4" fmla="*/ 0 w 459"/>
                <a:gd name="T5" fmla="*/ 0 h 511"/>
                <a:gd name="T6" fmla="*/ 9435 w 459"/>
                <a:gd name="T7" fmla="*/ 3675 h 511"/>
                <a:gd name="T8" fmla="*/ 14153 w 459"/>
                <a:gd name="T9" fmla="*/ 3150 h 511"/>
                <a:gd name="T10" fmla="*/ 40742 w 459"/>
                <a:gd name="T11" fmla="*/ 35177 h 511"/>
                <a:gd name="T12" fmla="*/ 62615 w 459"/>
                <a:gd name="T13" fmla="*/ 64578 h 511"/>
                <a:gd name="T14" fmla="*/ 92635 w 459"/>
                <a:gd name="T15" fmla="*/ 103955 h 511"/>
                <a:gd name="T16" fmla="*/ 110648 w 459"/>
                <a:gd name="T17" fmla="*/ 124431 h 511"/>
                <a:gd name="T18" fmla="*/ 129947 w 459"/>
                <a:gd name="T19" fmla="*/ 139657 h 511"/>
                <a:gd name="T20" fmla="*/ 159539 w 459"/>
                <a:gd name="T21" fmla="*/ 163283 h 511"/>
                <a:gd name="T22" fmla="*/ 170689 w 459"/>
                <a:gd name="T23" fmla="*/ 176409 h 511"/>
                <a:gd name="T24" fmla="*/ 156536 w 459"/>
                <a:gd name="T25" fmla="*/ 168008 h 511"/>
                <a:gd name="T26" fmla="*/ 138953 w 459"/>
                <a:gd name="T27" fmla="*/ 155408 h 511"/>
                <a:gd name="T28" fmla="*/ 134664 w 459"/>
                <a:gd name="T29" fmla="*/ 156458 h 511"/>
                <a:gd name="T30" fmla="*/ 134235 w 459"/>
                <a:gd name="T31" fmla="*/ 163283 h 511"/>
                <a:gd name="T32" fmla="*/ 135951 w 459"/>
                <a:gd name="T33" fmla="*/ 176934 h 511"/>
                <a:gd name="T34" fmla="*/ 139811 w 459"/>
                <a:gd name="T35" fmla="*/ 187959 h 511"/>
                <a:gd name="T36" fmla="*/ 149246 w 459"/>
                <a:gd name="T37" fmla="*/ 203185 h 511"/>
                <a:gd name="T38" fmla="*/ 168974 w 459"/>
                <a:gd name="T39" fmla="*/ 221036 h 511"/>
                <a:gd name="T40" fmla="*/ 188702 w 459"/>
                <a:gd name="T41" fmla="*/ 240462 h 511"/>
                <a:gd name="T42" fmla="*/ 192132 w 459"/>
                <a:gd name="T43" fmla="*/ 249912 h 511"/>
                <a:gd name="T44" fmla="*/ 183555 w 459"/>
                <a:gd name="T45" fmla="*/ 246237 h 511"/>
                <a:gd name="T46" fmla="*/ 168116 w 459"/>
                <a:gd name="T47" fmla="*/ 242562 h 511"/>
                <a:gd name="T48" fmla="*/ 168545 w 459"/>
                <a:gd name="T49" fmla="*/ 259363 h 511"/>
                <a:gd name="T50" fmla="*/ 170689 w 459"/>
                <a:gd name="T51" fmla="*/ 268288 h 511"/>
                <a:gd name="T52" fmla="*/ 166400 w 459"/>
                <a:gd name="T53" fmla="*/ 258313 h 511"/>
                <a:gd name="T54" fmla="*/ 155679 w 459"/>
                <a:gd name="T55" fmla="*/ 244662 h 511"/>
                <a:gd name="T56" fmla="*/ 147101 w 459"/>
                <a:gd name="T57" fmla="*/ 233636 h 511"/>
                <a:gd name="T58" fmla="*/ 145386 w 459"/>
                <a:gd name="T59" fmla="*/ 226286 h 511"/>
                <a:gd name="T60" fmla="*/ 140668 w 459"/>
                <a:gd name="T61" fmla="*/ 215785 h 511"/>
                <a:gd name="T62" fmla="*/ 132949 w 459"/>
                <a:gd name="T63" fmla="*/ 201610 h 511"/>
                <a:gd name="T64" fmla="*/ 127802 w 459"/>
                <a:gd name="T65" fmla="*/ 192684 h 511"/>
                <a:gd name="T66" fmla="*/ 120083 w 459"/>
                <a:gd name="T67" fmla="*/ 187959 h 511"/>
                <a:gd name="T68" fmla="*/ 113221 w 459"/>
                <a:gd name="T69" fmla="*/ 180084 h 511"/>
                <a:gd name="T70" fmla="*/ 106788 w 459"/>
                <a:gd name="T71" fmla="*/ 164858 h 511"/>
                <a:gd name="T72" fmla="*/ 105072 w 459"/>
                <a:gd name="T73" fmla="*/ 153832 h 511"/>
                <a:gd name="T74" fmla="*/ 100355 w 459"/>
                <a:gd name="T75" fmla="*/ 147532 h 511"/>
                <a:gd name="T76" fmla="*/ 83200 w 459"/>
                <a:gd name="T77" fmla="*/ 128106 h 511"/>
                <a:gd name="T78" fmla="*/ 73336 w 459"/>
                <a:gd name="T79" fmla="*/ 115506 h 511"/>
                <a:gd name="T80" fmla="*/ 69905 w 459"/>
                <a:gd name="T81" fmla="*/ 106580 h 511"/>
                <a:gd name="T82" fmla="*/ 66046 w 459"/>
                <a:gd name="T83" fmla="*/ 98180 h 511"/>
                <a:gd name="T84" fmla="*/ 49320 w 459"/>
                <a:gd name="T85" fmla="*/ 81379 h 511"/>
                <a:gd name="T86" fmla="*/ 30021 w 459"/>
                <a:gd name="T87" fmla="*/ 68253 h 511"/>
                <a:gd name="T88" fmla="*/ 20157 w 459"/>
                <a:gd name="T89" fmla="*/ 57753 h 511"/>
                <a:gd name="T90" fmla="*/ 16297 w 459"/>
                <a:gd name="T91" fmla="*/ 48827 h 511"/>
                <a:gd name="T92" fmla="*/ 14581 w 459"/>
                <a:gd name="T93" fmla="*/ 39377 h 51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374" name="Group 524">
              <a:extLst>
                <a:ext uri="{FF2B5EF4-FFF2-40B4-BE49-F238E27FC236}">
                  <a16:creationId xmlns:a16="http://schemas.microsoft.com/office/drawing/2014/main" id="{E8353413-F460-4FD7-A6D7-C906A5116E43}"/>
                </a:ext>
              </a:extLst>
            </p:cNvPr>
            <p:cNvGrpSpPr>
              <a:grpSpLocks/>
            </p:cNvGrpSpPr>
            <p:nvPr>
              <p:custDataLst>
                <p:tags r:id="rId362"/>
              </p:custDataLst>
            </p:nvPr>
          </p:nvGrpSpPr>
          <p:grpSpPr bwMode="auto">
            <a:xfrm>
              <a:off x="7315201" y="1889126"/>
              <a:ext cx="671513" cy="384175"/>
              <a:chOff x="4115" y="1551"/>
              <a:chExt cx="504" cy="244"/>
            </a:xfrm>
          </p:grpSpPr>
          <p:sp>
            <p:nvSpPr>
              <p:cNvPr id="399" name="Freeform 525">
                <a:extLst>
                  <a:ext uri="{FF2B5EF4-FFF2-40B4-BE49-F238E27FC236}">
                    <a16:creationId xmlns:a16="http://schemas.microsoft.com/office/drawing/2014/main" id="{D6C2A9C7-C2CC-4CFE-BF8B-2152D38324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4 w 240"/>
                  <a:gd name="T1" fmla="*/ 82 h 259"/>
                  <a:gd name="T2" fmla="*/ 26 w 240"/>
                  <a:gd name="T3" fmla="*/ 86 h 259"/>
                  <a:gd name="T4" fmla="*/ 40 w 240"/>
                  <a:gd name="T5" fmla="*/ 80 h 259"/>
                  <a:gd name="T6" fmla="*/ 44 w 240"/>
                  <a:gd name="T7" fmla="*/ 70 h 259"/>
                  <a:gd name="T8" fmla="*/ 63 w 240"/>
                  <a:gd name="T9" fmla="*/ 53 h 259"/>
                  <a:gd name="T10" fmla="*/ 70 w 240"/>
                  <a:gd name="T11" fmla="*/ 37 h 259"/>
                  <a:gd name="T12" fmla="*/ 79 w 240"/>
                  <a:gd name="T13" fmla="*/ 9 h 259"/>
                  <a:gd name="T14" fmla="*/ 70 w 240"/>
                  <a:gd name="T15" fmla="*/ 0 h 259"/>
                  <a:gd name="T16" fmla="*/ 68 w 240"/>
                  <a:gd name="T17" fmla="*/ 11 h 259"/>
                  <a:gd name="T18" fmla="*/ 66 w 240"/>
                  <a:gd name="T19" fmla="*/ 25 h 259"/>
                  <a:gd name="T20" fmla="*/ 55 w 240"/>
                  <a:gd name="T21" fmla="*/ 35 h 259"/>
                  <a:gd name="T22" fmla="*/ 44 w 240"/>
                  <a:gd name="T23" fmla="*/ 49 h 259"/>
                  <a:gd name="T24" fmla="*/ 37 w 240"/>
                  <a:gd name="T25" fmla="*/ 59 h 259"/>
                  <a:gd name="T26" fmla="*/ 31 w 240"/>
                  <a:gd name="T27" fmla="*/ 72 h 259"/>
                  <a:gd name="T28" fmla="*/ 7 w 240"/>
                  <a:gd name="T29" fmla="*/ 74 h 259"/>
                  <a:gd name="T30" fmla="*/ 0 w 240"/>
                  <a:gd name="T31" fmla="*/ 74 h 259"/>
                  <a:gd name="T32" fmla="*/ 4 w 240"/>
                  <a:gd name="T33" fmla="*/ 82 h 25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00" name="Freeform 526">
                <a:extLst>
                  <a:ext uri="{FF2B5EF4-FFF2-40B4-BE49-F238E27FC236}">
                    <a16:creationId xmlns:a16="http://schemas.microsoft.com/office/drawing/2014/main" id="{0BCF67FC-77BD-410F-ABAF-61BDDC03A3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11 w 259"/>
                  <a:gd name="T1" fmla="*/ 34 h 104"/>
                  <a:gd name="T2" fmla="*/ 8 w 259"/>
                  <a:gd name="T3" fmla="*/ 28 h 104"/>
                  <a:gd name="T4" fmla="*/ 17 w 259"/>
                  <a:gd name="T5" fmla="*/ 20 h 104"/>
                  <a:gd name="T6" fmla="*/ 23 w 259"/>
                  <a:gd name="T7" fmla="*/ 16 h 104"/>
                  <a:gd name="T8" fmla="*/ 41 w 259"/>
                  <a:gd name="T9" fmla="*/ 14 h 104"/>
                  <a:gd name="T10" fmla="*/ 56 w 259"/>
                  <a:gd name="T11" fmla="*/ 14 h 104"/>
                  <a:gd name="T12" fmla="*/ 80 w 259"/>
                  <a:gd name="T13" fmla="*/ 10 h 104"/>
                  <a:gd name="T14" fmla="*/ 84 w 259"/>
                  <a:gd name="T15" fmla="*/ 2 h 104"/>
                  <a:gd name="T16" fmla="*/ 80 w 259"/>
                  <a:gd name="T17" fmla="*/ 0 h 104"/>
                  <a:gd name="T18" fmla="*/ 66 w 259"/>
                  <a:gd name="T19" fmla="*/ 4 h 104"/>
                  <a:gd name="T20" fmla="*/ 49 w 259"/>
                  <a:gd name="T21" fmla="*/ 2 h 104"/>
                  <a:gd name="T22" fmla="*/ 34 w 259"/>
                  <a:gd name="T23" fmla="*/ 4 h 104"/>
                  <a:gd name="T24" fmla="*/ 17 w 259"/>
                  <a:gd name="T25" fmla="*/ 6 h 104"/>
                  <a:gd name="T26" fmla="*/ 8 w 259"/>
                  <a:gd name="T27" fmla="*/ 14 h 104"/>
                  <a:gd name="T28" fmla="*/ 0 w 259"/>
                  <a:gd name="T29" fmla="*/ 22 h 104"/>
                  <a:gd name="T30" fmla="*/ 0 w 259"/>
                  <a:gd name="T31" fmla="*/ 34 h 104"/>
                  <a:gd name="T32" fmla="*/ 11 w 259"/>
                  <a:gd name="T33" fmla="*/ 34 h 10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375" name="Freeform 527">
              <a:extLst>
                <a:ext uri="{FF2B5EF4-FFF2-40B4-BE49-F238E27FC236}">
                  <a16:creationId xmlns:a16="http://schemas.microsoft.com/office/drawing/2014/main" id="{E69C6FD4-F9A0-4614-B8A1-EC3EAEF86FB6}"/>
                </a:ext>
              </a:extLst>
            </p:cNvPr>
            <p:cNvSpPr>
              <a:spLocks/>
            </p:cNvSpPr>
            <p:nvPr>
              <p:custDataLst>
                <p:tags r:id="rId363"/>
              </p:custDataLst>
            </p:nvPr>
          </p:nvSpPr>
          <p:spPr bwMode="auto">
            <a:xfrm>
              <a:off x="6372226" y="2638426"/>
              <a:ext cx="530225" cy="511175"/>
            </a:xfrm>
            <a:custGeom>
              <a:avLst/>
              <a:gdLst>
                <a:gd name="T0" fmla="*/ 402746 w 1227"/>
                <a:gd name="T1" fmla="*/ 243317 h 979"/>
                <a:gd name="T2" fmla="*/ 402746 w 1227"/>
                <a:gd name="T3" fmla="*/ 230786 h 979"/>
                <a:gd name="T4" fmla="*/ 401882 w 1227"/>
                <a:gd name="T5" fmla="*/ 215122 h 979"/>
                <a:gd name="T6" fmla="*/ 392375 w 1227"/>
                <a:gd name="T7" fmla="*/ 201024 h 979"/>
                <a:gd name="T8" fmla="*/ 388486 w 1227"/>
                <a:gd name="T9" fmla="*/ 191625 h 979"/>
                <a:gd name="T10" fmla="*/ 353051 w 1227"/>
                <a:gd name="T11" fmla="*/ 162908 h 979"/>
                <a:gd name="T12" fmla="*/ 327988 w 1227"/>
                <a:gd name="T13" fmla="*/ 137323 h 979"/>
                <a:gd name="T14" fmla="*/ 324963 w 1227"/>
                <a:gd name="T15" fmla="*/ 119570 h 979"/>
                <a:gd name="T16" fmla="*/ 313727 w 1227"/>
                <a:gd name="T17" fmla="*/ 113827 h 979"/>
                <a:gd name="T18" fmla="*/ 300331 w 1227"/>
                <a:gd name="T19" fmla="*/ 108083 h 979"/>
                <a:gd name="T20" fmla="*/ 275700 w 1227"/>
                <a:gd name="T21" fmla="*/ 102339 h 979"/>
                <a:gd name="T22" fmla="*/ 257550 w 1227"/>
                <a:gd name="T23" fmla="*/ 104950 h 979"/>
                <a:gd name="T24" fmla="*/ 246315 w 1227"/>
                <a:gd name="T25" fmla="*/ 106517 h 979"/>
                <a:gd name="T26" fmla="*/ 229030 w 1227"/>
                <a:gd name="T27" fmla="*/ 101817 h 979"/>
                <a:gd name="T28" fmla="*/ 218226 w 1227"/>
                <a:gd name="T29" fmla="*/ 93463 h 979"/>
                <a:gd name="T30" fmla="*/ 208719 w 1227"/>
                <a:gd name="T31" fmla="*/ 66834 h 979"/>
                <a:gd name="T32" fmla="*/ 200941 w 1227"/>
                <a:gd name="T33" fmla="*/ 53780 h 979"/>
                <a:gd name="T34" fmla="*/ 186681 w 1227"/>
                <a:gd name="T35" fmla="*/ 42293 h 979"/>
                <a:gd name="T36" fmla="*/ 157728 w 1227"/>
                <a:gd name="T37" fmla="*/ 31851 h 979"/>
                <a:gd name="T38" fmla="*/ 130936 w 1227"/>
                <a:gd name="T39" fmla="*/ 16708 h 979"/>
                <a:gd name="T40" fmla="*/ 92476 w 1227"/>
                <a:gd name="T41" fmla="*/ 5221 h 979"/>
                <a:gd name="T42" fmla="*/ 71734 w 1227"/>
                <a:gd name="T43" fmla="*/ 19841 h 979"/>
                <a:gd name="T44" fmla="*/ 65252 w 1227"/>
                <a:gd name="T45" fmla="*/ 31851 h 979"/>
                <a:gd name="T46" fmla="*/ 66116 w 1227"/>
                <a:gd name="T47" fmla="*/ 46993 h 979"/>
                <a:gd name="T48" fmla="*/ 73030 w 1227"/>
                <a:gd name="T49" fmla="*/ 61613 h 979"/>
                <a:gd name="T50" fmla="*/ 65252 w 1227"/>
                <a:gd name="T51" fmla="*/ 78321 h 979"/>
                <a:gd name="T52" fmla="*/ 41052 w 1227"/>
                <a:gd name="T53" fmla="*/ 97118 h 979"/>
                <a:gd name="T54" fmla="*/ 23335 w 1227"/>
                <a:gd name="T55" fmla="*/ 99207 h 979"/>
                <a:gd name="T56" fmla="*/ 3889 w 1227"/>
                <a:gd name="T57" fmla="*/ 95552 h 979"/>
                <a:gd name="T58" fmla="*/ 0 w 1227"/>
                <a:gd name="T59" fmla="*/ 123225 h 979"/>
                <a:gd name="T60" fmla="*/ 3889 w 1227"/>
                <a:gd name="T61" fmla="*/ 140456 h 979"/>
                <a:gd name="T62" fmla="*/ 10803 w 1227"/>
                <a:gd name="T63" fmla="*/ 147243 h 979"/>
                <a:gd name="T64" fmla="*/ 17285 w 1227"/>
                <a:gd name="T65" fmla="*/ 160297 h 979"/>
                <a:gd name="T66" fmla="*/ 35867 w 1227"/>
                <a:gd name="T67" fmla="*/ 190059 h 979"/>
                <a:gd name="T68" fmla="*/ 44077 w 1227"/>
                <a:gd name="T69" fmla="*/ 216166 h 979"/>
                <a:gd name="T70" fmla="*/ 52288 w 1227"/>
                <a:gd name="T71" fmla="*/ 222954 h 979"/>
                <a:gd name="T72" fmla="*/ 57473 w 1227"/>
                <a:gd name="T73" fmla="*/ 228697 h 979"/>
                <a:gd name="T74" fmla="*/ 63955 w 1227"/>
                <a:gd name="T75" fmla="*/ 244884 h 979"/>
                <a:gd name="T76" fmla="*/ 96797 w 1227"/>
                <a:gd name="T77" fmla="*/ 285088 h 979"/>
                <a:gd name="T78" fmla="*/ 107601 w 1227"/>
                <a:gd name="T79" fmla="*/ 305452 h 979"/>
                <a:gd name="T80" fmla="*/ 110626 w 1227"/>
                <a:gd name="T81" fmla="*/ 325815 h 979"/>
                <a:gd name="T82" fmla="*/ 114947 w 1227"/>
                <a:gd name="T83" fmla="*/ 344090 h 979"/>
                <a:gd name="T84" fmla="*/ 129207 w 1227"/>
                <a:gd name="T85" fmla="*/ 366020 h 979"/>
                <a:gd name="T86" fmla="*/ 155999 w 1227"/>
                <a:gd name="T87" fmla="*/ 397348 h 979"/>
                <a:gd name="T88" fmla="*/ 167667 w 1227"/>
                <a:gd name="T89" fmla="*/ 425022 h 979"/>
                <a:gd name="T90" fmla="*/ 183656 w 1227"/>
                <a:gd name="T91" fmla="*/ 452695 h 979"/>
                <a:gd name="T92" fmla="*/ 208719 w 1227"/>
                <a:gd name="T93" fmla="*/ 489767 h 979"/>
                <a:gd name="T94" fmla="*/ 228165 w 1227"/>
                <a:gd name="T95" fmla="*/ 511175 h 979"/>
                <a:gd name="T96" fmla="*/ 234647 w 1227"/>
                <a:gd name="T97" fmla="*/ 497599 h 979"/>
                <a:gd name="T98" fmla="*/ 235944 w 1227"/>
                <a:gd name="T99" fmla="*/ 474625 h 979"/>
                <a:gd name="T100" fmla="*/ 246315 w 1227"/>
                <a:gd name="T101" fmla="*/ 467837 h 979"/>
                <a:gd name="T102" fmla="*/ 261439 w 1227"/>
                <a:gd name="T103" fmla="*/ 467315 h 979"/>
                <a:gd name="T104" fmla="*/ 285207 w 1227"/>
                <a:gd name="T105" fmla="*/ 474625 h 979"/>
                <a:gd name="T106" fmla="*/ 305949 w 1227"/>
                <a:gd name="T107" fmla="*/ 492378 h 979"/>
                <a:gd name="T108" fmla="*/ 340087 w 1227"/>
                <a:gd name="T109" fmla="*/ 437553 h 979"/>
                <a:gd name="T110" fmla="*/ 518125 w 1227"/>
                <a:gd name="T111" fmla="*/ 296053 h 979"/>
                <a:gd name="T112" fmla="*/ 406203 w 1227"/>
                <a:gd name="T113" fmla="*/ 244361 h 97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6" name="Freeform 528">
              <a:extLst>
                <a:ext uri="{FF2B5EF4-FFF2-40B4-BE49-F238E27FC236}">
                  <a16:creationId xmlns:a16="http://schemas.microsoft.com/office/drawing/2014/main" id="{5E6633CD-8DB9-46FE-93D6-B1FC02743008}"/>
                </a:ext>
              </a:extLst>
            </p:cNvPr>
            <p:cNvSpPr>
              <a:spLocks/>
            </p:cNvSpPr>
            <p:nvPr>
              <p:custDataLst>
                <p:tags r:id="rId364"/>
              </p:custDataLst>
            </p:nvPr>
          </p:nvSpPr>
          <p:spPr bwMode="auto">
            <a:xfrm>
              <a:off x="5846763" y="2182813"/>
              <a:ext cx="57150" cy="57150"/>
            </a:xfrm>
            <a:custGeom>
              <a:avLst/>
              <a:gdLst>
                <a:gd name="T0" fmla="*/ 57150 w 146"/>
                <a:gd name="T1" fmla="*/ 12700 h 81"/>
                <a:gd name="T2" fmla="*/ 54018 w 146"/>
                <a:gd name="T3" fmla="*/ 16933 h 81"/>
                <a:gd name="T4" fmla="*/ 50887 w 146"/>
                <a:gd name="T5" fmla="*/ 20461 h 81"/>
                <a:gd name="T6" fmla="*/ 48147 w 146"/>
                <a:gd name="T7" fmla="*/ 24694 h 81"/>
                <a:gd name="T8" fmla="*/ 46190 w 146"/>
                <a:gd name="T9" fmla="*/ 28928 h 81"/>
                <a:gd name="T10" fmla="*/ 42275 w 146"/>
                <a:gd name="T11" fmla="*/ 37394 h 81"/>
                <a:gd name="T12" fmla="*/ 38361 w 146"/>
                <a:gd name="T13" fmla="*/ 45156 h 81"/>
                <a:gd name="T14" fmla="*/ 36404 w 146"/>
                <a:gd name="T15" fmla="*/ 48683 h 81"/>
                <a:gd name="T16" fmla="*/ 33272 w 146"/>
                <a:gd name="T17" fmla="*/ 51506 h 81"/>
                <a:gd name="T18" fmla="*/ 29749 w 146"/>
                <a:gd name="T19" fmla="*/ 54328 h 81"/>
                <a:gd name="T20" fmla="*/ 25835 w 146"/>
                <a:gd name="T21" fmla="*/ 56444 h 81"/>
                <a:gd name="T22" fmla="*/ 20746 w 146"/>
                <a:gd name="T23" fmla="*/ 57150 h 81"/>
                <a:gd name="T24" fmla="*/ 15266 w 146"/>
                <a:gd name="T25" fmla="*/ 56444 h 81"/>
                <a:gd name="T26" fmla="*/ 8220 w 146"/>
                <a:gd name="T27" fmla="*/ 54328 h 81"/>
                <a:gd name="T28" fmla="*/ 0 w 146"/>
                <a:gd name="T29" fmla="*/ 52211 h 81"/>
                <a:gd name="T30" fmla="*/ 0 w 146"/>
                <a:gd name="T31" fmla="*/ 43744 h 81"/>
                <a:gd name="T32" fmla="*/ 0 w 146"/>
                <a:gd name="T33" fmla="*/ 34572 h 81"/>
                <a:gd name="T34" fmla="*/ 0 w 146"/>
                <a:gd name="T35" fmla="*/ 23989 h 81"/>
                <a:gd name="T36" fmla="*/ 0 w 146"/>
                <a:gd name="T37" fmla="*/ 12700 h 81"/>
                <a:gd name="T38" fmla="*/ 5480 w 146"/>
                <a:gd name="T39" fmla="*/ 12700 h 81"/>
                <a:gd name="T40" fmla="*/ 8612 w 146"/>
                <a:gd name="T41" fmla="*/ 12700 h 81"/>
                <a:gd name="T42" fmla="*/ 12135 w 146"/>
                <a:gd name="T43" fmla="*/ 12700 h 81"/>
                <a:gd name="T44" fmla="*/ 15658 w 146"/>
                <a:gd name="T45" fmla="*/ 12700 h 81"/>
                <a:gd name="T46" fmla="*/ 20355 w 146"/>
                <a:gd name="T47" fmla="*/ 12700 h 81"/>
                <a:gd name="T48" fmla="*/ 24661 w 146"/>
                <a:gd name="T49" fmla="*/ 11289 h 81"/>
                <a:gd name="T50" fmla="*/ 28575 w 146"/>
                <a:gd name="T51" fmla="*/ 9878 h 81"/>
                <a:gd name="T52" fmla="*/ 32489 w 146"/>
                <a:gd name="T53" fmla="*/ 7761 h 81"/>
                <a:gd name="T54" fmla="*/ 39535 w 146"/>
                <a:gd name="T55" fmla="*/ 3528 h 81"/>
                <a:gd name="T56" fmla="*/ 46973 w 146"/>
                <a:gd name="T57" fmla="*/ 0 h 81"/>
                <a:gd name="T58" fmla="*/ 50496 w 146"/>
                <a:gd name="T59" fmla="*/ 2822 h 81"/>
                <a:gd name="T60" fmla="*/ 52844 w 146"/>
                <a:gd name="T61" fmla="*/ 6350 h 81"/>
                <a:gd name="T62" fmla="*/ 55193 w 146"/>
                <a:gd name="T63" fmla="*/ 9878 h 81"/>
                <a:gd name="T64" fmla="*/ 57150 w 146"/>
                <a:gd name="T65" fmla="*/ 12700 h 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7" name="Freeform 529">
              <a:extLst>
                <a:ext uri="{FF2B5EF4-FFF2-40B4-BE49-F238E27FC236}">
                  <a16:creationId xmlns:a16="http://schemas.microsoft.com/office/drawing/2014/main" id="{B27D1D24-A500-4D4D-BCF3-C8FA19F17018}"/>
                </a:ext>
              </a:extLst>
            </p:cNvPr>
            <p:cNvSpPr>
              <a:spLocks/>
            </p:cNvSpPr>
            <p:nvPr>
              <p:custDataLst>
                <p:tags r:id="rId365"/>
              </p:custDataLst>
            </p:nvPr>
          </p:nvSpPr>
          <p:spPr bwMode="auto">
            <a:xfrm>
              <a:off x="5586414" y="2395538"/>
              <a:ext cx="15875" cy="57150"/>
            </a:xfrm>
            <a:custGeom>
              <a:avLst/>
              <a:gdLst>
                <a:gd name="T0" fmla="*/ 15875 w 34"/>
                <a:gd name="T1" fmla="*/ 57150 h 49"/>
                <a:gd name="T2" fmla="*/ 15875 w 34"/>
                <a:gd name="T3" fmla="*/ 39655 h 49"/>
                <a:gd name="T4" fmla="*/ 15875 w 34"/>
                <a:gd name="T5" fmla="*/ 29158 h 49"/>
                <a:gd name="T6" fmla="*/ 15408 w 34"/>
                <a:gd name="T7" fmla="*/ 24493 h 49"/>
                <a:gd name="T8" fmla="*/ 15408 w 34"/>
                <a:gd name="T9" fmla="*/ 19828 h 49"/>
                <a:gd name="T10" fmla="*/ 14474 w 34"/>
                <a:gd name="T11" fmla="*/ 17495 h 49"/>
                <a:gd name="T12" fmla="*/ 14007 w 34"/>
                <a:gd name="T13" fmla="*/ 13996 h 49"/>
                <a:gd name="T14" fmla="*/ 11673 w 34"/>
                <a:gd name="T15" fmla="*/ 9331 h 49"/>
                <a:gd name="T16" fmla="*/ 9805 w 34"/>
                <a:gd name="T17" fmla="*/ 0 h 49"/>
                <a:gd name="T18" fmla="*/ 3735 w 34"/>
                <a:gd name="T19" fmla="*/ 0 h 49"/>
                <a:gd name="T20" fmla="*/ 0 w 34"/>
                <a:gd name="T21" fmla="*/ 0 h 49"/>
                <a:gd name="T22" fmla="*/ 1401 w 34"/>
                <a:gd name="T23" fmla="*/ 12830 h 49"/>
                <a:gd name="T24" fmla="*/ 3268 w 34"/>
                <a:gd name="T25" fmla="*/ 23327 h 49"/>
                <a:gd name="T26" fmla="*/ 4669 w 34"/>
                <a:gd name="T27" fmla="*/ 31491 h 49"/>
                <a:gd name="T28" fmla="*/ 6537 w 34"/>
                <a:gd name="T29" fmla="*/ 39655 h 49"/>
                <a:gd name="T30" fmla="*/ 8871 w 34"/>
                <a:gd name="T31" fmla="*/ 45487 h 49"/>
                <a:gd name="T32" fmla="*/ 11206 w 34"/>
                <a:gd name="T33" fmla="*/ 50152 h 49"/>
                <a:gd name="T34" fmla="*/ 13540 w 34"/>
                <a:gd name="T35" fmla="*/ 53651 h 49"/>
                <a:gd name="T36" fmla="*/ 15875 w 34"/>
                <a:gd name="T37" fmla="*/ 57150 h 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8" name="Freeform 530">
              <a:extLst>
                <a:ext uri="{FF2B5EF4-FFF2-40B4-BE49-F238E27FC236}">
                  <a16:creationId xmlns:a16="http://schemas.microsoft.com/office/drawing/2014/main" id="{B2579B35-E8C4-4495-8D89-77C866254ECF}"/>
                </a:ext>
              </a:extLst>
            </p:cNvPr>
            <p:cNvSpPr>
              <a:spLocks/>
            </p:cNvSpPr>
            <p:nvPr>
              <p:custDataLst>
                <p:tags r:id="rId366"/>
              </p:custDataLst>
            </p:nvPr>
          </p:nvSpPr>
          <p:spPr bwMode="auto">
            <a:xfrm>
              <a:off x="5178426" y="2741613"/>
              <a:ext cx="28575" cy="57150"/>
            </a:xfrm>
            <a:custGeom>
              <a:avLst/>
              <a:gdLst>
                <a:gd name="T0" fmla="*/ 28575 w 60"/>
                <a:gd name="T1" fmla="*/ 0 h 74"/>
                <a:gd name="T2" fmla="*/ 26670 w 60"/>
                <a:gd name="T3" fmla="*/ 3089 h 74"/>
                <a:gd name="T4" fmla="*/ 24289 w 60"/>
                <a:gd name="T5" fmla="*/ 7723 h 74"/>
                <a:gd name="T6" fmla="*/ 22860 w 60"/>
                <a:gd name="T7" fmla="*/ 11584 h 74"/>
                <a:gd name="T8" fmla="*/ 21908 w 60"/>
                <a:gd name="T9" fmla="*/ 16218 h 74"/>
                <a:gd name="T10" fmla="*/ 19526 w 60"/>
                <a:gd name="T11" fmla="*/ 23941 h 74"/>
                <a:gd name="T12" fmla="*/ 17621 w 60"/>
                <a:gd name="T13" fmla="*/ 32436 h 74"/>
                <a:gd name="T14" fmla="*/ 16669 w 60"/>
                <a:gd name="T15" fmla="*/ 36298 h 74"/>
                <a:gd name="T16" fmla="*/ 15240 w 60"/>
                <a:gd name="T17" fmla="*/ 39387 h 74"/>
                <a:gd name="T18" fmla="*/ 13811 w 60"/>
                <a:gd name="T19" fmla="*/ 43249 h 74"/>
                <a:gd name="T20" fmla="*/ 11906 w 60"/>
                <a:gd name="T21" fmla="*/ 46338 h 74"/>
                <a:gd name="T22" fmla="*/ 9525 w 60"/>
                <a:gd name="T23" fmla="*/ 50199 h 74"/>
                <a:gd name="T24" fmla="*/ 7144 w 60"/>
                <a:gd name="T25" fmla="*/ 53289 h 74"/>
                <a:gd name="T26" fmla="*/ 3810 w 60"/>
                <a:gd name="T27" fmla="*/ 55605 h 74"/>
                <a:gd name="T28" fmla="*/ 0 w 60"/>
                <a:gd name="T29" fmla="*/ 57150 h 74"/>
                <a:gd name="T30" fmla="*/ 2381 w 60"/>
                <a:gd name="T31" fmla="*/ 46338 h 74"/>
                <a:gd name="T32" fmla="*/ 5715 w 60"/>
                <a:gd name="T33" fmla="*/ 36298 h 74"/>
                <a:gd name="T34" fmla="*/ 9049 w 60"/>
                <a:gd name="T35" fmla="*/ 26258 h 74"/>
                <a:gd name="T36" fmla="*/ 12859 w 60"/>
                <a:gd name="T37" fmla="*/ 17763 h 74"/>
                <a:gd name="T38" fmla="*/ 17145 w 60"/>
                <a:gd name="T39" fmla="*/ 10812 h 74"/>
                <a:gd name="T40" fmla="*/ 20479 w 60"/>
                <a:gd name="T41" fmla="*/ 4634 h 74"/>
                <a:gd name="T42" fmla="*/ 22860 w 60"/>
                <a:gd name="T43" fmla="*/ 2317 h 74"/>
                <a:gd name="T44" fmla="*/ 24765 w 60"/>
                <a:gd name="T45" fmla="*/ 772 h 74"/>
                <a:gd name="T46" fmla="*/ 26670 w 60"/>
                <a:gd name="T47" fmla="*/ 0 h 74"/>
                <a:gd name="T48" fmla="*/ 28575 w 60"/>
                <a:gd name="T49" fmla="*/ 0 h 7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9" name="Freeform 531">
              <a:extLst>
                <a:ext uri="{FF2B5EF4-FFF2-40B4-BE49-F238E27FC236}">
                  <a16:creationId xmlns:a16="http://schemas.microsoft.com/office/drawing/2014/main" id="{D3A2F2A6-8434-40F5-B403-3C9D1F0CC664}"/>
                </a:ext>
              </a:extLst>
            </p:cNvPr>
            <p:cNvSpPr>
              <a:spLocks/>
            </p:cNvSpPr>
            <p:nvPr>
              <p:custDataLst>
                <p:tags r:id="rId367"/>
              </p:custDataLst>
            </p:nvPr>
          </p:nvSpPr>
          <p:spPr bwMode="auto">
            <a:xfrm>
              <a:off x="5119688" y="2757489"/>
              <a:ext cx="23812" cy="60325"/>
            </a:xfrm>
            <a:custGeom>
              <a:avLst/>
              <a:gdLst>
                <a:gd name="T0" fmla="*/ 6586 w 47"/>
                <a:gd name="T1" fmla="*/ 10724 h 45"/>
                <a:gd name="T2" fmla="*/ 11146 w 47"/>
                <a:gd name="T3" fmla="*/ 10724 h 45"/>
                <a:gd name="T4" fmla="*/ 14186 w 47"/>
                <a:gd name="T5" fmla="*/ 8043 h 45"/>
                <a:gd name="T6" fmla="*/ 16212 w 47"/>
                <a:gd name="T7" fmla="*/ 6703 h 45"/>
                <a:gd name="T8" fmla="*/ 17732 w 47"/>
                <a:gd name="T9" fmla="*/ 4022 h 45"/>
                <a:gd name="T10" fmla="*/ 18746 w 47"/>
                <a:gd name="T11" fmla="*/ 1341 h 45"/>
                <a:gd name="T12" fmla="*/ 19759 w 47"/>
                <a:gd name="T13" fmla="*/ 0 h 45"/>
                <a:gd name="T14" fmla="*/ 21785 w 47"/>
                <a:gd name="T15" fmla="*/ 1341 h 45"/>
                <a:gd name="T16" fmla="*/ 23812 w 47"/>
                <a:gd name="T17" fmla="*/ 2681 h 45"/>
                <a:gd name="T18" fmla="*/ 23305 w 47"/>
                <a:gd name="T19" fmla="*/ 9384 h 45"/>
                <a:gd name="T20" fmla="*/ 23305 w 47"/>
                <a:gd name="T21" fmla="*/ 14746 h 45"/>
                <a:gd name="T22" fmla="*/ 22292 w 47"/>
                <a:gd name="T23" fmla="*/ 20108 h 45"/>
                <a:gd name="T24" fmla="*/ 21785 w 47"/>
                <a:gd name="T25" fmla="*/ 25471 h 45"/>
                <a:gd name="T26" fmla="*/ 18746 w 47"/>
                <a:gd name="T27" fmla="*/ 34854 h 45"/>
                <a:gd name="T28" fmla="*/ 15199 w 47"/>
                <a:gd name="T29" fmla="*/ 42898 h 45"/>
                <a:gd name="T30" fmla="*/ 12159 w 47"/>
                <a:gd name="T31" fmla="*/ 50941 h 45"/>
                <a:gd name="T32" fmla="*/ 8106 w 47"/>
                <a:gd name="T33" fmla="*/ 56303 h 45"/>
                <a:gd name="T34" fmla="*/ 3546 w 47"/>
                <a:gd name="T35" fmla="*/ 60325 h 45"/>
                <a:gd name="T36" fmla="*/ 0 w 47"/>
                <a:gd name="T37" fmla="*/ 60325 h 45"/>
                <a:gd name="T38" fmla="*/ 1013 w 47"/>
                <a:gd name="T39" fmla="*/ 50941 h 45"/>
                <a:gd name="T40" fmla="*/ 3040 w 47"/>
                <a:gd name="T41" fmla="*/ 34854 h 45"/>
                <a:gd name="T42" fmla="*/ 5573 w 47"/>
                <a:gd name="T43" fmla="*/ 20108 h 45"/>
                <a:gd name="T44" fmla="*/ 6586 w 47"/>
                <a:gd name="T45" fmla="*/ 10724 h 4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80" name="Freeform 532">
              <a:extLst>
                <a:ext uri="{FF2B5EF4-FFF2-40B4-BE49-F238E27FC236}">
                  <a16:creationId xmlns:a16="http://schemas.microsoft.com/office/drawing/2014/main" id="{7361AB3D-9C8E-43B9-8E3A-2BD1579680D4}"/>
                </a:ext>
              </a:extLst>
            </p:cNvPr>
            <p:cNvSpPr>
              <a:spLocks/>
            </p:cNvSpPr>
            <p:nvPr>
              <p:custDataLst>
                <p:tags r:id="rId368"/>
              </p:custDataLst>
            </p:nvPr>
          </p:nvSpPr>
          <p:spPr bwMode="auto">
            <a:xfrm>
              <a:off x="5094288" y="2751138"/>
              <a:ext cx="6350" cy="57150"/>
            </a:xfrm>
            <a:custGeom>
              <a:avLst/>
              <a:gdLst>
                <a:gd name="T0" fmla="*/ 1465 w 26"/>
                <a:gd name="T1" fmla="*/ 57150 h 36"/>
                <a:gd name="T2" fmla="*/ 1221 w 26"/>
                <a:gd name="T3" fmla="*/ 47625 h 36"/>
                <a:gd name="T4" fmla="*/ 733 w 26"/>
                <a:gd name="T5" fmla="*/ 31750 h 36"/>
                <a:gd name="T6" fmla="*/ 244 w 26"/>
                <a:gd name="T7" fmla="*/ 15875 h 36"/>
                <a:gd name="T8" fmla="*/ 0 w 26"/>
                <a:gd name="T9" fmla="*/ 0 h 36"/>
                <a:gd name="T10" fmla="*/ 6350 w 26"/>
                <a:gd name="T11" fmla="*/ 0 h 36"/>
                <a:gd name="T12" fmla="*/ 6106 w 26"/>
                <a:gd name="T13" fmla="*/ 19050 h 36"/>
                <a:gd name="T14" fmla="*/ 5862 w 26"/>
                <a:gd name="T15" fmla="*/ 36513 h 36"/>
                <a:gd name="T16" fmla="*/ 5617 w 26"/>
                <a:gd name="T17" fmla="*/ 42863 h 36"/>
                <a:gd name="T18" fmla="*/ 5617 w 26"/>
                <a:gd name="T19" fmla="*/ 49213 h 36"/>
                <a:gd name="T20" fmla="*/ 5862 w 26"/>
                <a:gd name="T21" fmla="*/ 53975 h 36"/>
                <a:gd name="T22" fmla="*/ 6350 w 26"/>
                <a:gd name="T23" fmla="*/ 57150 h 36"/>
                <a:gd name="T24" fmla="*/ 1465 w 26"/>
                <a:gd name="T25" fmla="*/ 57150 h 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81" name="Freeform 533">
              <a:extLst>
                <a:ext uri="{FF2B5EF4-FFF2-40B4-BE49-F238E27FC236}">
                  <a16:creationId xmlns:a16="http://schemas.microsoft.com/office/drawing/2014/main" id="{84E3D846-9247-44E8-ADF5-F6BBB6CD9AB9}"/>
                </a:ext>
              </a:extLst>
            </p:cNvPr>
            <p:cNvSpPr>
              <a:spLocks/>
            </p:cNvSpPr>
            <p:nvPr>
              <p:custDataLst>
                <p:tags r:id="rId369"/>
              </p:custDataLst>
            </p:nvPr>
          </p:nvSpPr>
          <p:spPr bwMode="auto">
            <a:xfrm>
              <a:off x="6365876" y="2479675"/>
              <a:ext cx="174625" cy="158750"/>
            </a:xfrm>
            <a:custGeom>
              <a:avLst/>
              <a:gdLst>
                <a:gd name="T0" fmla="*/ 11210 w 405"/>
                <a:gd name="T1" fmla="*/ 85157 h 302"/>
                <a:gd name="T2" fmla="*/ 12073 w 405"/>
                <a:gd name="T3" fmla="*/ 82003 h 302"/>
                <a:gd name="T4" fmla="*/ 12935 w 405"/>
                <a:gd name="T5" fmla="*/ 80952 h 302"/>
                <a:gd name="T6" fmla="*/ 12073 w 405"/>
                <a:gd name="T7" fmla="*/ 79375 h 302"/>
                <a:gd name="T8" fmla="*/ 7761 w 405"/>
                <a:gd name="T9" fmla="*/ 75170 h 302"/>
                <a:gd name="T10" fmla="*/ 2587 w 405"/>
                <a:gd name="T11" fmla="*/ 66759 h 302"/>
                <a:gd name="T12" fmla="*/ 862 w 405"/>
                <a:gd name="T13" fmla="*/ 60977 h 302"/>
                <a:gd name="T14" fmla="*/ 2156 w 405"/>
                <a:gd name="T15" fmla="*/ 58874 h 302"/>
                <a:gd name="T16" fmla="*/ 2587 w 405"/>
                <a:gd name="T17" fmla="*/ 54669 h 302"/>
                <a:gd name="T18" fmla="*/ 7330 w 405"/>
                <a:gd name="T19" fmla="*/ 50989 h 302"/>
                <a:gd name="T20" fmla="*/ 14660 w 405"/>
                <a:gd name="T21" fmla="*/ 48887 h 302"/>
                <a:gd name="T22" fmla="*/ 20265 w 405"/>
                <a:gd name="T23" fmla="*/ 46258 h 302"/>
                <a:gd name="T24" fmla="*/ 24577 w 405"/>
                <a:gd name="T25" fmla="*/ 43104 h 302"/>
                <a:gd name="T26" fmla="*/ 28889 w 405"/>
                <a:gd name="T27" fmla="*/ 36796 h 302"/>
                <a:gd name="T28" fmla="*/ 32338 w 405"/>
                <a:gd name="T29" fmla="*/ 27334 h 302"/>
                <a:gd name="T30" fmla="*/ 36219 w 405"/>
                <a:gd name="T31" fmla="*/ 24706 h 302"/>
                <a:gd name="T32" fmla="*/ 40961 w 405"/>
                <a:gd name="T33" fmla="*/ 27334 h 302"/>
                <a:gd name="T34" fmla="*/ 50447 w 405"/>
                <a:gd name="T35" fmla="*/ 28386 h 302"/>
                <a:gd name="T36" fmla="*/ 72868 w 405"/>
                <a:gd name="T37" fmla="*/ 24180 h 302"/>
                <a:gd name="T38" fmla="*/ 91409 w 405"/>
                <a:gd name="T39" fmla="*/ 22603 h 302"/>
                <a:gd name="T40" fmla="*/ 100894 w 405"/>
                <a:gd name="T41" fmla="*/ 21552 h 302"/>
                <a:gd name="T42" fmla="*/ 113830 w 405"/>
                <a:gd name="T43" fmla="*/ 18398 h 302"/>
                <a:gd name="T44" fmla="*/ 137113 w 405"/>
                <a:gd name="T45" fmla="*/ 8936 h 302"/>
                <a:gd name="T46" fmla="*/ 154791 w 405"/>
                <a:gd name="T47" fmla="*/ 2103 h 302"/>
                <a:gd name="T48" fmla="*/ 160396 w 405"/>
                <a:gd name="T49" fmla="*/ 1577 h 302"/>
                <a:gd name="T50" fmla="*/ 166002 w 405"/>
                <a:gd name="T51" fmla="*/ 1577 h 302"/>
                <a:gd name="T52" fmla="*/ 171607 w 405"/>
                <a:gd name="T53" fmla="*/ 526 h 302"/>
                <a:gd name="T54" fmla="*/ 170313 w 405"/>
                <a:gd name="T55" fmla="*/ 4205 h 302"/>
                <a:gd name="T56" fmla="*/ 155222 w 405"/>
                <a:gd name="T57" fmla="*/ 21552 h 302"/>
                <a:gd name="T58" fmla="*/ 148323 w 405"/>
                <a:gd name="T59" fmla="*/ 29963 h 302"/>
                <a:gd name="T60" fmla="*/ 146168 w 405"/>
                <a:gd name="T61" fmla="*/ 33642 h 302"/>
                <a:gd name="T62" fmla="*/ 146168 w 405"/>
                <a:gd name="T63" fmla="*/ 50464 h 302"/>
                <a:gd name="T64" fmla="*/ 145305 w 405"/>
                <a:gd name="T65" fmla="*/ 78324 h 302"/>
                <a:gd name="T66" fmla="*/ 144443 w 405"/>
                <a:gd name="T67" fmla="*/ 94619 h 302"/>
                <a:gd name="T68" fmla="*/ 140562 w 405"/>
                <a:gd name="T69" fmla="*/ 104081 h 302"/>
                <a:gd name="T70" fmla="*/ 131508 w 405"/>
                <a:gd name="T71" fmla="*/ 110389 h 302"/>
                <a:gd name="T72" fmla="*/ 114261 w 405"/>
                <a:gd name="T73" fmla="*/ 119325 h 302"/>
                <a:gd name="T74" fmla="*/ 45704 w 405"/>
                <a:gd name="T75" fmla="*/ 158750 h 302"/>
                <a:gd name="T76" fmla="*/ 24577 w 405"/>
                <a:gd name="T77" fmla="*/ 136672 h 302"/>
                <a:gd name="T78" fmla="*/ 30182 w 405"/>
                <a:gd name="T79" fmla="*/ 119851 h 302"/>
                <a:gd name="T80" fmla="*/ 34925 w 405"/>
                <a:gd name="T81" fmla="*/ 109863 h 302"/>
                <a:gd name="T82" fmla="*/ 37081 w 405"/>
                <a:gd name="T83" fmla="*/ 90414 h 302"/>
                <a:gd name="T84" fmla="*/ 30613 w 405"/>
                <a:gd name="T85" fmla="*/ 90940 h 302"/>
                <a:gd name="T86" fmla="*/ 24577 w 405"/>
                <a:gd name="T87" fmla="*/ 88837 h 302"/>
                <a:gd name="T88" fmla="*/ 17678 w 405"/>
                <a:gd name="T89" fmla="*/ 86734 h 302"/>
                <a:gd name="T90" fmla="*/ 11210 w 405"/>
                <a:gd name="T91" fmla="*/ 87260 h 3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2" name="Freeform 534">
              <a:extLst>
                <a:ext uri="{FF2B5EF4-FFF2-40B4-BE49-F238E27FC236}">
                  <a16:creationId xmlns:a16="http://schemas.microsoft.com/office/drawing/2014/main" id="{E553B4B2-05F8-4412-9D07-F7FDF7062E22}"/>
                </a:ext>
              </a:extLst>
            </p:cNvPr>
            <p:cNvSpPr>
              <a:spLocks/>
            </p:cNvSpPr>
            <p:nvPr>
              <p:custDataLst>
                <p:tags r:id="rId370"/>
              </p:custDataLst>
            </p:nvPr>
          </p:nvSpPr>
          <p:spPr bwMode="auto">
            <a:xfrm>
              <a:off x="8459788" y="2860676"/>
              <a:ext cx="42862" cy="79375"/>
            </a:xfrm>
            <a:custGeom>
              <a:avLst/>
              <a:gdLst>
                <a:gd name="T0" fmla="*/ 42862 w 100"/>
                <a:gd name="T1" fmla="*/ 512 h 155"/>
                <a:gd name="T2" fmla="*/ 42862 w 100"/>
                <a:gd name="T3" fmla="*/ 15363 h 155"/>
                <a:gd name="T4" fmla="*/ 42862 w 100"/>
                <a:gd name="T5" fmla="*/ 28165 h 155"/>
                <a:gd name="T6" fmla="*/ 42862 w 100"/>
                <a:gd name="T7" fmla="*/ 39944 h 155"/>
                <a:gd name="T8" fmla="*/ 42862 w 100"/>
                <a:gd name="T9" fmla="*/ 50698 h 155"/>
                <a:gd name="T10" fmla="*/ 42005 w 100"/>
                <a:gd name="T11" fmla="*/ 55819 h 155"/>
                <a:gd name="T12" fmla="*/ 40290 w 100"/>
                <a:gd name="T13" fmla="*/ 60427 h 155"/>
                <a:gd name="T14" fmla="*/ 38147 w 100"/>
                <a:gd name="T15" fmla="*/ 65548 h 155"/>
                <a:gd name="T16" fmla="*/ 35147 w 100"/>
                <a:gd name="T17" fmla="*/ 70157 h 155"/>
                <a:gd name="T18" fmla="*/ 31289 w 100"/>
                <a:gd name="T19" fmla="*/ 73742 h 155"/>
                <a:gd name="T20" fmla="*/ 26574 w 100"/>
                <a:gd name="T21" fmla="*/ 76815 h 155"/>
                <a:gd name="T22" fmla="*/ 24431 w 100"/>
                <a:gd name="T23" fmla="*/ 77839 h 155"/>
                <a:gd name="T24" fmla="*/ 21860 w 100"/>
                <a:gd name="T25" fmla="*/ 78863 h 155"/>
                <a:gd name="T26" fmla="*/ 19717 w 100"/>
                <a:gd name="T27" fmla="*/ 79375 h 155"/>
                <a:gd name="T28" fmla="*/ 16716 w 100"/>
                <a:gd name="T29" fmla="*/ 79375 h 155"/>
                <a:gd name="T30" fmla="*/ 15002 w 100"/>
                <a:gd name="T31" fmla="*/ 78863 h 155"/>
                <a:gd name="T32" fmla="*/ 12859 w 100"/>
                <a:gd name="T33" fmla="*/ 78351 h 155"/>
                <a:gd name="T34" fmla="*/ 11144 w 100"/>
                <a:gd name="T35" fmla="*/ 77327 h 155"/>
                <a:gd name="T36" fmla="*/ 9430 w 100"/>
                <a:gd name="T37" fmla="*/ 76302 h 155"/>
                <a:gd name="T38" fmla="*/ 6429 w 100"/>
                <a:gd name="T39" fmla="*/ 72718 h 155"/>
                <a:gd name="T40" fmla="*/ 3858 w 100"/>
                <a:gd name="T41" fmla="*/ 68621 h 155"/>
                <a:gd name="T42" fmla="*/ 2143 w 100"/>
                <a:gd name="T43" fmla="*/ 63500 h 155"/>
                <a:gd name="T44" fmla="*/ 857 w 100"/>
                <a:gd name="T45" fmla="*/ 57867 h 155"/>
                <a:gd name="T46" fmla="*/ 0 w 100"/>
                <a:gd name="T47" fmla="*/ 52746 h 155"/>
                <a:gd name="T48" fmla="*/ 0 w 100"/>
                <a:gd name="T49" fmla="*/ 47625 h 155"/>
                <a:gd name="T50" fmla="*/ 0 w 100"/>
                <a:gd name="T51" fmla="*/ 39431 h 155"/>
                <a:gd name="T52" fmla="*/ 0 w 100"/>
                <a:gd name="T53" fmla="*/ 33286 h 155"/>
                <a:gd name="T54" fmla="*/ 0 w 100"/>
                <a:gd name="T55" fmla="*/ 28677 h 155"/>
                <a:gd name="T56" fmla="*/ 0 w 100"/>
                <a:gd name="T57" fmla="*/ 25605 h 155"/>
                <a:gd name="T58" fmla="*/ 6429 w 100"/>
                <a:gd name="T59" fmla="*/ 25605 h 155"/>
                <a:gd name="T60" fmla="*/ 11144 w 100"/>
                <a:gd name="T61" fmla="*/ 25605 h 155"/>
                <a:gd name="T62" fmla="*/ 11144 w 100"/>
                <a:gd name="T63" fmla="*/ 20484 h 155"/>
                <a:gd name="T64" fmla="*/ 11573 w 100"/>
                <a:gd name="T65" fmla="*/ 15875 h 155"/>
                <a:gd name="T66" fmla="*/ 12430 w 100"/>
                <a:gd name="T67" fmla="*/ 11778 h 155"/>
                <a:gd name="T68" fmla="*/ 13287 w 100"/>
                <a:gd name="T69" fmla="*/ 8706 h 155"/>
                <a:gd name="T70" fmla="*/ 15002 w 100"/>
                <a:gd name="T71" fmla="*/ 6145 h 155"/>
                <a:gd name="T72" fmla="*/ 16716 w 100"/>
                <a:gd name="T73" fmla="*/ 3585 h 155"/>
                <a:gd name="T74" fmla="*/ 18002 w 100"/>
                <a:gd name="T75" fmla="*/ 2048 h 155"/>
                <a:gd name="T76" fmla="*/ 20574 w 100"/>
                <a:gd name="T77" fmla="*/ 1024 h 155"/>
                <a:gd name="T78" fmla="*/ 25289 w 100"/>
                <a:gd name="T79" fmla="*/ 0 h 155"/>
                <a:gd name="T80" fmla="*/ 30432 w 100"/>
                <a:gd name="T81" fmla="*/ 0 h 155"/>
                <a:gd name="T82" fmla="*/ 36004 w 100"/>
                <a:gd name="T83" fmla="*/ 0 h 155"/>
                <a:gd name="T84" fmla="*/ 42862 w 100"/>
                <a:gd name="T85" fmla="*/ 512 h 1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383" name="Group 535">
              <a:extLst>
                <a:ext uri="{FF2B5EF4-FFF2-40B4-BE49-F238E27FC236}">
                  <a16:creationId xmlns:a16="http://schemas.microsoft.com/office/drawing/2014/main" id="{BE5538B7-92D5-4989-BB7A-8FAC11C0AFD4}"/>
                </a:ext>
              </a:extLst>
            </p:cNvPr>
            <p:cNvGrpSpPr>
              <a:grpSpLocks/>
            </p:cNvGrpSpPr>
            <p:nvPr>
              <p:custDataLst>
                <p:tags r:id="rId371"/>
              </p:custDataLst>
            </p:nvPr>
          </p:nvGrpSpPr>
          <p:grpSpPr bwMode="auto">
            <a:xfrm>
              <a:off x="6107113" y="2328863"/>
              <a:ext cx="482600" cy="201612"/>
              <a:chOff x="3289" y="1830"/>
              <a:chExt cx="363" cy="128"/>
            </a:xfrm>
          </p:grpSpPr>
          <p:sp>
            <p:nvSpPr>
              <p:cNvPr id="394" name="Freeform 536">
                <a:extLst>
                  <a:ext uri="{FF2B5EF4-FFF2-40B4-BE49-F238E27FC236}">
                    <a16:creationId xmlns:a16="http://schemas.microsoft.com/office/drawing/2014/main" id="{5F500CC7-A654-4BF9-87AC-D33A55000D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4 w 13"/>
                  <a:gd name="T1" fmla="*/ 0 h 7"/>
                  <a:gd name="T2" fmla="*/ 4 w 13"/>
                  <a:gd name="T3" fmla="*/ 0 h 7"/>
                  <a:gd name="T4" fmla="*/ 3 w 13"/>
                  <a:gd name="T5" fmla="*/ 1 h 7"/>
                  <a:gd name="T6" fmla="*/ 1 w 13"/>
                  <a:gd name="T7" fmla="*/ 2 h 7"/>
                  <a:gd name="T8" fmla="*/ 0 w 13"/>
                  <a:gd name="T9" fmla="*/ 3 h 7"/>
                  <a:gd name="T10" fmla="*/ 2 w 13"/>
                  <a:gd name="T11" fmla="*/ 1 h 7"/>
                  <a:gd name="T12" fmla="*/ 4 w 13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5" name="Freeform 537">
                <a:extLst>
                  <a:ext uri="{FF2B5EF4-FFF2-40B4-BE49-F238E27FC236}">
                    <a16:creationId xmlns:a16="http://schemas.microsoft.com/office/drawing/2014/main" id="{DBFA9877-DD60-4E51-8274-8E0FA17589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2 h 8"/>
                  <a:gd name="T2" fmla="*/ 2 w 34"/>
                  <a:gd name="T3" fmla="*/ 2 h 8"/>
                  <a:gd name="T4" fmla="*/ 4 w 34"/>
                  <a:gd name="T5" fmla="*/ 1 h 8"/>
                  <a:gd name="T6" fmla="*/ 7 w 34"/>
                  <a:gd name="T7" fmla="*/ 0 h 8"/>
                  <a:gd name="T8" fmla="*/ 10 w 34"/>
                  <a:gd name="T9" fmla="*/ 0 h 8"/>
                  <a:gd name="T10" fmla="*/ 9 w 34"/>
                  <a:gd name="T11" fmla="*/ 1 h 8"/>
                  <a:gd name="T12" fmla="*/ 8 w 34"/>
                  <a:gd name="T13" fmla="*/ 2 h 8"/>
                  <a:gd name="T14" fmla="*/ 6 w 34"/>
                  <a:gd name="T15" fmla="*/ 2 h 8"/>
                  <a:gd name="T16" fmla="*/ 5 w 34"/>
                  <a:gd name="T17" fmla="*/ 3 h 8"/>
                  <a:gd name="T18" fmla="*/ 4 w 34"/>
                  <a:gd name="T19" fmla="*/ 3 h 8"/>
                  <a:gd name="T20" fmla="*/ 2 w 34"/>
                  <a:gd name="T21" fmla="*/ 3 h 8"/>
                  <a:gd name="T22" fmla="*/ 1 w 34"/>
                  <a:gd name="T23" fmla="*/ 3 h 8"/>
                  <a:gd name="T24" fmla="*/ 0 w 34"/>
                  <a:gd name="T25" fmla="*/ 2 h 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6" name="Freeform 538">
                <a:extLst>
                  <a:ext uri="{FF2B5EF4-FFF2-40B4-BE49-F238E27FC236}">
                    <a16:creationId xmlns:a16="http://schemas.microsoft.com/office/drawing/2014/main" id="{D1C59492-8C05-423C-B5AE-B67F1F791D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8 h 24"/>
                  <a:gd name="T2" fmla="*/ 0 w 13"/>
                  <a:gd name="T3" fmla="*/ 0 h 24"/>
                  <a:gd name="T4" fmla="*/ 4 w 13"/>
                  <a:gd name="T5" fmla="*/ 4 h 24"/>
                  <a:gd name="T6" fmla="*/ 0 w 13"/>
                  <a:gd name="T7" fmla="*/ 8 h 2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7" name="Freeform 539">
                <a:extLst>
                  <a:ext uri="{FF2B5EF4-FFF2-40B4-BE49-F238E27FC236}">
                    <a16:creationId xmlns:a16="http://schemas.microsoft.com/office/drawing/2014/main" id="{607DE46D-E914-429A-92EE-4D07CF3F11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4 h 69"/>
                  <a:gd name="T2" fmla="*/ 0 w 107"/>
                  <a:gd name="T3" fmla="*/ 9 h 69"/>
                  <a:gd name="T4" fmla="*/ 0 w 107"/>
                  <a:gd name="T5" fmla="*/ 15 h 69"/>
                  <a:gd name="T6" fmla="*/ 0 w 107"/>
                  <a:gd name="T7" fmla="*/ 21 h 69"/>
                  <a:gd name="T8" fmla="*/ 0 w 107"/>
                  <a:gd name="T9" fmla="*/ 23 h 69"/>
                  <a:gd name="T10" fmla="*/ 5 w 107"/>
                  <a:gd name="T11" fmla="*/ 22 h 69"/>
                  <a:gd name="T12" fmla="*/ 16 w 107"/>
                  <a:gd name="T13" fmla="*/ 19 h 69"/>
                  <a:gd name="T14" fmla="*/ 27 w 107"/>
                  <a:gd name="T15" fmla="*/ 17 h 69"/>
                  <a:gd name="T16" fmla="*/ 34 w 107"/>
                  <a:gd name="T17" fmla="*/ 15 h 69"/>
                  <a:gd name="T18" fmla="*/ 32 w 107"/>
                  <a:gd name="T19" fmla="*/ 13 h 69"/>
                  <a:gd name="T20" fmla="*/ 30 w 107"/>
                  <a:gd name="T21" fmla="*/ 11 h 69"/>
                  <a:gd name="T22" fmla="*/ 27 w 107"/>
                  <a:gd name="T23" fmla="*/ 10 h 69"/>
                  <a:gd name="T24" fmla="*/ 25 w 107"/>
                  <a:gd name="T25" fmla="*/ 9 h 69"/>
                  <a:gd name="T26" fmla="*/ 23 w 107"/>
                  <a:gd name="T27" fmla="*/ 8 h 69"/>
                  <a:gd name="T28" fmla="*/ 21 w 107"/>
                  <a:gd name="T29" fmla="*/ 6 h 69"/>
                  <a:gd name="T30" fmla="*/ 20 w 107"/>
                  <a:gd name="T31" fmla="*/ 5 h 69"/>
                  <a:gd name="T32" fmla="*/ 20 w 107"/>
                  <a:gd name="T33" fmla="*/ 4 h 69"/>
                  <a:gd name="T34" fmla="*/ 19 w 107"/>
                  <a:gd name="T35" fmla="*/ 2 h 69"/>
                  <a:gd name="T36" fmla="*/ 19 w 107"/>
                  <a:gd name="T37" fmla="*/ 0 h 69"/>
                  <a:gd name="T38" fmla="*/ 17 w 107"/>
                  <a:gd name="T39" fmla="*/ 0 h 69"/>
                  <a:gd name="T40" fmla="*/ 12 w 107"/>
                  <a:gd name="T41" fmla="*/ 1 h 69"/>
                  <a:gd name="T42" fmla="*/ 6 w 107"/>
                  <a:gd name="T43" fmla="*/ 3 h 69"/>
                  <a:gd name="T44" fmla="*/ 0 w 107"/>
                  <a:gd name="T45" fmla="*/ 4 h 6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8" name="Freeform 540">
                <a:extLst>
                  <a:ext uri="{FF2B5EF4-FFF2-40B4-BE49-F238E27FC236}">
                    <a16:creationId xmlns:a16="http://schemas.microsoft.com/office/drawing/2014/main" id="{CAB9A126-F07F-46D9-A290-DC6020A609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324 w 1070"/>
                  <a:gd name="T1" fmla="*/ 42 h 382"/>
                  <a:gd name="T2" fmla="*/ 317 w 1070"/>
                  <a:gd name="T3" fmla="*/ 35 h 382"/>
                  <a:gd name="T4" fmla="*/ 315 w 1070"/>
                  <a:gd name="T5" fmla="*/ 19 h 382"/>
                  <a:gd name="T6" fmla="*/ 306 w 1070"/>
                  <a:gd name="T7" fmla="*/ 12 h 382"/>
                  <a:gd name="T8" fmla="*/ 267 w 1070"/>
                  <a:gd name="T9" fmla="*/ 6 h 382"/>
                  <a:gd name="T10" fmla="*/ 237 w 1070"/>
                  <a:gd name="T11" fmla="*/ 19 h 382"/>
                  <a:gd name="T12" fmla="*/ 222 w 1070"/>
                  <a:gd name="T13" fmla="*/ 22 h 382"/>
                  <a:gd name="T14" fmla="*/ 207 w 1070"/>
                  <a:gd name="T15" fmla="*/ 22 h 382"/>
                  <a:gd name="T16" fmla="*/ 200 w 1070"/>
                  <a:gd name="T17" fmla="*/ 15 h 382"/>
                  <a:gd name="T18" fmla="*/ 183 w 1070"/>
                  <a:gd name="T19" fmla="*/ 12 h 382"/>
                  <a:gd name="T20" fmla="*/ 172 w 1070"/>
                  <a:gd name="T21" fmla="*/ 6 h 382"/>
                  <a:gd name="T22" fmla="*/ 158 w 1070"/>
                  <a:gd name="T23" fmla="*/ 7 h 382"/>
                  <a:gd name="T24" fmla="*/ 152 w 1070"/>
                  <a:gd name="T25" fmla="*/ 0 h 382"/>
                  <a:gd name="T26" fmla="*/ 128 w 1070"/>
                  <a:gd name="T27" fmla="*/ 5 h 382"/>
                  <a:gd name="T28" fmla="*/ 98 w 1070"/>
                  <a:gd name="T29" fmla="*/ 9 h 382"/>
                  <a:gd name="T30" fmla="*/ 84 w 1070"/>
                  <a:gd name="T31" fmla="*/ 15 h 382"/>
                  <a:gd name="T32" fmla="*/ 45 w 1070"/>
                  <a:gd name="T33" fmla="*/ 20 h 382"/>
                  <a:gd name="T34" fmla="*/ 57 w 1070"/>
                  <a:gd name="T35" fmla="*/ 25 h 382"/>
                  <a:gd name="T36" fmla="*/ 54 w 1070"/>
                  <a:gd name="T37" fmla="*/ 30 h 382"/>
                  <a:gd name="T38" fmla="*/ 37 w 1070"/>
                  <a:gd name="T39" fmla="*/ 31 h 382"/>
                  <a:gd name="T40" fmla="*/ 14 w 1070"/>
                  <a:gd name="T41" fmla="*/ 31 h 382"/>
                  <a:gd name="T42" fmla="*/ 3 w 1070"/>
                  <a:gd name="T43" fmla="*/ 37 h 382"/>
                  <a:gd name="T44" fmla="*/ 0 w 1070"/>
                  <a:gd name="T45" fmla="*/ 49 h 382"/>
                  <a:gd name="T46" fmla="*/ 5 w 1070"/>
                  <a:gd name="T47" fmla="*/ 56 h 382"/>
                  <a:gd name="T48" fmla="*/ 7 w 1070"/>
                  <a:gd name="T49" fmla="*/ 65 h 382"/>
                  <a:gd name="T50" fmla="*/ 7 w 1070"/>
                  <a:gd name="T51" fmla="*/ 70 h 382"/>
                  <a:gd name="T52" fmla="*/ 16 w 1070"/>
                  <a:gd name="T53" fmla="*/ 79 h 382"/>
                  <a:gd name="T54" fmla="*/ 18 w 1070"/>
                  <a:gd name="T55" fmla="*/ 87 h 382"/>
                  <a:gd name="T56" fmla="*/ 24 w 1070"/>
                  <a:gd name="T57" fmla="*/ 91 h 382"/>
                  <a:gd name="T58" fmla="*/ 31 w 1070"/>
                  <a:gd name="T59" fmla="*/ 97 h 382"/>
                  <a:gd name="T60" fmla="*/ 67 w 1070"/>
                  <a:gd name="T61" fmla="*/ 118 h 382"/>
                  <a:gd name="T62" fmla="*/ 83 w 1070"/>
                  <a:gd name="T63" fmla="*/ 124 h 382"/>
                  <a:gd name="T64" fmla="*/ 87 w 1070"/>
                  <a:gd name="T65" fmla="*/ 120 h 382"/>
                  <a:gd name="T66" fmla="*/ 91 w 1070"/>
                  <a:gd name="T67" fmla="*/ 113 h 382"/>
                  <a:gd name="T68" fmla="*/ 97 w 1070"/>
                  <a:gd name="T69" fmla="*/ 106 h 382"/>
                  <a:gd name="T70" fmla="*/ 109 w 1070"/>
                  <a:gd name="T71" fmla="*/ 108 h 382"/>
                  <a:gd name="T72" fmla="*/ 118 w 1070"/>
                  <a:gd name="T73" fmla="*/ 120 h 382"/>
                  <a:gd name="T74" fmla="*/ 131 w 1070"/>
                  <a:gd name="T75" fmla="*/ 124 h 382"/>
                  <a:gd name="T76" fmla="*/ 146 w 1070"/>
                  <a:gd name="T77" fmla="*/ 120 h 382"/>
                  <a:gd name="T78" fmla="*/ 161 w 1070"/>
                  <a:gd name="T79" fmla="*/ 112 h 382"/>
                  <a:gd name="T80" fmla="*/ 172 w 1070"/>
                  <a:gd name="T81" fmla="*/ 110 h 382"/>
                  <a:gd name="T82" fmla="*/ 184 w 1070"/>
                  <a:gd name="T83" fmla="*/ 109 h 382"/>
                  <a:gd name="T84" fmla="*/ 185 w 1070"/>
                  <a:gd name="T85" fmla="*/ 123 h 382"/>
                  <a:gd name="T86" fmla="*/ 193 w 1070"/>
                  <a:gd name="T87" fmla="*/ 126 h 382"/>
                  <a:gd name="T88" fmla="*/ 201 w 1070"/>
                  <a:gd name="T89" fmla="*/ 121 h 382"/>
                  <a:gd name="T90" fmla="*/ 212 w 1070"/>
                  <a:gd name="T91" fmla="*/ 113 h 382"/>
                  <a:gd name="T92" fmla="*/ 246 w 1070"/>
                  <a:gd name="T93" fmla="*/ 110 h 382"/>
                  <a:gd name="T94" fmla="*/ 272 w 1070"/>
                  <a:gd name="T95" fmla="*/ 106 h 382"/>
                  <a:gd name="T96" fmla="*/ 300 w 1070"/>
                  <a:gd name="T97" fmla="*/ 95 h 382"/>
                  <a:gd name="T98" fmla="*/ 316 w 1070"/>
                  <a:gd name="T99" fmla="*/ 96 h 382"/>
                  <a:gd name="T100" fmla="*/ 329 w 1070"/>
                  <a:gd name="T101" fmla="*/ 98 h 382"/>
                  <a:gd name="T102" fmla="*/ 345 w 1070"/>
                  <a:gd name="T103" fmla="*/ 103 h 382"/>
                  <a:gd name="T104" fmla="*/ 345 w 1070"/>
                  <a:gd name="T105" fmla="*/ 90 h 382"/>
                  <a:gd name="T106" fmla="*/ 336 w 1070"/>
                  <a:gd name="T107" fmla="*/ 73 h 382"/>
                  <a:gd name="T108" fmla="*/ 333 w 1070"/>
                  <a:gd name="T109" fmla="*/ 56 h 38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384" name="Freeform 541">
              <a:extLst>
                <a:ext uri="{FF2B5EF4-FFF2-40B4-BE49-F238E27FC236}">
                  <a16:creationId xmlns:a16="http://schemas.microsoft.com/office/drawing/2014/main" id="{0354F81B-7560-4A44-A93E-7E52355F5C5C}"/>
                </a:ext>
              </a:extLst>
            </p:cNvPr>
            <p:cNvSpPr>
              <a:spLocks/>
            </p:cNvSpPr>
            <p:nvPr>
              <p:custDataLst>
                <p:tags r:id="rId372"/>
              </p:custDataLst>
            </p:nvPr>
          </p:nvSpPr>
          <p:spPr bwMode="auto">
            <a:xfrm>
              <a:off x="4095751" y="3481389"/>
              <a:ext cx="100013" cy="122237"/>
            </a:xfrm>
            <a:custGeom>
              <a:avLst/>
              <a:gdLst>
                <a:gd name="T0" fmla="*/ 27880 w 226"/>
                <a:gd name="T1" fmla="*/ 121721 h 237"/>
                <a:gd name="T2" fmla="*/ 30092 w 226"/>
                <a:gd name="T3" fmla="*/ 122237 h 237"/>
                <a:gd name="T4" fmla="*/ 33190 w 226"/>
                <a:gd name="T5" fmla="*/ 121205 h 237"/>
                <a:gd name="T6" fmla="*/ 36730 w 226"/>
                <a:gd name="T7" fmla="*/ 120690 h 237"/>
                <a:gd name="T8" fmla="*/ 39386 w 226"/>
                <a:gd name="T9" fmla="*/ 118627 h 237"/>
                <a:gd name="T10" fmla="*/ 42483 w 226"/>
                <a:gd name="T11" fmla="*/ 115016 h 237"/>
                <a:gd name="T12" fmla="*/ 43811 w 226"/>
                <a:gd name="T13" fmla="*/ 110374 h 237"/>
                <a:gd name="T14" fmla="*/ 54432 w 226"/>
                <a:gd name="T15" fmla="*/ 107795 h 237"/>
                <a:gd name="T16" fmla="*/ 73461 w 226"/>
                <a:gd name="T17" fmla="*/ 105732 h 237"/>
                <a:gd name="T18" fmla="*/ 86294 w 226"/>
                <a:gd name="T19" fmla="*/ 102122 h 237"/>
                <a:gd name="T20" fmla="*/ 92490 w 226"/>
                <a:gd name="T21" fmla="*/ 98512 h 237"/>
                <a:gd name="T22" fmla="*/ 97358 w 226"/>
                <a:gd name="T23" fmla="*/ 93354 h 237"/>
                <a:gd name="T24" fmla="*/ 99570 w 226"/>
                <a:gd name="T25" fmla="*/ 86649 h 237"/>
                <a:gd name="T26" fmla="*/ 100013 w 226"/>
                <a:gd name="T27" fmla="*/ 78912 h 237"/>
                <a:gd name="T28" fmla="*/ 98685 w 226"/>
                <a:gd name="T29" fmla="*/ 72208 h 237"/>
                <a:gd name="T30" fmla="*/ 95145 w 226"/>
                <a:gd name="T31" fmla="*/ 63439 h 237"/>
                <a:gd name="T32" fmla="*/ 89835 w 226"/>
                <a:gd name="T33" fmla="*/ 51577 h 237"/>
                <a:gd name="T34" fmla="*/ 86737 w 226"/>
                <a:gd name="T35" fmla="*/ 43325 h 237"/>
                <a:gd name="T36" fmla="*/ 85409 w 226"/>
                <a:gd name="T37" fmla="*/ 38167 h 237"/>
                <a:gd name="T38" fmla="*/ 86294 w 226"/>
                <a:gd name="T39" fmla="*/ 30430 h 237"/>
                <a:gd name="T40" fmla="*/ 88507 w 226"/>
                <a:gd name="T41" fmla="*/ 22178 h 237"/>
                <a:gd name="T42" fmla="*/ 94260 w 226"/>
                <a:gd name="T43" fmla="*/ 12894 h 237"/>
                <a:gd name="T44" fmla="*/ 94260 w 226"/>
                <a:gd name="T45" fmla="*/ 7221 h 237"/>
                <a:gd name="T46" fmla="*/ 84524 w 226"/>
                <a:gd name="T47" fmla="*/ 3610 h 237"/>
                <a:gd name="T48" fmla="*/ 68150 w 226"/>
                <a:gd name="T49" fmla="*/ 1032 h 237"/>
                <a:gd name="T50" fmla="*/ 8851 w 226"/>
                <a:gd name="T51" fmla="*/ 3095 h 237"/>
                <a:gd name="T52" fmla="*/ 7966 w 226"/>
                <a:gd name="T53" fmla="*/ 15989 h 237"/>
                <a:gd name="T54" fmla="*/ 4425 w 226"/>
                <a:gd name="T55" fmla="*/ 27851 h 237"/>
                <a:gd name="T56" fmla="*/ 1328 w 226"/>
                <a:gd name="T57" fmla="*/ 40746 h 237"/>
                <a:gd name="T58" fmla="*/ 0 w 226"/>
                <a:gd name="T59" fmla="*/ 57250 h 237"/>
                <a:gd name="T60" fmla="*/ 1328 w 226"/>
                <a:gd name="T61" fmla="*/ 67050 h 237"/>
                <a:gd name="T62" fmla="*/ 4425 w 226"/>
                <a:gd name="T63" fmla="*/ 75302 h 237"/>
                <a:gd name="T64" fmla="*/ 13276 w 226"/>
                <a:gd name="T65" fmla="*/ 89228 h 237"/>
                <a:gd name="T66" fmla="*/ 22569 w 226"/>
                <a:gd name="T67" fmla="*/ 102638 h 237"/>
                <a:gd name="T68" fmla="*/ 25225 w 226"/>
                <a:gd name="T69" fmla="*/ 111406 h 237"/>
                <a:gd name="T70" fmla="*/ 26995 w 226"/>
                <a:gd name="T71" fmla="*/ 120690 h 23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85" name="Freeform 542">
              <a:extLst>
                <a:ext uri="{FF2B5EF4-FFF2-40B4-BE49-F238E27FC236}">
                  <a16:creationId xmlns:a16="http://schemas.microsoft.com/office/drawing/2014/main" id="{7973639B-2053-4BA3-9E98-B4EA6630F277}"/>
                </a:ext>
              </a:extLst>
            </p:cNvPr>
            <p:cNvSpPr>
              <a:spLocks/>
            </p:cNvSpPr>
            <p:nvPr>
              <p:custDataLst>
                <p:tags r:id="rId373"/>
              </p:custDataLst>
            </p:nvPr>
          </p:nvSpPr>
          <p:spPr bwMode="auto">
            <a:xfrm>
              <a:off x="8040688" y="2917825"/>
              <a:ext cx="207962" cy="458788"/>
            </a:xfrm>
            <a:custGeom>
              <a:avLst/>
              <a:gdLst>
                <a:gd name="T0" fmla="*/ 124864 w 478"/>
                <a:gd name="T1" fmla="*/ 57152 h 875"/>
                <a:gd name="T2" fmla="*/ 108767 w 478"/>
                <a:gd name="T3" fmla="*/ 72357 h 875"/>
                <a:gd name="T4" fmla="*/ 86578 w 478"/>
                <a:gd name="T5" fmla="*/ 103293 h 875"/>
                <a:gd name="T6" fmla="*/ 86143 w 478"/>
                <a:gd name="T7" fmla="*/ 111682 h 875"/>
                <a:gd name="T8" fmla="*/ 89624 w 478"/>
                <a:gd name="T9" fmla="*/ 125315 h 875"/>
                <a:gd name="T10" fmla="*/ 96150 w 478"/>
                <a:gd name="T11" fmla="*/ 138947 h 875"/>
                <a:gd name="T12" fmla="*/ 104416 w 478"/>
                <a:gd name="T13" fmla="*/ 151007 h 875"/>
                <a:gd name="T14" fmla="*/ 112682 w 478"/>
                <a:gd name="T15" fmla="*/ 157823 h 875"/>
                <a:gd name="T16" fmla="*/ 121384 w 478"/>
                <a:gd name="T17" fmla="*/ 172504 h 875"/>
                <a:gd name="T18" fmla="*/ 128345 w 478"/>
                <a:gd name="T19" fmla="*/ 189283 h 875"/>
                <a:gd name="T20" fmla="*/ 132695 w 478"/>
                <a:gd name="T21" fmla="*/ 193477 h 875"/>
                <a:gd name="T22" fmla="*/ 190559 w 478"/>
                <a:gd name="T23" fmla="*/ 261640 h 875"/>
                <a:gd name="T24" fmla="*/ 204917 w 478"/>
                <a:gd name="T25" fmla="*/ 308830 h 875"/>
                <a:gd name="T26" fmla="*/ 207962 w 478"/>
                <a:gd name="T27" fmla="*/ 339241 h 875"/>
                <a:gd name="T28" fmla="*/ 207092 w 478"/>
                <a:gd name="T29" fmla="*/ 360214 h 875"/>
                <a:gd name="T30" fmla="*/ 207962 w 478"/>
                <a:gd name="T31" fmla="*/ 371225 h 875"/>
                <a:gd name="T32" fmla="*/ 194475 w 478"/>
                <a:gd name="T33" fmla="*/ 376468 h 875"/>
                <a:gd name="T34" fmla="*/ 182728 w 478"/>
                <a:gd name="T35" fmla="*/ 384333 h 875"/>
                <a:gd name="T36" fmla="*/ 170111 w 478"/>
                <a:gd name="T37" fmla="*/ 396393 h 875"/>
                <a:gd name="T38" fmla="*/ 158799 w 478"/>
                <a:gd name="T39" fmla="*/ 413696 h 875"/>
                <a:gd name="T40" fmla="*/ 151403 w 478"/>
                <a:gd name="T41" fmla="*/ 411598 h 875"/>
                <a:gd name="T42" fmla="*/ 138786 w 478"/>
                <a:gd name="T43" fmla="*/ 413696 h 875"/>
                <a:gd name="T44" fmla="*/ 136176 w 478"/>
                <a:gd name="T45" fmla="*/ 421561 h 875"/>
                <a:gd name="T46" fmla="*/ 125734 w 478"/>
                <a:gd name="T47" fmla="*/ 439388 h 875"/>
                <a:gd name="T48" fmla="*/ 111377 w 478"/>
                <a:gd name="T49" fmla="*/ 455118 h 875"/>
                <a:gd name="T50" fmla="*/ 103981 w 478"/>
                <a:gd name="T51" fmla="*/ 458788 h 875"/>
                <a:gd name="T52" fmla="*/ 100936 w 478"/>
                <a:gd name="T53" fmla="*/ 455118 h 875"/>
                <a:gd name="T54" fmla="*/ 97890 w 478"/>
                <a:gd name="T55" fmla="*/ 442534 h 875"/>
                <a:gd name="T56" fmla="*/ 100500 w 478"/>
                <a:gd name="T57" fmla="*/ 419463 h 875"/>
                <a:gd name="T58" fmla="*/ 110072 w 478"/>
                <a:gd name="T59" fmla="*/ 406355 h 875"/>
                <a:gd name="T60" fmla="*/ 120514 w 478"/>
                <a:gd name="T61" fmla="*/ 398490 h 875"/>
                <a:gd name="T62" fmla="*/ 128345 w 478"/>
                <a:gd name="T63" fmla="*/ 394820 h 875"/>
                <a:gd name="T64" fmla="*/ 132695 w 478"/>
                <a:gd name="T65" fmla="*/ 389577 h 875"/>
                <a:gd name="T66" fmla="*/ 136611 w 478"/>
                <a:gd name="T67" fmla="*/ 374371 h 875"/>
                <a:gd name="T68" fmla="*/ 143572 w 478"/>
                <a:gd name="T69" fmla="*/ 359690 h 875"/>
                <a:gd name="T70" fmla="*/ 158799 w 478"/>
                <a:gd name="T71" fmla="*/ 337144 h 875"/>
                <a:gd name="T72" fmla="*/ 161410 w 478"/>
                <a:gd name="T73" fmla="*/ 281040 h 875"/>
                <a:gd name="T74" fmla="*/ 158364 w 478"/>
                <a:gd name="T75" fmla="*/ 249056 h 875"/>
                <a:gd name="T76" fmla="*/ 148358 w 478"/>
                <a:gd name="T77" fmla="*/ 223889 h 875"/>
                <a:gd name="T78" fmla="*/ 129215 w 478"/>
                <a:gd name="T79" fmla="*/ 197672 h 875"/>
                <a:gd name="T80" fmla="*/ 95280 w 478"/>
                <a:gd name="T81" fmla="*/ 161493 h 875"/>
                <a:gd name="T82" fmla="*/ 70046 w 478"/>
                <a:gd name="T83" fmla="*/ 133704 h 875"/>
                <a:gd name="T84" fmla="*/ 46987 w 478"/>
                <a:gd name="T85" fmla="*/ 103817 h 875"/>
                <a:gd name="T86" fmla="*/ 31325 w 478"/>
                <a:gd name="T87" fmla="*/ 76552 h 875"/>
                <a:gd name="T88" fmla="*/ 18273 w 478"/>
                <a:gd name="T89" fmla="*/ 54530 h 875"/>
                <a:gd name="T90" fmla="*/ 20013 w 478"/>
                <a:gd name="T91" fmla="*/ 21497 h 875"/>
                <a:gd name="T92" fmla="*/ 56124 w 478"/>
                <a:gd name="T93" fmla="*/ 9962 h 875"/>
                <a:gd name="T94" fmla="*/ 64390 w 478"/>
                <a:gd name="T95" fmla="*/ 2622 h 875"/>
                <a:gd name="T96" fmla="*/ 76137 w 478"/>
                <a:gd name="T97" fmla="*/ 8389 h 875"/>
                <a:gd name="T98" fmla="*/ 96150 w 478"/>
                <a:gd name="T99" fmla="*/ 18352 h 875"/>
                <a:gd name="T100" fmla="*/ 117033 w 478"/>
                <a:gd name="T101" fmla="*/ 35130 h 87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6" name="Freeform 543">
              <a:extLst>
                <a:ext uri="{FF2B5EF4-FFF2-40B4-BE49-F238E27FC236}">
                  <a16:creationId xmlns:a16="http://schemas.microsoft.com/office/drawing/2014/main" id="{C1A0922E-1232-4288-A70C-D9DD81CFF3CD}"/>
                </a:ext>
              </a:extLst>
            </p:cNvPr>
            <p:cNvSpPr>
              <a:spLocks/>
            </p:cNvSpPr>
            <p:nvPr>
              <p:custDataLst>
                <p:tags r:id="rId374"/>
              </p:custDataLst>
            </p:nvPr>
          </p:nvSpPr>
          <p:spPr bwMode="auto">
            <a:xfrm>
              <a:off x="8128000" y="3603625"/>
              <a:ext cx="25400" cy="57150"/>
            </a:xfrm>
            <a:custGeom>
              <a:avLst/>
              <a:gdLst>
                <a:gd name="T0" fmla="*/ 25400 w 59"/>
                <a:gd name="T1" fmla="*/ 11061 h 31"/>
                <a:gd name="T2" fmla="*/ 24539 w 59"/>
                <a:gd name="T3" fmla="*/ 20279 h 31"/>
                <a:gd name="T4" fmla="*/ 22817 w 59"/>
                <a:gd name="T5" fmla="*/ 27653 h 31"/>
                <a:gd name="T6" fmla="*/ 21095 w 59"/>
                <a:gd name="T7" fmla="*/ 35027 h 31"/>
                <a:gd name="T8" fmla="*/ 19373 w 59"/>
                <a:gd name="T9" fmla="*/ 44245 h 31"/>
                <a:gd name="T10" fmla="*/ 17220 w 59"/>
                <a:gd name="T11" fmla="*/ 49776 h 31"/>
                <a:gd name="T12" fmla="*/ 15498 w 59"/>
                <a:gd name="T13" fmla="*/ 53463 h 31"/>
                <a:gd name="T14" fmla="*/ 12915 w 59"/>
                <a:gd name="T15" fmla="*/ 57150 h 31"/>
                <a:gd name="T16" fmla="*/ 11193 w 59"/>
                <a:gd name="T17" fmla="*/ 57150 h 31"/>
                <a:gd name="T18" fmla="*/ 9041 w 59"/>
                <a:gd name="T19" fmla="*/ 57150 h 31"/>
                <a:gd name="T20" fmla="*/ 7319 w 59"/>
                <a:gd name="T21" fmla="*/ 55306 h 31"/>
                <a:gd name="T22" fmla="*/ 6027 w 59"/>
                <a:gd name="T23" fmla="*/ 53463 h 31"/>
                <a:gd name="T24" fmla="*/ 4736 w 59"/>
                <a:gd name="T25" fmla="*/ 49776 h 31"/>
                <a:gd name="T26" fmla="*/ 1722 w 59"/>
                <a:gd name="T27" fmla="*/ 36871 h 31"/>
                <a:gd name="T28" fmla="*/ 0 w 59"/>
                <a:gd name="T29" fmla="*/ 22123 h 31"/>
                <a:gd name="T30" fmla="*/ 431 w 59"/>
                <a:gd name="T31" fmla="*/ 16592 h 31"/>
                <a:gd name="T32" fmla="*/ 1292 w 59"/>
                <a:gd name="T33" fmla="*/ 11061 h 31"/>
                <a:gd name="T34" fmla="*/ 2153 w 59"/>
                <a:gd name="T35" fmla="*/ 7374 h 31"/>
                <a:gd name="T36" fmla="*/ 3444 w 59"/>
                <a:gd name="T37" fmla="*/ 5531 h 31"/>
                <a:gd name="T38" fmla="*/ 6888 w 59"/>
                <a:gd name="T39" fmla="*/ 1844 h 31"/>
                <a:gd name="T40" fmla="*/ 10332 w 59"/>
                <a:gd name="T41" fmla="*/ 0 h 31"/>
                <a:gd name="T42" fmla="*/ 14637 w 59"/>
                <a:gd name="T43" fmla="*/ 0 h 31"/>
                <a:gd name="T44" fmla="*/ 18081 w 59"/>
                <a:gd name="T45" fmla="*/ 3687 h 31"/>
                <a:gd name="T46" fmla="*/ 21956 w 59"/>
                <a:gd name="T47" fmla="*/ 7374 h 31"/>
                <a:gd name="T48" fmla="*/ 25400 w 59"/>
                <a:gd name="T49" fmla="*/ 11061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7" name="Freeform 544">
              <a:extLst>
                <a:ext uri="{FF2B5EF4-FFF2-40B4-BE49-F238E27FC236}">
                  <a16:creationId xmlns:a16="http://schemas.microsoft.com/office/drawing/2014/main" id="{9CC4F792-375C-46CD-97EC-AB0522092CBB}"/>
                </a:ext>
              </a:extLst>
            </p:cNvPr>
            <p:cNvSpPr>
              <a:spLocks/>
            </p:cNvSpPr>
            <p:nvPr>
              <p:custDataLst>
                <p:tags r:id="rId375"/>
              </p:custDataLst>
            </p:nvPr>
          </p:nvSpPr>
          <p:spPr bwMode="auto">
            <a:xfrm>
              <a:off x="6819901" y="2862263"/>
              <a:ext cx="174625" cy="271462"/>
            </a:xfrm>
            <a:custGeom>
              <a:avLst/>
              <a:gdLst>
                <a:gd name="T0" fmla="*/ 87531 w 399"/>
                <a:gd name="T1" fmla="*/ 4192 h 518"/>
                <a:gd name="T2" fmla="*/ 88407 w 399"/>
                <a:gd name="T3" fmla="*/ 11529 h 518"/>
                <a:gd name="T4" fmla="*/ 91033 w 399"/>
                <a:gd name="T5" fmla="*/ 18866 h 518"/>
                <a:gd name="T6" fmla="*/ 93659 w 399"/>
                <a:gd name="T7" fmla="*/ 25679 h 518"/>
                <a:gd name="T8" fmla="*/ 98035 w 399"/>
                <a:gd name="T9" fmla="*/ 33016 h 518"/>
                <a:gd name="T10" fmla="*/ 102849 w 399"/>
                <a:gd name="T11" fmla="*/ 39304 h 518"/>
                <a:gd name="T12" fmla="*/ 108977 w 399"/>
                <a:gd name="T13" fmla="*/ 45069 h 518"/>
                <a:gd name="T14" fmla="*/ 115541 w 399"/>
                <a:gd name="T15" fmla="*/ 49786 h 518"/>
                <a:gd name="T16" fmla="*/ 138299 w 399"/>
                <a:gd name="T17" fmla="*/ 55550 h 518"/>
                <a:gd name="T18" fmla="*/ 159745 w 399"/>
                <a:gd name="T19" fmla="*/ 62363 h 518"/>
                <a:gd name="T20" fmla="*/ 166310 w 399"/>
                <a:gd name="T21" fmla="*/ 66555 h 518"/>
                <a:gd name="T22" fmla="*/ 171561 w 399"/>
                <a:gd name="T23" fmla="*/ 71796 h 518"/>
                <a:gd name="T24" fmla="*/ 174187 w 399"/>
                <a:gd name="T25" fmla="*/ 79133 h 518"/>
                <a:gd name="T26" fmla="*/ 174187 w 399"/>
                <a:gd name="T27" fmla="*/ 91186 h 518"/>
                <a:gd name="T28" fmla="*/ 170686 w 399"/>
                <a:gd name="T29" fmla="*/ 104812 h 518"/>
                <a:gd name="T30" fmla="*/ 161495 w 399"/>
                <a:gd name="T31" fmla="*/ 125250 h 518"/>
                <a:gd name="T32" fmla="*/ 150554 w 399"/>
                <a:gd name="T33" fmla="*/ 144640 h 518"/>
                <a:gd name="T34" fmla="*/ 143551 w 399"/>
                <a:gd name="T35" fmla="*/ 158790 h 518"/>
                <a:gd name="T36" fmla="*/ 137424 w 399"/>
                <a:gd name="T37" fmla="*/ 172939 h 518"/>
                <a:gd name="T38" fmla="*/ 134361 w 399"/>
                <a:gd name="T39" fmla="*/ 188661 h 518"/>
                <a:gd name="T40" fmla="*/ 129984 w 399"/>
                <a:gd name="T41" fmla="*/ 197570 h 518"/>
                <a:gd name="T42" fmla="*/ 117292 w 399"/>
                <a:gd name="T43" fmla="*/ 202810 h 518"/>
                <a:gd name="T44" fmla="*/ 107664 w 399"/>
                <a:gd name="T45" fmla="*/ 209099 h 518"/>
                <a:gd name="T46" fmla="*/ 102849 w 399"/>
                <a:gd name="T47" fmla="*/ 213816 h 518"/>
                <a:gd name="T48" fmla="*/ 99348 w 399"/>
                <a:gd name="T49" fmla="*/ 218532 h 518"/>
                <a:gd name="T50" fmla="*/ 98035 w 399"/>
                <a:gd name="T51" fmla="*/ 223773 h 518"/>
                <a:gd name="T52" fmla="*/ 93221 w 399"/>
                <a:gd name="T53" fmla="*/ 229537 h 518"/>
                <a:gd name="T54" fmla="*/ 82279 w 399"/>
                <a:gd name="T55" fmla="*/ 235826 h 518"/>
                <a:gd name="T56" fmla="*/ 75715 w 399"/>
                <a:gd name="T57" fmla="*/ 238970 h 518"/>
                <a:gd name="T58" fmla="*/ 72651 w 399"/>
                <a:gd name="T59" fmla="*/ 244735 h 518"/>
                <a:gd name="T60" fmla="*/ 69150 w 399"/>
                <a:gd name="T61" fmla="*/ 252072 h 518"/>
                <a:gd name="T62" fmla="*/ 63898 w 399"/>
                <a:gd name="T63" fmla="*/ 256788 h 518"/>
                <a:gd name="T64" fmla="*/ 57333 w 399"/>
                <a:gd name="T65" fmla="*/ 258885 h 518"/>
                <a:gd name="T66" fmla="*/ 44641 w 399"/>
                <a:gd name="T67" fmla="*/ 260981 h 518"/>
                <a:gd name="T68" fmla="*/ 31949 w 399"/>
                <a:gd name="T69" fmla="*/ 264125 h 518"/>
                <a:gd name="T70" fmla="*/ 24071 w 399"/>
                <a:gd name="T71" fmla="*/ 268318 h 518"/>
                <a:gd name="T72" fmla="*/ 20132 w 399"/>
                <a:gd name="T73" fmla="*/ 269366 h 518"/>
                <a:gd name="T74" fmla="*/ 18819 w 399"/>
                <a:gd name="T75" fmla="*/ 265173 h 518"/>
                <a:gd name="T76" fmla="*/ 16631 w 399"/>
                <a:gd name="T77" fmla="*/ 260457 h 518"/>
                <a:gd name="T78" fmla="*/ 14880 w 399"/>
                <a:gd name="T79" fmla="*/ 255216 h 518"/>
                <a:gd name="T80" fmla="*/ 14443 w 399"/>
                <a:gd name="T81" fmla="*/ 245259 h 518"/>
                <a:gd name="T82" fmla="*/ 12692 w 399"/>
                <a:gd name="T83" fmla="*/ 233206 h 518"/>
                <a:gd name="T84" fmla="*/ 7440 w 399"/>
                <a:gd name="T85" fmla="*/ 219056 h 518"/>
                <a:gd name="T86" fmla="*/ 0 w 399"/>
                <a:gd name="T87" fmla="*/ 187613 h 518"/>
                <a:gd name="T88" fmla="*/ 84905 w 399"/>
                <a:gd name="T89" fmla="*/ 96951 h 518"/>
                <a:gd name="T90" fmla="*/ 87531 w 399"/>
                <a:gd name="T91" fmla="*/ 0 h 51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88" name="Freeform 545">
              <a:extLst>
                <a:ext uri="{FF2B5EF4-FFF2-40B4-BE49-F238E27FC236}">
                  <a16:creationId xmlns:a16="http://schemas.microsoft.com/office/drawing/2014/main" id="{3D4ACDFC-F4C6-463C-9231-D00452D1D482}"/>
                </a:ext>
              </a:extLst>
            </p:cNvPr>
            <p:cNvSpPr>
              <a:spLocks/>
            </p:cNvSpPr>
            <p:nvPr>
              <p:custDataLst>
                <p:tags r:id="rId376"/>
              </p:custDataLst>
            </p:nvPr>
          </p:nvSpPr>
          <p:spPr bwMode="auto">
            <a:xfrm>
              <a:off x="5546725" y="2916238"/>
              <a:ext cx="376238" cy="385762"/>
            </a:xfrm>
            <a:custGeom>
              <a:avLst/>
              <a:gdLst>
                <a:gd name="T0" fmla="*/ 100359 w 866"/>
                <a:gd name="T1" fmla="*/ 140751 h 740"/>
                <a:gd name="T2" fmla="*/ 106441 w 866"/>
                <a:gd name="T3" fmla="*/ 137623 h 740"/>
                <a:gd name="T4" fmla="*/ 118172 w 866"/>
                <a:gd name="T5" fmla="*/ 141794 h 740"/>
                <a:gd name="T6" fmla="*/ 284134 w 866"/>
                <a:gd name="T7" fmla="*/ 521 h 740"/>
                <a:gd name="T8" fmla="*/ 294995 w 866"/>
                <a:gd name="T9" fmla="*/ 3128 h 740"/>
                <a:gd name="T10" fmla="*/ 308897 w 866"/>
                <a:gd name="T11" fmla="*/ 10947 h 740"/>
                <a:gd name="T12" fmla="*/ 317152 w 866"/>
                <a:gd name="T13" fmla="*/ 18246 h 740"/>
                <a:gd name="T14" fmla="*/ 330186 w 866"/>
                <a:gd name="T15" fmla="*/ 29714 h 740"/>
                <a:gd name="T16" fmla="*/ 343654 w 866"/>
                <a:gd name="T17" fmla="*/ 30757 h 740"/>
                <a:gd name="T18" fmla="*/ 361032 w 866"/>
                <a:gd name="T19" fmla="*/ 22416 h 740"/>
                <a:gd name="T20" fmla="*/ 371025 w 866"/>
                <a:gd name="T21" fmla="*/ 86536 h 740"/>
                <a:gd name="T22" fmla="*/ 376238 w 866"/>
                <a:gd name="T23" fmla="*/ 106866 h 740"/>
                <a:gd name="T24" fmla="*/ 369287 w 866"/>
                <a:gd name="T25" fmla="*/ 156911 h 740"/>
                <a:gd name="T26" fmla="*/ 368418 w 866"/>
                <a:gd name="T27" fmla="*/ 196009 h 740"/>
                <a:gd name="T28" fmla="*/ 362335 w 866"/>
                <a:gd name="T29" fmla="*/ 219467 h 740"/>
                <a:gd name="T30" fmla="*/ 348433 w 866"/>
                <a:gd name="T31" fmla="*/ 243447 h 740"/>
                <a:gd name="T32" fmla="*/ 337572 w 866"/>
                <a:gd name="T33" fmla="*/ 260129 h 740"/>
                <a:gd name="T34" fmla="*/ 329317 w 866"/>
                <a:gd name="T35" fmla="*/ 295577 h 740"/>
                <a:gd name="T36" fmla="*/ 308897 w 866"/>
                <a:gd name="T37" fmla="*/ 327898 h 740"/>
                <a:gd name="T38" fmla="*/ 295429 w 866"/>
                <a:gd name="T39" fmla="*/ 336760 h 740"/>
                <a:gd name="T40" fmla="*/ 279789 w 866"/>
                <a:gd name="T41" fmla="*/ 332589 h 740"/>
                <a:gd name="T42" fmla="*/ 265452 w 866"/>
                <a:gd name="T43" fmla="*/ 325813 h 740"/>
                <a:gd name="T44" fmla="*/ 245902 w 866"/>
                <a:gd name="T45" fmla="*/ 329983 h 740"/>
                <a:gd name="T46" fmla="*/ 230261 w 866"/>
                <a:gd name="T47" fmla="*/ 343537 h 740"/>
                <a:gd name="T48" fmla="*/ 222006 w 866"/>
                <a:gd name="T49" fmla="*/ 354484 h 740"/>
                <a:gd name="T50" fmla="*/ 213317 w 866"/>
                <a:gd name="T51" fmla="*/ 356569 h 740"/>
                <a:gd name="T52" fmla="*/ 204194 w 866"/>
                <a:gd name="T53" fmla="*/ 348228 h 740"/>
                <a:gd name="T54" fmla="*/ 193767 w 866"/>
                <a:gd name="T55" fmla="*/ 333111 h 740"/>
                <a:gd name="T56" fmla="*/ 182906 w 866"/>
                <a:gd name="T57" fmla="*/ 331026 h 740"/>
                <a:gd name="T58" fmla="*/ 175954 w 866"/>
                <a:gd name="T59" fmla="*/ 337281 h 740"/>
                <a:gd name="T60" fmla="*/ 166831 w 866"/>
                <a:gd name="T61" fmla="*/ 339888 h 740"/>
                <a:gd name="T62" fmla="*/ 152059 w 866"/>
                <a:gd name="T63" fmla="*/ 332589 h 740"/>
                <a:gd name="T64" fmla="*/ 132943 w 866"/>
                <a:gd name="T65" fmla="*/ 316950 h 740"/>
                <a:gd name="T66" fmla="*/ 117737 w 866"/>
                <a:gd name="T67" fmla="*/ 314865 h 740"/>
                <a:gd name="T68" fmla="*/ 102966 w 866"/>
                <a:gd name="T69" fmla="*/ 323206 h 740"/>
                <a:gd name="T70" fmla="*/ 90801 w 866"/>
                <a:gd name="T71" fmla="*/ 340409 h 740"/>
                <a:gd name="T72" fmla="*/ 82546 w 866"/>
                <a:gd name="T73" fmla="*/ 360740 h 740"/>
                <a:gd name="T74" fmla="*/ 77333 w 866"/>
                <a:gd name="T75" fmla="*/ 374815 h 740"/>
                <a:gd name="T76" fmla="*/ 64734 w 866"/>
                <a:gd name="T77" fmla="*/ 365953 h 740"/>
                <a:gd name="T78" fmla="*/ 43445 w 866"/>
                <a:gd name="T79" fmla="*/ 385762 h 740"/>
                <a:gd name="T80" fmla="*/ 28674 w 866"/>
                <a:gd name="T81" fmla="*/ 364389 h 740"/>
                <a:gd name="T82" fmla="*/ 27805 w 866"/>
                <a:gd name="T83" fmla="*/ 335717 h 740"/>
                <a:gd name="T84" fmla="*/ 21723 w 866"/>
                <a:gd name="T85" fmla="*/ 319557 h 740"/>
                <a:gd name="T86" fmla="*/ 8689 w 866"/>
                <a:gd name="T87" fmla="*/ 306003 h 740"/>
                <a:gd name="T88" fmla="*/ 2172 w 866"/>
                <a:gd name="T89" fmla="*/ 290885 h 740"/>
                <a:gd name="T90" fmla="*/ 23026 w 866"/>
                <a:gd name="T91" fmla="*/ 276289 h 740"/>
                <a:gd name="T92" fmla="*/ 33019 w 866"/>
                <a:gd name="T93" fmla="*/ 270033 h 740"/>
                <a:gd name="T94" fmla="*/ 60389 w 866"/>
                <a:gd name="T95" fmla="*/ 265863 h 740"/>
                <a:gd name="T96" fmla="*/ 79071 w 866"/>
                <a:gd name="T97" fmla="*/ 260650 h 740"/>
                <a:gd name="T98" fmla="*/ 87325 w 866"/>
                <a:gd name="T99" fmla="*/ 247617 h 740"/>
                <a:gd name="T100" fmla="*/ 95146 w 866"/>
                <a:gd name="T101" fmla="*/ 221031 h 740"/>
                <a:gd name="T102" fmla="*/ 97318 w 866"/>
                <a:gd name="T103" fmla="*/ 191317 h 740"/>
                <a:gd name="T104" fmla="*/ 95146 w 866"/>
                <a:gd name="T105" fmla="*/ 166816 h 7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9" name="Freeform 546">
              <a:extLst>
                <a:ext uri="{FF2B5EF4-FFF2-40B4-BE49-F238E27FC236}">
                  <a16:creationId xmlns:a16="http://schemas.microsoft.com/office/drawing/2014/main" id="{3EC30D6E-49FF-4B98-95D9-66A553EA8C02}"/>
                </a:ext>
              </a:extLst>
            </p:cNvPr>
            <p:cNvSpPr>
              <a:spLocks/>
            </p:cNvSpPr>
            <p:nvPr>
              <p:custDataLst>
                <p:tags r:id="rId377"/>
              </p:custDataLst>
            </p:nvPr>
          </p:nvSpPr>
          <p:spPr bwMode="auto">
            <a:xfrm>
              <a:off x="5216525" y="2533650"/>
              <a:ext cx="300038" cy="260350"/>
            </a:xfrm>
            <a:custGeom>
              <a:avLst/>
              <a:gdLst>
                <a:gd name="T0" fmla="*/ 278945 w 697"/>
                <a:gd name="T1" fmla="*/ 27597 h 500"/>
                <a:gd name="T2" fmla="*/ 282819 w 697"/>
                <a:gd name="T3" fmla="*/ 83833 h 500"/>
                <a:gd name="T4" fmla="*/ 284541 w 697"/>
                <a:gd name="T5" fmla="*/ 86957 h 500"/>
                <a:gd name="T6" fmla="*/ 291429 w 697"/>
                <a:gd name="T7" fmla="*/ 92164 h 500"/>
                <a:gd name="T8" fmla="*/ 298747 w 697"/>
                <a:gd name="T9" fmla="*/ 98412 h 500"/>
                <a:gd name="T10" fmla="*/ 300038 w 697"/>
                <a:gd name="T11" fmla="*/ 103099 h 500"/>
                <a:gd name="T12" fmla="*/ 298747 w 697"/>
                <a:gd name="T13" fmla="*/ 109868 h 500"/>
                <a:gd name="T14" fmla="*/ 294872 w 697"/>
                <a:gd name="T15" fmla="*/ 112992 h 500"/>
                <a:gd name="T16" fmla="*/ 281958 w 697"/>
                <a:gd name="T17" fmla="*/ 113513 h 500"/>
                <a:gd name="T18" fmla="*/ 260435 w 697"/>
                <a:gd name="T19" fmla="*/ 118720 h 500"/>
                <a:gd name="T20" fmla="*/ 244077 w 697"/>
                <a:gd name="T21" fmla="*/ 130175 h 500"/>
                <a:gd name="T22" fmla="*/ 236328 w 697"/>
                <a:gd name="T23" fmla="*/ 139027 h 500"/>
                <a:gd name="T24" fmla="*/ 232024 w 697"/>
                <a:gd name="T25" fmla="*/ 149962 h 500"/>
                <a:gd name="T26" fmla="*/ 224275 w 697"/>
                <a:gd name="T27" fmla="*/ 157251 h 500"/>
                <a:gd name="T28" fmla="*/ 211361 w 697"/>
                <a:gd name="T29" fmla="*/ 168707 h 500"/>
                <a:gd name="T30" fmla="*/ 195864 w 697"/>
                <a:gd name="T31" fmla="*/ 183286 h 500"/>
                <a:gd name="T32" fmla="*/ 180798 w 697"/>
                <a:gd name="T33" fmla="*/ 192659 h 500"/>
                <a:gd name="T34" fmla="*/ 160135 w 697"/>
                <a:gd name="T35" fmla="*/ 196304 h 500"/>
                <a:gd name="T36" fmla="*/ 148082 w 697"/>
                <a:gd name="T37" fmla="*/ 197866 h 500"/>
                <a:gd name="T38" fmla="*/ 136029 w 697"/>
                <a:gd name="T39" fmla="*/ 206197 h 500"/>
                <a:gd name="T40" fmla="*/ 124836 w 697"/>
                <a:gd name="T41" fmla="*/ 217132 h 500"/>
                <a:gd name="T42" fmla="*/ 114075 w 697"/>
                <a:gd name="T43" fmla="*/ 221818 h 500"/>
                <a:gd name="T44" fmla="*/ 2152 w 697"/>
                <a:gd name="T45" fmla="*/ 258267 h 500"/>
                <a:gd name="T46" fmla="*/ 13775 w 697"/>
                <a:gd name="T47" fmla="*/ 253581 h 500"/>
                <a:gd name="T48" fmla="*/ 36590 w 697"/>
                <a:gd name="T49" fmla="*/ 246291 h 500"/>
                <a:gd name="T50" fmla="*/ 40034 w 697"/>
                <a:gd name="T51" fmla="*/ 239001 h 500"/>
                <a:gd name="T52" fmla="*/ 42617 w 697"/>
                <a:gd name="T53" fmla="*/ 228067 h 500"/>
                <a:gd name="T54" fmla="*/ 51226 w 697"/>
                <a:gd name="T55" fmla="*/ 219735 h 500"/>
                <a:gd name="T56" fmla="*/ 68875 w 697"/>
                <a:gd name="T57" fmla="*/ 207759 h 500"/>
                <a:gd name="T58" fmla="*/ 77915 w 697"/>
                <a:gd name="T59" fmla="*/ 198907 h 500"/>
                <a:gd name="T60" fmla="*/ 82650 w 697"/>
                <a:gd name="T61" fmla="*/ 185890 h 500"/>
                <a:gd name="T62" fmla="*/ 83081 w 697"/>
                <a:gd name="T63" fmla="*/ 164541 h 500"/>
                <a:gd name="T64" fmla="*/ 83942 w 697"/>
                <a:gd name="T65" fmla="*/ 132258 h 500"/>
                <a:gd name="T66" fmla="*/ 82650 w 697"/>
                <a:gd name="T67" fmla="*/ 99974 h 500"/>
                <a:gd name="T68" fmla="*/ 92121 w 697"/>
                <a:gd name="T69" fmla="*/ 98412 h 500"/>
                <a:gd name="T70" fmla="*/ 98147 w 697"/>
                <a:gd name="T71" fmla="*/ 93205 h 500"/>
                <a:gd name="T72" fmla="*/ 103743 w 697"/>
                <a:gd name="T73" fmla="*/ 85916 h 500"/>
                <a:gd name="T74" fmla="*/ 108479 w 697"/>
                <a:gd name="T75" fmla="*/ 79146 h 500"/>
                <a:gd name="T76" fmla="*/ 120962 w 697"/>
                <a:gd name="T77" fmla="*/ 76022 h 500"/>
                <a:gd name="T78" fmla="*/ 135168 w 697"/>
                <a:gd name="T79" fmla="*/ 74460 h 500"/>
                <a:gd name="T80" fmla="*/ 146360 w 697"/>
                <a:gd name="T81" fmla="*/ 68212 h 500"/>
                <a:gd name="T82" fmla="*/ 154969 w 697"/>
                <a:gd name="T83" fmla="*/ 56236 h 500"/>
                <a:gd name="T84" fmla="*/ 167023 w 697"/>
                <a:gd name="T85" fmla="*/ 24994 h 500"/>
                <a:gd name="T86" fmla="*/ 175202 w 697"/>
                <a:gd name="T87" fmla="*/ 6248 h 500"/>
                <a:gd name="T88" fmla="*/ 183380 w 697"/>
                <a:gd name="T89" fmla="*/ 4166 h 500"/>
                <a:gd name="T90" fmla="*/ 193281 w 697"/>
                <a:gd name="T91" fmla="*/ 10414 h 500"/>
                <a:gd name="T92" fmla="*/ 220401 w 697"/>
                <a:gd name="T93" fmla="*/ 9373 h 500"/>
                <a:gd name="T94" fmla="*/ 253978 w 697"/>
                <a:gd name="T95" fmla="*/ 6769 h 500"/>
                <a:gd name="T96" fmla="*/ 256991 w 697"/>
                <a:gd name="T97" fmla="*/ 8852 h 500"/>
                <a:gd name="T98" fmla="*/ 260435 w 697"/>
                <a:gd name="T99" fmla="*/ 18745 h 500"/>
                <a:gd name="T100" fmla="*/ 263018 w 697"/>
                <a:gd name="T101" fmla="*/ 26556 h 500"/>
                <a:gd name="T102" fmla="*/ 266031 w 697"/>
                <a:gd name="T103" fmla="*/ 26035 h 5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90" name="Freeform 547">
              <a:extLst>
                <a:ext uri="{FF2B5EF4-FFF2-40B4-BE49-F238E27FC236}">
                  <a16:creationId xmlns:a16="http://schemas.microsoft.com/office/drawing/2014/main" id="{70CF3E32-C51B-423E-8B52-93B5A4514F71}"/>
                </a:ext>
              </a:extLst>
            </p:cNvPr>
            <p:cNvSpPr>
              <a:spLocks/>
            </p:cNvSpPr>
            <p:nvPr>
              <p:custDataLst>
                <p:tags r:id="rId378"/>
              </p:custDataLst>
            </p:nvPr>
          </p:nvSpPr>
          <p:spPr bwMode="auto">
            <a:xfrm>
              <a:off x="5916614" y="1463676"/>
              <a:ext cx="236537" cy="92075"/>
            </a:xfrm>
            <a:custGeom>
              <a:avLst/>
              <a:gdLst>
                <a:gd name="T0" fmla="*/ 32058 w 546"/>
                <a:gd name="T1" fmla="*/ 10112 h 173"/>
                <a:gd name="T2" fmla="*/ 40722 w 546"/>
                <a:gd name="T3" fmla="*/ 18096 h 173"/>
                <a:gd name="T4" fmla="*/ 47654 w 546"/>
                <a:gd name="T5" fmla="*/ 14370 h 173"/>
                <a:gd name="T6" fmla="*/ 57185 w 546"/>
                <a:gd name="T7" fmla="*/ 14370 h 173"/>
                <a:gd name="T8" fmla="*/ 69748 w 546"/>
                <a:gd name="T9" fmla="*/ 23418 h 173"/>
                <a:gd name="T10" fmla="*/ 90543 w 546"/>
                <a:gd name="T11" fmla="*/ 10112 h 173"/>
                <a:gd name="T12" fmla="*/ 105272 w 546"/>
                <a:gd name="T13" fmla="*/ 10112 h 173"/>
                <a:gd name="T14" fmla="*/ 112637 w 546"/>
                <a:gd name="T15" fmla="*/ 8516 h 173"/>
                <a:gd name="T16" fmla="*/ 116536 w 546"/>
                <a:gd name="T17" fmla="*/ 7451 h 173"/>
                <a:gd name="T18" fmla="*/ 120868 w 546"/>
                <a:gd name="T19" fmla="*/ 5854 h 173"/>
                <a:gd name="T20" fmla="*/ 123900 w 546"/>
                <a:gd name="T21" fmla="*/ 1597 h 173"/>
                <a:gd name="T22" fmla="*/ 139063 w 546"/>
                <a:gd name="T23" fmla="*/ 2661 h 173"/>
                <a:gd name="T24" fmla="*/ 144262 w 546"/>
                <a:gd name="T25" fmla="*/ 6387 h 173"/>
                <a:gd name="T26" fmla="*/ 150760 w 546"/>
                <a:gd name="T27" fmla="*/ 3726 h 173"/>
                <a:gd name="T28" fmla="*/ 152926 w 546"/>
                <a:gd name="T29" fmla="*/ 0 h 173"/>
                <a:gd name="T30" fmla="*/ 158991 w 546"/>
                <a:gd name="T31" fmla="*/ 3726 h 173"/>
                <a:gd name="T32" fmla="*/ 168522 w 546"/>
                <a:gd name="T33" fmla="*/ 3726 h 173"/>
                <a:gd name="T34" fmla="*/ 188883 w 546"/>
                <a:gd name="T35" fmla="*/ 532 h 173"/>
                <a:gd name="T36" fmla="*/ 208811 w 546"/>
                <a:gd name="T37" fmla="*/ 3193 h 173"/>
                <a:gd name="T38" fmla="*/ 228739 w 546"/>
                <a:gd name="T39" fmla="*/ 6387 h 173"/>
                <a:gd name="T40" fmla="*/ 236104 w 546"/>
                <a:gd name="T41" fmla="*/ 26079 h 173"/>
                <a:gd name="T42" fmla="*/ 232638 w 546"/>
                <a:gd name="T43" fmla="*/ 31934 h 173"/>
                <a:gd name="T44" fmla="*/ 222241 w 546"/>
                <a:gd name="T45" fmla="*/ 32998 h 173"/>
                <a:gd name="T46" fmla="*/ 209244 w 546"/>
                <a:gd name="T47" fmla="*/ 28740 h 173"/>
                <a:gd name="T48" fmla="*/ 178919 w 546"/>
                <a:gd name="T49" fmla="*/ 23418 h 173"/>
                <a:gd name="T50" fmla="*/ 189749 w 546"/>
                <a:gd name="T51" fmla="*/ 43110 h 173"/>
                <a:gd name="T52" fmla="*/ 204046 w 546"/>
                <a:gd name="T53" fmla="*/ 54287 h 173"/>
                <a:gd name="T54" fmla="*/ 213576 w 546"/>
                <a:gd name="T55" fmla="*/ 63335 h 173"/>
                <a:gd name="T56" fmla="*/ 205779 w 546"/>
                <a:gd name="T57" fmla="*/ 72383 h 173"/>
                <a:gd name="T58" fmla="*/ 194515 w 546"/>
                <a:gd name="T59" fmla="*/ 75576 h 173"/>
                <a:gd name="T60" fmla="*/ 184551 w 546"/>
                <a:gd name="T61" fmla="*/ 75044 h 173"/>
                <a:gd name="T62" fmla="*/ 178486 w 546"/>
                <a:gd name="T63" fmla="*/ 71318 h 173"/>
                <a:gd name="T64" fmla="*/ 172854 w 546"/>
                <a:gd name="T65" fmla="*/ 69189 h 173"/>
                <a:gd name="T66" fmla="*/ 166789 w 546"/>
                <a:gd name="T67" fmla="*/ 64399 h 173"/>
                <a:gd name="T68" fmla="*/ 162457 w 546"/>
                <a:gd name="T69" fmla="*/ 55351 h 173"/>
                <a:gd name="T70" fmla="*/ 158125 w 546"/>
                <a:gd name="T71" fmla="*/ 48965 h 173"/>
                <a:gd name="T72" fmla="*/ 149027 w 546"/>
                <a:gd name="T73" fmla="*/ 44707 h 173"/>
                <a:gd name="T74" fmla="*/ 140796 w 546"/>
                <a:gd name="T75" fmla="*/ 40449 h 173"/>
                <a:gd name="T76" fmla="*/ 131265 w 546"/>
                <a:gd name="T77" fmla="*/ 46304 h 173"/>
                <a:gd name="T78" fmla="*/ 111770 w 546"/>
                <a:gd name="T79" fmla="*/ 71318 h 173"/>
                <a:gd name="T80" fmla="*/ 102239 w 546"/>
                <a:gd name="T81" fmla="*/ 86753 h 173"/>
                <a:gd name="T82" fmla="*/ 95308 w 546"/>
                <a:gd name="T83" fmla="*/ 91543 h 173"/>
                <a:gd name="T84" fmla="*/ 81445 w 546"/>
                <a:gd name="T85" fmla="*/ 88882 h 173"/>
                <a:gd name="T86" fmla="*/ 71481 w 546"/>
                <a:gd name="T87" fmla="*/ 82495 h 173"/>
                <a:gd name="T88" fmla="*/ 48954 w 546"/>
                <a:gd name="T89" fmla="*/ 55884 h 173"/>
                <a:gd name="T90" fmla="*/ 41156 w 546"/>
                <a:gd name="T91" fmla="*/ 48433 h 173"/>
                <a:gd name="T92" fmla="*/ 25993 w 546"/>
                <a:gd name="T93" fmla="*/ 40449 h 173"/>
                <a:gd name="T94" fmla="*/ 6931 w 546"/>
                <a:gd name="T95" fmla="*/ 30869 h 173"/>
                <a:gd name="T96" fmla="*/ 4765 w 546"/>
                <a:gd name="T97" fmla="*/ 18096 h 173"/>
                <a:gd name="T98" fmla="*/ 12130 w 546"/>
                <a:gd name="T99" fmla="*/ 10112 h 173"/>
                <a:gd name="T100" fmla="*/ 20361 w 546"/>
                <a:gd name="T101" fmla="*/ 638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391" name="Freeform 548">
              <a:extLst>
                <a:ext uri="{FF2B5EF4-FFF2-40B4-BE49-F238E27FC236}">
                  <a16:creationId xmlns:a16="http://schemas.microsoft.com/office/drawing/2014/main" id="{F751D57C-6D51-41F5-A70F-C188BE5CA8A0}"/>
                </a:ext>
              </a:extLst>
            </p:cNvPr>
            <p:cNvSpPr>
              <a:spLocks/>
            </p:cNvSpPr>
            <p:nvPr>
              <p:custDataLst>
                <p:tags r:id="rId379"/>
              </p:custDataLst>
            </p:nvPr>
          </p:nvSpPr>
          <p:spPr bwMode="auto">
            <a:xfrm>
              <a:off x="6427788" y="1447801"/>
              <a:ext cx="107950" cy="60325"/>
            </a:xfrm>
            <a:custGeom>
              <a:avLst/>
              <a:gdLst>
                <a:gd name="T0" fmla="*/ 11848 w 246"/>
                <a:gd name="T1" fmla="*/ 51707 h 42"/>
                <a:gd name="T2" fmla="*/ 15798 w 246"/>
                <a:gd name="T3" fmla="*/ 51707 h 42"/>
                <a:gd name="T4" fmla="*/ 19747 w 246"/>
                <a:gd name="T5" fmla="*/ 50271 h 42"/>
                <a:gd name="T6" fmla="*/ 23258 w 246"/>
                <a:gd name="T7" fmla="*/ 47398 h 42"/>
                <a:gd name="T8" fmla="*/ 25890 w 246"/>
                <a:gd name="T9" fmla="*/ 44526 h 42"/>
                <a:gd name="T10" fmla="*/ 28962 w 246"/>
                <a:gd name="T11" fmla="*/ 43089 h 42"/>
                <a:gd name="T12" fmla="*/ 31595 w 246"/>
                <a:gd name="T13" fmla="*/ 41653 h 42"/>
                <a:gd name="T14" fmla="*/ 35106 w 246"/>
                <a:gd name="T15" fmla="*/ 41653 h 42"/>
                <a:gd name="T16" fmla="*/ 38177 w 246"/>
                <a:gd name="T17" fmla="*/ 43089 h 42"/>
                <a:gd name="T18" fmla="*/ 38177 w 246"/>
                <a:gd name="T19" fmla="*/ 60325 h 42"/>
                <a:gd name="T20" fmla="*/ 67578 w 246"/>
                <a:gd name="T21" fmla="*/ 60325 h 42"/>
                <a:gd name="T22" fmla="*/ 67578 w 246"/>
                <a:gd name="T23" fmla="*/ 56016 h 42"/>
                <a:gd name="T24" fmla="*/ 68456 w 246"/>
                <a:gd name="T25" fmla="*/ 51707 h 42"/>
                <a:gd name="T26" fmla="*/ 69773 w 246"/>
                <a:gd name="T27" fmla="*/ 47398 h 42"/>
                <a:gd name="T28" fmla="*/ 71528 w 246"/>
                <a:gd name="T29" fmla="*/ 44526 h 42"/>
                <a:gd name="T30" fmla="*/ 76794 w 246"/>
                <a:gd name="T31" fmla="*/ 37344 h 42"/>
                <a:gd name="T32" fmla="*/ 83376 w 246"/>
                <a:gd name="T33" fmla="*/ 33035 h 42"/>
                <a:gd name="T34" fmla="*/ 96979 w 246"/>
                <a:gd name="T35" fmla="*/ 24417 h 42"/>
                <a:gd name="T36" fmla="*/ 107950 w 246"/>
                <a:gd name="T37" fmla="*/ 17236 h 42"/>
                <a:gd name="T38" fmla="*/ 93030 w 246"/>
                <a:gd name="T39" fmla="*/ 18672 h 42"/>
                <a:gd name="T40" fmla="*/ 81621 w 246"/>
                <a:gd name="T41" fmla="*/ 20108 h 42"/>
                <a:gd name="T42" fmla="*/ 78110 w 246"/>
                <a:gd name="T43" fmla="*/ 21545 h 42"/>
                <a:gd name="T44" fmla="*/ 75038 w 246"/>
                <a:gd name="T45" fmla="*/ 21545 h 42"/>
                <a:gd name="T46" fmla="*/ 73722 w 246"/>
                <a:gd name="T47" fmla="*/ 20108 h 42"/>
                <a:gd name="T48" fmla="*/ 73283 w 246"/>
                <a:gd name="T49" fmla="*/ 17236 h 42"/>
                <a:gd name="T50" fmla="*/ 69773 w 246"/>
                <a:gd name="T51" fmla="*/ 22981 h 42"/>
                <a:gd name="T52" fmla="*/ 66701 w 246"/>
                <a:gd name="T53" fmla="*/ 24417 h 42"/>
                <a:gd name="T54" fmla="*/ 64507 w 246"/>
                <a:gd name="T55" fmla="*/ 24417 h 42"/>
                <a:gd name="T56" fmla="*/ 61874 w 246"/>
                <a:gd name="T57" fmla="*/ 21545 h 42"/>
                <a:gd name="T58" fmla="*/ 60118 w 246"/>
                <a:gd name="T59" fmla="*/ 17236 h 42"/>
                <a:gd name="T60" fmla="*/ 58363 w 246"/>
                <a:gd name="T61" fmla="*/ 12927 h 42"/>
                <a:gd name="T62" fmla="*/ 56608 w 246"/>
                <a:gd name="T63" fmla="*/ 7182 h 42"/>
                <a:gd name="T64" fmla="*/ 55291 w 246"/>
                <a:gd name="T65" fmla="*/ 0 h 42"/>
                <a:gd name="T66" fmla="*/ 53097 w 246"/>
                <a:gd name="T67" fmla="*/ 2873 h 42"/>
                <a:gd name="T68" fmla="*/ 49587 w 246"/>
                <a:gd name="T69" fmla="*/ 5745 h 42"/>
                <a:gd name="T70" fmla="*/ 45199 w 246"/>
                <a:gd name="T71" fmla="*/ 7182 h 42"/>
                <a:gd name="T72" fmla="*/ 40810 w 246"/>
                <a:gd name="T73" fmla="*/ 7182 h 42"/>
                <a:gd name="T74" fmla="*/ 32473 w 246"/>
                <a:gd name="T75" fmla="*/ 8618 h 42"/>
                <a:gd name="T76" fmla="*/ 26329 w 246"/>
                <a:gd name="T77" fmla="*/ 8618 h 42"/>
                <a:gd name="T78" fmla="*/ 25452 w 246"/>
                <a:gd name="T79" fmla="*/ 12927 h 42"/>
                <a:gd name="T80" fmla="*/ 24574 w 246"/>
                <a:gd name="T81" fmla="*/ 17236 h 42"/>
                <a:gd name="T82" fmla="*/ 23696 w 246"/>
                <a:gd name="T83" fmla="*/ 21545 h 42"/>
                <a:gd name="T84" fmla="*/ 21941 w 246"/>
                <a:gd name="T85" fmla="*/ 24417 h 42"/>
                <a:gd name="T86" fmla="*/ 18430 w 246"/>
                <a:gd name="T87" fmla="*/ 28726 h 42"/>
                <a:gd name="T88" fmla="*/ 14481 w 246"/>
                <a:gd name="T89" fmla="*/ 31599 h 42"/>
                <a:gd name="T90" fmla="*/ 6143 w 246"/>
                <a:gd name="T91" fmla="*/ 34471 h 42"/>
                <a:gd name="T92" fmla="*/ 0 w 246"/>
                <a:gd name="T93" fmla="*/ 34471 h 42"/>
                <a:gd name="T94" fmla="*/ 439 w 246"/>
                <a:gd name="T95" fmla="*/ 38780 h 42"/>
                <a:gd name="T96" fmla="*/ 1316 w 246"/>
                <a:gd name="T97" fmla="*/ 41653 h 42"/>
                <a:gd name="T98" fmla="*/ 2194 w 246"/>
                <a:gd name="T99" fmla="*/ 44526 h 42"/>
                <a:gd name="T100" fmla="*/ 3949 w 246"/>
                <a:gd name="T101" fmla="*/ 47398 h 42"/>
                <a:gd name="T102" fmla="*/ 7460 w 246"/>
                <a:gd name="T103" fmla="*/ 50271 h 42"/>
                <a:gd name="T104" fmla="*/ 11848 w 246"/>
                <a:gd name="T105" fmla="*/ 5170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92" name="Freeform 549">
              <a:extLst>
                <a:ext uri="{FF2B5EF4-FFF2-40B4-BE49-F238E27FC236}">
                  <a16:creationId xmlns:a16="http://schemas.microsoft.com/office/drawing/2014/main" id="{14DFC4F1-8F94-491C-91FE-708E4609570A}"/>
                </a:ext>
              </a:extLst>
            </p:cNvPr>
            <p:cNvSpPr>
              <a:spLocks/>
            </p:cNvSpPr>
            <p:nvPr>
              <p:custDataLst>
                <p:tags r:id="rId380"/>
              </p:custDataLst>
            </p:nvPr>
          </p:nvSpPr>
          <p:spPr bwMode="auto">
            <a:xfrm>
              <a:off x="6570663" y="1430338"/>
              <a:ext cx="63500" cy="57150"/>
            </a:xfrm>
            <a:custGeom>
              <a:avLst/>
              <a:gdLst>
                <a:gd name="T0" fmla="*/ 43896 w 149"/>
                <a:gd name="T1" fmla="*/ 0 h 61"/>
                <a:gd name="T2" fmla="*/ 50289 w 149"/>
                <a:gd name="T3" fmla="*/ 937 h 61"/>
                <a:gd name="T4" fmla="*/ 57107 w 149"/>
                <a:gd name="T5" fmla="*/ 2811 h 61"/>
                <a:gd name="T6" fmla="*/ 61795 w 149"/>
                <a:gd name="T7" fmla="*/ 4684 h 61"/>
                <a:gd name="T8" fmla="*/ 63500 w 149"/>
                <a:gd name="T9" fmla="*/ 5621 h 61"/>
                <a:gd name="T10" fmla="*/ 63500 w 149"/>
                <a:gd name="T11" fmla="*/ 7495 h 61"/>
                <a:gd name="T12" fmla="*/ 62648 w 149"/>
                <a:gd name="T13" fmla="*/ 9369 h 61"/>
                <a:gd name="T14" fmla="*/ 61795 w 149"/>
                <a:gd name="T15" fmla="*/ 11243 h 61"/>
                <a:gd name="T16" fmla="*/ 60091 w 149"/>
                <a:gd name="T17" fmla="*/ 12180 h 61"/>
                <a:gd name="T18" fmla="*/ 58386 w 149"/>
                <a:gd name="T19" fmla="*/ 13116 h 61"/>
                <a:gd name="T20" fmla="*/ 56255 w 149"/>
                <a:gd name="T21" fmla="*/ 13116 h 61"/>
                <a:gd name="T22" fmla="*/ 54124 w 149"/>
                <a:gd name="T23" fmla="*/ 13116 h 61"/>
                <a:gd name="T24" fmla="*/ 52419 w 149"/>
                <a:gd name="T25" fmla="*/ 11243 h 61"/>
                <a:gd name="T26" fmla="*/ 52419 w 149"/>
                <a:gd name="T27" fmla="*/ 21548 h 61"/>
                <a:gd name="T28" fmla="*/ 52419 w 149"/>
                <a:gd name="T29" fmla="*/ 30917 h 61"/>
                <a:gd name="T30" fmla="*/ 52419 w 149"/>
                <a:gd name="T31" fmla="*/ 38412 h 61"/>
                <a:gd name="T32" fmla="*/ 52419 w 149"/>
                <a:gd name="T33" fmla="*/ 45907 h 61"/>
                <a:gd name="T34" fmla="*/ 49436 w 149"/>
                <a:gd name="T35" fmla="*/ 46844 h 61"/>
                <a:gd name="T36" fmla="*/ 46453 w 149"/>
                <a:gd name="T37" fmla="*/ 47781 h 61"/>
                <a:gd name="T38" fmla="*/ 44322 w 149"/>
                <a:gd name="T39" fmla="*/ 49655 h 61"/>
                <a:gd name="T40" fmla="*/ 42617 w 149"/>
                <a:gd name="T41" fmla="*/ 51529 h 61"/>
                <a:gd name="T42" fmla="*/ 40060 w 149"/>
                <a:gd name="T43" fmla="*/ 53402 h 61"/>
                <a:gd name="T44" fmla="*/ 37930 w 149"/>
                <a:gd name="T45" fmla="*/ 55276 h 61"/>
                <a:gd name="T46" fmla="*/ 35372 w 149"/>
                <a:gd name="T47" fmla="*/ 57150 h 61"/>
                <a:gd name="T48" fmla="*/ 32389 w 149"/>
                <a:gd name="T49" fmla="*/ 57150 h 61"/>
                <a:gd name="T50" fmla="*/ 28554 w 149"/>
                <a:gd name="T51" fmla="*/ 56213 h 61"/>
                <a:gd name="T52" fmla="*/ 22587 w 149"/>
                <a:gd name="T53" fmla="*/ 53402 h 61"/>
                <a:gd name="T54" fmla="*/ 16621 w 149"/>
                <a:gd name="T55" fmla="*/ 50592 h 61"/>
                <a:gd name="T56" fmla="*/ 10654 w 149"/>
                <a:gd name="T57" fmla="*/ 45907 h 61"/>
                <a:gd name="T58" fmla="*/ 5114 w 149"/>
                <a:gd name="T59" fmla="*/ 42160 h 61"/>
                <a:gd name="T60" fmla="*/ 1279 w 149"/>
                <a:gd name="T61" fmla="*/ 38412 h 61"/>
                <a:gd name="T62" fmla="*/ 426 w 149"/>
                <a:gd name="T63" fmla="*/ 36539 h 61"/>
                <a:gd name="T64" fmla="*/ 0 w 149"/>
                <a:gd name="T65" fmla="*/ 35602 h 61"/>
                <a:gd name="T66" fmla="*/ 0 w 149"/>
                <a:gd name="T67" fmla="*/ 34665 h 61"/>
                <a:gd name="T68" fmla="*/ 1279 w 149"/>
                <a:gd name="T69" fmla="*/ 34665 h 61"/>
                <a:gd name="T70" fmla="*/ 8097 w 149"/>
                <a:gd name="T71" fmla="*/ 33728 h 61"/>
                <a:gd name="T72" fmla="*/ 14916 w 149"/>
                <a:gd name="T73" fmla="*/ 32791 h 61"/>
                <a:gd name="T74" fmla="*/ 20456 w 149"/>
                <a:gd name="T75" fmla="*/ 29980 h 61"/>
                <a:gd name="T76" fmla="*/ 25570 w 149"/>
                <a:gd name="T77" fmla="*/ 25296 h 61"/>
                <a:gd name="T78" fmla="*/ 30685 w 149"/>
                <a:gd name="T79" fmla="*/ 20611 h 61"/>
                <a:gd name="T80" fmla="*/ 34946 w 149"/>
                <a:gd name="T81" fmla="*/ 14990 h 61"/>
                <a:gd name="T82" fmla="*/ 39634 w 149"/>
                <a:gd name="T83" fmla="*/ 7495 h 61"/>
                <a:gd name="T84" fmla="*/ 43896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93" name="Freeform 550">
              <a:extLst>
                <a:ext uri="{FF2B5EF4-FFF2-40B4-BE49-F238E27FC236}">
                  <a16:creationId xmlns:a16="http://schemas.microsoft.com/office/drawing/2014/main" id="{7AA98E99-9766-4B12-80A5-6EEAD3B47C48}"/>
                </a:ext>
              </a:extLst>
            </p:cNvPr>
            <p:cNvSpPr>
              <a:spLocks/>
            </p:cNvSpPr>
            <p:nvPr>
              <p:custDataLst>
                <p:tags r:id="rId381"/>
              </p:custDataLst>
            </p:nvPr>
          </p:nvSpPr>
          <p:spPr bwMode="auto">
            <a:xfrm>
              <a:off x="6607176" y="1438275"/>
              <a:ext cx="130175" cy="57150"/>
            </a:xfrm>
            <a:custGeom>
              <a:avLst/>
              <a:gdLst>
                <a:gd name="T0" fmla="*/ 57904 w 299"/>
                <a:gd name="T1" fmla="*/ 55605 h 74"/>
                <a:gd name="T2" fmla="*/ 67047 w 299"/>
                <a:gd name="T3" fmla="*/ 50199 h 74"/>
                <a:gd name="T4" fmla="*/ 77495 w 299"/>
                <a:gd name="T5" fmla="*/ 41704 h 74"/>
                <a:gd name="T6" fmla="*/ 86638 w 299"/>
                <a:gd name="T7" fmla="*/ 32436 h 74"/>
                <a:gd name="T8" fmla="*/ 90121 w 299"/>
                <a:gd name="T9" fmla="*/ 30892 h 74"/>
                <a:gd name="T10" fmla="*/ 91863 w 299"/>
                <a:gd name="T11" fmla="*/ 35526 h 74"/>
                <a:gd name="T12" fmla="*/ 95781 w 299"/>
                <a:gd name="T13" fmla="*/ 39387 h 74"/>
                <a:gd name="T14" fmla="*/ 105794 w 299"/>
                <a:gd name="T15" fmla="*/ 42476 h 74"/>
                <a:gd name="T16" fmla="*/ 117114 w 299"/>
                <a:gd name="T17" fmla="*/ 42476 h 74"/>
                <a:gd name="T18" fmla="*/ 124515 w 299"/>
                <a:gd name="T19" fmla="*/ 42476 h 74"/>
                <a:gd name="T20" fmla="*/ 127563 w 299"/>
                <a:gd name="T21" fmla="*/ 35526 h 74"/>
                <a:gd name="T22" fmla="*/ 129740 w 299"/>
                <a:gd name="T23" fmla="*/ 23941 h 74"/>
                <a:gd name="T24" fmla="*/ 121468 w 299"/>
                <a:gd name="T25" fmla="*/ 19307 h 74"/>
                <a:gd name="T26" fmla="*/ 106230 w 299"/>
                <a:gd name="T27" fmla="*/ 19307 h 74"/>
                <a:gd name="T28" fmla="*/ 97958 w 299"/>
                <a:gd name="T29" fmla="*/ 19307 h 74"/>
                <a:gd name="T30" fmla="*/ 93169 w 299"/>
                <a:gd name="T31" fmla="*/ 20852 h 74"/>
                <a:gd name="T32" fmla="*/ 88815 w 299"/>
                <a:gd name="T33" fmla="*/ 25486 h 74"/>
                <a:gd name="T34" fmla="*/ 74883 w 299"/>
                <a:gd name="T35" fmla="*/ 28575 h 74"/>
                <a:gd name="T36" fmla="*/ 76625 w 299"/>
                <a:gd name="T37" fmla="*/ 21624 h 74"/>
                <a:gd name="T38" fmla="*/ 78366 w 299"/>
                <a:gd name="T39" fmla="*/ 16218 h 74"/>
                <a:gd name="T40" fmla="*/ 84461 w 299"/>
                <a:gd name="T41" fmla="*/ 10040 h 74"/>
                <a:gd name="T42" fmla="*/ 91427 w 299"/>
                <a:gd name="T43" fmla="*/ 6951 h 74"/>
                <a:gd name="T44" fmla="*/ 97958 w 299"/>
                <a:gd name="T45" fmla="*/ 0 h 74"/>
                <a:gd name="T46" fmla="*/ 80543 w 299"/>
                <a:gd name="T47" fmla="*/ 2317 h 74"/>
                <a:gd name="T48" fmla="*/ 68353 w 299"/>
                <a:gd name="T49" fmla="*/ 8495 h 74"/>
                <a:gd name="T50" fmla="*/ 58339 w 299"/>
                <a:gd name="T51" fmla="*/ 19307 h 74"/>
                <a:gd name="T52" fmla="*/ 49632 w 299"/>
                <a:gd name="T53" fmla="*/ 30892 h 74"/>
                <a:gd name="T54" fmla="*/ 43537 w 299"/>
                <a:gd name="T55" fmla="*/ 40932 h 74"/>
                <a:gd name="T56" fmla="*/ 37877 w 299"/>
                <a:gd name="T57" fmla="*/ 45566 h 74"/>
                <a:gd name="T58" fmla="*/ 27864 w 299"/>
                <a:gd name="T59" fmla="*/ 48655 h 74"/>
                <a:gd name="T60" fmla="*/ 13932 w 299"/>
                <a:gd name="T61" fmla="*/ 49427 h 74"/>
                <a:gd name="T62" fmla="*/ 5224 w 299"/>
                <a:gd name="T63" fmla="*/ 51744 h 74"/>
                <a:gd name="T64" fmla="*/ 871 w 299"/>
                <a:gd name="T65" fmla="*/ 54061 h 74"/>
                <a:gd name="T66" fmla="*/ 16979 w 299"/>
                <a:gd name="T67" fmla="*/ 57150 h 74"/>
                <a:gd name="T68" fmla="*/ 44408 w 299"/>
                <a:gd name="T69" fmla="*/ 57150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9" name="Title 8">
            <a:extLst>
              <a:ext uri="{FF2B5EF4-FFF2-40B4-BE49-F238E27FC236}">
                <a16:creationId xmlns:a16="http://schemas.microsoft.com/office/drawing/2014/main" id="{226CD099-04BF-4DC0-98A8-91BDF5DEC8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821" y="304800"/>
            <a:ext cx="8596668" cy="727788"/>
          </a:xfrm>
        </p:spPr>
        <p:txBody>
          <a:bodyPr/>
          <a:lstStyle/>
          <a:p>
            <a:r>
              <a:rPr lang="en-US" b="1" dirty="0"/>
              <a:t>Operating Values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91101845-E62B-4D3A-912D-D5A7F26DCE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5821" y="1123665"/>
            <a:ext cx="8515248" cy="5015877"/>
          </a:xfrm>
        </p:spPr>
        <p:txBody>
          <a:bodyPr>
            <a:normAutofit/>
          </a:bodyPr>
          <a:lstStyle/>
          <a:p>
            <a:pPr algn="just"/>
            <a:r>
              <a:rPr lang="en-US" sz="2000" dirty="0"/>
              <a:t>Maintain a diverse, global and interconnected ecosystem of participants</a:t>
            </a:r>
          </a:p>
          <a:p>
            <a:r>
              <a:rPr lang="en-US" sz="2000" dirty="0"/>
              <a:t>All participants have given their commitment to:</a:t>
            </a:r>
          </a:p>
          <a:p>
            <a:pPr lvl="1"/>
            <a:r>
              <a:rPr lang="en-US" sz="1800" dirty="0"/>
              <a:t>learner privacy and data protection</a:t>
            </a:r>
          </a:p>
          <a:p>
            <a:pPr lvl="1"/>
            <a:r>
              <a:rPr lang="en-US" sz="1800" dirty="0"/>
              <a:t>transparent and responsible practices</a:t>
            </a:r>
          </a:p>
          <a:p>
            <a:pPr lvl="1"/>
            <a:r>
              <a:rPr lang="en-US" sz="1800" dirty="0"/>
              <a:t>the recognition of digital student data and qualifications</a:t>
            </a:r>
          </a:p>
          <a:p>
            <a:pPr algn="just"/>
            <a:r>
              <a:rPr lang="en-US" sz="2000" dirty="0"/>
              <a:t>We aim to ensure that ALL citizen learners have access to secure digital records of their own educational achievements and can share them with whomever they choose whenever (</a:t>
            </a:r>
            <a:r>
              <a:rPr lang="en-US" sz="2000" i="1" dirty="0"/>
              <a:t>learner centricity</a:t>
            </a:r>
            <a:r>
              <a:rPr lang="en-US" sz="2000" dirty="0"/>
              <a:t>)</a:t>
            </a:r>
          </a:p>
          <a:p>
            <a:pPr algn="just"/>
            <a:r>
              <a:rPr lang="en-US" sz="2000" dirty="0"/>
              <a:t>Support initiatives dealing with migrant data mobility, resettlement and access to services otherwise denied</a:t>
            </a:r>
          </a:p>
          <a:p>
            <a:pPr algn="just"/>
            <a:r>
              <a:rPr lang="en-US" sz="2000" dirty="0"/>
              <a:t>Bring resources to bear to address a fundamental lack and imbalance of global data and digital capacity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E52D758-77E1-4C3F-8D77-00FD922FC58B}"/>
              </a:ext>
            </a:extLst>
          </p:cNvPr>
          <p:cNvPicPr>
            <a:picLocks noChangeAspect="1"/>
          </p:cNvPicPr>
          <p:nvPr/>
        </p:nvPicPr>
        <p:blipFill>
          <a:blip r:embed="rId384"/>
          <a:stretch>
            <a:fillRect/>
          </a:stretch>
        </p:blipFill>
        <p:spPr>
          <a:xfrm>
            <a:off x="615821" y="6283466"/>
            <a:ext cx="1959429" cy="406674"/>
          </a:xfrm>
          <a:prstGeom prst="rect">
            <a:avLst/>
          </a:prstGeom>
        </p:spPr>
      </p:pic>
      <p:sp>
        <p:nvSpPr>
          <p:cNvPr id="2" name="Tijdelijke aanduiding voor voettekst 1"/>
          <p:cNvSpPr>
            <a:spLocks noGrp="1"/>
          </p:cNvSpPr>
          <p:nvPr>
            <p:ph type="ftr" sz="quarter" idx="11"/>
          </p:nvPr>
        </p:nvSpPr>
        <p:spPr>
          <a:xfrm>
            <a:off x="2587768" y="6283466"/>
            <a:ext cx="6678825" cy="365125"/>
          </a:xfrm>
        </p:spPr>
        <p:txBody>
          <a:bodyPr/>
          <a:lstStyle/>
          <a:p>
            <a:r>
              <a:rPr lang="en-US" dirty="0"/>
              <a:t>An international public benefit foundation, registered with the Dutch Chamber of Commerce #67518613 and the European Transparency Register #238535130318-52. Office contact details: </a:t>
            </a:r>
            <a:r>
              <a:rPr lang="en-US" dirty="0" err="1"/>
              <a:t>Nolenslaan</a:t>
            </a:r>
            <a:r>
              <a:rPr lang="en-US" dirty="0"/>
              <a:t> 13, 9722 NK Groningen, The Netherlands </a:t>
            </a:r>
            <a:r>
              <a:rPr lang="en-US" dirty="0">
                <a:hlinkClick r:id="rId385"/>
              </a:rPr>
              <a:t>ed@groningendeclaration.org</a:t>
            </a:r>
            <a:r>
              <a:rPr lang="en-US" dirty="0"/>
              <a:t> +316 1505 5422  </a:t>
            </a:r>
            <a:r>
              <a:rPr lang="en-US" dirty="0">
                <a:hlinkClick r:id="rId386"/>
              </a:rPr>
              <a:t>www.groningendeclaration.org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251609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44B96A-B0B7-4A0F-8CB6-D438CDABB0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4" y="609601"/>
            <a:ext cx="8596668" cy="592142"/>
          </a:xfrm>
        </p:spPr>
        <p:txBody>
          <a:bodyPr>
            <a:normAutofit fontScale="90000"/>
          </a:bodyPr>
          <a:lstStyle/>
          <a:p>
            <a:r>
              <a:rPr lang="en-US" b="1" dirty="0"/>
              <a:t>Operationalizing Our Goa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3F0593-2671-46EF-A1C9-21D0C06DA7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7334" y="1436915"/>
            <a:ext cx="8596668" cy="4811484"/>
          </a:xfrm>
        </p:spPr>
        <p:txBody>
          <a:bodyPr>
            <a:normAutofit/>
          </a:bodyPr>
          <a:lstStyle/>
          <a:p>
            <a:pPr algn="just"/>
            <a:r>
              <a:rPr lang="en-US" sz="2000" dirty="0"/>
              <a:t>Annual convening bringing the international community together </a:t>
            </a:r>
          </a:p>
          <a:p>
            <a:r>
              <a:rPr lang="en-US" sz="2000" dirty="0"/>
              <a:t>Focused on best practice sharing among the attendees:</a:t>
            </a:r>
          </a:p>
          <a:p>
            <a:pPr lvl="1"/>
            <a:r>
              <a:rPr lang="en-US" sz="1800" dirty="0"/>
              <a:t>Credential digitalization</a:t>
            </a:r>
          </a:p>
          <a:p>
            <a:pPr lvl="1"/>
            <a:r>
              <a:rPr lang="en-US" sz="1800" dirty="0"/>
              <a:t>Credential evaluation</a:t>
            </a:r>
          </a:p>
          <a:p>
            <a:pPr lvl="1"/>
            <a:r>
              <a:rPr lang="en-US" sz="1800" dirty="0"/>
              <a:t>Social use cases for international depositories</a:t>
            </a:r>
          </a:p>
          <a:p>
            <a:pPr algn="just"/>
            <a:r>
              <a:rPr lang="en-US" sz="2000" dirty="0"/>
              <a:t>Success tied to creating new pilots and expanding access globally</a:t>
            </a:r>
          </a:p>
          <a:p>
            <a:pPr lvl="1" algn="just"/>
            <a:r>
              <a:rPr lang="en-US" sz="1800" dirty="0"/>
              <a:t>Examples: AQVN establishment, Australia/NZ digitalization, Multiple US-China Academic portals, EU-US academic portal developments</a:t>
            </a:r>
          </a:p>
          <a:p>
            <a:pPr algn="just"/>
            <a:r>
              <a:rPr lang="en-US" sz="2000" dirty="0"/>
              <a:t>Deliver on global data portability through </a:t>
            </a:r>
            <a:r>
              <a:rPr lang="en-US" sz="2000" i="1" dirty="0"/>
              <a:t>participant commitments</a:t>
            </a:r>
          </a:p>
          <a:p>
            <a:r>
              <a:rPr lang="en-US" sz="2000" dirty="0"/>
              <a:t>2020: Regional strategy to drive awareness, access and adoption</a:t>
            </a:r>
          </a:p>
          <a:p>
            <a:pPr lvl="1" algn="just"/>
            <a:r>
              <a:rPr lang="en-US" sz="1800" dirty="0"/>
              <a:t>Bringing together authorities and entities regionally to identify and collaboratively develop new initiatives. </a:t>
            </a:r>
          </a:p>
          <a:p>
            <a:endParaRPr lang="en-US" sz="20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E06DE20-9E31-4FEA-99E4-B36DE31550CC}"/>
              </a:ext>
            </a:extLst>
          </p:cNvPr>
          <p:cNvPicPr>
            <a:picLocks noChangeAspect="1"/>
          </p:cNvPicPr>
          <p:nvPr/>
        </p:nvPicPr>
        <p:blipFill>
          <a:blip r:embed="rId384"/>
          <a:stretch>
            <a:fillRect/>
          </a:stretch>
        </p:blipFill>
        <p:spPr>
          <a:xfrm>
            <a:off x="615821" y="6283466"/>
            <a:ext cx="1959429" cy="406674"/>
          </a:xfrm>
          <a:prstGeom prst="rect">
            <a:avLst/>
          </a:prstGeom>
        </p:spPr>
      </p:pic>
      <p:grpSp>
        <p:nvGrpSpPr>
          <p:cNvPr id="553" name="Group 552">
            <a:extLst>
              <a:ext uri="{FF2B5EF4-FFF2-40B4-BE49-F238E27FC236}">
                <a16:creationId xmlns:a16="http://schemas.microsoft.com/office/drawing/2014/main" id="{04497756-EEF6-425A-8011-60C46469D57A}"/>
              </a:ext>
            </a:extLst>
          </p:cNvPr>
          <p:cNvGrpSpPr/>
          <p:nvPr/>
        </p:nvGrpSpPr>
        <p:grpSpPr>
          <a:xfrm>
            <a:off x="8235819" y="304800"/>
            <a:ext cx="3744761" cy="1840517"/>
            <a:chOff x="2201864" y="1196976"/>
            <a:chExt cx="7500937" cy="4260849"/>
          </a:xfrm>
        </p:grpSpPr>
        <p:sp>
          <p:nvSpPr>
            <p:cNvPr id="554" name="Freeform 4">
              <a:extLst>
                <a:ext uri="{FF2B5EF4-FFF2-40B4-BE49-F238E27FC236}">
                  <a16:creationId xmlns:a16="http://schemas.microsoft.com/office/drawing/2014/main" id="{7D00BB8A-E47B-4637-B277-6B4FEDE7253C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4043364" y="5394325"/>
              <a:ext cx="33337" cy="57150"/>
            </a:xfrm>
            <a:custGeom>
              <a:avLst/>
              <a:gdLst>
                <a:gd name="T0" fmla="*/ 0 w 73"/>
                <a:gd name="T1" fmla="*/ 0 h 20"/>
                <a:gd name="T2" fmla="*/ 457 w 73"/>
                <a:gd name="T3" fmla="*/ 14288 h 20"/>
                <a:gd name="T4" fmla="*/ 1827 w 73"/>
                <a:gd name="T5" fmla="*/ 28575 h 20"/>
                <a:gd name="T6" fmla="*/ 3653 w 73"/>
                <a:gd name="T7" fmla="*/ 40005 h 20"/>
                <a:gd name="T8" fmla="*/ 5937 w 73"/>
                <a:gd name="T9" fmla="*/ 57150 h 20"/>
                <a:gd name="T10" fmla="*/ 7307 w 73"/>
                <a:gd name="T11" fmla="*/ 48578 h 20"/>
                <a:gd name="T12" fmla="*/ 8677 w 73"/>
                <a:gd name="T13" fmla="*/ 37148 h 20"/>
                <a:gd name="T14" fmla="*/ 10503 w 73"/>
                <a:gd name="T15" fmla="*/ 31433 h 20"/>
                <a:gd name="T16" fmla="*/ 12330 w 73"/>
                <a:gd name="T17" fmla="*/ 28575 h 20"/>
                <a:gd name="T18" fmla="*/ 16440 w 73"/>
                <a:gd name="T19" fmla="*/ 22860 h 20"/>
                <a:gd name="T20" fmla="*/ 21007 w 73"/>
                <a:gd name="T21" fmla="*/ 20003 h 20"/>
                <a:gd name="T22" fmla="*/ 24660 w 73"/>
                <a:gd name="T23" fmla="*/ 20003 h 20"/>
                <a:gd name="T24" fmla="*/ 28770 w 73"/>
                <a:gd name="T25" fmla="*/ 17145 h 20"/>
                <a:gd name="T26" fmla="*/ 30140 w 73"/>
                <a:gd name="T27" fmla="*/ 14288 h 20"/>
                <a:gd name="T28" fmla="*/ 31510 w 73"/>
                <a:gd name="T29" fmla="*/ 11430 h 20"/>
                <a:gd name="T30" fmla="*/ 32424 w 73"/>
                <a:gd name="T31" fmla="*/ 5715 h 20"/>
                <a:gd name="T32" fmla="*/ 33337 w 73"/>
                <a:gd name="T33" fmla="*/ 0 h 20"/>
                <a:gd name="T34" fmla="*/ 0 w 73"/>
                <a:gd name="T35" fmla="*/ 0 h 2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55" name="Freeform 5">
              <a:extLst>
                <a:ext uri="{FF2B5EF4-FFF2-40B4-BE49-F238E27FC236}">
                  <a16:creationId xmlns:a16="http://schemas.microsoft.com/office/drawing/2014/main" id="{8A187F46-A18B-4103-B373-9C02A2B2A1D9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2201864" y="1495425"/>
              <a:ext cx="784225" cy="446088"/>
            </a:xfrm>
            <a:custGeom>
              <a:avLst/>
              <a:gdLst>
                <a:gd name="T0" fmla="*/ 605085 w 1808"/>
                <a:gd name="T1" fmla="*/ 423521 h 850"/>
                <a:gd name="T2" fmla="*/ 604651 w 1808"/>
                <a:gd name="T3" fmla="*/ 395181 h 850"/>
                <a:gd name="T4" fmla="*/ 595543 w 1808"/>
                <a:gd name="T5" fmla="*/ 340076 h 850"/>
                <a:gd name="T6" fmla="*/ 573855 w 1808"/>
                <a:gd name="T7" fmla="*/ 336403 h 850"/>
                <a:gd name="T8" fmla="*/ 548263 w 1808"/>
                <a:gd name="T9" fmla="*/ 335353 h 850"/>
                <a:gd name="T10" fmla="*/ 491876 w 1808"/>
                <a:gd name="T11" fmla="*/ 305439 h 850"/>
                <a:gd name="T12" fmla="*/ 422041 w 1808"/>
                <a:gd name="T13" fmla="*/ 281823 h 850"/>
                <a:gd name="T14" fmla="*/ 409029 w 1808"/>
                <a:gd name="T15" fmla="*/ 264504 h 850"/>
                <a:gd name="T16" fmla="*/ 390811 w 1808"/>
                <a:gd name="T17" fmla="*/ 270802 h 850"/>
                <a:gd name="T18" fmla="*/ 368256 w 1808"/>
                <a:gd name="T19" fmla="*/ 299141 h 850"/>
                <a:gd name="T20" fmla="*/ 292783 w 1808"/>
                <a:gd name="T21" fmla="*/ 324857 h 850"/>
                <a:gd name="T22" fmla="*/ 294084 w 1808"/>
                <a:gd name="T23" fmla="*/ 303340 h 850"/>
                <a:gd name="T24" fmla="*/ 312736 w 1808"/>
                <a:gd name="T25" fmla="*/ 287596 h 850"/>
                <a:gd name="T26" fmla="*/ 340930 w 1808"/>
                <a:gd name="T27" fmla="*/ 286021 h 850"/>
                <a:gd name="T28" fmla="*/ 314037 w 1808"/>
                <a:gd name="T29" fmla="*/ 277099 h 850"/>
                <a:gd name="T30" fmla="*/ 250709 w 1808"/>
                <a:gd name="T31" fmla="*/ 309113 h 850"/>
                <a:gd name="T32" fmla="*/ 237263 w 1808"/>
                <a:gd name="T33" fmla="*/ 328006 h 850"/>
                <a:gd name="T34" fmla="*/ 228154 w 1808"/>
                <a:gd name="T35" fmla="*/ 341126 h 850"/>
                <a:gd name="T36" fmla="*/ 196056 w 1808"/>
                <a:gd name="T37" fmla="*/ 343225 h 850"/>
                <a:gd name="T38" fmla="*/ 166127 w 1808"/>
                <a:gd name="T39" fmla="*/ 368416 h 850"/>
                <a:gd name="T40" fmla="*/ 109306 w 1808"/>
                <a:gd name="T41" fmla="*/ 393607 h 850"/>
                <a:gd name="T42" fmla="*/ 45544 w 1808"/>
                <a:gd name="T43" fmla="*/ 423521 h 850"/>
                <a:gd name="T44" fmla="*/ 1735 w 1808"/>
                <a:gd name="T45" fmla="*/ 426670 h 850"/>
                <a:gd name="T46" fmla="*/ 6073 w 1808"/>
                <a:gd name="T47" fmla="*/ 414075 h 850"/>
                <a:gd name="T48" fmla="*/ 55087 w 1808"/>
                <a:gd name="T49" fmla="*/ 399380 h 850"/>
                <a:gd name="T50" fmla="*/ 114944 w 1808"/>
                <a:gd name="T51" fmla="*/ 365267 h 850"/>
                <a:gd name="T52" fmla="*/ 130126 w 1808"/>
                <a:gd name="T53" fmla="*/ 328531 h 850"/>
                <a:gd name="T54" fmla="*/ 109739 w 1808"/>
                <a:gd name="T55" fmla="*/ 344800 h 850"/>
                <a:gd name="T56" fmla="*/ 65063 w 1808"/>
                <a:gd name="T57" fmla="*/ 337452 h 850"/>
                <a:gd name="T58" fmla="*/ 74605 w 1808"/>
                <a:gd name="T59" fmla="*/ 320134 h 850"/>
                <a:gd name="T60" fmla="*/ 104101 w 1808"/>
                <a:gd name="T61" fmla="*/ 287071 h 850"/>
                <a:gd name="T62" fmla="*/ 65930 w 1808"/>
                <a:gd name="T63" fmla="*/ 301765 h 850"/>
                <a:gd name="T64" fmla="*/ 62027 w 1808"/>
                <a:gd name="T65" fmla="*/ 281298 h 850"/>
                <a:gd name="T66" fmla="*/ 150078 w 1808"/>
                <a:gd name="T67" fmla="*/ 199428 h 850"/>
                <a:gd name="T68" fmla="*/ 192586 w 1808"/>
                <a:gd name="T69" fmla="*/ 200477 h 850"/>
                <a:gd name="T70" fmla="*/ 246805 w 1808"/>
                <a:gd name="T71" fmla="*/ 183158 h 850"/>
                <a:gd name="T72" fmla="*/ 256782 w 1808"/>
                <a:gd name="T73" fmla="*/ 160592 h 850"/>
                <a:gd name="T74" fmla="*/ 219479 w 1808"/>
                <a:gd name="T75" fmla="*/ 173712 h 850"/>
                <a:gd name="T76" fmla="*/ 189984 w 1808"/>
                <a:gd name="T77" fmla="*/ 166889 h 850"/>
                <a:gd name="T78" fmla="*/ 204731 w 1808"/>
                <a:gd name="T79" fmla="*/ 150620 h 850"/>
                <a:gd name="T80" fmla="*/ 308398 w 1808"/>
                <a:gd name="T81" fmla="*/ 124905 h 850"/>
                <a:gd name="T82" fmla="*/ 324881 w 1808"/>
                <a:gd name="T83" fmla="*/ 110210 h 850"/>
                <a:gd name="T84" fmla="*/ 296687 w 1808"/>
                <a:gd name="T85" fmla="*/ 92366 h 850"/>
                <a:gd name="T86" fmla="*/ 320543 w 1808"/>
                <a:gd name="T87" fmla="*/ 57204 h 850"/>
                <a:gd name="T88" fmla="*/ 428548 w 1808"/>
                <a:gd name="T89" fmla="*/ 14170 h 850"/>
                <a:gd name="T90" fmla="*/ 501852 w 1808"/>
                <a:gd name="T91" fmla="*/ 4723 h 850"/>
                <a:gd name="T92" fmla="*/ 553902 w 1808"/>
                <a:gd name="T93" fmla="*/ 1050 h 850"/>
                <a:gd name="T94" fmla="*/ 587301 w 1808"/>
                <a:gd name="T95" fmla="*/ 5248 h 850"/>
                <a:gd name="T96" fmla="*/ 657569 w 1808"/>
                <a:gd name="T97" fmla="*/ 17844 h 850"/>
                <a:gd name="T98" fmla="*/ 763839 w 1808"/>
                <a:gd name="T99" fmla="*/ 21517 h 850"/>
                <a:gd name="T100" fmla="*/ 558240 w 1808"/>
                <a:gd name="T101" fmla="*/ 283397 h 850"/>
                <a:gd name="T102" fmla="*/ 572987 w 1808"/>
                <a:gd name="T103" fmla="*/ 299666 h 850"/>
                <a:gd name="T104" fmla="*/ 575590 w 1808"/>
                <a:gd name="T105" fmla="*/ 315410 h 850"/>
                <a:gd name="T106" fmla="*/ 599446 w 1808"/>
                <a:gd name="T107" fmla="*/ 314361 h 850"/>
                <a:gd name="T108" fmla="*/ 619833 w 1808"/>
                <a:gd name="T109" fmla="*/ 302815 h 850"/>
                <a:gd name="T110" fmla="*/ 639785 w 1808"/>
                <a:gd name="T111" fmla="*/ 350048 h 850"/>
                <a:gd name="T112" fmla="*/ 634147 w 1808"/>
                <a:gd name="T113" fmla="*/ 370515 h 850"/>
                <a:gd name="T114" fmla="*/ 628508 w 1808"/>
                <a:gd name="T115" fmla="*/ 389409 h 850"/>
                <a:gd name="T116" fmla="*/ 640653 w 1808"/>
                <a:gd name="T117" fmla="*/ 410926 h 850"/>
                <a:gd name="T118" fmla="*/ 640653 w 1808"/>
                <a:gd name="T119" fmla="*/ 425620 h 850"/>
                <a:gd name="T120" fmla="*/ 618531 w 1808"/>
                <a:gd name="T121" fmla="*/ 445038 h 85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56" name="Freeform 6">
              <a:extLst>
                <a:ext uri="{FF2B5EF4-FFF2-40B4-BE49-F238E27FC236}">
                  <a16:creationId xmlns:a16="http://schemas.microsoft.com/office/drawing/2014/main" id="{7F3956C2-56B9-4618-96C6-67C3FEA22F21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662239" y="2111375"/>
              <a:ext cx="1381125" cy="769938"/>
            </a:xfrm>
            <a:custGeom>
              <a:avLst/>
              <a:gdLst>
                <a:gd name="T0" fmla="*/ 1273680 w 3175"/>
                <a:gd name="T1" fmla="*/ 184639 h 1472"/>
                <a:gd name="T2" fmla="*/ 1259760 w 3175"/>
                <a:gd name="T3" fmla="*/ 230145 h 1472"/>
                <a:gd name="T4" fmla="*/ 1236705 w 3175"/>
                <a:gd name="T5" fmla="*/ 241652 h 1472"/>
                <a:gd name="T6" fmla="*/ 1160145 w 3175"/>
                <a:gd name="T7" fmla="*/ 296050 h 1472"/>
                <a:gd name="T8" fmla="*/ 1128825 w 3175"/>
                <a:gd name="T9" fmla="*/ 305988 h 1472"/>
                <a:gd name="T10" fmla="*/ 1117950 w 3175"/>
                <a:gd name="T11" fmla="*/ 354109 h 1472"/>
                <a:gd name="T12" fmla="*/ 1093590 w 3175"/>
                <a:gd name="T13" fmla="*/ 324818 h 1472"/>
                <a:gd name="T14" fmla="*/ 1087065 w 3175"/>
                <a:gd name="T15" fmla="*/ 360908 h 1472"/>
                <a:gd name="T16" fmla="*/ 1072275 w 3175"/>
                <a:gd name="T17" fmla="*/ 389153 h 1472"/>
                <a:gd name="T18" fmla="*/ 1074885 w 3175"/>
                <a:gd name="T19" fmla="*/ 430475 h 1472"/>
                <a:gd name="T20" fmla="*/ 1014420 w 3175"/>
                <a:gd name="T21" fmla="*/ 485396 h 1472"/>
                <a:gd name="T22" fmla="*/ 941775 w 3175"/>
                <a:gd name="T23" fmla="*/ 546593 h 1472"/>
                <a:gd name="T24" fmla="*/ 918720 w 3175"/>
                <a:gd name="T25" fmla="*/ 625052 h 1472"/>
                <a:gd name="T26" fmla="*/ 914805 w 3175"/>
                <a:gd name="T27" fmla="*/ 762092 h 1472"/>
                <a:gd name="T28" fmla="*/ 881310 w 3175"/>
                <a:gd name="T29" fmla="*/ 739601 h 1472"/>
                <a:gd name="T30" fmla="*/ 866955 w 3175"/>
                <a:gd name="T31" fmla="*/ 693572 h 1472"/>
                <a:gd name="T32" fmla="*/ 852165 w 3175"/>
                <a:gd name="T33" fmla="*/ 619298 h 1472"/>
                <a:gd name="T34" fmla="*/ 796920 w 3175"/>
                <a:gd name="T35" fmla="*/ 610929 h 1472"/>
                <a:gd name="T36" fmla="*/ 719055 w 3175"/>
                <a:gd name="T37" fmla="*/ 597853 h 1472"/>
                <a:gd name="T38" fmla="*/ 702960 w 3175"/>
                <a:gd name="T39" fmla="*/ 620344 h 1472"/>
                <a:gd name="T40" fmla="*/ 673380 w 3175"/>
                <a:gd name="T41" fmla="*/ 647543 h 1472"/>
                <a:gd name="T42" fmla="*/ 624660 w 3175"/>
                <a:gd name="T43" fmla="*/ 623482 h 1472"/>
                <a:gd name="T44" fmla="*/ 535485 w 3175"/>
                <a:gd name="T45" fmla="*/ 665327 h 1472"/>
                <a:gd name="T46" fmla="*/ 504600 w 3175"/>
                <a:gd name="T47" fmla="*/ 728094 h 1472"/>
                <a:gd name="T48" fmla="*/ 469800 w 3175"/>
                <a:gd name="T49" fmla="*/ 722863 h 1472"/>
                <a:gd name="T50" fmla="*/ 451095 w 3175"/>
                <a:gd name="T51" fmla="*/ 641789 h 1472"/>
                <a:gd name="T52" fmla="*/ 408900 w 3175"/>
                <a:gd name="T53" fmla="*/ 622436 h 1472"/>
                <a:gd name="T54" fmla="*/ 377145 w 3175"/>
                <a:gd name="T55" fmla="*/ 637605 h 1472"/>
                <a:gd name="T56" fmla="*/ 340170 w 3175"/>
                <a:gd name="T57" fmla="*/ 568562 h 1472"/>
                <a:gd name="T58" fmla="*/ 291450 w 3175"/>
                <a:gd name="T59" fmla="*/ 557054 h 1472"/>
                <a:gd name="T60" fmla="*/ 200970 w 3175"/>
                <a:gd name="T61" fmla="*/ 557054 h 1472"/>
                <a:gd name="T62" fmla="*/ 95700 w 3175"/>
                <a:gd name="T63" fmla="*/ 531425 h 1472"/>
                <a:gd name="T64" fmla="*/ 38280 w 3175"/>
                <a:gd name="T65" fmla="*/ 481211 h 1472"/>
                <a:gd name="T66" fmla="*/ 16965 w 3175"/>
                <a:gd name="T67" fmla="*/ 443551 h 1472"/>
                <a:gd name="T68" fmla="*/ 12615 w 3175"/>
                <a:gd name="T69" fmla="*/ 346263 h 1472"/>
                <a:gd name="T70" fmla="*/ 0 w 3175"/>
                <a:gd name="T71" fmla="*/ 315926 h 1472"/>
                <a:gd name="T72" fmla="*/ 61335 w 3175"/>
                <a:gd name="T73" fmla="*/ 175747 h 1472"/>
                <a:gd name="T74" fmla="*/ 107445 w 3175"/>
                <a:gd name="T75" fmla="*/ 92058 h 1472"/>
                <a:gd name="T76" fmla="*/ 154425 w 3175"/>
                <a:gd name="T77" fmla="*/ 53352 h 1472"/>
                <a:gd name="T78" fmla="*/ 163560 w 3175"/>
                <a:gd name="T79" fmla="*/ 62767 h 1472"/>
                <a:gd name="T80" fmla="*/ 794745 w 3175"/>
                <a:gd name="T81" fmla="*/ 0 h 1472"/>
                <a:gd name="T82" fmla="*/ 837810 w 3175"/>
                <a:gd name="T83" fmla="*/ 28768 h 1472"/>
                <a:gd name="T84" fmla="*/ 876525 w 3175"/>
                <a:gd name="T85" fmla="*/ 36091 h 1472"/>
                <a:gd name="T86" fmla="*/ 839115 w 3175"/>
                <a:gd name="T87" fmla="*/ 66951 h 1472"/>
                <a:gd name="T88" fmla="*/ 859995 w 3175"/>
                <a:gd name="T89" fmla="*/ 86827 h 1472"/>
                <a:gd name="T90" fmla="*/ 910890 w 3175"/>
                <a:gd name="T91" fmla="*/ 81074 h 1472"/>
                <a:gd name="T92" fmla="*/ 993540 w 3175"/>
                <a:gd name="T93" fmla="*/ 100950 h 1472"/>
                <a:gd name="T94" fmla="*/ 964395 w 3175"/>
                <a:gd name="T95" fmla="*/ 106703 h 1472"/>
                <a:gd name="T96" fmla="*/ 907845 w 3175"/>
                <a:gd name="T97" fmla="*/ 138087 h 1472"/>
                <a:gd name="T98" fmla="*/ 879135 w 3175"/>
                <a:gd name="T99" fmla="*/ 185685 h 1472"/>
                <a:gd name="T100" fmla="*/ 875220 w 3175"/>
                <a:gd name="T101" fmla="*/ 235898 h 1472"/>
                <a:gd name="T102" fmla="*/ 903060 w 3175"/>
                <a:gd name="T103" fmla="*/ 218114 h 1472"/>
                <a:gd name="T104" fmla="*/ 959175 w 3175"/>
                <a:gd name="T105" fmla="*/ 131810 h 1472"/>
                <a:gd name="T106" fmla="*/ 986145 w 3175"/>
                <a:gd name="T107" fmla="*/ 158486 h 1472"/>
                <a:gd name="T108" fmla="*/ 1000065 w 3175"/>
                <a:gd name="T109" fmla="*/ 206084 h 1472"/>
                <a:gd name="T110" fmla="*/ 959610 w 3175"/>
                <a:gd name="T111" fmla="*/ 237467 h 1472"/>
                <a:gd name="T112" fmla="*/ 1007895 w 3175"/>
                <a:gd name="T113" fmla="*/ 239036 h 1472"/>
                <a:gd name="T114" fmla="*/ 1117950 w 3175"/>
                <a:gd name="T115" fmla="*/ 195100 h 1472"/>
                <a:gd name="T116" fmla="*/ 1187550 w 3175"/>
                <a:gd name="T117" fmla="*/ 131810 h 1472"/>
                <a:gd name="T118" fmla="*/ 1311960 w 3175"/>
                <a:gd name="T119" fmla="*/ 106180 h 1472"/>
                <a:gd name="T120" fmla="*/ 1364160 w 3175"/>
                <a:gd name="T121" fmla="*/ 61721 h 1472"/>
                <a:gd name="T122" fmla="*/ 1369815 w 3175"/>
                <a:gd name="T123" fmla="*/ 96242 h 14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57" name="Freeform 7">
              <a:extLst>
                <a:ext uri="{FF2B5EF4-FFF2-40B4-BE49-F238E27FC236}">
                  <a16:creationId xmlns:a16="http://schemas.microsoft.com/office/drawing/2014/main" id="{DD4504C4-2243-476A-8AFB-7DC3D1D7477A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495676" y="3662363"/>
              <a:ext cx="339725" cy="590550"/>
            </a:xfrm>
            <a:custGeom>
              <a:avLst/>
              <a:gdLst>
                <a:gd name="T0" fmla="*/ 252627 w 784"/>
                <a:gd name="T1" fmla="*/ 145020 h 1128"/>
                <a:gd name="T2" fmla="*/ 237894 w 784"/>
                <a:gd name="T3" fmla="*/ 154443 h 1128"/>
                <a:gd name="T4" fmla="*/ 209728 w 784"/>
                <a:gd name="T5" fmla="*/ 202609 h 1128"/>
                <a:gd name="T6" fmla="*/ 201495 w 784"/>
                <a:gd name="T7" fmla="*/ 239257 h 1128"/>
                <a:gd name="T8" fmla="*/ 208428 w 784"/>
                <a:gd name="T9" fmla="*/ 273286 h 1128"/>
                <a:gd name="T10" fmla="*/ 229661 w 784"/>
                <a:gd name="T11" fmla="*/ 309411 h 1128"/>
                <a:gd name="T12" fmla="*/ 250894 w 784"/>
                <a:gd name="T13" fmla="*/ 322499 h 1128"/>
                <a:gd name="T14" fmla="*/ 270827 w 784"/>
                <a:gd name="T15" fmla="*/ 314122 h 1128"/>
                <a:gd name="T16" fmla="*/ 283393 w 784"/>
                <a:gd name="T17" fmla="*/ 341870 h 1128"/>
                <a:gd name="T18" fmla="*/ 291193 w 784"/>
                <a:gd name="T19" fmla="*/ 357576 h 1128"/>
                <a:gd name="T20" fmla="*/ 309392 w 784"/>
                <a:gd name="T21" fmla="*/ 359670 h 1128"/>
                <a:gd name="T22" fmla="*/ 324559 w 784"/>
                <a:gd name="T23" fmla="*/ 372759 h 1128"/>
                <a:gd name="T24" fmla="*/ 333658 w 784"/>
                <a:gd name="T25" fmla="*/ 395794 h 1128"/>
                <a:gd name="T26" fmla="*/ 329759 w 784"/>
                <a:gd name="T27" fmla="*/ 413594 h 1128"/>
                <a:gd name="T28" fmla="*/ 329325 w 784"/>
                <a:gd name="T29" fmla="*/ 431918 h 1128"/>
                <a:gd name="T30" fmla="*/ 334525 w 784"/>
                <a:gd name="T31" fmla="*/ 461760 h 1128"/>
                <a:gd name="T32" fmla="*/ 328459 w 784"/>
                <a:gd name="T33" fmla="*/ 487937 h 1128"/>
                <a:gd name="T34" fmla="*/ 333658 w 784"/>
                <a:gd name="T35" fmla="*/ 520396 h 1128"/>
                <a:gd name="T36" fmla="*/ 330625 w 784"/>
                <a:gd name="T37" fmla="*/ 551808 h 1128"/>
                <a:gd name="T38" fmla="*/ 299426 w 784"/>
                <a:gd name="T39" fmla="*/ 587409 h 1128"/>
                <a:gd name="T40" fmla="*/ 280793 w 784"/>
                <a:gd name="T41" fmla="*/ 577462 h 1128"/>
                <a:gd name="T42" fmla="*/ 260860 w 784"/>
                <a:gd name="T43" fmla="*/ 552855 h 1128"/>
                <a:gd name="T44" fmla="*/ 200628 w 784"/>
                <a:gd name="T45" fmla="*/ 522490 h 1128"/>
                <a:gd name="T46" fmla="*/ 184162 w 784"/>
                <a:gd name="T47" fmla="*/ 506261 h 1128"/>
                <a:gd name="T48" fmla="*/ 143430 w 784"/>
                <a:gd name="T49" fmla="*/ 468042 h 1128"/>
                <a:gd name="T50" fmla="*/ 137797 w 784"/>
                <a:gd name="T51" fmla="*/ 453907 h 1128"/>
                <a:gd name="T52" fmla="*/ 142130 w 784"/>
                <a:gd name="T53" fmla="*/ 426683 h 1128"/>
                <a:gd name="T54" fmla="*/ 125664 w 784"/>
                <a:gd name="T55" fmla="*/ 407312 h 1128"/>
                <a:gd name="T56" fmla="*/ 112231 w 784"/>
                <a:gd name="T57" fmla="*/ 390035 h 1128"/>
                <a:gd name="T58" fmla="*/ 105297 w 784"/>
                <a:gd name="T59" fmla="*/ 360717 h 1128"/>
                <a:gd name="T60" fmla="*/ 66298 w 784"/>
                <a:gd name="T61" fmla="*/ 277475 h 1128"/>
                <a:gd name="T62" fmla="*/ 51999 w 784"/>
                <a:gd name="T63" fmla="*/ 254963 h 1128"/>
                <a:gd name="T64" fmla="*/ 38999 w 784"/>
                <a:gd name="T65" fmla="*/ 226168 h 1128"/>
                <a:gd name="T66" fmla="*/ 9533 w 784"/>
                <a:gd name="T67" fmla="*/ 207844 h 1128"/>
                <a:gd name="T68" fmla="*/ 0 w 784"/>
                <a:gd name="T69" fmla="*/ 190044 h 1128"/>
                <a:gd name="T70" fmla="*/ 5633 w 784"/>
                <a:gd name="T71" fmla="*/ 144496 h 1128"/>
                <a:gd name="T72" fmla="*/ 12133 w 784"/>
                <a:gd name="T73" fmla="*/ 128790 h 1128"/>
                <a:gd name="T74" fmla="*/ 31199 w 784"/>
                <a:gd name="T75" fmla="*/ 116225 h 1128"/>
                <a:gd name="T76" fmla="*/ 41166 w 784"/>
                <a:gd name="T77" fmla="*/ 142402 h 1128"/>
                <a:gd name="T78" fmla="*/ 68465 w 784"/>
                <a:gd name="T79" fmla="*/ 160726 h 1128"/>
                <a:gd name="T80" fmla="*/ 79731 w 784"/>
                <a:gd name="T81" fmla="*/ 141879 h 1128"/>
                <a:gd name="T82" fmla="*/ 87098 w 784"/>
                <a:gd name="T83" fmla="*/ 117796 h 1128"/>
                <a:gd name="T84" fmla="*/ 116997 w 784"/>
                <a:gd name="T85" fmla="*/ 89001 h 1128"/>
                <a:gd name="T86" fmla="*/ 149063 w 784"/>
                <a:gd name="T87" fmla="*/ 62824 h 1128"/>
                <a:gd name="T88" fmla="*/ 154696 w 784"/>
                <a:gd name="T89" fmla="*/ 36648 h 1128"/>
                <a:gd name="T90" fmla="*/ 150363 w 784"/>
                <a:gd name="T91" fmla="*/ 2618 h 1128"/>
                <a:gd name="T92" fmla="*/ 182862 w 784"/>
                <a:gd name="T93" fmla="*/ 27747 h 1128"/>
                <a:gd name="T94" fmla="*/ 202362 w 784"/>
                <a:gd name="T95" fmla="*/ 56018 h 1128"/>
                <a:gd name="T96" fmla="*/ 219261 w 784"/>
                <a:gd name="T97" fmla="*/ 80625 h 1128"/>
                <a:gd name="T98" fmla="*/ 243094 w 784"/>
                <a:gd name="T99" fmla="*/ 82195 h 1128"/>
                <a:gd name="T100" fmla="*/ 267360 w 784"/>
                <a:gd name="T101" fmla="*/ 78007 h 1128"/>
                <a:gd name="T102" fmla="*/ 277327 w 784"/>
                <a:gd name="T103" fmla="*/ 81672 h 1128"/>
                <a:gd name="T104" fmla="*/ 283393 w 784"/>
                <a:gd name="T105" fmla="*/ 101043 h 1128"/>
                <a:gd name="T106" fmla="*/ 271693 w 784"/>
                <a:gd name="T107" fmla="*/ 109943 h 1128"/>
                <a:gd name="T108" fmla="*/ 271693 w 784"/>
                <a:gd name="T109" fmla="*/ 125649 h 112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58" name="Freeform 8">
              <a:extLst>
                <a:ext uri="{FF2B5EF4-FFF2-40B4-BE49-F238E27FC236}">
                  <a16:creationId xmlns:a16="http://schemas.microsoft.com/office/drawing/2014/main" id="{DE6B6DDF-437A-4E7F-B524-FE85B4ACC551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795714" y="4225925"/>
              <a:ext cx="261937" cy="1130300"/>
            </a:xfrm>
            <a:custGeom>
              <a:avLst/>
              <a:gdLst>
                <a:gd name="T0" fmla="*/ 183093 w 598"/>
                <a:gd name="T1" fmla="*/ 1058543 h 2158"/>
                <a:gd name="T2" fmla="*/ 149803 w 598"/>
                <a:gd name="T3" fmla="*/ 1023974 h 2158"/>
                <a:gd name="T4" fmla="*/ 148489 w 598"/>
                <a:gd name="T5" fmla="*/ 991500 h 2158"/>
                <a:gd name="T6" fmla="*/ 151118 w 598"/>
                <a:gd name="T7" fmla="*/ 965312 h 2158"/>
                <a:gd name="T8" fmla="*/ 158564 w 598"/>
                <a:gd name="T9" fmla="*/ 938076 h 2158"/>
                <a:gd name="T10" fmla="*/ 155060 w 598"/>
                <a:gd name="T11" fmla="*/ 911363 h 2158"/>
                <a:gd name="T12" fmla="*/ 145423 w 598"/>
                <a:gd name="T13" fmla="*/ 881508 h 2158"/>
                <a:gd name="T14" fmla="*/ 132721 w 598"/>
                <a:gd name="T15" fmla="*/ 828084 h 2158"/>
                <a:gd name="T16" fmla="*/ 98993 w 598"/>
                <a:gd name="T17" fmla="*/ 764707 h 2158"/>
                <a:gd name="T18" fmla="*/ 90232 w 598"/>
                <a:gd name="T19" fmla="*/ 723329 h 2158"/>
                <a:gd name="T20" fmla="*/ 95051 w 598"/>
                <a:gd name="T21" fmla="*/ 680380 h 2158"/>
                <a:gd name="T22" fmla="*/ 91109 w 598"/>
                <a:gd name="T23" fmla="*/ 646858 h 2158"/>
                <a:gd name="T24" fmla="*/ 81034 w 598"/>
                <a:gd name="T25" fmla="*/ 610194 h 2158"/>
                <a:gd name="T26" fmla="*/ 92423 w 598"/>
                <a:gd name="T27" fmla="*/ 588196 h 2158"/>
                <a:gd name="T28" fmla="*/ 85414 w 598"/>
                <a:gd name="T29" fmla="*/ 566721 h 2158"/>
                <a:gd name="T30" fmla="*/ 92423 w 598"/>
                <a:gd name="T31" fmla="*/ 536866 h 2158"/>
                <a:gd name="T32" fmla="*/ 91985 w 598"/>
                <a:gd name="T33" fmla="*/ 520106 h 2158"/>
                <a:gd name="T34" fmla="*/ 81910 w 598"/>
                <a:gd name="T35" fmla="*/ 485537 h 2158"/>
                <a:gd name="T36" fmla="*/ 59571 w 598"/>
                <a:gd name="T37" fmla="*/ 446254 h 2158"/>
                <a:gd name="T38" fmla="*/ 58695 w 598"/>
                <a:gd name="T39" fmla="*/ 359308 h 2158"/>
                <a:gd name="T40" fmla="*/ 80158 w 598"/>
                <a:gd name="T41" fmla="*/ 305883 h 2158"/>
                <a:gd name="T42" fmla="*/ 82786 w 598"/>
                <a:gd name="T43" fmla="*/ 273409 h 2158"/>
                <a:gd name="T44" fmla="*/ 70083 w 598"/>
                <a:gd name="T45" fmla="*/ 240411 h 2158"/>
                <a:gd name="T46" fmla="*/ 79720 w 598"/>
                <a:gd name="T47" fmla="*/ 212651 h 2158"/>
                <a:gd name="T48" fmla="*/ 100307 w 598"/>
                <a:gd name="T49" fmla="*/ 181225 h 2158"/>
                <a:gd name="T50" fmla="*/ 87604 w 598"/>
                <a:gd name="T51" fmla="*/ 161322 h 2158"/>
                <a:gd name="T52" fmla="*/ 64827 w 598"/>
                <a:gd name="T53" fmla="*/ 116277 h 2158"/>
                <a:gd name="T54" fmla="*/ 56505 w 598"/>
                <a:gd name="T55" fmla="*/ 65472 h 2158"/>
                <a:gd name="T56" fmla="*/ 39860 w 598"/>
                <a:gd name="T57" fmla="*/ 19380 h 2158"/>
                <a:gd name="T58" fmla="*/ 0 w 598"/>
                <a:gd name="T59" fmla="*/ 23046 h 2158"/>
                <a:gd name="T60" fmla="*/ 13579 w 598"/>
                <a:gd name="T61" fmla="*/ 104754 h 2158"/>
                <a:gd name="T62" fmla="*/ 18397 w 598"/>
                <a:gd name="T63" fmla="*/ 159227 h 2158"/>
                <a:gd name="T64" fmla="*/ 11827 w 598"/>
                <a:gd name="T65" fmla="*/ 195891 h 2158"/>
                <a:gd name="T66" fmla="*/ 22777 w 598"/>
                <a:gd name="T67" fmla="*/ 274457 h 2158"/>
                <a:gd name="T68" fmla="*/ 20149 w 598"/>
                <a:gd name="T69" fmla="*/ 339928 h 2158"/>
                <a:gd name="T70" fmla="*/ 15769 w 598"/>
                <a:gd name="T71" fmla="*/ 376068 h 2158"/>
                <a:gd name="T72" fmla="*/ 22777 w 598"/>
                <a:gd name="T73" fmla="*/ 401733 h 2158"/>
                <a:gd name="T74" fmla="*/ 28033 w 598"/>
                <a:gd name="T75" fmla="*/ 456205 h 2158"/>
                <a:gd name="T76" fmla="*/ 35480 w 598"/>
                <a:gd name="T77" fmla="*/ 478204 h 2158"/>
                <a:gd name="T78" fmla="*/ 31976 w 598"/>
                <a:gd name="T79" fmla="*/ 547342 h 2158"/>
                <a:gd name="T80" fmla="*/ 27595 w 598"/>
                <a:gd name="T81" fmla="*/ 603385 h 2158"/>
                <a:gd name="T82" fmla="*/ 17521 w 598"/>
                <a:gd name="T83" fmla="*/ 622241 h 2158"/>
                <a:gd name="T84" fmla="*/ 26281 w 598"/>
                <a:gd name="T85" fmla="*/ 658905 h 2158"/>
                <a:gd name="T86" fmla="*/ 46430 w 598"/>
                <a:gd name="T87" fmla="*/ 703426 h 2158"/>
                <a:gd name="T88" fmla="*/ 40736 w 598"/>
                <a:gd name="T89" fmla="*/ 731186 h 2158"/>
                <a:gd name="T90" fmla="*/ 46430 w 598"/>
                <a:gd name="T91" fmla="*/ 758946 h 2158"/>
                <a:gd name="T92" fmla="*/ 71836 w 598"/>
                <a:gd name="T93" fmla="*/ 768374 h 2158"/>
                <a:gd name="T94" fmla="*/ 91547 w 598"/>
                <a:gd name="T95" fmla="*/ 849034 h 2158"/>
                <a:gd name="T96" fmla="*/ 99431 w 598"/>
                <a:gd name="T97" fmla="*/ 895126 h 2158"/>
                <a:gd name="T98" fmla="*/ 66141 w 598"/>
                <a:gd name="T99" fmla="*/ 916077 h 2158"/>
                <a:gd name="T100" fmla="*/ 90671 w 598"/>
                <a:gd name="T101" fmla="*/ 930219 h 2158"/>
                <a:gd name="T102" fmla="*/ 109505 w 598"/>
                <a:gd name="T103" fmla="*/ 953265 h 2158"/>
                <a:gd name="T104" fmla="*/ 120456 w 598"/>
                <a:gd name="T105" fmla="*/ 979977 h 2158"/>
                <a:gd name="T106" fmla="*/ 134911 w 598"/>
                <a:gd name="T107" fmla="*/ 1027117 h 2158"/>
                <a:gd name="T108" fmla="*/ 157250 w 598"/>
                <a:gd name="T109" fmla="*/ 1054353 h 2158"/>
                <a:gd name="T110" fmla="*/ 172143 w 598"/>
                <a:gd name="T111" fmla="*/ 1072685 h 2158"/>
                <a:gd name="T112" fmla="*/ 185721 w 598"/>
                <a:gd name="T113" fmla="*/ 1086303 h 2158"/>
                <a:gd name="T114" fmla="*/ 203680 w 598"/>
                <a:gd name="T115" fmla="*/ 1105159 h 2158"/>
                <a:gd name="T116" fmla="*/ 227333 w 598"/>
                <a:gd name="T117" fmla="*/ 1120872 h 2158"/>
                <a:gd name="T118" fmla="*/ 235656 w 598"/>
                <a:gd name="T119" fmla="*/ 1126634 h 2158"/>
                <a:gd name="T120" fmla="*/ 256681 w 598"/>
                <a:gd name="T121" fmla="*/ 1098874 h 2158"/>
                <a:gd name="T122" fmla="*/ 258871 w 598"/>
                <a:gd name="T123" fmla="*/ 1084732 h 215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59" name="Freeform 9">
              <a:extLst>
                <a:ext uri="{FF2B5EF4-FFF2-40B4-BE49-F238E27FC236}">
                  <a16:creationId xmlns:a16="http://schemas.microsoft.com/office/drawing/2014/main" id="{82B10619-7826-4114-9D3C-85959D3DE956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700464" y="3508376"/>
              <a:ext cx="966787" cy="1203325"/>
            </a:xfrm>
            <a:custGeom>
              <a:avLst/>
              <a:gdLst>
                <a:gd name="T0" fmla="*/ 191099 w 2226"/>
                <a:gd name="T1" fmla="*/ 470410 h 2292"/>
                <a:gd name="T2" fmla="*/ 219329 w 2226"/>
                <a:gd name="T3" fmla="*/ 517136 h 2292"/>
                <a:gd name="T4" fmla="*/ 248429 w 2226"/>
                <a:gd name="T5" fmla="*/ 553361 h 2292"/>
                <a:gd name="T6" fmla="*/ 310970 w 2226"/>
                <a:gd name="T7" fmla="*/ 576462 h 2292"/>
                <a:gd name="T8" fmla="*/ 346584 w 2226"/>
                <a:gd name="T9" fmla="*/ 632113 h 2292"/>
                <a:gd name="T10" fmla="*/ 367431 w 2226"/>
                <a:gd name="T11" fmla="*/ 678314 h 2292"/>
                <a:gd name="T12" fmla="*/ 407823 w 2226"/>
                <a:gd name="T13" fmla="*/ 711390 h 2292"/>
                <a:gd name="T14" fmla="*/ 415640 w 2226"/>
                <a:gd name="T15" fmla="*/ 769666 h 2292"/>
                <a:gd name="T16" fmla="*/ 423892 w 2226"/>
                <a:gd name="T17" fmla="*/ 809042 h 2292"/>
                <a:gd name="T18" fmla="*/ 430841 w 2226"/>
                <a:gd name="T19" fmla="*/ 856818 h 2292"/>
                <a:gd name="T20" fmla="*/ 491211 w 2226"/>
                <a:gd name="T21" fmla="*/ 891469 h 2292"/>
                <a:gd name="T22" fmla="*/ 518139 w 2226"/>
                <a:gd name="T23" fmla="*/ 947645 h 2292"/>
                <a:gd name="T24" fmla="*/ 539855 w 2226"/>
                <a:gd name="T25" fmla="*/ 978620 h 2292"/>
                <a:gd name="T26" fmla="*/ 513796 w 2226"/>
                <a:gd name="T27" fmla="*/ 1051597 h 2292"/>
                <a:gd name="T28" fmla="*/ 470798 w 2226"/>
                <a:gd name="T29" fmla="*/ 1117223 h 2292"/>
                <a:gd name="T30" fmla="*/ 512493 w 2226"/>
                <a:gd name="T31" fmla="*/ 1134549 h 2292"/>
                <a:gd name="T32" fmla="*/ 562873 w 2226"/>
                <a:gd name="T33" fmla="*/ 1172874 h 2292"/>
                <a:gd name="T34" fmla="*/ 616294 w 2226"/>
                <a:gd name="T35" fmla="*/ 1153974 h 2292"/>
                <a:gd name="T36" fmla="*/ 659291 w 2226"/>
                <a:gd name="T37" fmla="*/ 1068922 h 2292"/>
                <a:gd name="T38" fmla="*/ 656686 w 2226"/>
                <a:gd name="T39" fmla="*/ 1006971 h 2292"/>
                <a:gd name="T40" fmla="*/ 677967 w 2226"/>
                <a:gd name="T41" fmla="*/ 941345 h 2292"/>
                <a:gd name="T42" fmla="*/ 740943 w 2226"/>
                <a:gd name="T43" fmla="*/ 906694 h 2292"/>
                <a:gd name="T44" fmla="*/ 780900 w 2226"/>
                <a:gd name="T45" fmla="*/ 882543 h 2292"/>
                <a:gd name="T46" fmla="*/ 823897 w 2226"/>
                <a:gd name="T47" fmla="*/ 861543 h 2292"/>
                <a:gd name="T48" fmla="*/ 860814 w 2226"/>
                <a:gd name="T49" fmla="*/ 735015 h 2292"/>
                <a:gd name="T50" fmla="*/ 874712 w 2226"/>
                <a:gd name="T51" fmla="*/ 676214 h 2292"/>
                <a:gd name="T52" fmla="*/ 869500 w 2226"/>
                <a:gd name="T53" fmla="*/ 572262 h 2292"/>
                <a:gd name="T54" fmla="*/ 900337 w 2226"/>
                <a:gd name="T55" fmla="*/ 529736 h 2292"/>
                <a:gd name="T56" fmla="*/ 951152 w 2226"/>
                <a:gd name="T57" fmla="*/ 460435 h 2292"/>
                <a:gd name="T58" fmla="*/ 965050 w 2226"/>
                <a:gd name="T59" fmla="*/ 384308 h 2292"/>
                <a:gd name="T60" fmla="*/ 936819 w 2226"/>
                <a:gd name="T61" fmla="*/ 314482 h 2292"/>
                <a:gd name="T62" fmla="*/ 894256 w 2226"/>
                <a:gd name="T63" fmla="*/ 295581 h 2292"/>
                <a:gd name="T64" fmla="*/ 834321 w 2226"/>
                <a:gd name="T65" fmla="*/ 242555 h 2292"/>
                <a:gd name="T66" fmla="*/ 756578 w 2226"/>
                <a:gd name="T67" fmla="*/ 236255 h 2292"/>
                <a:gd name="T68" fmla="*/ 725307 w 2226"/>
                <a:gd name="T69" fmla="*/ 234680 h 2292"/>
                <a:gd name="T70" fmla="*/ 710541 w 2226"/>
                <a:gd name="T71" fmla="*/ 206854 h 2292"/>
                <a:gd name="T72" fmla="*/ 656686 w 2226"/>
                <a:gd name="T73" fmla="*/ 182704 h 2292"/>
                <a:gd name="T74" fmla="*/ 612820 w 2226"/>
                <a:gd name="T75" fmla="*/ 214729 h 2292"/>
                <a:gd name="T76" fmla="*/ 581115 w 2226"/>
                <a:gd name="T77" fmla="*/ 212629 h 2292"/>
                <a:gd name="T78" fmla="*/ 541592 w 2226"/>
                <a:gd name="T79" fmla="*/ 201604 h 2292"/>
                <a:gd name="T80" fmla="*/ 571994 w 2226"/>
                <a:gd name="T81" fmla="*/ 140703 h 2292"/>
                <a:gd name="T82" fmla="*/ 581115 w 2226"/>
                <a:gd name="T83" fmla="*/ 96602 h 2292"/>
                <a:gd name="T84" fmla="*/ 560702 w 2226"/>
                <a:gd name="T85" fmla="*/ 35701 h 2292"/>
                <a:gd name="T86" fmla="*/ 488171 w 2226"/>
                <a:gd name="T87" fmla="*/ 70876 h 2292"/>
                <a:gd name="T88" fmla="*/ 435619 w 2226"/>
                <a:gd name="T89" fmla="*/ 89252 h 2292"/>
                <a:gd name="T90" fmla="*/ 416943 w 2226"/>
                <a:gd name="T91" fmla="*/ 98177 h 2292"/>
                <a:gd name="T92" fmla="*/ 352664 w 2226"/>
                <a:gd name="T93" fmla="*/ 92402 h 2292"/>
                <a:gd name="T94" fmla="*/ 352230 w 2226"/>
                <a:gd name="T95" fmla="*/ 35176 h 2292"/>
                <a:gd name="T96" fmla="*/ 323565 w 2226"/>
                <a:gd name="T97" fmla="*/ 0 h 2292"/>
                <a:gd name="T98" fmla="*/ 304021 w 2226"/>
                <a:gd name="T99" fmla="*/ 16275 h 2292"/>
                <a:gd name="T100" fmla="*/ 255812 w 2226"/>
                <a:gd name="T101" fmla="*/ 36751 h 2292"/>
                <a:gd name="T102" fmla="*/ 243217 w 2226"/>
                <a:gd name="T103" fmla="*/ 103952 h 2292"/>
                <a:gd name="T104" fmla="*/ 196745 w 2226"/>
                <a:gd name="T105" fmla="*/ 135453 h 2292"/>
                <a:gd name="T106" fmla="*/ 124214 w 2226"/>
                <a:gd name="T107" fmla="*/ 103427 h 2292"/>
                <a:gd name="T108" fmla="*/ 109882 w 2226"/>
                <a:gd name="T109" fmla="*/ 126003 h 2292"/>
                <a:gd name="T110" fmla="*/ 85995 w 2226"/>
                <a:gd name="T111" fmla="*/ 163278 h 2292"/>
                <a:gd name="T112" fmla="*/ 106842 w 2226"/>
                <a:gd name="T113" fmla="*/ 203704 h 2292"/>
                <a:gd name="T114" fmla="*/ 84257 w 2226"/>
                <a:gd name="T115" fmla="*/ 294006 h 2292"/>
                <a:gd name="T116" fmla="*/ 43432 w 2226"/>
                <a:gd name="T117" fmla="*/ 297681 h 2292"/>
                <a:gd name="T118" fmla="*/ 6949 w 2226"/>
                <a:gd name="T119" fmla="*/ 360682 h 2292"/>
                <a:gd name="T120" fmla="*/ 9555 w 2226"/>
                <a:gd name="T121" fmla="*/ 432609 h 2292"/>
                <a:gd name="T122" fmla="*/ 52118 w 2226"/>
                <a:gd name="T123" fmla="*/ 475135 h 2292"/>
                <a:gd name="T124" fmla="*/ 82954 w 2226"/>
                <a:gd name="T125" fmla="*/ 498235 h 22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60" name="Freeform 10">
              <a:extLst>
                <a:ext uri="{FF2B5EF4-FFF2-40B4-BE49-F238E27FC236}">
                  <a16:creationId xmlns:a16="http://schemas.microsoft.com/office/drawing/2014/main" id="{3C5ECD6E-99B4-481A-970C-CD4EE979AF90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5813425" y="2454276"/>
              <a:ext cx="69850" cy="49213"/>
            </a:xfrm>
            <a:custGeom>
              <a:avLst/>
              <a:gdLst>
                <a:gd name="T0" fmla="*/ 40782 w 161"/>
                <a:gd name="T1" fmla="*/ 0 h 93"/>
                <a:gd name="T2" fmla="*/ 46422 w 161"/>
                <a:gd name="T3" fmla="*/ 9525 h 93"/>
                <a:gd name="T4" fmla="*/ 48591 w 161"/>
                <a:gd name="T5" fmla="*/ 6350 h 93"/>
                <a:gd name="T6" fmla="*/ 50761 w 161"/>
                <a:gd name="T7" fmla="*/ 4233 h 93"/>
                <a:gd name="T8" fmla="*/ 52930 w 161"/>
                <a:gd name="T9" fmla="*/ 2646 h 93"/>
                <a:gd name="T10" fmla="*/ 55099 w 161"/>
                <a:gd name="T11" fmla="*/ 1588 h 93"/>
                <a:gd name="T12" fmla="*/ 59438 w 161"/>
                <a:gd name="T13" fmla="*/ 529 h 93"/>
                <a:gd name="T14" fmla="*/ 64210 w 161"/>
                <a:gd name="T15" fmla="*/ 0 h 93"/>
                <a:gd name="T16" fmla="*/ 65511 w 161"/>
                <a:gd name="T17" fmla="*/ 0 h 93"/>
                <a:gd name="T18" fmla="*/ 69850 w 161"/>
                <a:gd name="T19" fmla="*/ 0 h 93"/>
                <a:gd name="T20" fmla="*/ 69850 w 161"/>
                <a:gd name="T21" fmla="*/ 48684 h 93"/>
                <a:gd name="T22" fmla="*/ 67247 w 161"/>
                <a:gd name="T23" fmla="*/ 49213 h 93"/>
                <a:gd name="T24" fmla="*/ 65078 w 161"/>
                <a:gd name="T25" fmla="*/ 49213 h 93"/>
                <a:gd name="T26" fmla="*/ 62908 w 161"/>
                <a:gd name="T27" fmla="*/ 48684 h 93"/>
                <a:gd name="T28" fmla="*/ 60739 w 161"/>
                <a:gd name="T29" fmla="*/ 48155 h 93"/>
                <a:gd name="T30" fmla="*/ 55967 w 161"/>
                <a:gd name="T31" fmla="*/ 46567 h 93"/>
                <a:gd name="T32" fmla="*/ 52062 w 161"/>
                <a:gd name="T33" fmla="*/ 43392 h 93"/>
                <a:gd name="T34" fmla="*/ 48157 w 161"/>
                <a:gd name="T35" fmla="*/ 39688 h 93"/>
                <a:gd name="T36" fmla="*/ 45120 w 161"/>
                <a:gd name="T37" fmla="*/ 35455 h 93"/>
                <a:gd name="T38" fmla="*/ 42084 w 161"/>
                <a:gd name="T39" fmla="*/ 31221 h 93"/>
                <a:gd name="T40" fmla="*/ 40782 w 161"/>
                <a:gd name="T41" fmla="*/ 25929 h 93"/>
                <a:gd name="T42" fmla="*/ 39914 w 161"/>
                <a:gd name="T43" fmla="*/ 26459 h 93"/>
                <a:gd name="T44" fmla="*/ 38613 w 161"/>
                <a:gd name="T45" fmla="*/ 26988 h 93"/>
                <a:gd name="T46" fmla="*/ 37311 w 161"/>
                <a:gd name="T47" fmla="*/ 26988 h 93"/>
                <a:gd name="T48" fmla="*/ 36443 w 161"/>
                <a:gd name="T49" fmla="*/ 26988 h 93"/>
                <a:gd name="T50" fmla="*/ 33840 w 161"/>
                <a:gd name="T51" fmla="*/ 26459 h 93"/>
                <a:gd name="T52" fmla="*/ 32105 w 161"/>
                <a:gd name="T53" fmla="*/ 25929 h 93"/>
                <a:gd name="T54" fmla="*/ 28200 w 161"/>
                <a:gd name="T55" fmla="*/ 25400 h 93"/>
                <a:gd name="T56" fmla="*/ 23862 w 161"/>
                <a:gd name="T57" fmla="*/ 23813 h 93"/>
                <a:gd name="T58" fmla="*/ 19089 w 161"/>
                <a:gd name="T59" fmla="*/ 21167 h 93"/>
                <a:gd name="T60" fmla="*/ 13883 w 161"/>
                <a:gd name="T61" fmla="*/ 17992 h 93"/>
                <a:gd name="T62" fmla="*/ 9111 w 161"/>
                <a:gd name="T63" fmla="*/ 13758 h 93"/>
                <a:gd name="T64" fmla="*/ 5206 w 161"/>
                <a:gd name="T65" fmla="*/ 9525 h 93"/>
                <a:gd name="T66" fmla="*/ 3471 w 161"/>
                <a:gd name="T67" fmla="*/ 7408 h 93"/>
                <a:gd name="T68" fmla="*/ 2169 w 161"/>
                <a:gd name="T69" fmla="*/ 4763 h 93"/>
                <a:gd name="T70" fmla="*/ 1302 w 161"/>
                <a:gd name="T71" fmla="*/ 2646 h 93"/>
                <a:gd name="T72" fmla="*/ 0 w 161"/>
                <a:gd name="T73" fmla="*/ 0 h 93"/>
                <a:gd name="T74" fmla="*/ 40782 w 161"/>
                <a:gd name="T75" fmla="*/ 0 h 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61" name="Freeform 11">
              <a:extLst>
                <a:ext uri="{FF2B5EF4-FFF2-40B4-BE49-F238E27FC236}">
                  <a16:creationId xmlns:a16="http://schemas.microsoft.com/office/drawing/2014/main" id="{C8B3C53F-F54A-4DD5-9758-8E72DD593F5C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5311775" y="2328864"/>
              <a:ext cx="82550" cy="160337"/>
            </a:xfrm>
            <a:custGeom>
              <a:avLst/>
              <a:gdLst>
                <a:gd name="T0" fmla="*/ 16338 w 192"/>
                <a:gd name="T1" fmla="*/ 1567 h 307"/>
                <a:gd name="T2" fmla="*/ 15908 w 192"/>
                <a:gd name="T3" fmla="*/ 0 h 307"/>
                <a:gd name="T4" fmla="*/ 24507 w 192"/>
                <a:gd name="T5" fmla="*/ 1567 h 307"/>
                <a:gd name="T6" fmla="*/ 47294 w 192"/>
                <a:gd name="T7" fmla="*/ 7312 h 307"/>
                <a:gd name="T8" fmla="*/ 66642 w 192"/>
                <a:gd name="T9" fmla="*/ 13057 h 307"/>
                <a:gd name="T10" fmla="*/ 77821 w 192"/>
                <a:gd name="T11" fmla="*/ 14624 h 307"/>
                <a:gd name="T12" fmla="*/ 82550 w 192"/>
                <a:gd name="T13" fmla="*/ 18279 h 307"/>
                <a:gd name="T14" fmla="*/ 80830 w 192"/>
                <a:gd name="T15" fmla="*/ 24547 h 307"/>
                <a:gd name="T16" fmla="*/ 75241 w 192"/>
                <a:gd name="T17" fmla="*/ 42826 h 307"/>
                <a:gd name="T18" fmla="*/ 67932 w 192"/>
                <a:gd name="T19" fmla="*/ 66328 h 307"/>
                <a:gd name="T20" fmla="*/ 63202 w 192"/>
                <a:gd name="T21" fmla="*/ 86175 h 307"/>
                <a:gd name="T22" fmla="*/ 62772 w 192"/>
                <a:gd name="T23" fmla="*/ 108110 h 307"/>
                <a:gd name="T24" fmla="*/ 61913 w 192"/>
                <a:gd name="T25" fmla="*/ 130045 h 307"/>
                <a:gd name="T26" fmla="*/ 57613 w 192"/>
                <a:gd name="T27" fmla="*/ 144669 h 307"/>
                <a:gd name="T28" fmla="*/ 45574 w 192"/>
                <a:gd name="T29" fmla="*/ 154592 h 307"/>
                <a:gd name="T30" fmla="*/ 35686 w 192"/>
                <a:gd name="T31" fmla="*/ 158248 h 307"/>
                <a:gd name="T32" fmla="*/ 30956 w 192"/>
                <a:gd name="T33" fmla="*/ 160337 h 307"/>
                <a:gd name="T34" fmla="*/ 22357 w 192"/>
                <a:gd name="T35" fmla="*/ 159292 h 307"/>
                <a:gd name="T36" fmla="*/ 13758 w 192"/>
                <a:gd name="T37" fmla="*/ 151981 h 307"/>
                <a:gd name="T38" fmla="*/ 12898 w 192"/>
                <a:gd name="T39" fmla="*/ 144669 h 307"/>
                <a:gd name="T40" fmla="*/ 9459 w 192"/>
                <a:gd name="T41" fmla="*/ 134223 h 307"/>
                <a:gd name="T42" fmla="*/ 4299 w 192"/>
                <a:gd name="T43" fmla="*/ 120644 h 307"/>
                <a:gd name="T44" fmla="*/ 860 w 192"/>
                <a:gd name="T45" fmla="*/ 110199 h 307"/>
                <a:gd name="T46" fmla="*/ 0 w 192"/>
                <a:gd name="T47" fmla="*/ 102887 h 307"/>
                <a:gd name="T48" fmla="*/ 0 w 192"/>
                <a:gd name="T49" fmla="*/ 94009 h 307"/>
                <a:gd name="T50" fmla="*/ 860 w 192"/>
                <a:gd name="T51" fmla="*/ 86175 h 307"/>
                <a:gd name="T52" fmla="*/ 4729 w 192"/>
                <a:gd name="T53" fmla="*/ 75729 h 307"/>
                <a:gd name="T54" fmla="*/ 14188 w 192"/>
                <a:gd name="T55" fmla="*/ 56927 h 307"/>
                <a:gd name="T56" fmla="*/ 20638 w 192"/>
                <a:gd name="T57" fmla="*/ 42304 h 307"/>
                <a:gd name="T58" fmla="*/ 22357 w 192"/>
                <a:gd name="T59" fmla="*/ 32381 h 307"/>
                <a:gd name="T60" fmla="*/ 22787 w 192"/>
                <a:gd name="T61" fmla="*/ 21413 h 307"/>
                <a:gd name="T62" fmla="*/ 23647 w 192"/>
                <a:gd name="T63" fmla="*/ 15668 h 307"/>
                <a:gd name="T64" fmla="*/ 24507 w 192"/>
                <a:gd name="T65" fmla="*/ 13579 h 307"/>
                <a:gd name="T66" fmla="*/ 25797 w 192"/>
                <a:gd name="T67" fmla="*/ 11490 h 307"/>
                <a:gd name="T68" fmla="*/ 18918 w 192"/>
                <a:gd name="T69" fmla="*/ 3656 h 30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62" name="Freeform 12">
              <a:extLst>
                <a:ext uri="{FF2B5EF4-FFF2-40B4-BE49-F238E27FC236}">
                  <a16:creationId xmlns:a16="http://schemas.microsoft.com/office/drawing/2014/main" id="{1FCC94E8-F13C-485F-A3FE-F8A3F42C47CE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5392738" y="1814514"/>
              <a:ext cx="171450" cy="269875"/>
            </a:xfrm>
            <a:custGeom>
              <a:avLst/>
              <a:gdLst>
                <a:gd name="T0" fmla="*/ 11200 w 398"/>
                <a:gd name="T1" fmla="*/ 1042 h 518"/>
                <a:gd name="T2" fmla="*/ 40924 w 398"/>
                <a:gd name="T3" fmla="*/ 6773 h 518"/>
                <a:gd name="T4" fmla="*/ 49970 w 398"/>
                <a:gd name="T5" fmla="*/ 11983 h 518"/>
                <a:gd name="T6" fmla="*/ 34462 w 398"/>
                <a:gd name="T7" fmla="*/ 24487 h 518"/>
                <a:gd name="T8" fmla="*/ 27570 w 398"/>
                <a:gd name="T9" fmla="*/ 32302 h 518"/>
                <a:gd name="T10" fmla="*/ 33170 w 398"/>
                <a:gd name="T11" fmla="*/ 35949 h 518"/>
                <a:gd name="T12" fmla="*/ 71940 w 398"/>
                <a:gd name="T13" fmla="*/ 41159 h 518"/>
                <a:gd name="T14" fmla="*/ 90464 w 398"/>
                <a:gd name="T15" fmla="*/ 56788 h 518"/>
                <a:gd name="T16" fmla="*/ 66340 w 398"/>
                <a:gd name="T17" fmla="*/ 66166 h 518"/>
                <a:gd name="T18" fmla="*/ 63324 w 398"/>
                <a:gd name="T19" fmla="*/ 71897 h 518"/>
                <a:gd name="T20" fmla="*/ 82279 w 398"/>
                <a:gd name="T21" fmla="*/ 74502 h 518"/>
                <a:gd name="T22" fmla="*/ 90894 w 398"/>
                <a:gd name="T23" fmla="*/ 81275 h 518"/>
                <a:gd name="T24" fmla="*/ 104679 w 398"/>
                <a:gd name="T25" fmla="*/ 99510 h 518"/>
                <a:gd name="T26" fmla="*/ 111141 w 398"/>
                <a:gd name="T27" fmla="*/ 110451 h 518"/>
                <a:gd name="T28" fmla="*/ 112003 w 398"/>
                <a:gd name="T29" fmla="*/ 123476 h 518"/>
                <a:gd name="T30" fmla="*/ 117172 w 398"/>
                <a:gd name="T31" fmla="*/ 132333 h 518"/>
                <a:gd name="T32" fmla="*/ 123203 w 398"/>
                <a:gd name="T33" fmla="*/ 145357 h 518"/>
                <a:gd name="T34" fmla="*/ 131818 w 398"/>
                <a:gd name="T35" fmla="*/ 154735 h 518"/>
                <a:gd name="T36" fmla="*/ 140865 w 398"/>
                <a:gd name="T37" fmla="*/ 166718 h 518"/>
                <a:gd name="T38" fmla="*/ 149049 w 398"/>
                <a:gd name="T39" fmla="*/ 175575 h 518"/>
                <a:gd name="T40" fmla="*/ 159388 w 398"/>
                <a:gd name="T41" fmla="*/ 177659 h 518"/>
                <a:gd name="T42" fmla="*/ 170588 w 398"/>
                <a:gd name="T43" fmla="*/ 190163 h 518"/>
                <a:gd name="T44" fmla="*/ 170158 w 398"/>
                <a:gd name="T45" fmla="*/ 205793 h 518"/>
                <a:gd name="T46" fmla="*/ 164558 w 398"/>
                <a:gd name="T47" fmla="*/ 210482 h 518"/>
                <a:gd name="T48" fmla="*/ 158096 w 398"/>
                <a:gd name="T49" fmla="*/ 216213 h 518"/>
                <a:gd name="T50" fmla="*/ 158527 w 398"/>
                <a:gd name="T51" fmla="*/ 221944 h 518"/>
                <a:gd name="T52" fmla="*/ 161973 w 398"/>
                <a:gd name="T53" fmla="*/ 230800 h 518"/>
                <a:gd name="T54" fmla="*/ 154650 w 398"/>
                <a:gd name="T55" fmla="*/ 241220 h 518"/>
                <a:gd name="T56" fmla="*/ 62894 w 398"/>
                <a:gd name="T57" fmla="*/ 260497 h 518"/>
                <a:gd name="T58" fmla="*/ 29293 w 398"/>
                <a:gd name="T59" fmla="*/ 264665 h 518"/>
                <a:gd name="T60" fmla="*/ 22831 w 398"/>
                <a:gd name="T61" fmla="*/ 269875 h 518"/>
                <a:gd name="T62" fmla="*/ 24985 w 398"/>
                <a:gd name="T63" fmla="*/ 256850 h 518"/>
                <a:gd name="T64" fmla="*/ 30585 w 398"/>
                <a:gd name="T65" fmla="*/ 247993 h 518"/>
                <a:gd name="T66" fmla="*/ 49109 w 398"/>
                <a:gd name="T67" fmla="*/ 238615 h 518"/>
                <a:gd name="T68" fmla="*/ 74094 w 398"/>
                <a:gd name="T69" fmla="*/ 228716 h 518"/>
                <a:gd name="T70" fmla="*/ 77109 w 398"/>
                <a:gd name="T71" fmla="*/ 221944 h 518"/>
                <a:gd name="T72" fmla="*/ 73663 w 398"/>
                <a:gd name="T73" fmla="*/ 226111 h 518"/>
                <a:gd name="T74" fmla="*/ 47816 w 398"/>
                <a:gd name="T75" fmla="*/ 225069 h 518"/>
                <a:gd name="T76" fmla="*/ 32739 w 398"/>
                <a:gd name="T77" fmla="*/ 218818 h 518"/>
                <a:gd name="T78" fmla="*/ 33170 w 398"/>
                <a:gd name="T79" fmla="*/ 209440 h 518"/>
                <a:gd name="T80" fmla="*/ 40924 w 398"/>
                <a:gd name="T81" fmla="*/ 203709 h 518"/>
                <a:gd name="T82" fmla="*/ 37478 w 398"/>
                <a:gd name="T83" fmla="*/ 183390 h 518"/>
                <a:gd name="T84" fmla="*/ 45232 w 398"/>
                <a:gd name="T85" fmla="*/ 171407 h 518"/>
                <a:gd name="T86" fmla="*/ 66340 w 398"/>
                <a:gd name="T87" fmla="*/ 160987 h 518"/>
                <a:gd name="T88" fmla="*/ 74094 w 398"/>
                <a:gd name="T89" fmla="*/ 151609 h 518"/>
                <a:gd name="T90" fmla="*/ 63755 w 398"/>
                <a:gd name="T91" fmla="*/ 141189 h 518"/>
                <a:gd name="T92" fmla="*/ 59878 w 398"/>
                <a:gd name="T93" fmla="*/ 128686 h 518"/>
                <a:gd name="T94" fmla="*/ 40493 w 398"/>
                <a:gd name="T95" fmla="*/ 124518 h 518"/>
                <a:gd name="T96" fmla="*/ 34462 w 398"/>
                <a:gd name="T97" fmla="*/ 112535 h 518"/>
                <a:gd name="T98" fmla="*/ 38770 w 398"/>
                <a:gd name="T99" fmla="*/ 100031 h 518"/>
                <a:gd name="T100" fmla="*/ 43078 w 398"/>
                <a:gd name="T101" fmla="*/ 87527 h 518"/>
                <a:gd name="T102" fmla="*/ 31447 w 398"/>
                <a:gd name="T103" fmla="*/ 96905 h 518"/>
                <a:gd name="T104" fmla="*/ 9477 w 398"/>
                <a:gd name="T105" fmla="*/ 84401 h 518"/>
                <a:gd name="T106" fmla="*/ 8616 w 398"/>
                <a:gd name="T107" fmla="*/ 73981 h 518"/>
                <a:gd name="T108" fmla="*/ 6031 w 398"/>
                <a:gd name="T109" fmla="*/ 68250 h 518"/>
                <a:gd name="T110" fmla="*/ 8616 w 398"/>
                <a:gd name="T111" fmla="*/ 32823 h 518"/>
                <a:gd name="T112" fmla="*/ 8185 w 398"/>
                <a:gd name="T113" fmla="*/ 25529 h 518"/>
                <a:gd name="T114" fmla="*/ 1723 w 398"/>
                <a:gd name="T115" fmla="*/ 20840 h 518"/>
                <a:gd name="T116" fmla="*/ 8616 w 398"/>
                <a:gd name="T117" fmla="*/ 9899 h 518"/>
                <a:gd name="T118" fmla="*/ 1292 w 398"/>
                <a:gd name="T119" fmla="*/ 4689 h 5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63" name="Freeform 13">
              <a:extLst>
                <a:ext uri="{FF2B5EF4-FFF2-40B4-BE49-F238E27FC236}">
                  <a16:creationId xmlns:a16="http://schemas.microsoft.com/office/drawing/2014/main" id="{70645073-A759-434B-9DD9-31B801B9A96A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5751513" y="2117725"/>
              <a:ext cx="169862" cy="76200"/>
            </a:xfrm>
            <a:custGeom>
              <a:avLst/>
              <a:gdLst>
                <a:gd name="T0" fmla="*/ 84486 w 382"/>
                <a:gd name="T1" fmla="*/ 10812 h 148"/>
                <a:gd name="T2" fmla="*/ 78706 w 382"/>
                <a:gd name="T3" fmla="*/ 15961 h 148"/>
                <a:gd name="T4" fmla="*/ 77372 w 382"/>
                <a:gd name="T5" fmla="*/ 23169 h 148"/>
                <a:gd name="T6" fmla="*/ 74704 w 382"/>
                <a:gd name="T7" fmla="*/ 27288 h 148"/>
                <a:gd name="T8" fmla="*/ 73814 w 382"/>
                <a:gd name="T9" fmla="*/ 31407 h 148"/>
                <a:gd name="T10" fmla="*/ 78706 w 382"/>
                <a:gd name="T11" fmla="*/ 38100 h 148"/>
                <a:gd name="T12" fmla="*/ 68923 w 382"/>
                <a:gd name="T13" fmla="*/ 44278 h 148"/>
                <a:gd name="T14" fmla="*/ 48024 w 382"/>
                <a:gd name="T15" fmla="*/ 49427 h 148"/>
                <a:gd name="T16" fmla="*/ 34239 w 382"/>
                <a:gd name="T17" fmla="*/ 49942 h 148"/>
                <a:gd name="T18" fmla="*/ 23123 w 382"/>
                <a:gd name="T19" fmla="*/ 48912 h 148"/>
                <a:gd name="T20" fmla="*/ 1779 w 382"/>
                <a:gd name="T21" fmla="*/ 57150 h 148"/>
                <a:gd name="T22" fmla="*/ 0 w 382"/>
                <a:gd name="T23" fmla="*/ 66418 h 148"/>
                <a:gd name="T24" fmla="*/ 1779 w 382"/>
                <a:gd name="T25" fmla="*/ 67447 h 148"/>
                <a:gd name="T26" fmla="*/ 5336 w 382"/>
                <a:gd name="T27" fmla="*/ 67447 h 148"/>
                <a:gd name="T28" fmla="*/ 22678 w 382"/>
                <a:gd name="T29" fmla="*/ 66418 h 148"/>
                <a:gd name="T30" fmla="*/ 50692 w 382"/>
                <a:gd name="T31" fmla="*/ 65388 h 148"/>
                <a:gd name="T32" fmla="*/ 54694 w 382"/>
                <a:gd name="T33" fmla="*/ 68992 h 148"/>
                <a:gd name="T34" fmla="*/ 60919 w 382"/>
                <a:gd name="T35" fmla="*/ 72596 h 148"/>
                <a:gd name="T36" fmla="*/ 70702 w 382"/>
                <a:gd name="T37" fmla="*/ 75685 h 148"/>
                <a:gd name="T38" fmla="*/ 82263 w 382"/>
                <a:gd name="T39" fmla="*/ 76200 h 148"/>
                <a:gd name="T40" fmla="*/ 93380 w 382"/>
                <a:gd name="T41" fmla="*/ 76200 h 148"/>
                <a:gd name="T42" fmla="*/ 103607 w 382"/>
                <a:gd name="T43" fmla="*/ 76200 h 148"/>
                <a:gd name="T44" fmla="*/ 113390 w 382"/>
                <a:gd name="T45" fmla="*/ 76200 h 148"/>
                <a:gd name="T46" fmla="*/ 122283 w 382"/>
                <a:gd name="T47" fmla="*/ 73626 h 148"/>
                <a:gd name="T48" fmla="*/ 133844 w 382"/>
                <a:gd name="T49" fmla="*/ 68992 h 148"/>
                <a:gd name="T50" fmla="*/ 148518 w 382"/>
                <a:gd name="T51" fmla="*/ 62299 h 148"/>
                <a:gd name="T52" fmla="*/ 156967 w 382"/>
                <a:gd name="T53" fmla="*/ 53031 h 148"/>
                <a:gd name="T54" fmla="*/ 165415 w 382"/>
                <a:gd name="T55" fmla="*/ 37070 h 148"/>
                <a:gd name="T56" fmla="*/ 167194 w 382"/>
                <a:gd name="T57" fmla="*/ 26773 h 148"/>
                <a:gd name="T58" fmla="*/ 161413 w 382"/>
                <a:gd name="T59" fmla="*/ 22654 h 148"/>
                <a:gd name="T60" fmla="*/ 158745 w 382"/>
                <a:gd name="T61" fmla="*/ 16476 h 148"/>
                <a:gd name="T62" fmla="*/ 154299 w 382"/>
                <a:gd name="T63" fmla="*/ 11327 h 148"/>
                <a:gd name="T64" fmla="*/ 148518 w 382"/>
                <a:gd name="T65" fmla="*/ 8753 h 148"/>
                <a:gd name="T66" fmla="*/ 141848 w 382"/>
                <a:gd name="T67" fmla="*/ 4119 h 148"/>
                <a:gd name="T68" fmla="*/ 90267 w 382"/>
                <a:gd name="T69" fmla="*/ 9268 h 14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64" name="Freeform 14">
              <a:extLst>
                <a:ext uri="{FF2B5EF4-FFF2-40B4-BE49-F238E27FC236}">
                  <a16:creationId xmlns:a16="http://schemas.microsoft.com/office/drawing/2014/main" id="{50E68E3B-ADF0-46BC-BE32-2142B9E96F05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7243763" y="1966914"/>
              <a:ext cx="1281112" cy="1038225"/>
            </a:xfrm>
            <a:custGeom>
              <a:avLst/>
              <a:gdLst>
                <a:gd name="T0" fmla="*/ 162757 w 2936"/>
                <a:gd name="T1" fmla="*/ 560736 h 1983"/>
                <a:gd name="T2" fmla="*/ 167993 w 2936"/>
                <a:gd name="T3" fmla="*/ 618851 h 1983"/>
                <a:gd name="T4" fmla="*/ 208573 w 2936"/>
                <a:gd name="T5" fmla="*/ 710998 h 1983"/>
                <a:gd name="T6" fmla="*/ 335114 w 2936"/>
                <a:gd name="T7" fmla="*/ 781156 h 1983"/>
                <a:gd name="T8" fmla="*/ 452055 w 2936"/>
                <a:gd name="T9" fmla="*/ 812569 h 1983"/>
                <a:gd name="T10" fmla="*/ 490453 w 2936"/>
                <a:gd name="T11" fmla="*/ 800527 h 1983"/>
                <a:gd name="T12" fmla="*/ 611321 w 2936"/>
                <a:gd name="T13" fmla="*/ 758119 h 1983"/>
                <a:gd name="T14" fmla="*/ 675027 w 2936"/>
                <a:gd name="T15" fmla="*/ 807334 h 1983"/>
                <a:gd name="T16" fmla="*/ 688118 w 2936"/>
                <a:gd name="T17" fmla="*/ 888486 h 1983"/>
                <a:gd name="T18" fmla="*/ 701208 w 2936"/>
                <a:gd name="T19" fmla="*/ 928277 h 1983"/>
                <a:gd name="T20" fmla="*/ 744406 w 2936"/>
                <a:gd name="T21" fmla="*/ 1001052 h 1983"/>
                <a:gd name="T22" fmla="*/ 803749 w 2936"/>
                <a:gd name="T23" fmla="*/ 973303 h 1983"/>
                <a:gd name="T24" fmla="*/ 904109 w 2936"/>
                <a:gd name="T25" fmla="*/ 970685 h 1983"/>
                <a:gd name="T26" fmla="*/ 988324 w 2936"/>
                <a:gd name="T27" fmla="*/ 1038225 h 1983"/>
                <a:gd name="T28" fmla="*/ 1028468 w 2936"/>
                <a:gd name="T29" fmla="*/ 1000005 h 1983"/>
                <a:gd name="T30" fmla="*/ 1072102 w 2936"/>
                <a:gd name="T31" fmla="*/ 976968 h 1983"/>
                <a:gd name="T32" fmla="*/ 1110937 w 2936"/>
                <a:gd name="T33" fmla="*/ 956026 h 1983"/>
                <a:gd name="T34" fmla="*/ 1170716 w 2936"/>
                <a:gd name="T35" fmla="*/ 906811 h 1983"/>
                <a:gd name="T36" fmla="*/ 1186425 w 2936"/>
                <a:gd name="T37" fmla="*/ 846077 h 1983"/>
                <a:gd name="T38" fmla="*/ 1219151 w 2936"/>
                <a:gd name="T39" fmla="*/ 743459 h 1983"/>
                <a:gd name="T40" fmla="*/ 1180316 w 2936"/>
                <a:gd name="T41" fmla="*/ 719899 h 1983"/>
                <a:gd name="T42" fmla="*/ 1151954 w 2936"/>
                <a:gd name="T43" fmla="*/ 666495 h 1983"/>
                <a:gd name="T44" fmla="*/ 1164608 w 2936"/>
                <a:gd name="T45" fmla="*/ 642412 h 1983"/>
                <a:gd name="T46" fmla="*/ 1104828 w 2936"/>
                <a:gd name="T47" fmla="*/ 555500 h 1983"/>
                <a:gd name="T48" fmla="*/ 1127082 w 2936"/>
                <a:gd name="T49" fmla="*/ 519898 h 1983"/>
                <a:gd name="T50" fmla="*/ 1070357 w 2936"/>
                <a:gd name="T51" fmla="*/ 503667 h 1983"/>
                <a:gd name="T52" fmla="*/ 1017995 w 2936"/>
                <a:gd name="T53" fmla="*/ 464400 h 1983"/>
                <a:gd name="T54" fmla="*/ 1033267 w 2936"/>
                <a:gd name="T55" fmla="*/ 437698 h 1983"/>
                <a:gd name="T56" fmla="*/ 1065993 w 2936"/>
                <a:gd name="T57" fmla="*/ 395813 h 1983"/>
                <a:gd name="T58" fmla="*/ 1089120 w 2936"/>
                <a:gd name="T59" fmla="*/ 408379 h 1983"/>
                <a:gd name="T60" fmla="*/ 1104828 w 2936"/>
                <a:gd name="T61" fmla="*/ 446599 h 1983"/>
                <a:gd name="T62" fmla="*/ 1173335 w 2936"/>
                <a:gd name="T63" fmla="*/ 399478 h 1983"/>
                <a:gd name="T64" fmla="*/ 1233987 w 2936"/>
                <a:gd name="T65" fmla="*/ 352358 h 1983"/>
                <a:gd name="T66" fmla="*/ 1259295 w 2936"/>
                <a:gd name="T67" fmla="*/ 295289 h 1983"/>
                <a:gd name="T68" fmla="*/ 1277621 w 2936"/>
                <a:gd name="T69" fmla="*/ 258640 h 1983"/>
                <a:gd name="T70" fmla="*/ 1262349 w 2936"/>
                <a:gd name="T71" fmla="*/ 160734 h 1983"/>
                <a:gd name="T72" fmla="*/ 1187734 w 2936"/>
                <a:gd name="T73" fmla="*/ 178535 h 1983"/>
                <a:gd name="T74" fmla="*/ 1073848 w 2936"/>
                <a:gd name="T75" fmla="*/ 107330 h 1983"/>
                <a:gd name="T76" fmla="*/ 1003596 w 2936"/>
                <a:gd name="T77" fmla="*/ 46597 h 1983"/>
                <a:gd name="T78" fmla="*/ 863965 w 2936"/>
                <a:gd name="T79" fmla="*/ 27749 h 1983"/>
                <a:gd name="T80" fmla="*/ 875747 w 2936"/>
                <a:gd name="T81" fmla="*/ 81152 h 1983"/>
                <a:gd name="T82" fmla="*/ 851747 w 2936"/>
                <a:gd name="T83" fmla="*/ 118849 h 1983"/>
                <a:gd name="T84" fmla="*/ 883601 w 2936"/>
                <a:gd name="T85" fmla="*/ 183247 h 1983"/>
                <a:gd name="T86" fmla="*/ 936399 w 2936"/>
                <a:gd name="T87" fmla="*/ 193718 h 1983"/>
                <a:gd name="T88" fmla="*/ 890582 w 2936"/>
                <a:gd name="T89" fmla="*/ 238221 h 1983"/>
                <a:gd name="T90" fmla="*/ 825130 w 2936"/>
                <a:gd name="T91" fmla="*/ 298431 h 1983"/>
                <a:gd name="T92" fmla="*/ 711244 w 2936"/>
                <a:gd name="T93" fmla="*/ 373300 h 1983"/>
                <a:gd name="T94" fmla="*/ 535833 w 2936"/>
                <a:gd name="T95" fmla="*/ 345028 h 1983"/>
                <a:gd name="T96" fmla="*/ 452055 w 2936"/>
                <a:gd name="T97" fmla="*/ 293195 h 1983"/>
                <a:gd name="T98" fmla="*/ 328132 w 2936"/>
                <a:gd name="T99" fmla="*/ 259164 h 1983"/>
                <a:gd name="T100" fmla="*/ 299333 w 2936"/>
                <a:gd name="T101" fmla="*/ 198430 h 1983"/>
                <a:gd name="T102" fmla="*/ 223409 w 2936"/>
                <a:gd name="T103" fmla="*/ 156545 h 1983"/>
                <a:gd name="T104" fmla="*/ 187629 w 2936"/>
                <a:gd name="T105" fmla="*/ 162828 h 1983"/>
                <a:gd name="T106" fmla="*/ 184574 w 2936"/>
                <a:gd name="T107" fmla="*/ 203142 h 1983"/>
                <a:gd name="T108" fmla="*/ 133086 w 2936"/>
                <a:gd name="T109" fmla="*/ 200001 h 1983"/>
                <a:gd name="T110" fmla="*/ 99051 w 2936"/>
                <a:gd name="T111" fmla="*/ 265446 h 1983"/>
                <a:gd name="T112" fmla="*/ 113450 w 2936"/>
                <a:gd name="T113" fmla="*/ 311520 h 1983"/>
                <a:gd name="T114" fmla="*/ 109959 w 2936"/>
                <a:gd name="T115" fmla="*/ 374871 h 1983"/>
                <a:gd name="T116" fmla="*/ 51489 w 2936"/>
                <a:gd name="T117" fmla="*/ 408903 h 1983"/>
                <a:gd name="T118" fmla="*/ 17454 w 2936"/>
                <a:gd name="T119" fmla="*/ 468065 h 198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65" name="Freeform 15">
              <a:extLst>
                <a:ext uri="{FF2B5EF4-FFF2-40B4-BE49-F238E27FC236}">
                  <a16:creationId xmlns:a16="http://schemas.microsoft.com/office/drawing/2014/main" id="{2E37A019-A62E-4578-9D6C-1403A6317EBC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5935663" y="1508125"/>
              <a:ext cx="220662" cy="273050"/>
            </a:xfrm>
            <a:custGeom>
              <a:avLst/>
              <a:gdLst>
                <a:gd name="T0" fmla="*/ 151048 w 504"/>
                <a:gd name="T1" fmla="*/ 256896 h 524"/>
                <a:gd name="T2" fmla="*/ 112082 w 504"/>
                <a:gd name="T3" fmla="*/ 263149 h 524"/>
                <a:gd name="T4" fmla="*/ 102888 w 504"/>
                <a:gd name="T5" fmla="*/ 269402 h 524"/>
                <a:gd name="T6" fmla="*/ 91943 w 504"/>
                <a:gd name="T7" fmla="*/ 272008 h 524"/>
                <a:gd name="T8" fmla="*/ 67862 w 504"/>
                <a:gd name="T9" fmla="*/ 273050 h 524"/>
                <a:gd name="T10" fmla="*/ 46409 w 504"/>
                <a:gd name="T11" fmla="*/ 272008 h 524"/>
                <a:gd name="T12" fmla="*/ 41155 w 504"/>
                <a:gd name="T13" fmla="*/ 268881 h 524"/>
                <a:gd name="T14" fmla="*/ 31085 w 504"/>
                <a:gd name="T15" fmla="*/ 265234 h 524"/>
                <a:gd name="T16" fmla="*/ 15762 w 504"/>
                <a:gd name="T17" fmla="*/ 258460 h 524"/>
                <a:gd name="T18" fmla="*/ 9632 w 504"/>
                <a:gd name="T19" fmla="*/ 253249 h 524"/>
                <a:gd name="T20" fmla="*/ 8756 w 504"/>
                <a:gd name="T21" fmla="*/ 248559 h 524"/>
                <a:gd name="T22" fmla="*/ 11821 w 504"/>
                <a:gd name="T23" fmla="*/ 241264 h 524"/>
                <a:gd name="T24" fmla="*/ 14010 w 504"/>
                <a:gd name="T25" fmla="*/ 231884 h 524"/>
                <a:gd name="T26" fmla="*/ 12259 w 504"/>
                <a:gd name="T27" fmla="*/ 225110 h 524"/>
                <a:gd name="T28" fmla="*/ 4378 w 504"/>
                <a:gd name="T29" fmla="*/ 217294 h 524"/>
                <a:gd name="T30" fmla="*/ 438 w 504"/>
                <a:gd name="T31" fmla="*/ 212083 h 524"/>
                <a:gd name="T32" fmla="*/ 438 w 504"/>
                <a:gd name="T33" fmla="*/ 203745 h 524"/>
                <a:gd name="T34" fmla="*/ 7443 w 504"/>
                <a:gd name="T35" fmla="*/ 187592 h 524"/>
                <a:gd name="T36" fmla="*/ 21015 w 504"/>
                <a:gd name="T37" fmla="*/ 170917 h 524"/>
                <a:gd name="T38" fmla="*/ 37653 w 504"/>
                <a:gd name="T39" fmla="*/ 155805 h 524"/>
                <a:gd name="T40" fmla="*/ 54290 w 504"/>
                <a:gd name="T41" fmla="*/ 145383 h 524"/>
                <a:gd name="T42" fmla="*/ 70051 w 504"/>
                <a:gd name="T43" fmla="*/ 141736 h 524"/>
                <a:gd name="T44" fmla="*/ 67862 w 504"/>
                <a:gd name="T45" fmla="*/ 137567 h 524"/>
                <a:gd name="T46" fmla="*/ 62171 w 504"/>
                <a:gd name="T47" fmla="*/ 134962 h 524"/>
                <a:gd name="T48" fmla="*/ 58230 w 504"/>
                <a:gd name="T49" fmla="*/ 130793 h 524"/>
                <a:gd name="T50" fmla="*/ 55603 w 504"/>
                <a:gd name="T51" fmla="*/ 119329 h 524"/>
                <a:gd name="T52" fmla="*/ 54290 w 504"/>
                <a:gd name="T53" fmla="*/ 101612 h 524"/>
                <a:gd name="T54" fmla="*/ 50349 w 504"/>
                <a:gd name="T55" fmla="*/ 83895 h 524"/>
                <a:gd name="T56" fmla="*/ 43782 w 504"/>
                <a:gd name="T57" fmla="*/ 69826 h 524"/>
                <a:gd name="T58" fmla="*/ 29772 w 504"/>
                <a:gd name="T59" fmla="*/ 46898 h 524"/>
                <a:gd name="T60" fmla="*/ 37653 w 504"/>
                <a:gd name="T61" fmla="*/ 31265 h 524"/>
                <a:gd name="T62" fmla="*/ 46409 w 504"/>
                <a:gd name="T63" fmla="*/ 29181 h 524"/>
                <a:gd name="T64" fmla="*/ 56917 w 504"/>
                <a:gd name="T65" fmla="*/ 30223 h 524"/>
                <a:gd name="T66" fmla="*/ 60857 w 504"/>
                <a:gd name="T67" fmla="*/ 31786 h 524"/>
                <a:gd name="T68" fmla="*/ 70051 w 504"/>
                <a:gd name="T69" fmla="*/ 29181 h 524"/>
                <a:gd name="T70" fmla="*/ 71803 w 504"/>
                <a:gd name="T71" fmla="*/ 17196 h 524"/>
                <a:gd name="T72" fmla="*/ 74867 w 504"/>
                <a:gd name="T73" fmla="*/ 6774 h 524"/>
                <a:gd name="T74" fmla="*/ 81873 w 504"/>
                <a:gd name="T75" fmla="*/ 0 h 524"/>
                <a:gd name="T76" fmla="*/ 98510 w 504"/>
                <a:gd name="T77" fmla="*/ 0 h 524"/>
                <a:gd name="T78" fmla="*/ 111207 w 504"/>
                <a:gd name="T79" fmla="*/ 4169 h 524"/>
                <a:gd name="T80" fmla="*/ 122590 w 504"/>
                <a:gd name="T81" fmla="*/ 10943 h 524"/>
                <a:gd name="T82" fmla="*/ 122152 w 504"/>
                <a:gd name="T83" fmla="*/ 32307 h 524"/>
                <a:gd name="T84" fmla="*/ 127844 w 504"/>
                <a:gd name="T85" fmla="*/ 40124 h 524"/>
                <a:gd name="T86" fmla="*/ 139665 w 504"/>
                <a:gd name="T87" fmla="*/ 48982 h 524"/>
                <a:gd name="T88" fmla="*/ 155864 w 504"/>
                <a:gd name="T89" fmla="*/ 62009 h 524"/>
                <a:gd name="T90" fmla="*/ 151486 w 504"/>
                <a:gd name="T91" fmla="*/ 70347 h 524"/>
                <a:gd name="T92" fmla="*/ 148859 w 504"/>
                <a:gd name="T93" fmla="*/ 79726 h 524"/>
                <a:gd name="T94" fmla="*/ 150611 w 504"/>
                <a:gd name="T95" fmla="*/ 91711 h 524"/>
                <a:gd name="T96" fmla="*/ 158929 w 504"/>
                <a:gd name="T97" fmla="*/ 104218 h 524"/>
                <a:gd name="T98" fmla="*/ 165497 w 504"/>
                <a:gd name="T99" fmla="*/ 109428 h 524"/>
                <a:gd name="T100" fmla="*/ 168999 w 504"/>
                <a:gd name="T101" fmla="*/ 133398 h 524"/>
                <a:gd name="T102" fmla="*/ 176880 w 504"/>
                <a:gd name="T103" fmla="*/ 150594 h 524"/>
                <a:gd name="T104" fmla="*/ 189139 w 504"/>
                <a:gd name="T105" fmla="*/ 164143 h 524"/>
                <a:gd name="T106" fmla="*/ 202711 w 504"/>
                <a:gd name="T107" fmla="*/ 174564 h 524"/>
                <a:gd name="T108" fmla="*/ 204025 w 504"/>
                <a:gd name="T109" fmla="*/ 203224 h 524"/>
                <a:gd name="T110" fmla="*/ 173815 w 504"/>
                <a:gd name="T111" fmla="*/ 238137 h 5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66" name="Freeform 16">
              <a:extLst>
                <a:ext uri="{FF2B5EF4-FFF2-40B4-BE49-F238E27FC236}">
                  <a16:creationId xmlns:a16="http://schemas.microsoft.com/office/drawing/2014/main" id="{5C0089A5-C156-4EE4-8B62-024B56C2BEA9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5672138" y="1925639"/>
              <a:ext cx="182562" cy="238125"/>
            </a:xfrm>
            <a:custGeom>
              <a:avLst/>
              <a:gdLst>
                <a:gd name="T0" fmla="*/ 177560 w 438"/>
                <a:gd name="T1" fmla="*/ 100319 h 451"/>
                <a:gd name="T2" fmla="*/ 170058 w 438"/>
                <a:gd name="T3" fmla="*/ 67583 h 451"/>
                <a:gd name="T4" fmla="*/ 161305 w 438"/>
                <a:gd name="T5" fmla="*/ 44879 h 451"/>
                <a:gd name="T6" fmla="*/ 152969 w 438"/>
                <a:gd name="T7" fmla="*/ 32736 h 451"/>
                <a:gd name="T8" fmla="*/ 148384 w 438"/>
                <a:gd name="T9" fmla="*/ 30624 h 451"/>
                <a:gd name="T10" fmla="*/ 139631 w 438"/>
                <a:gd name="T11" fmla="*/ 23760 h 451"/>
                <a:gd name="T12" fmla="*/ 130878 w 438"/>
                <a:gd name="T13" fmla="*/ 20064 h 451"/>
                <a:gd name="T14" fmla="*/ 122125 w 438"/>
                <a:gd name="T15" fmla="*/ 20064 h 451"/>
                <a:gd name="T16" fmla="*/ 115039 w 438"/>
                <a:gd name="T17" fmla="*/ 22176 h 451"/>
                <a:gd name="T18" fmla="*/ 104619 w 438"/>
                <a:gd name="T19" fmla="*/ 30624 h 451"/>
                <a:gd name="T20" fmla="*/ 97950 w 438"/>
                <a:gd name="T21" fmla="*/ 35376 h 451"/>
                <a:gd name="T22" fmla="*/ 90447 w 438"/>
                <a:gd name="T23" fmla="*/ 34848 h 451"/>
                <a:gd name="T24" fmla="*/ 72525 w 438"/>
                <a:gd name="T25" fmla="*/ 19536 h 451"/>
                <a:gd name="T26" fmla="*/ 47099 w 438"/>
                <a:gd name="T27" fmla="*/ 0 h 451"/>
                <a:gd name="T28" fmla="*/ 39597 w 438"/>
                <a:gd name="T29" fmla="*/ 12144 h 451"/>
                <a:gd name="T30" fmla="*/ 38763 w 438"/>
                <a:gd name="T31" fmla="*/ 22704 h 451"/>
                <a:gd name="T32" fmla="*/ 40847 w 438"/>
                <a:gd name="T33" fmla="*/ 27456 h 451"/>
                <a:gd name="T34" fmla="*/ 49600 w 438"/>
                <a:gd name="T35" fmla="*/ 36432 h 451"/>
                <a:gd name="T36" fmla="*/ 41264 w 438"/>
                <a:gd name="T37" fmla="*/ 38544 h 451"/>
                <a:gd name="T38" fmla="*/ 27509 w 438"/>
                <a:gd name="T39" fmla="*/ 49103 h 451"/>
                <a:gd name="T40" fmla="*/ 24175 w 438"/>
                <a:gd name="T41" fmla="*/ 62831 h 451"/>
                <a:gd name="T42" fmla="*/ 18756 w 438"/>
                <a:gd name="T43" fmla="*/ 72863 h 451"/>
                <a:gd name="T44" fmla="*/ 14588 w 438"/>
                <a:gd name="T45" fmla="*/ 82367 h 451"/>
                <a:gd name="T46" fmla="*/ 13755 w 438"/>
                <a:gd name="T47" fmla="*/ 94511 h 451"/>
                <a:gd name="T48" fmla="*/ 2918 w 438"/>
                <a:gd name="T49" fmla="*/ 125662 h 451"/>
                <a:gd name="T50" fmla="*/ 6252 w 438"/>
                <a:gd name="T51" fmla="*/ 129886 h 451"/>
                <a:gd name="T52" fmla="*/ 10837 w 438"/>
                <a:gd name="T53" fmla="*/ 130414 h 451"/>
                <a:gd name="T54" fmla="*/ 13755 w 438"/>
                <a:gd name="T55" fmla="*/ 182686 h 451"/>
                <a:gd name="T56" fmla="*/ 38763 w 438"/>
                <a:gd name="T57" fmla="*/ 186382 h 451"/>
                <a:gd name="T58" fmla="*/ 43348 w 438"/>
                <a:gd name="T59" fmla="*/ 198525 h 451"/>
                <a:gd name="T60" fmla="*/ 37096 w 438"/>
                <a:gd name="T61" fmla="*/ 224397 h 451"/>
                <a:gd name="T62" fmla="*/ 45432 w 438"/>
                <a:gd name="T63" fmla="*/ 236013 h 451"/>
                <a:gd name="T64" fmla="*/ 63355 w 438"/>
                <a:gd name="T65" fmla="*/ 236013 h 451"/>
                <a:gd name="T66" fmla="*/ 85446 w 438"/>
                <a:gd name="T67" fmla="*/ 234429 h 451"/>
                <a:gd name="T68" fmla="*/ 115039 w 438"/>
                <a:gd name="T69" fmla="*/ 235485 h 451"/>
                <a:gd name="T70" fmla="*/ 142965 w 438"/>
                <a:gd name="T71" fmla="*/ 233373 h 451"/>
                <a:gd name="T72" fmla="*/ 155053 w 438"/>
                <a:gd name="T73" fmla="*/ 228093 h 451"/>
                <a:gd name="T74" fmla="*/ 149634 w 438"/>
                <a:gd name="T75" fmla="*/ 218061 h 451"/>
                <a:gd name="T76" fmla="*/ 153802 w 438"/>
                <a:gd name="T77" fmla="*/ 212781 h 451"/>
                <a:gd name="T78" fmla="*/ 155053 w 438"/>
                <a:gd name="T79" fmla="*/ 201693 h 451"/>
                <a:gd name="T80" fmla="*/ 158387 w 438"/>
                <a:gd name="T81" fmla="*/ 193774 h 451"/>
                <a:gd name="T82" fmla="*/ 142965 w 438"/>
                <a:gd name="T83" fmla="*/ 181630 h 451"/>
                <a:gd name="T84" fmla="*/ 135463 w 438"/>
                <a:gd name="T85" fmla="*/ 170542 h 451"/>
                <a:gd name="T86" fmla="*/ 129627 w 438"/>
                <a:gd name="T87" fmla="*/ 155230 h 451"/>
                <a:gd name="T88" fmla="*/ 122542 w 438"/>
                <a:gd name="T89" fmla="*/ 146254 h 451"/>
                <a:gd name="T90" fmla="*/ 130878 w 438"/>
                <a:gd name="T91" fmla="*/ 145198 h 451"/>
                <a:gd name="T92" fmla="*/ 144216 w 438"/>
                <a:gd name="T93" fmla="*/ 143086 h 451"/>
                <a:gd name="T94" fmla="*/ 153802 w 438"/>
                <a:gd name="T95" fmla="*/ 137278 h 451"/>
                <a:gd name="T96" fmla="*/ 169641 w 438"/>
                <a:gd name="T97" fmla="*/ 126718 h 451"/>
                <a:gd name="T98" fmla="*/ 182562 w 438"/>
                <a:gd name="T99" fmla="*/ 124078 h 45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67" name="Freeform 17">
              <a:extLst>
                <a:ext uri="{FF2B5EF4-FFF2-40B4-BE49-F238E27FC236}">
                  <a16:creationId xmlns:a16="http://schemas.microsoft.com/office/drawing/2014/main" id="{D9557818-3588-4700-8D05-F0A0A5AFE36A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5697539" y="2182814"/>
              <a:ext cx="250825" cy="274637"/>
            </a:xfrm>
            <a:custGeom>
              <a:avLst/>
              <a:gdLst>
                <a:gd name="T0" fmla="*/ 141903 w 578"/>
                <a:gd name="T1" fmla="*/ 46122 h 524"/>
                <a:gd name="T2" fmla="*/ 135393 w 578"/>
                <a:gd name="T3" fmla="*/ 44550 h 524"/>
                <a:gd name="T4" fmla="*/ 130620 w 578"/>
                <a:gd name="T5" fmla="*/ 41405 h 524"/>
                <a:gd name="T6" fmla="*/ 119337 w 578"/>
                <a:gd name="T7" fmla="*/ 34592 h 524"/>
                <a:gd name="T8" fmla="*/ 108922 w 578"/>
                <a:gd name="T9" fmla="*/ 40881 h 524"/>
                <a:gd name="T10" fmla="*/ 106753 w 578"/>
                <a:gd name="T11" fmla="*/ 55032 h 524"/>
                <a:gd name="T12" fmla="*/ 109790 w 578"/>
                <a:gd name="T13" fmla="*/ 80190 h 524"/>
                <a:gd name="T14" fmla="*/ 117167 w 578"/>
                <a:gd name="T15" fmla="*/ 90148 h 524"/>
                <a:gd name="T16" fmla="*/ 124545 w 578"/>
                <a:gd name="T17" fmla="*/ 93293 h 524"/>
                <a:gd name="T18" fmla="*/ 129318 w 578"/>
                <a:gd name="T19" fmla="*/ 100106 h 524"/>
                <a:gd name="T20" fmla="*/ 152318 w 578"/>
                <a:gd name="T21" fmla="*/ 117926 h 524"/>
                <a:gd name="T22" fmla="*/ 194845 w 578"/>
                <a:gd name="T23" fmla="*/ 161952 h 524"/>
                <a:gd name="T24" fmla="*/ 206996 w 578"/>
                <a:gd name="T25" fmla="*/ 168765 h 524"/>
                <a:gd name="T26" fmla="*/ 218712 w 578"/>
                <a:gd name="T27" fmla="*/ 171910 h 524"/>
                <a:gd name="T28" fmla="*/ 232599 w 578"/>
                <a:gd name="T29" fmla="*/ 186585 h 524"/>
                <a:gd name="T30" fmla="*/ 250825 w 578"/>
                <a:gd name="T31" fmla="*/ 197068 h 524"/>
                <a:gd name="T32" fmla="*/ 245184 w 578"/>
                <a:gd name="T33" fmla="*/ 213315 h 524"/>
                <a:gd name="T34" fmla="*/ 228259 w 578"/>
                <a:gd name="T35" fmla="*/ 200737 h 524"/>
                <a:gd name="T36" fmla="*/ 220448 w 578"/>
                <a:gd name="T37" fmla="*/ 197068 h 524"/>
                <a:gd name="T38" fmla="*/ 216109 w 578"/>
                <a:gd name="T39" fmla="*/ 208074 h 524"/>
                <a:gd name="T40" fmla="*/ 219580 w 578"/>
                <a:gd name="T41" fmla="*/ 223274 h 524"/>
                <a:gd name="T42" fmla="*/ 223052 w 578"/>
                <a:gd name="T43" fmla="*/ 231659 h 524"/>
                <a:gd name="T44" fmla="*/ 216977 w 578"/>
                <a:gd name="T45" fmla="*/ 245286 h 524"/>
                <a:gd name="T46" fmla="*/ 209599 w 578"/>
                <a:gd name="T47" fmla="*/ 264679 h 524"/>
                <a:gd name="T48" fmla="*/ 201788 w 578"/>
                <a:gd name="T49" fmla="*/ 273589 h 524"/>
                <a:gd name="T50" fmla="*/ 189204 w 578"/>
                <a:gd name="T51" fmla="*/ 264679 h 524"/>
                <a:gd name="T52" fmla="*/ 197883 w 578"/>
                <a:gd name="T53" fmla="*/ 253672 h 524"/>
                <a:gd name="T54" fmla="*/ 201788 w 578"/>
                <a:gd name="T55" fmla="*/ 244762 h 524"/>
                <a:gd name="T56" fmla="*/ 200052 w 578"/>
                <a:gd name="T57" fmla="*/ 231135 h 524"/>
                <a:gd name="T58" fmla="*/ 185298 w 578"/>
                <a:gd name="T59" fmla="*/ 207026 h 524"/>
                <a:gd name="T60" fmla="*/ 167072 w 578"/>
                <a:gd name="T61" fmla="*/ 193399 h 524"/>
                <a:gd name="T62" fmla="*/ 154053 w 578"/>
                <a:gd name="T63" fmla="*/ 186585 h 524"/>
                <a:gd name="T64" fmla="*/ 137997 w 578"/>
                <a:gd name="T65" fmla="*/ 172958 h 524"/>
                <a:gd name="T66" fmla="*/ 116299 w 578"/>
                <a:gd name="T67" fmla="*/ 165097 h 524"/>
                <a:gd name="T68" fmla="*/ 94602 w 578"/>
                <a:gd name="T69" fmla="*/ 149373 h 524"/>
                <a:gd name="T70" fmla="*/ 70300 w 578"/>
                <a:gd name="T71" fmla="*/ 120023 h 524"/>
                <a:gd name="T72" fmla="*/ 54678 w 578"/>
                <a:gd name="T73" fmla="*/ 88052 h 524"/>
                <a:gd name="T74" fmla="*/ 33414 w 578"/>
                <a:gd name="T75" fmla="*/ 80714 h 524"/>
                <a:gd name="T76" fmla="*/ 22132 w 578"/>
                <a:gd name="T77" fmla="*/ 82286 h 524"/>
                <a:gd name="T78" fmla="*/ 6509 w 578"/>
                <a:gd name="T79" fmla="*/ 86479 h 524"/>
                <a:gd name="T80" fmla="*/ 1302 w 578"/>
                <a:gd name="T81" fmla="*/ 69707 h 524"/>
                <a:gd name="T82" fmla="*/ 434 w 578"/>
                <a:gd name="T83" fmla="*/ 48743 h 524"/>
                <a:gd name="T84" fmla="*/ 2604 w 578"/>
                <a:gd name="T85" fmla="*/ 25682 h 524"/>
                <a:gd name="T86" fmla="*/ 19528 w 578"/>
                <a:gd name="T87" fmla="*/ 21489 h 524"/>
                <a:gd name="T88" fmla="*/ 29509 w 578"/>
                <a:gd name="T89" fmla="*/ 17296 h 524"/>
                <a:gd name="T90" fmla="*/ 36018 w 578"/>
                <a:gd name="T91" fmla="*/ 25158 h 524"/>
                <a:gd name="T92" fmla="*/ 45131 w 578"/>
                <a:gd name="T93" fmla="*/ 23061 h 524"/>
                <a:gd name="T94" fmla="*/ 64659 w 578"/>
                <a:gd name="T95" fmla="*/ 8386 h 524"/>
                <a:gd name="T96" fmla="*/ 103715 w 578"/>
                <a:gd name="T97" fmla="*/ 0 h 524"/>
                <a:gd name="T98" fmla="*/ 111526 w 578"/>
                <a:gd name="T99" fmla="*/ 6814 h 524"/>
                <a:gd name="T100" fmla="*/ 144072 w 578"/>
                <a:gd name="T101" fmla="*/ 9958 h 524"/>
                <a:gd name="T102" fmla="*/ 139733 w 578"/>
                <a:gd name="T103" fmla="*/ 34068 h 524"/>
                <a:gd name="T104" fmla="*/ 141035 w 578"/>
                <a:gd name="T105" fmla="*/ 47170 h 52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68" name="Freeform 18">
              <a:extLst>
                <a:ext uri="{FF2B5EF4-FFF2-40B4-BE49-F238E27FC236}">
                  <a16:creationId xmlns:a16="http://schemas.microsoft.com/office/drawing/2014/main" id="{F84BE4D2-4CF4-451E-AA13-F0C914C189E0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5715000" y="2351088"/>
              <a:ext cx="33338" cy="82550"/>
            </a:xfrm>
            <a:custGeom>
              <a:avLst/>
              <a:gdLst>
                <a:gd name="T0" fmla="*/ 0 w 79"/>
                <a:gd name="T1" fmla="*/ 19090 h 160"/>
                <a:gd name="T2" fmla="*/ 2532 w 79"/>
                <a:gd name="T3" fmla="*/ 19090 h 160"/>
                <a:gd name="T4" fmla="*/ 4642 w 79"/>
                <a:gd name="T5" fmla="*/ 18574 h 160"/>
                <a:gd name="T6" fmla="*/ 6752 w 79"/>
                <a:gd name="T7" fmla="*/ 18058 h 160"/>
                <a:gd name="T8" fmla="*/ 8018 w 79"/>
                <a:gd name="T9" fmla="*/ 17026 h 160"/>
                <a:gd name="T10" fmla="*/ 10972 w 79"/>
                <a:gd name="T11" fmla="*/ 14446 h 160"/>
                <a:gd name="T12" fmla="*/ 13082 w 79"/>
                <a:gd name="T13" fmla="*/ 11351 h 160"/>
                <a:gd name="T14" fmla="*/ 15614 w 79"/>
                <a:gd name="T15" fmla="*/ 8255 h 160"/>
                <a:gd name="T16" fmla="*/ 17302 w 79"/>
                <a:gd name="T17" fmla="*/ 5159 h 160"/>
                <a:gd name="T18" fmla="*/ 19412 w 79"/>
                <a:gd name="T19" fmla="*/ 2580 h 160"/>
                <a:gd name="T20" fmla="*/ 22366 w 79"/>
                <a:gd name="T21" fmla="*/ 0 h 160"/>
                <a:gd name="T22" fmla="*/ 24054 w 79"/>
                <a:gd name="T23" fmla="*/ 1548 h 160"/>
                <a:gd name="T24" fmla="*/ 26164 w 79"/>
                <a:gd name="T25" fmla="*/ 3612 h 160"/>
                <a:gd name="T26" fmla="*/ 27008 w 79"/>
                <a:gd name="T27" fmla="*/ 5159 h 160"/>
                <a:gd name="T28" fmla="*/ 27852 w 79"/>
                <a:gd name="T29" fmla="*/ 7223 h 160"/>
                <a:gd name="T30" fmla="*/ 29118 w 79"/>
                <a:gd name="T31" fmla="*/ 11351 h 160"/>
                <a:gd name="T32" fmla="*/ 30384 w 79"/>
                <a:gd name="T33" fmla="*/ 16510 h 160"/>
                <a:gd name="T34" fmla="*/ 30806 w 79"/>
                <a:gd name="T35" fmla="*/ 20638 h 160"/>
                <a:gd name="T36" fmla="*/ 31228 w 79"/>
                <a:gd name="T37" fmla="*/ 25281 h 160"/>
                <a:gd name="T38" fmla="*/ 32072 w 79"/>
                <a:gd name="T39" fmla="*/ 29924 h 160"/>
                <a:gd name="T40" fmla="*/ 33338 w 79"/>
                <a:gd name="T41" fmla="*/ 34568 h 160"/>
                <a:gd name="T42" fmla="*/ 33338 w 79"/>
                <a:gd name="T43" fmla="*/ 50562 h 160"/>
                <a:gd name="T44" fmla="*/ 28696 w 79"/>
                <a:gd name="T45" fmla="*/ 59333 h 160"/>
                <a:gd name="T46" fmla="*/ 24898 w 79"/>
                <a:gd name="T47" fmla="*/ 66556 h 160"/>
                <a:gd name="T48" fmla="*/ 22366 w 79"/>
                <a:gd name="T49" fmla="*/ 70168 h 160"/>
                <a:gd name="T50" fmla="*/ 21100 w 79"/>
                <a:gd name="T51" fmla="*/ 74295 h 160"/>
                <a:gd name="T52" fmla="*/ 20256 w 79"/>
                <a:gd name="T53" fmla="*/ 77907 h 160"/>
                <a:gd name="T54" fmla="*/ 19412 w 79"/>
                <a:gd name="T55" fmla="*/ 82550 h 160"/>
                <a:gd name="T56" fmla="*/ 16880 w 79"/>
                <a:gd name="T57" fmla="*/ 79970 h 160"/>
                <a:gd name="T58" fmla="*/ 13926 w 79"/>
                <a:gd name="T59" fmla="*/ 77391 h 160"/>
                <a:gd name="T60" fmla="*/ 11816 w 79"/>
                <a:gd name="T61" fmla="*/ 74295 h 160"/>
                <a:gd name="T62" fmla="*/ 9284 w 79"/>
                <a:gd name="T63" fmla="*/ 70683 h 160"/>
                <a:gd name="T64" fmla="*/ 7596 w 79"/>
                <a:gd name="T65" fmla="*/ 67072 h 160"/>
                <a:gd name="T66" fmla="*/ 6330 w 79"/>
                <a:gd name="T67" fmla="*/ 63460 h 160"/>
                <a:gd name="T68" fmla="*/ 4642 w 79"/>
                <a:gd name="T69" fmla="*/ 59333 h 160"/>
                <a:gd name="T70" fmla="*/ 3376 w 79"/>
                <a:gd name="T71" fmla="*/ 55721 h 160"/>
                <a:gd name="T72" fmla="*/ 1688 w 79"/>
                <a:gd name="T73" fmla="*/ 46950 h 160"/>
                <a:gd name="T74" fmla="*/ 422 w 79"/>
                <a:gd name="T75" fmla="*/ 37663 h 160"/>
                <a:gd name="T76" fmla="*/ 0 w 79"/>
                <a:gd name="T77" fmla="*/ 28377 h 160"/>
                <a:gd name="T78" fmla="*/ 0 w 79"/>
                <a:gd name="T79" fmla="*/ 19090 h 16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569" name="Group 19">
              <a:extLst>
                <a:ext uri="{FF2B5EF4-FFF2-40B4-BE49-F238E27FC236}">
                  <a16:creationId xmlns:a16="http://schemas.microsoft.com/office/drawing/2014/main" id="{31D8E350-F571-4B73-93D7-69356A161203}"/>
                </a:ext>
              </a:extLst>
            </p:cNvPr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8034339" y="3411539"/>
              <a:ext cx="473075" cy="212725"/>
              <a:chOff x="4488" y="2394"/>
              <a:chExt cx="358" cy="124"/>
            </a:xfrm>
          </p:grpSpPr>
          <p:sp>
            <p:nvSpPr>
              <p:cNvPr id="1099" name="Freeform 20">
                <a:extLst>
                  <a:ext uri="{FF2B5EF4-FFF2-40B4-BE49-F238E27FC236}">
                    <a16:creationId xmlns:a16="http://schemas.microsoft.com/office/drawing/2014/main" id="{C3B89B2D-F27A-4664-837E-B7B59AC1C7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142 w 512"/>
                  <a:gd name="T1" fmla="*/ 60 h 408"/>
                  <a:gd name="T2" fmla="*/ 129 w 512"/>
                  <a:gd name="T3" fmla="*/ 59 h 408"/>
                  <a:gd name="T4" fmla="*/ 123 w 512"/>
                  <a:gd name="T5" fmla="*/ 62 h 408"/>
                  <a:gd name="T6" fmla="*/ 118 w 512"/>
                  <a:gd name="T7" fmla="*/ 66 h 408"/>
                  <a:gd name="T8" fmla="*/ 116 w 512"/>
                  <a:gd name="T9" fmla="*/ 77 h 408"/>
                  <a:gd name="T10" fmla="*/ 109 w 512"/>
                  <a:gd name="T11" fmla="*/ 93 h 408"/>
                  <a:gd name="T12" fmla="*/ 102 w 512"/>
                  <a:gd name="T13" fmla="*/ 102 h 408"/>
                  <a:gd name="T14" fmla="*/ 97 w 512"/>
                  <a:gd name="T15" fmla="*/ 106 h 408"/>
                  <a:gd name="T16" fmla="*/ 91 w 512"/>
                  <a:gd name="T17" fmla="*/ 109 h 408"/>
                  <a:gd name="T18" fmla="*/ 86 w 512"/>
                  <a:gd name="T19" fmla="*/ 112 h 408"/>
                  <a:gd name="T20" fmla="*/ 84 w 512"/>
                  <a:gd name="T21" fmla="*/ 114 h 408"/>
                  <a:gd name="T22" fmla="*/ 72 w 512"/>
                  <a:gd name="T23" fmla="*/ 112 h 408"/>
                  <a:gd name="T24" fmla="*/ 61 w 512"/>
                  <a:gd name="T25" fmla="*/ 112 h 408"/>
                  <a:gd name="T26" fmla="*/ 52 w 512"/>
                  <a:gd name="T27" fmla="*/ 113 h 408"/>
                  <a:gd name="T28" fmla="*/ 46 w 512"/>
                  <a:gd name="T29" fmla="*/ 118 h 408"/>
                  <a:gd name="T30" fmla="*/ 32 w 512"/>
                  <a:gd name="T31" fmla="*/ 123 h 408"/>
                  <a:gd name="T32" fmla="*/ 21 w 512"/>
                  <a:gd name="T33" fmla="*/ 124 h 408"/>
                  <a:gd name="T34" fmla="*/ 15 w 512"/>
                  <a:gd name="T35" fmla="*/ 122 h 408"/>
                  <a:gd name="T36" fmla="*/ 5 w 512"/>
                  <a:gd name="T37" fmla="*/ 112 h 408"/>
                  <a:gd name="T38" fmla="*/ 1 w 512"/>
                  <a:gd name="T39" fmla="*/ 105 h 408"/>
                  <a:gd name="T40" fmla="*/ 3 w 512"/>
                  <a:gd name="T41" fmla="*/ 102 h 408"/>
                  <a:gd name="T42" fmla="*/ 11 w 512"/>
                  <a:gd name="T43" fmla="*/ 105 h 408"/>
                  <a:gd name="T44" fmla="*/ 18 w 512"/>
                  <a:gd name="T45" fmla="*/ 102 h 408"/>
                  <a:gd name="T46" fmla="*/ 19 w 512"/>
                  <a:gd name="T47" fmla="*/ 95 h 408"/>
                  <a:gd name="T48" fmla="*/ 24 w 512"/>
                  <a:gd name="T49" fmla="*/ 91 h 408"/>
                  <a:gd name="T50" fmla="*/ 27 w 512"/>
                  <a:gd name="T51" fmla="*/ 87 h 408"/>
                  <a:gd name="T52" fmla="*/ 30 w 512"/>
                  <a:gd name="T53" fmla="*/ 83 h 408"/>
                  <a:gd name="T54" fmla="*/ 34 w 512"/>
                  <a:gd name="T55" fmla="*/ 80 h 408"/>
                  <a:gd name="T56" fmla="*/ 46 w 512"/>
                  <a:gd name="T57" fmla="*/ 75 h 408"/>
                  <a:gd name="T58" fmla="*/ 58 w 512"/>
                  <a:gd name="T59" fmla="*/ 71 h 408"/>
                  <a:gd name="T60" fmla="*/ 67 w 512"/>
                  <a:gd name="T61" fmla="*/ 66 h 408"/>
                  <a:gd name="T62" fmla="*/ 71 w 512"/>
                  <a:gd name="T63" fmla="*/ 62 h 408"/>
                  <a:gd name="T64" fmla="*/ 73 w 512"/>
                  <a:gd name="T65" fmla="*/ 58 h 408"/>
                  <a:gd name="T66" fmla="*/ 76 w 512"/>
                  <a:gd name="T67" fmla="*/ 49 h 408"/>
                  <a:gd name="T68" fmla="*/ 76 w 512"/>
                  <a:gd name="T69" fmla="*/ 45 h 408"/>
                  <a:gd name="T70" fmla="*/ 77 w 512"/>
                  <a:gd name="T71" fmla="*/ 46 h 408"/>
                  <a:gd name="T72" fmla="*/ 80 w 512"/>
                  <a:gd name="T73" fmla="*/ 43 h 408"/>
                  <a:gd name="T74" fmla="*/ 79 w 512"/>
                  <a:gd name="T75" fmla="*/ 47 h 408"/>
                  <a:gd name="T76" fmla="*/ 80 w 512"/>
                  <a:gd name="T77" fmla="*/ 53 h 408"/>
                  <a:gd name="T78" fmla="*/ 84 w 512"/>
                  <a:gd name="T79" fmla="*/ 59 h 408"/>
                  <a:gd name="T80" fmla="*/ 91 w 512"/>
                  <a:gd name="T81" fmla="*/ 62 h 408"/>
                  <a:gd name="T82" fmla="*/ 102 w 512"/>
                  <a:gd name="T83" fmla="*/ 62 h 408"/>
                  <a:gd name="T84" fmla="*/ 107 w 512"/>
                  <a:gd name="T85" fmla="*/ 62 h 408"/>
                  <a:gd name="T86" fmla="*/ 109 w 512"/>
                  <a:gd name="T87" fmla="*/ 60 h 408"/>
                  <a:gd name="T88" fmla="*/ 108 w 512"/>
                  <a:gd name="T89" fmla="*/ 53 h 408"/>
                  <a:gd name="T90" fmla="*/ 100 w 512"/>
                  <a:gd name="T91" fmla="*/ 40 h 408"/>
                  <a:gd name="T92" fmla="*/ 107 w 512"/>
                  <a:gd name="T93" fmla="*/ 33 h 408"/>
                  <a:gd name="T94" fmla="*/ 115 w 512"/>
                  <a:gd name="T95" fmla="*/ 20 h 408"/>
                  <a:gd name="T96" fmla="*/ 125 w 512"/>
                  <a:gd name="T97" fmla="*/ 7 h 408"/>
                  <a:gd name="T98" fmla="*/ 133 w 512"/>
                  <a:gd name="T99" fmla="*/ 0 h 408"/>
                  <a:gd name="T100" fmla="*/ 134 w 512"/>
                  <a:gd name="T101" fmla="*/ 7 h 408"/>
                  <a:gd name="T102" fmla="*/ 138 w 512"/>
                  <a:gd name="T103" fmla="*/ 15 h 408"/>
                  <a:gd name="T104" fmla="*/ 147 w 512"/>
                  <a:gd name="T105" fmla="*/ 23 h 408"/>
                  <a:gd name="T106" fmla="*/ 162 w 512"/>
                  <a:gd name="T107" fmla="*/ 32 h 408"/>
                  <a:gd name="T108" fmla="*/ 170 w 512"/>
                  <a:gd name="T109" fmla="*/ 40 h 408"/>
                  <a:gd name="T110" fmla="*/ 167 w 512"/>
                  <a:gd name="T111" fmla="*/ 45 h 408"/>
                  <a:gd name="T112" fmla="*/ 160 w 512"/>
                  <a:gd name="T113" fmla="*/ 46 h 408"/>
                  <a:gd name="T114" fmla="*/ 153 w 512"/>
                  <a:gd name="T115" fmla="*/ 55 h 40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00" name="Freeform 21">
                <a:extLst>
                  <a:ext uri="{FF2B5EF4-FFF2-40B4-BE49-F238E27FC236}">
                    <a16:creationId xmlns:a16="http://schemas.microsoft.com/office/drawing/2014/main" id="{3F510F0E-902D-43B0-95B6-F17E322BAF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50 w 232"/>
                  <a:gd name="T1" fmla="*/ 7 h 289"/>
                  <a:gd name="T2" fmla="*/ 55 w 232"/>
                  <a:gd name="T3" fmla="*/ 15 h 289"/>
                  <a:gd name="T4" fmla="*/ 58 w 232"/>
                  <a:gd name="T5" fmla="*/ 17 h 289"/>
                  <a:gd name="T6" fmla="*/ 60 w 232"/>
                  <a:gd name="T7" fmla="*/ 18 h 289"/>
                  <a:gd name="T8" fmla="*/ 62 w 232"/>
                  <a:gd name="T9" fmla="*/ 51 h 289"/>
                  <a:gd name="T10" fmla="*/ 63 w 232"/>
                  <a:gd name="T11" fmla="*/ 60 h 289"/>
                  <a:gd name="T12" fmla="*/ 64 w 232"/>
                  <a:gd name="T13" fmla="*/ 64 h 289"/>
                  <a:gd name="T14" fmla="*/ 66 w 232"/>
                  <a:gd name="T15" fmla="*/ 67 h 289"/>
                  <a:gd name="T16" fmla="*/ 77 w 232"/>
                  <a:gd name="T17" fmla="*/ 76 h 289"/>
                  <a:gd name="T18" fmla="*/ 73 w 232"/>
                  <a:gd name="T19" fmla="*/ 89 h 289"/>
                  <a:gd name="T20" fmla="*/ 62 w 232"/>
                  <a:gd name="T21" fmla="*/ 87 h 289"/>
                  <a:gd name="T22" fmla="*/ 50 w 232"/>
                  <a:gd name="T23" fmla="*/ 81 h 289"/>
                  <a:gd name="T24" fmla="*/ 38 w 232"/>
                  <a:gd name="T25" fmla="*/ 72 h 289"/>
                  <a:gd name="T26" fmla="*/ 27 w 232"/>
                  <a:gd name="T27" fmla="*/ 64 h 289"/>
                  <a:gd name="T28" fmla="*/ 19 w 232"/>
                  <a:gd name="T29" fmla="*/ 54 h 289"/>
                  <a:gd name="T30" fmla="*/ 10 w 232"/>
                  <a:gd name="T31" fmla="*/ 45 h 289"/>
                  <a:gd name="T32" fmla="*/ 3 w 232"/>
                  <a:gd name="T33" fmla="*/ 39 h 289"/>
                  <a:gd name="T34" fmla="*/ 1 w 232"/>
                  <a:gd name="T35" fmla="*/ 36 h 289"/>
                  <a:gd name="T36" fmla="*/ 0 w 232"/>
                  <a:gd name="T37" fmla="*/ 34 h 289"/>
                  <a:gd name="T38" fmla="*/ 0 w 232"/>
                  <a:gd name="T39" fmla="*/ 31 h 289"/>
                  <a:gd name="T40" fmla="*/ 1 w 232"/>
                  <a:gd name="T41" fmla="*/ 28 h 289"/>
                  <a:gd name="T42" fmla="*/ 4 w 232"/>
                  <a:gd name="T43" fmla="*/ 24 h 289"/>
                  <a:gd name="T44" fmla="*/ 4 w 232"/>
                  <a:gd name="T45" fmla="*/ 16 h 289"/>
                  <a:gd name="T46" fmla="*/ 2 w 232"/>
                  <a:gd name="T47" fmla="*/ 5 h 289"/>
                  <a:gd name="T48" fmla="*/ 4 w 232"/>
                  <a:gd name="T49" fmla="*/ 0 h 289"/>
                  <a:gd name="T50" fmla="*/ 9 w 232"/>
                  <a:gd name="T51" fmla="*/ 1 h 289"/>
                  <a:gd name="T52" fmla="*/ 14 w 232"/>
                  <a:gd name="T53" fmla="*/ 3 h 289"/>
                  <a:gd name="T54" fmla="*/ 20 w 232"/>
                  <a:gd name="T55" fmla="*/ 6 h 289"/>
                  <a:gd name="T56" fmla="*/ 24 w 232"/>
                  <a:gd name="T57" fmla="*/ 9 h 289"/>
                  <a:gd name="T58" fmla="*/ 27 w 232"/>
                  <a:gd name="T59" fmla="*/ 10 h 289"/>
                  <a:gd name="T60" fmla="*/ 30 w 232"/>
                  <a:gd name="T61" fmla="*/ 10 h 289"/>
                  <a:gd name="T62" fmla="*/ 35 w 232"/>
                  <a:gd name="T63" fmla="*/ 8 h 289"/>
                  <a:gd name="T64" fmla="*/ 40 w 232"/>
                  <a:gd name="T65" fmla="*/ 6 h 289"/>
                  <a:gd name="T66" fmla="*/ 44 w 232"/>
                  <a:gd name="T67" fmla="*/ 3 h 28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570" name="Freeform 22">
              <a:extLst>
                <a:ext uri="{FF2B5EF4-FFF2-40B4-BE49-F238E27FC236}">
                  <a16:creationId xmlns:a16="http://schemas.microsoft.com/office/drawing/2014/main" id="{78CFC313-5D2C-4B23-815D-C339AE88C9FA}"/>
                </a:ext>
              </a:extLst>
            </p:cNvPr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6056313" y="1287464"/>
              <a:ext cx="3065462" cy="1074737"/>
            </a:xfrm>
            <a:custGeom>
              <a:avLst/>
              <a:gdLst>
                <a:gd name="T0" fmla="*/ 315287 w 7049"/>
                <a:gd name="T1" fmla="*/ 909433 h 2048"/>
                <a:gd name="T2" fmla="*/ 465321 w 7049"/>
                <a:gd name="T3" fmla="*/ 1016487 h 2048"/>
                <a:gd name="T4" fmla="*/ 527073 w 7049"/>
                <a:gd name="T5" fmla="*/ 951940 h 2048"/>
                <a:gd name="T6" fmla="*/ 727987 w 7049"/>
                <a:gd name="T7" fmla="*/ 770893 h 2048"/>
                <a:gd name="T8" fmla="*/ 1138513 w 7049"/>
                <a:gd name="T9" fmla="*/ 690078 h 2048"/>
                <a:gd name="T10" fmla="*/ 1456845 w 7049"/>
                <a:gd name="T11" fmla="*/ 784012 h 2048"/>
                <a:gd name="T12" fmla="*/ 1598615 w 7049"/>
                <a:gd name="T13" fmla="*/ 754625 h 2048"/>
                <a:gd name="T14" fmla="*/ 1798660 w 7049"/>
                <a:gd name="T15" fmla="*/ 782963 h 2048"/>
                <a:gd name="T16" fmla="*/ 1990441 w 7049"/>
                <a:gd name="T17" fmla="*/ 791884 h 2048"/>
                <a:gd name="T18" fmla="*/ 2069589 w 7049"/>
                <a:gd name="T19" fmla="*/ 719990 h 2048"/>
                <a:gd name="T20" fmla="*/ 2242236 w 7049"/>
                <a:gd name="T21" fmla="*/ 774566 h 2048"/>
                <a:gd name="T22" fmla="*/ 2441411 w 7049"/>
                <a:gd name="T23" fmla="*/ 838589 h 2048"/>
                <a:gd name="T24" fmla="*/ 2437062 w 7049"/>
                <a:gd name="T25" fmla="*/ 967683 h 2048"/>
                <a:gd name="T26" fmla="*/ 2545347 w 7049"/>
                <a:gd name="T27" fmla="*/ 845936 h 2048"/>
                <a:gd name="T28" fmla="*/ 2422276 w 7049"/>
                <a:gd name="T29" fmla="*/ 659116 h 2048"/>
                <a:gd name="T30" fmla="*/ 2318340 w 7049"/>
                <a:gd name="T31" fmla="*/ 601916 h 2048"/>
                <a:gd name="T32" fmla="*/ 2547086 w 7049"/>
                <a:gd name="T33" fmla="*/ 515328 h 2048"/>
                <a:gd name="T34" fmla="*/ 2597967 w 7049"/>
                <a:gd name="T35" fmla="*/ 431364 h 2048"/>
                <a:gd name="T36" fmla="*/ 2666678 w 7049"/>
                <a:gd name="T37" fmla="*/ 399353 h 2048"/>
                <a:gd name="T38" fmla="*/ 2694075 w 7049"/>
                <a:gd name="T39" fmla="*/ 511130 h 2048"/>
                <a:gd name="T40" fmla="*/ 2762351 w 7049"/>
                <a:gd name="T41" fmla="*/ 656492 h 2048"/>
                <a:gd name="T42" fmla="*/ 2859329 w 7049"/>
                <a:gd name="T43" fmla="*/ 739931 h 2048"/>
                <a:gd name="T44" fmla="*/ 2855415 w 7049"/>
                <a:gd name="T45" fmla="*/ 637076 h 2048"/>
                <a:gd name="T46" fmla="*/ 2771484 w 7049"/>
                <a:gd name="T47" fmla="*/ 544191 h 2048"/>
                <a:gd name="T48" fmla="*/ 2847153 w 7049"/>
                <a:gd name="T49" fmla="*/ 464425 h 2048"/>
                <a:gd name="T50" fmla="*/ 2957612 w 7049"/>
                <a:gd name="T51" fmla="*/ 411423 h 2048"/>
                <a:gd name="T52" fmla="*/ 2882378 w 7049"/>
                <a:gd name="T53" fmla="*/ 324310 h 2048"/>
                <a:gd name="T54" fmla="*/ 2956742 w 7049"/>
                <a:gd name="T55" fmla="*/ 333756 h 2048"/>
                <a:gd name="T56" fmla="*/ 2983705 w 7049"/>
                <a:gd name="T57" fmla="*/ 284952 h 2048"/>
                <a:gd name="T58" fmla="*/ 2826713 w 7049"/>
                <a:gd name="T59" fmla="*/ 242446 h 2048"/>
                <a:gd name="T60" fmla="*/ 2540998 w 7049"/>
                <a:gd name="T61" fmla="*/ 215157 h 2048"/>
                <a:gd name="T62" fmla="*/ 2475766 w 7049"/>
                <a:gd name="T63" fmla="*/ 217781 h 2048"/>
                <a:gd name="T64" fmla="*/ 2170481 w 7049"/>
                <a:gd name="T65" fmla="*/ 184196 h 2048"/>
                <a:gd name="T66" fmla="*/ 2056108 w 7049"/>
                <a:gd name="T67" fmla="*/ 152184 h 2048"/>
                <a:gd name="T68" fmla="*/ 1918686 w 7049"/>
                <a:gd name="T69" fmla="*/ 152184 h 2048"/>
                <a:gd name="T70" fmla="*/ 1743430 w 7049"/>
                <a:gd name="T71" fmla="*/ 166878 h 2048"/>
                <a:gd name="T72" fmla="*/ 1554258 w 7049"/>
                <a:gd name="T73" fmla="*/ 136966 h 2048"/>
                <a:gd name="T74" fmla="*/ 1430752 w 7049"/>
                <a:gd name="T75" fmla="*/ 128045 h 2048"/>
                <a:gd name="T76" fmla="*/ 1308116 w 7049"/>
                <a:gd name="T77" fmla="*/ 123322 h 2048"/>
                <a:gd name="T78" fmla="*/ 1184610 w 7049"/>
                <a:gd name="T79" fmla="*/ 30437 h 2048"/>
                <a:gd name="T80" fmla="*/ 1138078 w 7049"/>
                <a:gd name="T81" fmla="*/ 73468 h 2048"/>
                <a:gd name="T82" fmla="*/ 928032 w 7049"/>
                <a:gd name="T83" fmla="*/ 87637 h 2048"/>
                <a:gd name="T84" fmla="*/ 938904 w 7049"/>
                <a:gd name="T85" fmla="*/ 104955 h 2048"/>
                <a:gd name="T86" fmla="*/ 955864 w 7049"/>
                <a:gd name="T87" fmla="*/ 179473 h 2048"/>
                <a:gd name="T88" fmla="*/ 840621 w 7049"/>
                <a:gd name="T89" fmla="*/ 134342 h 2048"/>
                <a:gd name="T90" fmla="*/ 777129 w 7049"/>
                <a:gd name="T91" fmla="*/ 143263 h 2048"/>
                <a:gd name="T92" fmla="*/ 833663 w 7049"/>
                <a:gd name="T93" fmla="*/ 234049 h 2048"/>
                <a:gd name="T94" fmla="*/ 902809 w 7049"/>
                <a:gd name="T95" fmla="*/ 277605 h 2048"/>
                <a:gd name="T96" fmla="*/ 818877 w 7049"/>
                <a:gd name="T97" fmla="*/ 311191 h 2048"/>
                <a:gd name="T98" fmla="*/ 796698 w 7049"/>
                <a:gd name="T99" fmla="*/ 243495 h 2048"/>
                <a:gd name="T100" fmla="*/ 704939 w 7049"/>
                <a:gd name="T101" fmla="*/ 121223 h 2048"/>
                <a:gd name="T102" fmla="*/ 705809 w 7049"/>
                <a:gd name="T103" fmla="*/ 236673 h 2048"/>
                <a:gd name="T104" fmla="*/ 538380 w 7049"/>
                <a:gd name="T105" fmla="*/ 208335 h 2048"/>
                <a:gd name="T106" fmla="*/ 520985 w 7049"/>
                <a:gd name="T107" fmla="*/ 250317 h 2048"/>
                <a:gd name="T108" fmla="*/ 394870 w 7049"/>
                <a:gd name="T109" fmla="*/ 262387 h 2048"/>
                <a:gd name="T110" fmla="*/ 300936 w 7049"/>
                <a:gd name="T111" fmla="*/ 253466 h 2048"/>
                <a:gd name="T112" fmla="*/ 261797 w 7049"/>
                <a:gd name="T113" fmla="*/ 306993 h 2048"/>
                <a:gd name="T114" fmla="*/ 176996 w 7049"/>
                <a:gd name="T115" fmla="*/ 387808 h 2048"/>
                <a:gd name="T116" fmla="*/ 169603 w 7049"/>
                <a:gd name="T117" fmla="*/ 321162 h 2048"/>
                <a:gd name="T118" fmla="*/ 65232 w 7049"/>
                <a:gd name="T119" fmla="*/ 230901 h 2048"/>
                <a:gd name="T120" fmla="*/ 30876 w 7049"/>
                <a:gd name="T121" fmla="*/ 317488 h 2048"/>
                <a:gd name="T122" fmla="*/ 48706 w 7049"/>
                <a:gd name="T123" fmla="*/ 502733 h 204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71" name="Freeform 23">
              <a:extLst>
                <a:ext uri="{FF2B5EF4-FFF2-40B4-BE49-F238E27FC236}">
                  <a16:creationId xmlns:a16="http://schemas.microsoft.com/office/drawing/2014/main" id="{78B16977-39E3-4FB2-AC8F-FC315777FAF3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5319714" y="2274888"/>
              <a:ext cx="280987" cy="247650"/>
            </a:xfrm>
            <a:custGeom>
              <a:avLst/>
              <a:gdLst>
                <a:gd name="T0" fmla="*/ 176323 w 647"/>
                <a:gd name="T1" fmla="*/ 14227 h 470"/>
                <a:gd name="T2" fmla="*/ 185877 w 647"/>
                <a:gd name="T3" fmla="*/ 23711 h 470"/>
                <a:gd name="T4" fmla="*/ 198906 w 647"/>
                <a:gd name="T5" fmla="*/ 31615 h 470"/>
                <a:gd name="T6" fmla="*/ 222358 w 647"/>
                <a:gd name="T7" fmla="*/ 41099 h 470"/>
                <a:gd name="T8" fmla="*/ 233649 w 647"/>
                <a:gd name="T9" fmla="*/ 42680 h 470"/>
                <a:gd name="T10" fmla="*/ 244072 w 647"/>
                <a:gd name="T11" fmla="*/ 52165 h 470"/>
                <a:gd name="T12" fmla="*/ 246244 w 647"/>
                <a:gd name="T13" fmla="*/ 51111 h 470"/>
                <a:gd name="T14" fmla="*/ 249718 w 647"/>
                <a:gd name="T15" fmla="*/ 44788 h 470"/>
                <a:gd name="T16" fmla="*/ 253192 w 647"/>
                <a:gd name="T17" fmla="*/ 41099 h 470"/>
                <a:gd name="T18" fmla="*/ 261878 w 647"/>
                <a:gd name="T19" fmla="*/ 42153 h 470"/>
                <a:gd name="T20" fmla="*/ 270998 w 647"/>
                <a:gd name="T21" fmla="*/ 41626 h 470"/>
                <a:gd name="T22" fmla="*/ 277947 w 647"/>
                <a:gd name="T23" fmla="*/ 44261 h 470"/>
                <a:gd name="T24" fmla="*/ 280553 w 647"/>
                <a:gd name="T25" fmla="*/ 54272 h 470"/>
                <a:gd name="T26" fmla="*/ 280553 w 647"/>
                <a:gd name="T27" fmla="*/ 64811 h 470"/>
                <a:gd name="T28" fmla="*/ 268393 w 647"/>
                <a:gd name="T29" fmla="*/ 69026 h 470"/>
                <a:gd name="T30" fmla="*/ 254495 w 647"/>
                <a:gd name="T31" fmla="*/ 76930 h 470"/>
                <a:gd name="T32" fmla="*/ 243204 w 647"/>
                <a:gd name="T33" fmla="*/ 86941 h 470"/>
                <a:gd name="T34" fmla="*/ 218883 w 647"/>
                <a:gd name="T35" fmla="*/ 112760 h 470"/>
                <a:gd name="T36" fmla="*/ 212369 w 647"/>
                <a:gd name="T37" fmla="*/ 119610 h 470"/>
                <a:gd name="T38" fmla="*/ 205854 w 647"/>
                <a:gd name="T39" fmla="*/ 133836 h 470"/>
                <a:gd name="T40" fmla="*/ 205420 w 647"/>
                <a:gd name="T41" fmla="*/ 148590 h 470"/>
                <a:gd name="T42" fmla="*/ 205420 w 647"/>
                <a:gd name="T43" fmla="*/ 163871 h 470"/>
                <a:gd name="T44" fmla="*/ 201077 w 647"/>
                <a:gd name="T45" fmla="*/ 179151 h 470"/>
                <a:gd name="T46" fmla="*/ 195431 w 647"/>
                <a:gd name="T47" fmla="*/ 186528 h 470"/>
                <a:gd name="T48" fmla="*/ 178494 w 647"/>
                <a:gd name="T49" fmla="*/ 202335 h 470"/>
                <a:gd name="T50" fmla="*/ 166334 w 647"/>
                <a:gd name="T51" fmla="*/ 216562 h 470"/>
                <a:gd name="T52" fmla="*/ 162425 w 647"/>
                <a:gd name="T53" fmla="*/ 223939 h 470"/>
                <a:gd name="T54" fmla="*/ 160254 w 647"/>
                <a:gd name="T55" fmla="*/ 227627 h 470"/>
                <a:gd name="T56" fmla="*/ 134631 w 647"/>
                <a:gd name="T57" fmla="*/ 226046 h 470"/>
                <a:gd name="T58" fmla="*/ 111613 w 647"/>
                <a:gd name="T59" fmla="*/ 228681 h 470"/>
                <a:gd name="T60" fmla="*/ 97281 w 647"/>
                <a:gd name="T61" fmla="*/ 235004 h 470"/>
                <a:gd name="T62" fmla="*/ 83818 w 647"/>
                <a:gd name="T63" fmla="*/ 246069 h 470"/>
                <a:gd name="T64" fmla="*/ 77738 w 647"/>
                <a:gd name="T65" fmla="*/ 247123 h 470"/>
                <a:gd name="T66" fmla="*/ 73395 w 647"/>
                <a:gd name="T67" fmla="*/ 242908 h 470"/>
                <a:gd name="T68" fmla="*/ 66447 w 647"/>
                <a:gd name="T69" fmla="*/ 227627 h 470"/>
                <a:gd name="T70" fmla="*/ 60801 w 647"/>
                <a:gd name="T71" fmla="*/ 218143 h 470"/>
                <a:gd name="T72" fmla="*/ 52984 w 647"/>
                <a:gd name="T73" fmla="*/ 210766 h 470"/>
                <a:gd name="T74" fmla="*/ 49509 w 647"/>
                <a:gd name="T75" fmla="*/ 199701 h 470"/>
                <a:gd name="T76" fmla="*/ 54721 w 647"/>
                <a:gd name="T77" fmla="*/ 177043 h 470"/>
                <a:gd name="T78" fmla="*/ 55155 w 647"/>
                <a:gd name="T79" fmla="*/ 140686 h 470"/>
                <a:gd name="T80" fmla="*/ 63841 w 647"/>
                <a:gd name="T81" fmla="*/ 108544 h 470"/>
                <a:gd name="T82" fmla="*/ 72961 w 647"/>
                <a:gd name="T83" fmla="*/ 78510 h 470"/>
                <a:gd name="T84" fmla="*/ 74698 w 647"/>
                <a:gd name="T85" fmla="*/ 69026 h 470"/>
                <a:gd name="T86" fmla="*/ 50378 w 647"/>
                <a:gd name="T87" fmla="*/ 64811 h 470"/>
                <a:gd name="T88" fmla="*/ 26926 w 647"/>
                <a:gd name="T89" fmla="*/ 57434 h 470"/>
                <a:gd name="T90" fmla="*/ 7383 w 647"/>
                <a:gd name="T91" fmla="*/ 49003 h 470"/>
                <a:gd name="T92" fmla="*/ 0 w 647"/>
                <a:gd name="T93" fmla="*/ 20023 h 470"/>
                <a:gd name="T94" fmla="*/ 9989 w 647"/>
                <a:gd name="T95" fmla="*/ 17915 h 470"/>
                <a:gd name="T96" fmla="*/ 22149 w 647"/>
                <a:gd name="T97" fmla="*/ 10538 h 470"/>
                <a:gd name="T98" fmla="*/ 31703 w 647"/>
                <a:gd name="T99" fmla="*/ 2108 h 470"/>
                <a:gd name="T100" fmla="*/ 37349 w 647"/>
                <a:gd name="T101" fmla="*/ 0 h 470"/>
                <a:gd name="T102" fmla="*/ 57327 w 647"/>
                <a:gd name="T103" fmla="*/ 3688 h 470"/>
                <a:gd name="T104" fmla="*/ 74264 w 647"/>
                <a:gd name="T105" fmla="*/ 8958 h 470"/>
                <a:gd name="T106" fmla="*/ 90767 w 647"/>
                <a:gd name="T107" fmla="*/ 10538 h 470"/>
                <a:gd name="T108" fmla="*/ 102059 w 647"/>
                <a:gd name="T109" fmla="*/ 15281 h 470"/>
                <a:gd name="T110" fmla="*/ 112047 w 647"/>
                <a:gd name="T111" fmla="*/ 19496 h 470"/>
                <a:gd name="T112" fmla="*/ 167202 w 647"/>
                <a:gd name="T113" fmla="*/ 13700 h 4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72" name="Freeform 24">
              <a:extLst>
                <a:ext uri="{FF2B5EF4-FFF2-40B4-BE49-F238E27FC236}">
                  <a16:creationId xmlns:a16="http://schemas.microsoft.com/office/drawing/2014/main" id="{08503292-C37C-4BAE-B4B8-294E7518814A}"/>
                </a:ext>
              </a:extLst>
            </p:cNvPr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7951788" y="3013076"/>
              <a:ext cx="207962" cy="455613"/>
            </a:xfrm>
            <a:custGeom>
              <a:avLst/>
              <a:gdLst>
                <a:gd name="T0" fmla="*/ 164546 w 479"/>
                <a:gd name="T1" fmla="*/ 187389 h 868"/>
                <a:gd name="T2" fmla="*/ 144575 w 479"/>
                <a:gd name="T3" fmla="*/ 194213 h 868"/>
                <a:gd name="T4" fmla="*/ 136326 w 479"/>
                <a:gd name="T5" fmla="*/ 204711 h 868"/>
                <a:gd name="T6" fmla="*/ 137194 w 479"/>
                <a:gd name="T7" fmla="*/ 224657 h 868"/>
                <a:gd name="T8" fmla="*/ 152824 w 479"/>
                <a:gd name="T9" fmla="*/ 258251 h 868"/>
                <a:gd name="T10" fmla="*/ 155863 w 479"/>
                <a:gd name="T11" fmla="*/ 278197 h 868"/>
                <a:gd name="T12" fmla="*/ 158902 w 479"/>
                <a:gd name="T13" fmla="*/ 291319 h 868"/>
                <a:gd name="T14" fmla="*/ 140233 w 479"/>
                <a:gd name="T15" fmla="*/ 276097 h 868"/>
                <a:gd name="T16" fmla="*/ 134155 w 479"/>
                <a:gd name="T17" fmla="*/ 258251 h 868"/>
                <a:gd name="T18" fmla="*/ 116789 w 479"/>
                <a:gd name="T19" fmla="*/ 245128 h 868"/>
                <a:gd name="T20" fmla="*/ 91173 w 479"/>
                <a:gd name="T21" fmla="*/ 230431 h 868"/>
                <a:gd name="T22" fmla="*/ 83793 w 479"/>
                <a:gd name="T23" fmla="*/ 213109 h 868"/>
                <a:gd name="T24" fmla="*/ 67729 w 479"/>
                <a:gd name="T25" fmla="*/ 250377 h 868"/>
                <a:gd name="T26" fmla="*/ 67729 w 479"/>
                <a:gd name="T27" fmla="*/ 275047 h 868"/>
                <a:gd name="T28" fmla="*/ 57309 w 479"/>
                <a:gd name="T29" fmla="*/ 301817 h 868"/>
                <a:gd name="T30" fmla="*/ 55572 w 479"/>
                <a:gd name="T31" fmla="*/ 325963 h 868"/>
                <a:gd name="T32" fmla="*/ 66860 w 479"/>
                <a:gd name="T33" fmla="*/ 341185 h 868"/>
                <a:gd name="T34" fmla="*/ 75978 w 479"/>
                <a:gd name="T35" fmla="*/ 359556 h 868"/>
                <a:gd name="T36" fmla="*/ 80319 w 479"/>
                <a:gd name="T37" fmla="*/ 383177 h 868"/>
                <a:gd name="T38" fmla="*/ 98120 w 479"/>
                <a:gd name="T39" fmla="*/ 409422 h 868"/>
                <a:gd name="T40" fmla="*/ 121999 w 479"/>
                <a:gd name="T41" fmla="*/ 433042 h 868"/>
                <a:gd name="T42" fmla="*/ 147614 w 479"/>
                <a:gd name="T43" fmla="*/ 446165 h 868"/>
                <a:gd name="T44" fmla="*/ 129379 w 479"/>
                <a:gd name="T45" fmla="*/ 455088 h 868"/>
                <a:gd name="T46" fmla="*/ 116789 w 479"/>
                <a:gd name="T47" fmla="*/ 453513 h 868"/>
                <a:gd name="T48" fmla="*/ 99422 w 479"/>
                <a:gd name="T49" fmla="*/ 441441 h 868"/>
                <a:gd name="T50" fmla="*/ 86832 w 479"/>
                <a:gd name="T51" fmla="*/ 431993 h 868"/>
                <a:gd name="T52" fmla="*/ 59480 w 479"/>
                <a:gd name="T53" fmla="*/ 398399 h 868"/>
                <a:gd name="T54" fmla="*/ 36035 w 479"/>
                <a:gd name="T55" fmla="*/ 383177 h 868"/>
                <a:gd name="T56" fmla="*/ 32128 w 479"/>
                <a:gd name="T57" fmla="*/ 361131 h 868"/>
                <a:gd name="T58" fmla="*/ 34733 w 479"/>
                <a:gd name="T59" fmla="*/ 342760 h 868"/>
                <a:gd name="T60" fmla="*/ 38206 w 479"/>
                <a:gd name="T61" fmla="*/ 323863 h 868"/>
                <a:gd name="T62" fmla="*/ 52099 w 479"/>
                <a:gd name="T63" fmla="*/ 261400 h 868"/>
                <a:gd name="T64" fmla="*/ 46889 w 479"/>
                <a:gd name="T65" fmla="*/ 212060 h 868"/>
                <a:gd name="T66" fmla="*/ 26918 w 479"/>
                <a:gd name="T67" fmla="*/ 167443 h 868"/>
                <a:gd name="T68" fmla="*/ 27786 w 479"/>
                <a:gd name="T69" fmla="*/ 149596 h 868"/>
                <a:gd name="T70" fmla="*/ 32128 w 479"/>
                <a:gd name="T71" fmla="*/ 139098 h 868"/>
                <a:gd name="T72" fmla="*/ 24313 w 479"/>
                <a:gd name="T73" fmla="*/ 106030 h 868"/>
                <a:gd name="T74" fmla="*/ 9986 w 479"/>
                <a:gd name="T75" fmla="*/ 82934 h 868"/>
                <a:gd name="T76" fmla="*/ 434 w 479"/>
                <a:gd name="T77" fmla="*/ 53540 h 868"/>
                <a:gd name="T78" fmla="*/ 4776 w 479"/>
                <a:gd name="T79" fmla="*/ 23096 h 868"/>
                <a:gd name="T80" fmla="*/ 21274 w 479"/>
                <a:gd name="T81" fmla="*/ 8398 h 868"/>
                <a:gd name="T82" fmla="*/ 52099 w 479"/>
                <a:gd name="T83" fmla="*/ 0 h 868"/>
                <a:gd name="T84" fmla="*/ 67729 w 479"/>
                <a:gd name="T85" fmla="*/ 14697 h 868"/>
                <a:gd name="T86" fmla="*/ 77714 w 479"/>
                <a:gd name="T87" fmla="*/ 18896 h 868"/>
                <a:gd name="T88" fmla="*/ 85529 w 479"/>
                <a:gd name="T89" fmla="*/ 71386 h 868"/>
                <a:gd name="T90" fmla="*/ 92476 w 479"/>
                <a:gd name="T91" fmla="*/ 87133 h 868"/>
                <a:gd name="T92" fmla="*/ 100291 w 479"/>
                <a:gd name="T93" fmla="*/ 81359 h 868"/>
                <a:gd name="T94" fmla="*/ 112013 w 479"/>
                <a:gd name="T95" fmla="*/ 66137 h 868"/>
                <a:gd name="T96" fmla="*/ 121999 w 479"/>
                <a:gd name="T97" fmla="*/ 74011 h 868"/>
                <a:gd name="T98" fmla="*/ 129379 w 479"/>
                <a:gd name="T99" fmla="*/ 71386 h 868"/>
                <a:gd name="T100" fmla="*/ 137194 w 479"/>
                <a:gd name="T101" fmla="*/ 56689 h 868"/>
                <a:gd name="T102" fmla="*/ 150219 w 479"/>
                <a:gd name="T103" fmla="*/ 56689 h 868"/>
                <a:gd name="T104" fmla="*/ 168019 w 479"/>
                <a:gd name="T105" fmla="*/ 82409 h 868"/>
                <a:gd name="T106" fmla="*/ 197108 w 479"/>
                <a:gd name="T107" fmla="*/ 129125 h 868"/>
                <a:gd name="T108" fmla="*/ 207528 w 479"/>
                <a:gd name="T109" fmla="*/ 161144 h 868"/>
                <a:gd name="T110" fmla="*/ 203186 w 479"/>
                <a:gd name="T111" fmla="*/ 177416 h 8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73" name="Freeform 25">
              <a:extLst>
                <a:ext uri="{FF2B5EF4-FFF2-40B4-BE49-F238E27FC236}">
                  <a16:creationId xmlns:a16="http://schemas.microsoft.com/office/drawing/2014/main" id="{58330323-3B38-4ACA-BE2B-3D6023C76A82}"/>
                </a:ext>
              </a:extLst>
            </p:cNvPr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4060826" y="5400675"/>
              <a:ext cx="23813" cy="57150"/>
            </a:xfrm>
            <a:custGeom>
              <a:avLst/>
              <a:gdLst>
                <a:gd name="T0" fmla="*/ 0 w 53"/>
                <a:gd name="T1" fmla="*/ 24063 h 19"/>
                <a:gd name="T2" fmla="*/ 3145 w 53"/>
                <a:gd name="T3" fmla="*/ 39103 h 19"/>
                <a:gd name="T4" fmla="*/ 6290 w 53"/>
                <a:gd name="T5" fmla="*/ 51134 h 19"/>
                <a:gd name="T6" fmla="*/ 9885 w 53"/>
                <a:gd name="T7" fmla="*/ 57150 h 19"/>
                <a:gd name="T8" fmla="*/ 13030 w 53"/>
                <a:gd name="T9" fmla="*/ 57150 h 19"/>
                <a:gd name="T10" fmla="*/ 15726 w 53"/>
                <a:gd name="T11" fmla="*/ 54142 h 19"/>
                <a:gd name="T12" fmla="*/ 18871 w 53"/>
                <a:gd name="T13" fmla="*/ 45118 h 19"/>
                <a:gd name="T14" fmla="*/ 21117 w 53"/>
                <a:gd name="T15" fmla="*/ 36095 h 19"/>
                <a:gd name="T16" fmla="*/ 23813 w 53"/>
                <a:gd name="T17" fmla="*/ 24063 h 19"/>
                <a:gd name="T18" fmla="*/ 21117 w 53"/>
                <a:gd name="T19" fmla="*/ 15039 h 19"/>
                <a:gd name="T20" fmla="*/ 18871 w 53"/>
                <a:gd name="T21" fmla="*/ 6016 h 19"/>
                <a:gd name="T22" fmla="*/ 15726 w 53"/>
                <a:gd name="T23" fmla="*/ 3008 h 19"/>
                <a:gd name="T24" fmla="*/ 13030 w 53"/>
                <a:gd name="T25" fmla="*/ 0 h 19"/>
                <a:gd name="T26" fmla="*/ 9885 w 53"/>
                <a:gd name="T27" fmla="*/ 0 h 19"/>
                <a:gd name="T28" fmla="*/ 6290 w 53"/>
                <a:gd name="T29" fmla="*/ 3008 h 19"/>
                <a:gd name="T30" fmla="*/ 3145 w 53"/>
                <a:gd name="T31" fmla="*/ 9024 h 19"/>
                <a:gd name="T32" fmla="*/ 0 w 53"/>
                <a:gd name="T33" fmla="*/ 24063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74" name="Line 26" descr="Horizontal dunkel">
              <a:extLst>
                <a:ext uri="{FF2B5EF4-FFF2-40B4-BE49-F238E27FC236}">
                  <a16:creationId xmlns:a16="http://schemas.microsoft.com/office/drawing/2014/main" id="{E846E1D3-10D2-4FE7-8355-518DF4A17A3A}"/>
                </a:ext>
              </a:extLst>
            </p:cNvPr>
            <p:cNvSpPr>
              <a:spLocks noChangeShapeType="1"/>
            </p:cNvSpPr>
            <p:nvPr>
              <p:custDataLst>
                <p:tags r:id="rId21"/>
              </p:custDataLst>
            </p:nvPr>
          </p:nvSpPr>
          <p:spPr bwMode="auto">
            <a:xfrm>
              <a:off x="2522539" y="2322514"/>
              <a:ext cx="3175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75" name="Freeform 27">
              <a:extLst>
                <a:ext uri="{FF2B5EF4-FFF2-40B4-BE49-F238E27FC236}">
                  <a16:creationId xmlns:a16="http://schemas.microsoft.com/office/drawing/2014/main" id="{09A53DDC-7B21-4D96-8012-CB380EDF87F0}"/>
                </a:ext>
              </a:extLst>
            </p:cNvPr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2525714" y="2319338"/>
              <a:ext cx="3175" cy="55562"/>
            </a:xfrm>
            <a:custGeom>
              <a:avLst/>
              <a:gdLst>
                <a:gd name="T0" fmla="*/ 0 w 6"/>
                <a:gd name="T1" fmla="*/ 55562 h 24"/>
                <a:gd name="T2" fmla="*/ 0 w 6"/>
                <a:gd name="T3" fmla="*/ 43987 h 24"/>
                <a:gd name="T4" fmla="*/ 529 w 6"/>
                <a:gd name="T5" fmla="*/ 32411 h 24"/>
                <a:gd name="T6" fmla="*/ 1588 w 6"/>
                <a:gd name="T7" fmla="*/ 18521 h 24"/>
                <a:gd name="T8" fmla="*/ 3175 w 6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76" name="Freeform 28">
              <a:extLst>
                <a:ext uri="{FF2B5EF4-FFF2-40B4-BE49-F238E27FC236}">
                  <a16:creationId xmlns:a16="http://schemas.microsoft.com/office/drawing/2014/main" id="{2F8EF5F1-52AD-46D1-8773-5CB3ABCF49E2}"/>
                </a:ext>
              </a:extLst>
            </p:cNvPr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2501901" y="2373313"/>
              <a:ext cx="23813" cy="57150"/>
            </a:xfrm>
            <a:custGeom>
              <a:avLst/>
              <a:gdLst>
                <a:gd name="T0" fmla="*/ 0 w 47"/>
                <a:gd name="T1" fmla="*/ 20472 h 67"/>
                <a:gd name="T2" fmla="*/ 0 w 47"/>
                <a:gd name="T3" fmla="*/ 25590 h 67"/>
                <a:gd name="T4" fmla="*/ 1013 w 47"/>
                <a:gd name="T5" fmla="*/ 30707 h 67"/>
                <a:gd name="T6" fmla="*/ 1520 w 47"/>
                <a:gd name="T7" fmla="*/ 35825 h 67"/>
                <a:gd name="T8" fmla="*/ 2533 w 47"/>
                <a:gd name="T9" fmla="*/ 40090 h 67"/>
                <a:gd name="T10" fmla="*/ 4560 w 47"/>
                <a:gd name="T11" fmla="*/ 49473 h 67"/>
                <a:gd name="T12" fmla="*/ 7093 w 47"/>
                <a:gd name="T13" fmla="*/ 57150 h 67"/>
                <a:gd name="T14" fmla="*/ 23813 w 47"/>
                <a:gd name="T15" fmla="*/ 57150 h 67"/>
                <a:gd name="T16" fmla="*/ 23813 w 47"/>
                <a:gd name="T17" fmla="*/ 0 h 67"/>
                <a:gd name="T18" fmla="*/ 18240 w 47"/>
                <a:gd name="T19" fmla="*/ 1706 h 67"/>
                <a:gd name="T20" fmla="*/ 13173 w 47"/>
                <a:gd name="T21" fmla="*/ 3412 h 67"/>
                <a:gd name="T22" fmla="*/ 9120 w 47"/>
                <a:gd name="T23" fmla="*/ 5971 h 67"/>
                <a:gd name="T24" fmla="*/ 5573 w 47"/>
                <a:gd name="T25" fmla="*/ 7677 h 67"/>
                <a:gd name="T26" fmla="*/ 3040 w 47"/>
                <a:gd name="T27" fmla="*/ 10236 h 67"/>
                <a:gd name="T28" fmla="*/ 1520 w 47"/>
                <a:gd name="T29" fmla="*/ 13648 h 67"/>
                <a:gd name="T30" fmla="*/ 0 w 47"/>
                <a:gd name="T31" fmla="*/ 17060 h 67"/>
                <a:gd name="T32" fmla="*/ 0 w 47"/>
                <a:gd name="T33" fmla="*/ 20472 h 6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77" name="Freeform 29">
              <a:extLst>
                <a:ext uri="{FF2B5EF4-FFF2-40B4-BE49-F238E27FC236}">
                  <a16:creationId xmlns:a16="http://schemas.microsoft.com/office/drawing/2014/main" id="{C68B819C-51CD-4DDE-AA05-A31E8FE29218}"/>
                </a:ext>
              </a:extLst>
            </p:cNvPr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3827463" y="2368550"/>
              <a:ext cx="49212" cy="57150"/>
            </a:xfrm>
            <a:custGeom>
              <a:avLst/>
              <a:gdLst>
                <a:gd name="T0" fmla="*/ 0 w 112"/>
                <a:gd name="T1" fmla="*/ 57150 h 36"/>
                <a:gd name="T2" fmla="*/ 25924 w 112"/>
                <a:gd name="T3" fmla="*/ 57150 h 36"/>
                <a:gd name="T4" fmla="*/ 29439 w 112"/>
                <a:gd name="T5" fmla="*/ 47625 h 36"/>
                <a:gd name="T6" fmla="*/ 32954 w 112"/>
                <a:gd name="T7" fmla="*/ 41275 h 36"/>
                <a:gd name="T8" fmla="*/ 36909 w 112"/>
                <a:gd name="T9" fmla="*/ 36513 h 36"/>
                <a:gd name="T10" fmla="*/ 39985 w 112"/>
                <a:gd name="T11" fmla="*/ 31750 h 36"/>
                <a:gd name="T12" fmla="*/ 43061 w 112"/>
                <a:gd name="T13" fmla="*/ 26988 h 36"/>
                <a:gd name="T14" fmla="*/ 45697 w 112"/>
                <a:gd name="T15" fmla="*/ 20638 h 36"/>
                <a:gd name="T16" fmla="*/ 47015 w 112"/>
                <a:gd name="T17" fmla="*/ 17463 h 36"/>
                <a:gd name="T18" fmla="*/ 47894 w 112"/>
                <a:gd name="T19" fmla="*/ 12700 h 36"/>
                <a:gd name="T20" fmla="*/ 48773 w 112"/>
                <a:gd name="T21" fmla="*/ 6350 h 36"/>
                <a:gd name="T22" fmla="*/ 49212 w 112"/>
                <a:gd name="T23" fmla="*/ 0 h 36"/>
                <a:gd name="T24" fmla="*/ 43939 w 112"/>
                <a:gd name="T25" fmla="*/ 0 h 36"/>
                <a:gd name="T26" fmla="*/ 37348 w 112"/>
                <a:gd name="T27" fmla="*/ 1588 h 36"/>
                <a:gd name="T28" fmla="*/ 29439 w 112"/>
                <a:gd name="T29" fmla="*/ 4763 h 36"/>
                <a:gd name="T30" fmla="*/ 21091 w 112"/>
                <a:gd name="T31" fmla="*/ 11113 h 36"/>
                <a:gd name="T32" fmla="*/ 17576 w 112"/>
                <a:gd name="T33" fmla="*/ 14288 h 36"/>
                <a:gd name="T34" fmla="*/ 13621 w 112"/>
                <a:gd name="T35" fmla="*/ 17463 h 36"/>
                <a:gd name="T36" fmla="*/ 10106 w 112"/>
                <a:gd name="T37" fmla="*/ 22225 h 36"/>
                <a:gd name="T38" fmla="*/ 7470 w 112"/>
                <a:gd name="T39" fmla="*/ 28575 h 36"/>
                <a:gd name="T40" fmla="*/ 4394 w 112"/>
                <a:gd name="T41" fmla="*/ 34925 h 36"/>
                <a:gd name="T42" fmla="*/ 2636 w 112"/>
                <a:gd name="T43" fmla="*/ 41275 h 36"/>
                <a:gd name="T44" fmla="*/ 439 w 112"/>
                <a:gd name="T45" fmla="*/ 49213 h 36"/>
                <a:gd name="T46" fmla="*/ 0 w 112"/>
                <a:gd name="T47" fmla="*/ 57150 h 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78" name="Freeform 30">
              <a:extLst>
                <a:ext uri="{FF2B5EF4-FFF2-40B4-BE49-F238E27FC236}">
                  <a16:creationId xmlns:a16="http://schemas.microsoft.com/office/drawing/2014/main" id="{A91B06E9-FA64-4DE1-A009-A2425787240F}"/>
                </a:ext>
              </a:extLst>
            </p:cNvPr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6565901" y="1925639"/>
              <a:ext cx="874713" cy="452437"/>
            </a:xfrm>
            <a:custGeom>
              <a:avLst/>
              <a:gdLst>
                <a:gd name="T0" fmla="*/ 188809 w 2006"/>
                <a:gd name="T1" fmla="*/ 401059 h 863"/>
                <a:gd name="T2" fmla="*/ 179652 w 2006"/>
                <a:gd name="T3" fmla="*/ 400535 h 863"/>
                <a:gd name="T4" fmla="*/ 170059 w 2006"/>
                <a:gd name="T5" fmla="*/ 416263 h 863"/>
                <a:gd name="T6" fmla="*/ 163518 w 2006"/>
                <a:gd name="T7" fmla="*/ 415214 h 863"/>
                <a:gd name="T8" fmla="*/ 161338 w 2006"/>
                <a:gd name="T9" fmla="*/ 393720 h 863"/>
                <a:gd name="T10" fmla="*/ 141280 w 2006"/>
                <a:gd name="T11" fmla="*/ 379565 h 863"/>
                <a:gd name="T12" fmla="*/ 136047 w 2006"/>
                <a:gd name="T13" fmla="*/ 371177 h 863"/>
                <a:gd name="T14" fmla="*/ 125582 w 2006"/>
                <a:gd name="T15" fmla="*/ 362788 h 863"/>
                <a:gd name="T16" fmla="*/ 109448 w 2006"/>
                <a:gd name="T17" fmla="*/ 336051 h 863"/>
                <a:gd name="T18" fmla="*/ 101163 w 2006"/>
                <a:gd name="T19" fmla="*/ 319799 h 863"/>
                <a:gd name="T20" fmla="*/ 110320 w 2006"/>
                <a:gd name="T21" fmla="*/ 311411 h 863"/>
                <a:gd name="T22" fmla="*/ 121657 w 2006"/>
                <a:gd name="T23" fmla="*/ 300401 h 863"/>
                <a:gd name="T24" fmla="*/ 147384 w 2006"/>
                <a:gd name="T25" fmla="*/ 285198 h 863"/>
                <a:gd name="T26" fmla="*/ 139099 w 2006"/>
                <a:gd name="T27" fmla="*/ 255315 h 863"/>
                <a:gd name="T28" fmla="*/ 112500 w 2006"/>
                <a:gd name="T29" fmla="*/ 249024 h 863"/>
                <a:gd name="T30" fmla="*/ 91134 w 2006"/>
                <a:gd name="T31" fmla="*/ 246403 h 863"/>
                <a:gd name="T32" fmla="*/ 68460 w 2006"/>
                <a:gd name="T33" fmla="*/ 259509 h 863"/>
                <a:gd name="T34" fmla="*/ 46221 w 2006"/>
                <a:gd name="T35" fmla="*/ 264752 h 863"/>
                <a:gd name="T36" fmla="*/ 11773 w 2006"/>
                <a:gd name="T37" fmla="*/ 216520 h 863"/>
                <a:gd name="T38" fmla="*/ 8721 w 2006"/>
                <a:gd name="T39" fmla="*/ 148366 h 863"/>
                <a:gd name="T40" fmla="*/ 49273 w 2006"/>
                <a:gd name="T41" fmla="*/ 135784 h 863"/>
                <a:gd name="T42" fmla="*/ 127326 w 2006"/>
                <a:gd name="T43" fmla="*/ 116386 h 863"/>
                <a:gd name="T44" fmla="*/ 217152 w 2006"/>
                <a:gd name="T45" fmla="*/ 132638 h 863"/>
                <a:gd name="T46" fmla="*/ 312647 w 2006"/>
                <a:gd name="T47" fmla="*/ 132638 h 863"/>
                <a:gd name="T48" fmla="*/ 286920 w 2006"/>
                <a:gd name="T49" fmla="*/ 96988 h 863"/>
                <a:gd name="T50" fmla="*/ 361920 w 2006"/>
                <a:gd name="T51" fmla="*/ 35650 h 863"/>
                <a:gd name="T52" fmla="*/ 457851 w 2006"/>
                <a:gd name="T53" fmla="*/ 6815 h 863"/>
                <a:gd name="T54" fmla="*/ 512793 w 2006"/>
                <a:gd name="T55" fmla="*/ 31980 h 863"/>
                <a:gd name="T56" fmla="*/ 565119 w 2006"/>
                <a:gd name="T57" fmla="*/ 58193 h 863"/>
                <a:gd name="T58" fmla="*/ 628782 w 2006"/>
                <a:gd name="T59" fmla="*/ 51902 h 863"/>
                <a:gd name="T60" fmla="*/ 718172 w 2006"/>
                <a:gd name="T61" fmla="*/ 142075 h 863"/>
                <a:gd name="T62" fmla="*/ 781835 w 2006"/>
                <a:gd name="T63" fmla="*/ 138929 h 863"/>
                <a:gd name="T64" fmla="*/ 872097 w 2006"/>
                <a:gd name="T65" fmla="*/ 177724 h 863"/>
                <a:gd name="T66" fmla="*/ 872969 w 2006"/>
                <a:gd name="T67" fmla="*/ 199743 h 863"/>
                <a:gd name="T68" fmla="*/ 863812 w 2006"/>
                <a:gd name="T69" fmla="*/ 209180 h 863"/>
                <a:gd name="T70" fmla="*/ 854655 w 2006"/>
                <a:gd name="T71" fmla="*/ 211801 h 863"/>
                <a:gd name="T72" fmla="*/ 855963 w 2006"/>
                <a:gd name="T73" fmla="*/ 222811 h 863"/>
                <a:gd name="T74" fmla="*/ 865556 w 2006"/>
                <a:gd name="T75" fmla="*/ 244305 h 863"/>
                <a:gd name="T76" fmla="*/ 862940 w 2006"/>
                <a:gd name="T77" fmla="*/ 250597 h 863"/>
                <a:gd name="T78" fmla="*/ 845498 w 2006"/>
                <a:gd name="T79" fmla="*/ 252169 h 863"/>
                <a:gd name="T80" fmla="*/ 825440 w 2006"/>
                <a:gd name="T81" fmla="*/ 248500 h 863"/>
                <a:gd name="T82" fmla="*/ 812794 w 2006"/>
                <a:gd name="T83" fmla="*/ 248500 h 863"/>
                <a:gd name="T84" fmla="*/ 818899 w 2006"/>
                <a:gd name="T85" fmla="*/ 287295 h 863"/>
                <a:gd name="T86" fmla="*/ 819771 w 2006"/>
                <a:gd name="T87" fmla="*/ 307217 h 863"/>
                <a:gd name="T88" fmla="*/ 780091 w 2006"/>
                <a:gd name="T89" fmla="*/ 308265 h 863"/>
                <a:gd name="T90" fmla="*/ 770933 w 2006"/>
                <a:gd name="T91" fmla="*/ 316653 h 863"/>
                <a:gd name="T92" fmla="*/ 782707 w 2006"/>
                <a:gd name="T93" fmla="*/ 324517 h 863"/>
                <a:gd name="T94" fmla="*/ 790992 w 2006"/>
                <a:gd name="T95" fmla="*/ 340769 h 863"/>
                <a:gd name="T96" fmla="*/ 799713 w 2006"/>
                <a:gd name="T97" fmla="*/ 361216 h 863"/>
                <a:gd name="T98" fmla="*/ 801021 w 2006"/>
                <a:gd name="T99" fmla="*/ 370128 h 863"/>
                <a:gd name="T100" fmla="*/ 801021 w 2006"/>
                <a:gd name="T101" fmla="*/ 395293 h 863"/>
                <a:gd name="T102" fmla="*/ 759160 w 2006"/>
                <a:gd name="T103" fmla="*/ 387953 h 863"/>
                <a:gd name="T104" fmla="*/ 643171 w 2006"/>
                <a:gd name="T105" fmla="*/ 400535 h 863"/>
                <a:gd name="T106" fmla="*/ 573840 w 2006"/>
                <a:gd name="T107" fmla="*/ 416787 h 863"/>
                <a:gd name="T108" fmla="*/ 497967 w 2006"/>
                <a:gd name="T109" fmla="*/ 439330 h 863"/>
                <a:gd name="T110" fmla="*/ 419915 w 2006"/>
                <a:gd name="T111" fmla="*/ 365410 h 863"/>
                <a:gd name="T112" fmla="*/ 298257 w 2006"/>
                <a:gd name="T113" fmla="*/ 307217 h 863"/>
                <a:gd name="T114" fmla="*/ 254652 w 2006"/>
                <a:gd name="T115" fmla="*/ 436185 h 86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79" name="Freeform 31">
              <a:extLst>
                <a:ext uri="{FF2B5EF4-FFF2-40B4-BE49-F238E27FC236}">
                  <a16:creationId xmlns:a16="http://schemas.microsoft.com/office/drawing/2014/main" id="{DFC5974C-28AD-466B-95C5-5EA2CB266F21}"/>
                </a:ext>
              </a:extLst>
            </p:cNvPr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6796089" y="2228850"/>
              <a:ext cx="409575" cy="249238"/>
            </a:xfrm>
            <a:custGeom>
              <a:avLst/>
              <a:gdLst>
                <a:gd name="T0" fmla="*/ 275062 w 950"/>
                <a:gd name="T1" fmla="*/ 235924 h 468"/>
                <a:gd name="T2" fmla="*/ 240571 w 950"/>
                <a:gd name="T3" fmla="*/ 222610 h 468"/>
                <a:gd name="T4" fmla="*/ 203063 w 950"/>
                <a:gd name="T5" fmla="*/ 200242 h 468"/>
                <a:gd name="T6" fmla="*/ 169004 w 950"/>
                <a:gd name="T7" fmla="*/ 163496 h 468"/>
                <a:gd name="T8" fmla="*/ 131495 w 950"/>
                <a:gd name="T9" fmla="*/ 137400 h 468"/>
                <a:gd name="T10" fmla="*/ 109076 w 950"/>
                <a:gd name="T11" fmla="*/ 111305 h 468"/>
                <a:gd name="T12" fmla="*/ 80190 w 950"/>
                <a:gd name="T13" fmla="*/ 91600 h 468"/>
                <a:gd name="T14" fmla="*/ 57341 w 950"/>
                <a:gd name="T15" fmla="*/ 101186 h 468"/>
                <a:gd name="T16" fmla="*/ 42682 w 950"/>
                <a:gd name="T17" fmla="*/ 127814 h 468"/>
                <a:gd name="T18" fmla="*/ 17245 w 950"/>
                <a:gd name="T19" fmla="*/ 131010 h 468"/>
                <a:gd name="T20" fmla="*/ 0 w 950"/>
                <a:gd name="T21" fmla="*/ 12781 h 468"/>
                <a:gd name="T22" fmla="*/ 34059 w 950"/>
                <a:gd name="T23" fmla="*/ 3195 h 468"/>
                <a:gd name="T24" fmla="*/ 57341 w 950"/>
                <a:gd name="T25" fmla="*/ 29291 h 468"/>
                <a:gd name="T26" fmla="*/ 67688 w 950"/>
                <a:gd name="T27" fmla="*/ 7988 h 468"/>
                <a:gd name="T28" fmla="*/ 143136 w 950"/>
                <a:gd name="T29" fmla="*/ 62310 h 468"/>
                <a:gd name="T30" fmla="*/ 188836 w 950"/>
                <a:gd name="T31" fmla="*/ 62310 h 468"/>
                <a:gd name="T32" fmla="*/ 226344 w 950"/>
                <a:gd name="T33" fmla="*/ 71896 h 468"/>
                <a:gd name="T34" fmla="*/ 257386 w 950"/>
                <a:gd name="T35" fmla="*/ 121424 h 468"/>
                <a:gd name="T36" fmla="*/ 289289 w 950"/>
                <a:gd name="T37" fmla="*/ 134205 h 468"/>
                <a:gd name="T38" fmla="*/ 314726 w 950"/>
                <a:gd name="T39" fmla="*/ 137400 h 468"/>
                <a:gd name="T40" fmla="*/ 341025 w 950"/>
                <a:gd name="T41" fmla="*/ 114500 h 468"/>
                <a:gd name="T42" fmla="*/ 363444 w 950"/>
                <a:gd name="T43" fmla="*/ 104382 h 468"/>
                <a:gd name="T44" fmla="*/ 355252 w 950"/>
                <a:gd name="T45" fmla="*/ 134205 h 468"/>
                <a:gd name="T46" fmla="*/ 375084 w 950"/>
                <a:gd name="T47" fmla="*/ 127814 h 468"/>
                <a:gd name="T48" fmla="*/ 409575 w 950"/>
                <a:gd name="T49" fmla="*/ 150714 h 468"/>
                <a:gd name="T50" fmla="*/ 380689 w 950"/>
                <a:gd name="T51" fmla="*/ 170419 h 468"/>
                <a:gd name="T52" fmla="*/ 355252 w 950"/>
                <a:gd name="T53" fmla="*/ 150714 h 468"/>
                <a:gd name="T54" fmla="*/ 329385 w 950"/>
                <a:gd name="T55" fmla="*/ 147519 h 468"/>
                <a:gd name="T56" fmla="*/ 317744 w 950"/>
                <a:gd name="T57" fmla="*/ 170419 h 468"/>
                <a:gd name="T58" fmla="*/ 294894 w 950"/>
                <a:gd name="T59" fmla="*/ 190124 h 468"/>
                <a:gd name="T60" fmla="*/ 306103 w 950"/>
                <a:gd name="T61" fmla="*/ 206633 h 468"/>
                <a:gd name="T62" fmla="*/ 320331 w 950"/>
                <a:gd name="T63" fmla="*/ 232729 h 468"/>
                <a:gd name="T64" fmla="*/ 309121 w 950"/>
                <a:gd name="T65" fmla="*/ 249238 h 468"/>
                <a:gd name="T66" fmla="*/ 303086 w 950"/>
                <a:gd name="T67" fmla="*/ 247640 h 468"/>
                <a:gd name="T68" fmla="*/ 294894 w 950"/>
                <a:gd name="T69" fmla="*/ 245510 h 468"/>
                <a:gd name="T70" fmla="*/ 283685 w 950"/>
                <a:gd name="T71" fmla="*/ 245510 h 46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0" name="Freeform 32">
              <a:extLst>
                <a:ext uri="{FF2B5EF4-FFF2-40B4-BE49-F238E27FC236}">
                  <a16:creationId xmlns:a16="http://schemas.microsoft.com/office/drawing/2014/main" id="{200479E4-0D6F-4624-AC68-6284C466C24B}"/>
                </a:ext>
              </a:extLst>
            </p:cNvPr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5603876" y="3232151"/>
              <a:ext cx="296863" cy="288925"/>
            </a:xfrm>
            <a:custGeom>
              <a:avLst/>
              <a:gdLst>
                <a:gd name="T0" fmla="*/ 2655 w 671"/>
                <a:gd name="T1" fmla="*/ 201563 h 549"/>
                <a:gd name="T2" fmla="*/ 3539 w 671"/>
                <a:gd name="T3" fmla="*/ 166303 h 549"/>
                <a:gd name="T4" fmla="*/ 7521 w 671"/>
                <a:gd name="T5" fmla="*/ 151041 h 549"/>
                <a:gd name="T6" fmla="*/ 23006 w 671"/>
                <a:gd name="T7" fmla="*/ 125253 h 549"/>
                <a:gd name="T8" fmla="*/ 31412 w 671"/>
                <a:gd name="T9" fmla="*/ 107886 h 549"/>
                <a:gd name="T10" fmla="*/ 32297 w 671"/>
                <a:gd name="T11" fmla="*/ 87888 h 549"/>
                <a:gd name="T12" fmla="*/ 32297 w 671"/>
                <a:gd name="T13" fmla="*/ 72100 h 549"/>
                <a:gd name="T14" fmla="*/ 23891 w 671"/>
                <a:gd name="T15" fmla="*/ 56838 h 549"/>
                <a:gd name="T16" fmla="*/ 26988 w 671"/>
                <a:gd name="T17" fmla="*/ 41576 h 549"/>
                <a:gd name="T18" fmla="*/ 33624 w 671"/>
                <a:gd name="T19" fmla="*/ 26314 h 549"/>
                <a:gd name="T20" fmla="*/ 42472 w 671"/>
                <a:gd name="T21" fmla="*/ 13157 h 549"/>
                <a:gd name="T22" fmla="*/ 53090 w 671"/>
                <a:gd name="T23" fmla="*/ 3684 h 549"/>
                <a:gd name="T24" fmla="*/ 64593 w 671"/>
                <a:gd name="T25" fmla="*/ 0 h 549"/>
                <a:gd name="T26" fmla="*/ 76538 w 671"/>
                <a:gd name="T27" fmla="*/ 2631 h 549"/>
                <a:gd name="T28" fmla="*/ 91138 w 671"/>
                <a:gd name="T29" fmla="*/ 13683 h 549"/>
                <a:gd name="T30" fmla="*/ 104411 w 671"/>
                <a:gd name="T31" fmla="*/ 23682 h 549"/>
                <a:gd name="T32" fmla="*/ 114586 w 671"/>
                <a:gd name="T33" fmla="*/ 26314 h 549"/>
                <a:gd name="T34" fmla="*/ 120338 w 671"/>
                <a:gd name="T35" fmla="*/ 23156 h 549"/>
                <a:gd name="T36" fmla="*/ 125647 w 671"/>
                <a:gd name="T37" fmla="*/ 18420 h 549"/>
                <a:gd name="T38" fmla="*/ 132726 w 671"/>
                <a:gd name="T39" fmla="*/ 16841 h 549"/>
                <a:gd name="T40" fmla="*/ 140689 w 671"/>
                <a:gd name="T41" fmla="*/ 20525 h 549"/>
                <a:gd name="T42" fmla="*/ 149095 w 671"/>
                <a:gd name="T43" fmla="*/ 34208 h 549"/>
                <a:gd name="T44" fmla="*/ 156174 w 671"/>
                <a:gd name="T45" fmla="*/ 41576 h 549"/>
                <a:gd name="T46" fmla="*/ 163695 w 671"/>
                <a:gd name="T47" fmla="*/ 42628 h 549"/>
                <a:gd name="T48" fmla="*/ 168562 w 671"/>
                <a:gd name="T49" fmla="*/ 39471 h 549"/>
                <a:gd name="T50" fmla="*/ 175640 w 671"/>
                <a:gd name="T51" fmla="*/ 29471 h 549"/>
                <a:gd name="T52" fmla="*/ 185373 w 671"/>
                <a:gd name="T53" fmla="*/ 19998 h 549"/>
                <a:gd name="T54" fmla="*/ 202628 w 671"/>
                <a:gd name="T55" fmla="*/ 11578 h 549"/>
                <a:gd name="T56" fmla="*/ 215458 w 671"/>
                <a:gd name="T57" fmla="*/ 13157 h 549"/>
                <a:gd name="T58" fmla="*/ 226076 w 671"/>
                <a:gd name="T59" fmla="*/ 18420 h 549"/>
                <a:gd name="T60" fmla="*/ 237579 w 671"/>
                <a:gd name="T61" fmla="*/ 22630 h 549"/>
                <a:gd name="T62" fmla="*/ 252621 w 671"/>
                <a:gd name="T63" fmla="*/ 20525 h 549"/>
                <a:gd name="T64" fmla="*/ 285803 w 671"/>
                <a:gd name="T65" fmla="*/ 35260 h 549"/>
                <a:gd name="T66" fmla="*/ 294208 w 671"/>
                <a:gd name="T67" fmla="*/ 55259 h 549"/>
                <a:gd name="T68" fmla="*/ 275627 w 671"/>
                <a:gd name="T69" fmla="*/ 96308 h 549"/>
                <a:gd name="T70" fmla="*/ 262354 w 671"/>
                <a:gd name="T71" fmla="*/ 122622 h 549"/>
                <a:gd name="T72" fmla="*/ 252179 w 671"/>
                <a:gd name="T73" fmla="*/ 153146 h 549"/>
                <a:gd name="T74" fmla="*/ 243330 w 671"/>
                <a:gd name="T75" fmla="*/ 180512 h 549"/>
                <a:gd name="T76" fmla="*/ 232270 w 671"/>
                <a:gd name="T77" fmla="*/ 214194 h 549"/>
                <a:gd name="T78" fmla="*/ 228288 w 671"/>
                <a:gd name="T79" fmla="*/ 222088 h 549"/>
                <a:gd name="T80" fmla="*/ 221209 w 671"/>
                <a:gd name="T81" fmla="*/ 231035 h 549"/>
                <a:gd name="T82" fmla="*/ 213246 w 671"/>
                <a:gd name="T83" fmla="*/ 233140 h 549"/>
                <a:gd name="T84" fmla="*/ 203070 w 671"/>
                <a:gd name="T85" fmla="*/ 227351 h 549"/>
                <a:gd name="T86" fmla="*/ 194664 w 671"/>
                <a:gd name="T87" fmla="*/ 221562 h 549"/>
                <a:gd name="T88" fmla="*/ 180507 w 671"/>
                <a:gd name="T89" fmla="*/ 223141 h 549"/>
                <a:gd name="T90" fmla="*/ 168562 w 671"/>
                <a:gd name="T91" fmla="*/ 232087 h 549"/>
                <a:gd name="T92" fmla="*/ 161040 w 671"/>
                <a:gd name="T93" fmla="*/ 246823 h 549"/>
                <a:gd name="T94" fmla="*/ 151307 w 671"/>
                <a:gd name="T95" fmla="*/ 274189 h 549"/>
                <a:gd name="T96" fmla="*/ 143786 w 671"/>
                <a:gd name="T97" fmla="*/ 288925 h 549"/>
                <a:gd name="T98" fmla="*/ 101314 w 671"/>
                <a:gd name="T99" fmla="*/ 287346 h 549"/>
                <a:gd name="T100" fmla="*/ 96005 w 671"/>
                <a:gd name="T101" fmla="*/ 288399 h 549"/>
                <a:gd name="T102" fmla="*/ 79193 w 671"/>
                <a:gd name="T103" fmla="*/ 285767 h 549"/>
                <a:gd name="T104" fmla="*/ 71229 w 671"/>
                <a:gd name="T105" fmla="*/ 284189 h 549"/>
                <a:gd name="T106" fmla="*/ 63708 w 671"/>
                <a:gd name="T107" fmla="*/ 279452 h 549"/>
                <a:gd name="T108" fmla="*/ 57072 w 671"/>
                <a:gd name="T109" fmla="*/ 271032 h 549"/>
                <a:gd name="T110" fmla="*/ 52648 w 671"/>
                <a:gd name="T111" fmla="*/ 261032 h 549"/>
                <a:gd name="T112" fmla="*/ 49993 w 671"/>
                <a:gd name="T113" fmla="*/ 248402 h 549"/>
                <a:gd name="T114" fmla="*/ 44242 w 671"/>
                <a:gd name="T115" fmla="*/ 242087 h 549"/>
                <a:gd name="T116" fmla="*/ 36721 w 671"/>
                <a:gd name="T117" fmla="*/ 235245 h 549"/>
                <a:gd name="T118" fmla="*/ 27872 w 671"/>
                <a:gd name="T119" fmla="*/ 227351 h 549"/>
                <a:gd name="T120" fmla="*/ 17254 w 671"/>
                <a:gd name="T121" fmla="*/ 225772 h 549"/>
                <a:gd name="T122" fmla="*/ 0 w 671"/>
                <a:gd name="T123" fmla="*/ 230508 h 54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1" name="Freeform 33">
              <a:extLst>
                <a:ext uri="{FF2B5EF4-FFF2-40B4-BE49-F238E27FC236}">
                  <a16:creationId xmlns:a16="http://schemas.microsoft.com/office/drawing/2014/main" id="{9C169DD9-9CD7-43B7-B1A8-529DDEDF820D}"/>
                </a:ext>
              </a:extLst>
            </p:cNvPr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6446838" y="3097213"/>
              <a:ext cx="152400" cy="169862"/>
            </a:xfrm>
            <a:custGeom>
              <a:avLst/>
              <a:gdLst>
                <a:gd name="T0" fmla="*/ 138778 w 358"/>
                <a:gd name="T1" fmla="*/ 168304 h 327"/>
                <a:gd name="T2" fmla="*/ 140906 w 358"/>
                <a:gd name="T3" fmla="*/ 166745 h 327"/>
                <a:gd name="T4" fmla="*/ 143460 w 358"/>
                <a:gd name="T5" fmla="*/ 165187 h 327"/>
                <a:gd name="T6" fmla="*/ 147292 w 358"/>
                <a:gd name="T7" fmla="*/ 165187 h 327"/>
                <a:gd name="T8" fmla="*/ 151549 w 358"/>
                <a:gd name="T9" fmla="*/ 168304 h 327"/>
                <a:gd name="T10" fmla="*/ 135798 w 358"/>
                <a:gd name="T11" fmla="*/ 148045 h 327"/>
                <a:gd name="T12" fmla="*/ 118344 w 358"/>
                <a:gd name="T13" fmla="*/ 122072 h 327"/>
                <a:gd name="T14" fmla="*/ 107702 w 358"/>
                <a:gd name="T15" fmla="*/ 105969 h 327"/>
                <a:gd name="T16" fmla="*/ 98762 w 358"/>
                <a:gd name="T17" fmla="*/ 96619 h 327"/>
                <a:gd name="T18" fmla="*/ 93228 w 358"/>
                <a:gd name="T19" fmla="*/ 94021 h 327"/>
                <a:gd name="T20" fmla="*/ 88545 w 358"/>
                <a:gd name="T21" fmla="*/ 93502 h 327"/>
                <a:gd name="T22" fmla="*/ 85565 w 358"/>
                <a:gd name="T23" fmla="*/ 92983 h 327"/>
                <a:gd name="T24" fmla="*/ 84714 w 358"/>
                <a:gd name="T25" fmla="*/ 90385 h 327"/>
                <a:gd name="T26" fmla="*/ 84288 w 358"/>
                <a:gd name="T27" fmla="*/ 88307 h 327"/>
                <a:gd name="T28" fmla="*/ 83011 w 358"/>
                <a:gd name="T29" fmla="*/ 87788 h 327"/>
                <a:gd name="T30" fmla="*/ 78328 w 358"/>
                <a:gd name="T31" fmla="*/ 89346 h 327"/>
                <a:gd name="T32" fmla="*/ 72794 w 358"/>
                <a:gd name="T33" fmla="*/ 89346 h 327"/>
                <a:gd name="T34" fmla="*/ 70240 w 358"/>
                <a:gd name="T35" fmla="*/ 87269 h 327"/>
                <a:gd name="T36" fmla="*/ 68112 w 358"/>
                <a:gd name="T37" fmla="*/ 83632 h 327"/>
                <a:gd name="T38" fmla="*/ 64706 w 358"/>
                <a:gd name="T39" fmla="*/ 74802 h 327"/>
                <a:gd name="T40" fmla="*/ 60875 w 358"/>
                <a:gd name="T41" fmla="*/ 68049 h 327"/>
                <a:gd name="T42" fmla="*/ 56618 w 358"/>
                <a:gd name="T43" fmla="*/ 61815 h 327"/>
                <a:gd name="T44" fmla="*/ 54064 w 358"/>
                <a:gd name="T45" fmla="*/ 54543 h 327"/>
                <a:gd name="T46" fmla="*/ 51935 w 358"/>
                <a:gd name="T47" fmla="*/ 43634 h 327"/>
                <a:gd name="T48" fmla="*/ 50658 w 358"/>
                <a:gd name="T49" fmla="*/ 27531 h 327"/>
                <a:gd name="T50" fmla="*/ 49807 w 358"/>
                <a:gd name="T51" fmla="*/ 11947 h 327"/>
                <a:gd name="T52" fmla="*/ 47678 w 358"/>
                <a:gd name="T53" fmla="*/ 0 h 327"/>
                <a:gd name="T54" fmla="*/ 31076 w 358"/>
                <a:gd name="T55" fmla="*/ 13506 h 327"/>
                <a:gd name="T56" fmla="*/ 25968 w 358"/>
                <a:gd name="T57" fmla="*/ 17142 h 327"/>
                <a:gd name="T58" fmla="*/ 14048 w 358"/>
                <a:gd name="T59" fmla="*/ 25973 h 327"/>
                <a:gd name="T60" fmla="*/ 8940 w 358"/>
                <a:gd name="T61" fmla="*/ 31687 h 327"/>
                <a:gd name="T62" fmla="*/ 7237 w 358"/>
                <a:gd name="T63" fmla="*/ 37401 h 327"/>
                <a:gd name="T64" fmla="*/ 6811 w 358"/>
                <a:gd name="T65" fmla="*/ 43115 h 327"/>
                <a:gd name="T66" fmla="*/ 8514 w 358"/>
                <a:gd name="T67" fmla="*/ 48309 h 327"/>
                <a:gd name="T68" fmla="*/ 9365 w 358"/>
                <a:gd name="T69" fmla="*/ 51946 h 327"/>
                <a:gd name="T70" fmla="*/ 8514 w 358"/>
                <a:gd name="T71" fmla="*/ 57140 h 327"/>
                <a:gd name="T72" fmla="*/ 6385 w 358"/>
                <a:gd name="T73" fmla="*/ 63893 h 327"/>
                <a:gd name="T74" fmla="*/ 2980 w 358"/>
                <a:gd name="T75" fmla="*/ 70646 h 327"/>
                <a:gd name="T76" fmla="*/ 0 w 358"/>
                <a:gd name="T77" fmla="*/ 80516 h 327"/>
                <a:gd name="T78" fmla="*/ 0 w 358"/>
                <a:gd name="T79" fmla="*/ 90385 h 327"/>
                <a:gd name="T80" fmla="*/ 2128 w 358"/>
                <a:gd name="T81" fmla="*/ 94541 h 327"/>
                <a:gd name="T82" fmla="*/ 4683 w 358"/>
                <a:gd name="T83" fmla="*/ 97138 h 327"/>
                <a:gd name="T84" fmla="*/ 8514 w 358"/>
                <a:gd name="T85" fmla="*/ 96619 h 327"/>
                <a:gd name="T86" fmla="*/ 18731 w 358"/>
                <a:gd name="T87" fmla="*/ 87269 h 327"/>
                <a:gd name="T88" fmla="*/ 25542 w 358"/>
                <a:gd name="T89" fmla="*/ 83632 h 327"/>
                <a:gd name="T90" fmla="*/ 32353 w 358"/>
                <a:gd name="T91" fmla="*/ 77918 h 327"/>
                <a:gd name="T92" fmla="*/ 39590 w 358"/>
                <a:gd name="T93" fmla="*/ 82593 h 327"/>
                <a:gd name="T94" fmla="*/ 46827 w 358"/>
                <a:gd name="T95" fmla="*/ 85191 h 327"/>
                <a:gd name="T96" fmla="*/ 60449 w 358"/>
                <a:gd name="T97" fmla="*/ 93502 h 327"/>
                <a:gd name="T98" fmla="*/ 69389 w 358"/>
                <a:gd name="T99" fmla="*/ 98697 h 327"/>
                <a:gd name="T100" fmla="*/ 83437 w 358"/>
                <a:gd name="T101" fmla="*/ 108566 h 327"/>
                <a:gd name="T102" fmla="*/ 93228 w 358"/>
                <a:gd name="T103" fmla="*/ 116878 h 327"/>
                <a:gd name="T104" fmla="*/ 104296 w 358"/>
                <a:gd name="T105" fmla="*/ 126747 h 327"/>
                <a:gd name="T106" fmla="*/ 108979 w 358"/>
                <a:gd name="T107" fmla="*/ 131942 h 327"/>
                <a:gd name="T108" fmla="*/ 113661 w 358"/>
                <a:gd name="T109" fmla="*/ 140253 h 327"/>
                <a:gd name="T110" fmla="*/ 114513 w 358"/>
                <a:gd name="T111" fmla="*/ 144928 h 327"/>
                <a:gd name="T112" fmla="*/ 114513 w 358"/>
                <a:gd name="T113" fmla="*/ 148564 h 327"/>
                <a:gd name="T114" fmla="*/ 114939 w 358"/>
                <a:gd name="T115" fmla="*/ 150642 h 327"/>
                <a:gd name="T116" fmla="*/ 117493 w 358"/>
                <a:gd name="T117" fmla="*/ 151681 h 327"/>
                <a:gd name="T118" fmla="*/ 124304 w 358"/>
                <a:gd name="T119" fmla="*/ 156876 h 327"/>
                <a:gd name="T120" fmla="*/ 135372 w 358"/>
                <a:gd name="T121" fmla="*/ 166745 h 3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2" name="Freeform 34">
              <a:extLst>
                <a:ext uri="{FF2B5EF4-FFF2-40B4-BE49-F238E27FC236}">
                  <a16:creationId xmlns:a16="http://schemas.microsoft.com/office/drawing/2014/main" id="{55CE5577-7581-485E-8924-8B5A68DD0EB0}"/>
                </a:ext>
              </a:extLst>
            </p:cNvPr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5908676" y="2101850"/>
              <a:ext cx="125413" cy="57150"/>
            </a:xfrm>
            <a:custGeom>
              <a:avLst/>
              <a:gdLst>
                <a:gd name="T0" fmla="*/ 54117 w 292"/>
                <a:gd name="T1" fmla="*/ 0 h 99"/>
                <a:gd name="T2" fmla="*/ 65713 w 292"/>
                <a:gd name="T3" fmla="*/ 0 h 99"/>
                <a:gd name="T4" fmla="*/ 85040 w 292"/>
                <a:gd name="T5" fmla="*/ 577 h 99"/>
                <a:gd name="T6" fmla="*/ 107374 w 292"/>
                <a:gd name="T7" fmla="*/ 3464 h 99"/>
                <a:gd name="T8" fmla="*/ 125413 w 292"/>
                <a:gd name="T9" fmla="*/ 4041 h 99"/>
                <a:gd name="T10" fmla="*/ 124554 w 292"/>
                <a:gd name="T11" fmla="*/ 11545 h 99"/>
                <a:gd name="T12" fmla="*/ 122407 w 292"/>
                <a:gd name="T13" fmla="*/ 19050 h 99"/>
                <a:gd name="T14" fmla="*/ 119830 w 292"/>
                <a:gd name="T15" fmla="*/ 31750 h 99"/>
                <a:gd name="T16" fmla="*/ 57982 w 292"/>
                <a:gd name="T17" fmla="*/ 40409 h 99"/>
                <a:gd name="T18" fmla="*/ 42520 w 292"/>
                <a:gd name="T19" fmla="*/ 51377 h 99"/>
                <a:gd name="T20" fmla="*/ 33930 w 292"/>
                <a:gd name="T21" fmla="*/ 55418 h 99"/>
                <a:gd name="T22" fmla="*/ 28347 w 292"/>
                <a:gd name="T23" fmla="*/ 56573 h 99"/>
                <a:gd name="T24" fmla="*/ 23622 w 292"/>
                <a:gd name="T25" fmla="*/ 56573 h 99"/>
                <a:gd name="T26" fmla="*/ 19327 w 292"/>
                <a:gd name="T27" fmla="*/ 54264 h 99"/>
                <a:gd name="T28" fmla="*/ 14173 w 292"/>
                <a:gd name="T29" fmla="*/ 49645 h 99"/>
                <a:gd name="T30" fmla="*/ 8590 w 292"/>
                <a:gd name="T31" fmla="*/ 44450 h 99"/>
                <a:gd name="T32" fmla="*/ 3006 w 292"/>
                <a:gd name="T33" fmla="*/ 39832 h 99"/>
                <a:gd name="T34" fmla="*/ 429 w 292"/>
                <a:gd name="T35" fmla="*/ 32905 h 99"/>
                <a:gd name="T36" fmla="*/ 0 w 292"/>
                <a:gd name="T37" fmla="*/ 24245 h 99"/>
                <a:gd name="T38" fmla="*/ 429 w 292"/>
                <a:gd name="T39" fmla="*/ 14432 h 99"/>
                <a:gd name="T40" fmla="*/ 1288 w 292"/>
                <a:gd name="T41" fmla="*/ 11545 h 99"/>
                <a:gd name="T42" fmla="*/ 3865 w 292"/>
                <a:gd name="T43" fmla="*/ 10391 h 99"/>
                <a:gd name="T44" fmla="*/ 6442 w 292"/>
                <a:gd name="T45" fmla="*/ 12123 h 99"/>
                <a:gd name="T46" fmla="*/ 10737 w 292"/>
                <a:gd name="T47" fmla="*/ 16164 h 99"/>
                <a:gd name="T48" fmla="*/ 15032 w 292"/>
                <a:gd name="T49" fmla="*/ 18473 h 99"/>
                <a:gd name="T50" fmla="*/ 19327 w 292"/>
                <a:gd name="T51" fmla="*/ 19627 h 99"/>
                <a:gd name="T52" fmla="*/ 23193 w 292"/>
                <a:gd name="T53" fmla="*/ 19050 h 99"/>
                <a:gd name="T54" fmla="*/ 28776 w 292"/>
                <a:gd name="T55" fmla="*/ 16741 h 99"/>
                <a:gd name="T56" fmla="*/ 34789 w 292"/>
                <a:gd name="T57" fmla="*/ 10968 h 99"/>
                <a:gd name="T58" fmla="*/ 37796 w 292"/>
                <a:gd name="T59" fmla="*/ 6350 h 99"/>
                <a:gd name="T60" fmla="*/ 40373 w 292"/>
                <a:gd name="T61" fmla="*/ 3464 h 99"/>
                <a:gd name="T62" fmla="*/ 46815 w 292"/>
                <a:gd name="T63" fmla="*/ 577 h 9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83" name="Freeform 35">
              <a:extLst>
                <a:ext uri="{FF2B5EF4-FFF2-40B4-BE49-F238E27FC236}">
                  <a16:creationId xmlns:a16="http://schemas.microsoft.com/office/drawing/2014/main" id="{B4CA3839-EFC4-49AB-AA52-F6C149E59036}"/>
                </a:ext>
              </a:extLst>
            </p:cNvPr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6772275" y="2822575"/>
              <a:ext cx="19050" cy="57150"/>
            </a:xfrm>
            <a:custGeom>
              <a:avLst/>
              <a:gdLst>
                <a:gd name="T0" fmla="*/ 17278 w 43"/>
                <a:gd name="T1" fmla="*/ 57150 h 93"/>
                <a:gd name="T2" fmla="*/ 13734 w 43"/>
                <a:gd name="T3" fmla="*/ 55921 h 93"/>
                <a:gd name="T4" fmla="*/ 11519 w 43"/>
                <a:gd name="T5" fmla="*/ 54692 h 93"/>
                <a:gd name="T6" fmla="*/ 9303 w 43"/>
                <a:gd name="T7" fmla="*/ 53463 h 93"/>
                <a:gd name="T8" fmla="*/ 7974 w 43"/>
                <a:gd name="T9" fmla="*/ 51619 h 93"/>
                <a:gd name="T10" fmla="*/ 6645 w 43"/>
                <a:gd name="T11" fmla="*/ 48547 h 93"/>
                <a:gd name="T12" fmla="*/ 6202 w 43"/>
                <a:gd name="T13" fmla="*/ 44860 h 93"/>
                <a:gd name="T14" fmla="*/ 5759 w 43"/>
                <a:gd name="T15" fmla="*/ 39944 h 93"/>
                <a:gd name="T16" fmla="*/ 4873 w 43"/>
                <a:gd name="T17" fmla="*/ 33798 h 93"/>
                <a:gd name="T18" fmla="*/ 4873 w 43"/>
                <a:gd name="T19" fmla="*/ 29497 h 93"/>
                <a:gd name="T20" fmla="*/ 3987 w 43"/>
                <a:gd name="T21" fmla="*/ 25810 h 93"/>
                <a:gd name="T22" fmla="*/ 2658 w 43"/>
                <a:gd name="T23" fmla="*/ 23352 h 93"/>
                <a:gd name="T24" fmla="*/ 1772 w 43"/>
                <a:gd name="T25" fmla="*/ 22123 h 93"/>
                <a:gd name="T26" fmla="*/ 886 w 43"/>
                <a:gd name="T27" fmla="*/ 20894 h 93"/>
                <a:gd name="T28" fmla="*/ 0 w 43"/>
                <a:gd name="T29" fmla="*/ 19665 h 93"/>
                <a:gd name="T30" fmla="*/ 886 w 43"/>
                <a:gd name="T31" fmla="*/ 17821 h 93"/>
                <a:gd name="T32" fmla="*/ 2215 w 43"/>
                <a:gd name="T33" fmla="*/ 14748 h 93"/>
                <a:gd name="T34" fmla="*/ 2658 w 43"/>
                <a:gd name="T35" fmla="*/ 17206 h 93"/>
                <a:gd name="T36" fmla="*/ 3101 w 43"/>
                <a:gd name="T37" fmla="*/ 17821 h 93"/>
                <a:gd name="T38" fmla="*/ 3544 w 43"/>
                <a:gd name="T39" fmla="*/ 18435 h 93"/>
                <a:gd name="T40" fmla="*/ 3987 w 43"/>
                <a:gd name="T41" fmla="*/ 17821 h 93"/>
                <a:gd name="T42" fmla="*/ 4873 w 43"/>
                <a:gd name="T43" fmla="*/ 15363 h 93"/>
                <a:gd name="T44" fmla="*/ 6202 w 43"/>
                <a:gd name="T45" fmla="*/ 11676 h 93"/>
                <a:gd name="T46" fmla="*/ 7088 w 43"/>
                <a:gd name="T47" fmla="*/ 7374 h 93"/>
                <a:gd name="T48" fmla="*/ 8860 w 43"/>
                <a:gd name="T49" fmla="*/ 3687 h 93"/>
                <a:gd name="T50" fmla="*/ 9747 w 43"/>
                <a:gd name="T51" fmla="*/ 2458 h 93"/>
                <a:gd name="T52" fmla="*/ 11076 w 43"/>
                <a:gd name="T53" fmla="*/ 1229 h 93"/>
                <a:gd name="T54" fmla="*/ 12405 w 43"/>
                <a:gd name="T55" fmla="*/ 0 h 93"/>
                <a:gd name="T56" fmla="*/ 14177 w 43"/>
                <a:gd name="T57" fmla="*/ 0 h 93"/>
                <a:gd name="T58" fmla="*/ 14620 w 43"/>
                <a:gd name="T59" fmla="*/ 6145 h 93"/>
                <a:gd name="T60" fmla="*/ 14620 w 43"/>
                <a:gd name="T61" fmla="*/ 9832 h 93"/>
                <a:gd name="T62" fmla="*/ 14620 w 43"/>
                <a:gd name="T63" fmla="*/ 12290 h 93"/>
                <a:gd name="T64" fmla="*/ 14177 w 43"/>
                <a:gd name="T65" fmla="*/ 14134 h 93"/>
                <a:gd name="T66" fmla="*/ 14177 w 43"/>
                <a:gd name="T67" fmla="*/ 16592 h 93"/>
                <a:gd name="T68" fmla="*/ 14177 w 43"/>
                <a:gd name="T69" fmla="*/ 19050 h 93"/>
                <a:gd name="T70" fmla="*/ 15506 w 43"/>
                <a:gd name="T71" fmla="*/ 22123 h 93"/>
                <a:gd name="T72" fmla="*/ 17278 w 43"/>
                <a:gd name="T73" fmla="*/ 26424 h 93"/>
                <a:gd name="T74" fmla="*/ 16835 w 43"/>
                <a:gd name="T75" fmla="*/ 27039 h 93"/>
                <a:gd name="T76" fmla="*/ 16392 w 43"/>
                <a:gd name="T77" fmla="*/ 27653 h 93"/>
                <a:gd name="T78" fmla="*/ 16392 w 43"/>
                <a:gd name="T79" fmla="*/ 29497 h 93"/>
                <a:gd name="T80" fmla="*/ 16835 w 43"/>
                <a:gd name="T81" fmla="*/ 31340 h 93"/>
                <a:gd name="T82" fmla="*/ 17278 w 43"/>
                <a:gd name="T83" fmla="*/ 36256 h 93"/>
                <a:gd name="T84" fmla="*/ 18164 w 43"/>
                <a:gd name="T85" fmla="*/ 41787 h 93"/>
                <a:gd name="T86" fmla="*/ 18607 w 43"/>
                <a:gd name="T87" fmla="*/ 46703 h 93"/>
                <a:gd name="T88" fmla="*/ 19050 w 43"/>
                <a:gd name="T89" fmla="*/ 52234 h 93"/>
                <a:gd name="T90" fmla="*/ 19050 w 43"/>
                <a:gd name="T91" fmla="*/ 54077 h 93"/>
                <a:gd name="T92" fmla="*/ 18607 w 43"/>
                <a:gd name="T93" fmla="*/ 55921 h 93"/>
                <a:gd name="T94" fmla="*/ 17721 w 43"/>
                <a:gd name="T95" fmla="*/ 56535 h 93"/>
                <a:gd name="T96" fmla="*/ 17278 w 43"/>
                <a:gd name="T97" fmla="*/ 57150 h 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4" name="Freeform 36">
              <a:extLst>
                <a:ext uri="{FF2B5EF4-FFF2-40B4-BE49-F238E27FC236}">
                  <a16:creationId xmlns:a16="http://schemas.microsoft.com/office/drawing/2014/main" id="{D9530EFF-9B99-4E5B-8A11-61134C674D9F}"/>
                </a:ext>
              </a:extLst>
            </p:cNvPr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6891339" y="2827338"/>
              <a:ext cx="14287" cy="57150"/>
            </a:xfrm>
            <a:custGeom>
              <a:avLst/>
              <a:gdLst>
                <a:gd name="T0" fmla="*/ 14287 w 40"/>
                <a:gd name="T1" fmla="*/ 57150 h 56"/>
                <a:gd name="T2" fmla="*/ 13215 w 40"/>
                <a:gd name="T3" fmla="*/ 46945 h 56"/>
                <a:gd name="T4" fmla="*/ 11787 w 40"/>
                <a:gd name="T5" fmla="*/ 38780 h 56"/>
                <a:gd name="T6" fmla="*/ 10001 w 40"/>
                <a:gd name="T7" fmla="*/ 32657 h 56"/>
                <a:gd name="T8" fmla="*/ 8215 w 40"/>
                <a:gd name="T9" fmla="*/ 28575 h 56"/>
                <a:gd name="T10" fmla="*/ 3929 w 40"/>
                <a:gd name="T11" fmla="*/ 21431 h 56"/>
                <a:gd name="T12" fmla="*/ 0 w 40"/>
                <a:gd name="T13" fmla="*/ 12246 h 56"/>
                <a:gd name="T14" fmla="*/ 4643 w 40"/>
                <a:gd name="T15" fmla="*/ 4082 h 56"/>
                <a:gd name="T16" fmla="*/ 7144 w 40"/>
                <a:gd name="T17" fmla="*/ 0 h 56"/>
                <a:gd name="T18" fmla="*/ 10001 w 40"/>
                <a:gd name="T19" fmla="*/ 12246 h 56"/>
                <a:gd name="T20" fmla="*/ 12501 w 40"/>
                <a:gd name="T21" fmla="*/ 22452 h 56"/>
                <a:gd name="T22" fmla="*/ 13215 w 40"/>
                <a:gd name="T23" fmla="*/ 25513 h 56"/>
                <a:gd name="T24" fmla="*/ 13930 w 40"/>
                <a:gd name="T25" fmla="*/ 29596 h 56"/>
                <a:gd name="T26" fmla="*/ 13930 w 40"/>
                <a:gd name="T27" fmla="*/ 33678 h 56"/>
                <a:gd name="T28" fmla="*/ 14287 w 40"/>
                <a:gd name="T29" fmla="*/ 37760 h 56"/>
                <a:gd name="T30" fmla="*/ 14287 w 40"/>
                <a:gd name="T31" fmla="*/ 44904 h 56"/>
                <a:gd name="T32" fmla="*/ 14287 w 40"/>
                <a:gd name="T33" fmla="*/ 46945 h 56"/>
                <a:gd name="T34" fmla="*/ 14287 w 40"/>
                <a:gd name="T35" fmla="*/ 50006 h 56"/>
                <a:gd name="T36" fmla="*/ 14287 w 40"/>
                <a:gd name="T37" fmla="*/ 57150 h 5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5" name="Freeform 37">
              <a:extLst>
                <a:ext uri="{FF2B5EF4-FFF2-40B4-BE49-F238E27FC236}">
                  <a16:creationId xmlns:a16="http://schemas.microsoft.com/office/drawing/2014/main" id="{248B2922-C457-4A72-911B-0C9A613A20DC}"/>
                </a:ext>
              </a:extLst>
            </p:cNvPr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8378825" y="3487738"/>
              <a:ext cx="44450" cy="57150"/>
            </a:xfrm>
            <a:custGeom>
              <a:avLst/>
              <a:gdLst>
                <a:gd name="T0" fmla="*/ 0 w 106"/>
                <a:gd name="T1" fmla="*/ 5635 h 71"/>
                <a:gd name="T2" fmla="*/ 5032 w 106"/>
                <a:gd name="T3" fmla="*/ 8049 h 71"/>
                <a:gd name="T4" fmla="*/ 10064 w 106"/>
                <a:gd name="T5" fmla="*/ 9659 h 71"/>
                <a:gd name="T6" fmla="*/ 14677 w 106"/>
                <a:gd name="T7" fmla="*/ 10464 h 71"/>
                <a:gd name="T8" fmla="*/ 18870 w 106"/>
                <a:gd name="T9" fmla="*/ 10464 h 71"/>
                <a:gd name="T10" fmla="*/ 22644 w 106"/>
                <a:gd name="T11" fmla="*/ 8854 h 71"/>
                <a:gd name="T12" fmla="*/ 25580 w 106"/>
                <a:gd name="T13" fmla="*/ 6439 h 71"/>
                <a:gd name="T14" fmla="*/ 28515 w 106"/>
                <a:gd name="T15" fmla="*/ 4025 h 71"/>
                <a:gd name="T16" fmla="*/ 31031 w 106"/>
                <a:gd name="T17" fmla="*/ 0 h 71"/>
                <a:gd name="T18" fmla="*/ 35225 w 106"/>
                <a:gd name="T19" fmla="*/ 12879 h 71"/>
                <a:gd name="T20" fmla="*/ 39418 w 106"/>
                <a:gd name="T21" fmla="*/ 24148 h 71"/>
                <a:gd name="T22" fmla="*/ 42353 w 106"/>
                <a:gd name="T23" fmla="*/ 35417 h 71"/>
                <a:gd name="T24" fmla="*/ 44031 w 106"/>
                <a:gd name="T25" fmla="*/ 44271 h 71"/>
                <a:gd name="T26" fmla="*/ 44450 w 106"/>
                <a:gd name="T27" fmla="*/ 48296 h 71"/>
                <a:gd name="T28" fmla="*/ 44450 w 106"/>
                <a:gd name="T29" fmla="*/ 50711 h 71"/>
                <a:gd name="T30" fmla="*/ 44031 w 106"/>
                <a:gd name="T31" fmla="*/ 53930 h 71"/>
                <a:gd name="T32" fmla="*/ 43192 w 106"/>
                <a:gd name="T33" fmla="*/ 55540 h 71"/>
                <a:gd name="T34" fmla="*/ 42353 w 106"/>
                <a:gd name="T35" fmla="*/ 56345 h 71"/>
                <a:gd name="T36" fmla="*/ 41095 w 106"/>
                <a:gd name="T37" fmla="*/ 56345 h 71"/>
                <a:gd name="T38" fmla="*/ 38579 w 106"/>
                <a:gd name="T39" fmla="*/ 56345 h 71"/>
                <a:gd name="T40" fmla="*/ 36483 w 106"/>
                <a:gd name="T41" fmla="*/ 54735 h 71"/>
                <a:gd name="T42" fmla="*/ 31031 w 106"/>
                <a:gd name="T43" fmla="*/ 56345 h 71"/>
                <a:gd name="T44" fmla="*/ 26418 w 106"/>
                <a:gd name="T45" fmla="*/ 57150 h 71"/>
                <a:gd name="T46" fmla="*/ 22225 w 106"/>
                <a:gd name="T47" fmla="*/ 55540 h 71"/>
                <a:gd name="T48" fmla="*/ 18870 w 106"/>
                <a:gd name="T49" fmla="*/ 53125 h 71"/>
                <a:gd name="T50" fmla="*/ 15516 w 106"/>
                <a:gd name="T51" fmla="*/ 49906 h 71"/>
                <a:gd name="T52" fmla="*/ 13419 w 106"/>
                <a:gd name="T53" fmla="*/ 45881 h 71"/>
                <a:gd name="T54" fmla="*/ 11322 w 106"/>
                <a:gd name="T55" fmla="*/ 41051 h 71"/>
                <a:gd name="T56" fmla="*/ 10064 w 106"/>
                <a:gd name="T57" fmla="*/ 36222 h 71"/>
                <a:gd name="T58" fmla="*/ 8806 w 106"/>
                <a:gd name="T59" fmla="*/ 30587 h 71"/>
                <a:gd name="T60" fmla="*/ 8387 w 106"/>
                <a:gd name="T61" fmla="*/ 24148 h 71"/>
                <a:gd name="T62" fmla="*/ 7967 w 106"/>
                <a:gd name="T63" fmla="*/ 19318 h 71"/>
                <a:gd name="T64" fmla="*/ 7548 w 106"/>
                <a:gd name="T65" fmla="*/ 15294 h 71"/>
                <a:gd name="T66" fmla="*/ 7548 w 106"/>
                <a:gd name="T67" fmla="*/ 11269 h 71"/>
                <a:gd name="T68" fmla="*/ 7967 w 106"/>
                <a:gd name="T69" fmla="*/ 8049 h 71"/>
                <a:gd name="T70" fmla="*/ 8387 w 106"/>
                <a:gd name="T71" fmla="*/ 5635 h 71"/>
                <a:gd name="T72" fmla="*/ 8806 w 106"/>
                <a:gd name="T73" fmla="*/ 5635 h 71"/>
                <a:gd name="T74" fmla="*/ 8387 w 106"/>
                <a:gd name="T75" fmla="*/ 8049 h 71"/>
                <a:gd name="T76" fmla="*/ 7967 w 106"/>
                <a:gd name="T77" fmla="*/ 12879 h 71"/>
                <a:gd name="T78" fmla="*/ 7967 w 106"/>
                <a:gd name="T79" fmla="*/ 13684 h 71"/>
                <a:gd name="T80" fmla="*/ 7967 w 106"/>
                <a:gd name="T81" fmla="*/ 13684 h 71"/>
                <a:gd name="T82" fmla="*/ 8387 w 106"/>
                <a:gd name="T83" fmla="*/ 13684 h 71"/>
                <a:gd name="T84" fmla="*/ 8806 w 106"/>
                <a:gd name="T85" fmla="*/ 13684 h 71"/>
                <a:gd name="T86" fmla="*/ 9645 w 106"/>
                <a:gd name="T87" fmla="*/ 10464 h 71"/>
                <a:gd name="T88" fmla="*/ 11322 w 106"/>
                <a:gd name="T89" fmla="*/ 5635 h 71"/>
                <a:gd name="T90" fmla="*/ 0 w 106"/>
                <a:gd name="T91" fmla="*/ 5635 h 7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586" name="Group 585">
              <a:extLst>
                <a:ext uri="{FF2B5EF4-FFF2-40B4-BE49-F238E27FC236}">
                  <a16:creationId xmlns:a16="http://schemas.microsoft.com/office/drawing/2014/main" id="{0EA4453A-DB25-41B2-94B4-EA00D78368FE}"/>
                </a:ext>
              </a:extLst>
            </p:cNvPr>
            <p:cNvGrpSpPr>
              <a:grpSpLocks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4230689" y="5295901"/>
              <a:ext cx="65087" cy="55563"/>
              <a:chOff x="1654" y="3671"/>
              <a:chExt cx="49" cy="17"/>
            </a:xfrm>
          </p:grpSpPr>
          <p:sp>
            <p:nvSpPr>
              <p:cNvPr id="1097" name="Freeform 39">
                <a:extLst>
                  <a:ext uri="{FF2B5EF4-FFF2-40B4-BE49-F238E27FC236}">
                    <a16:creationId xmlns:a16="http://schemas.microsoft.com/office/drawing/2014/main" id="{06558B24-A198-4005-A3B7-C82F0F2EC1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9 w 59"/>
                  <a:gd name="T1" fmla="*/ 14 h 43"/>
                  <a:gd name="T2" fmla="*/ 20 w 59"/>
                  <a:gd name="T3" fmla="*/ 6 h 43"/>
                  <a:gd name="T4" fmla="*/ 19 w 59"/>
                  <a:gd name="T5" fmla="*/ 5 h 43"/>
                  <a:gd name="T6" fmla="*/ 17 w 59"/>
                  <a:gd name="T7" fmla="*/ 3 h 43"/>
                  <a:gd name="T8" fmla="*/ 16 w 59"/>
                  <a:gd name="T9" fmla="*/ 2 h 43"/>
                  <a:gd name="T10" fmla="*/ 16 w 59"/>
                  <a:gd name="T11" fmla="*/ 0 h 43"/>
                  <a:gd name="T12" fmla="*/ 14 w 59"/>
                  <a:gd name="T13" fmla="*/ 0 h 43"/>
                  <a:gd name="T14" fmla="*/ 12 w 59"/>
                  <a:gd name="T15" fmla="*/ 1 h 43"/>
                  <a:gd name="T16" fmla="*/ 11 w 59"/>
                  <a:gd name="T17" fmla="*/ 2 h 43"/>
                  <a:gd name="T18" fmla="*/ 10 w 59"/>
                  <a:gd name="T19" fmla="*/ 3 h 43"/>
                  <a:gd name="T20" fmla="*/ 9 w 59"/>
                  <a:gd name="T21" fmla="*/ 3 h 43"/>
                  <a:gd name="T22" fmla="*/ 9 w 59"/>
                  <a:gd name="T23" fmla="*/ 4 h 43"/>
                  <a:gd name="T24" fmla="*/ 7 w 59"/>
                  <a:gd name="T25" fmla="*/ 4 h 43"/>
                  <a:gd name="T26" fmla="*/ 4 w 59"/>
                  <a:gd name="T27" fmla="*/ 5 h 43"/>
                  <a:gd name="T28" fmla="*/ 2 w 59"/>
                  <a:gd name="T29" fmla="*/ 7 h 43"/>
                  <a:gd name="T30" fmla="*/ 0 w 59"/>
                  <a:gd name="T31" fmla="*/ 8 h 43"/>
                  <a:gd name="T32" fmla="*/ 2 w 59"/>
                  <a:gd name="T33" fmla="*/ 9 h 43"/>
                  <a:gd name="T34" fmla="*/ 3 w 59"/>
                  <a:gd name="T35" fmla="*/ 11 h 43"/>
                  <a:gd name="T36" fmla="*/ 6 w 59"/>
                  <a:gd name="T37" fmla="*/ 13 h 43"/>
                  <a:gd name="T38" fmla="*/ 9 w 59"/>
                  <a:gd name="T39" fmla="*/ 14 h 4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8" name="Freeform 40">
                <a:extLst>
                  <a:ext uri="{FF2B5EF4-FFF2-40B4-BE49-F238E27FC236}">
                    <a16:creationId xmlns:a16="http://schemas.microsoft.com/office/drawing/2014/main" id="{D84BDA78-DC6F-40CB-A127-7AAED79DA1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1 h 51"/>
                  <a:gd name="T2" fmla="*/ 8 w 67"/>
                  <a:gd name="T3" fmla="*/ 0 h 51"/>
                  <a:gd name="T4" fmla="*/ 13 w 67"/>
                  <a:gd name="T5" fmla="*/ 0 h 51"/>
                  <a:gd name="T6" fmla="*/ 15 w 67"/>
                  <a:gd name="T7" fmla="*/ 0 h 51"/>
                  <a:gd name="T8" fmla="*/ 17 w 67"/>
                  <a:gd name="T9" fmla="*/ 1 h 51"/>
                  <a:gd name="T10" fmla="*/ 19 w 67"/>
                  <a:gd name="T11" fmla="*/ 1 h 51"/>
                  <a:gd name="T12" fmla="*/ 22 w 67"/>
                  <a:gd name="T13" fmla="*/ 3 h 51"/>
                  <a:gd name="T14" fmla="*/ 18 w 67"/>
                  <a:gd name="T15" fmla="*/ 4 h 51"/>
                  <a:gd name="T16" fmla="*/ 15 w 67"/>
                  <a:gd name="T17" fmla="*/ 6 h 51"/>
                  <a:gd name="T18" fmla="*/ 14 w 67"/>
                  <a:gd name="T19" fmla="*/ 7 h 51"/>
                  <a:gd name="T20" fmla="*/ 12 w 67"/>
                  <a:gd name="T21" fmla="*/ 8 h 51"/>
                  <a:gd name="T22" fmla="*/ 10 w 67"/>
                  <a:gd name="T23" fmla="*/ 9 h 51"/>
                  <a:gd name="T24" fmla="*/ 7 w 67"/>
                  <a:gd name="T25" fmla="*/ 9 h 51"/>
                  <a:gd name="T26" fmla="*/ 8 w 67"/>
                  <a:gd name="T27" fmla="*/ 9 h 51"/>
                  <a:gd name="T28" fmla="*/ 11 w 67"/>
                  <a:gd name="T29" fmla="*/ 9 h 51"/>
                  <a:gd name="T30" fmla="*/ 10 w 67"/>
                  <a:gd name="T31" fmla="*/ 11 h 51"/>
                  <a:gd name="T32" fmla="*/ 8 w 67"/>
                  <a:gd name="T33" fmla="*/ 13 h 51"/>
                  <a:gd name="T34" fmla="*/ 7 w 67"/>
                  <a:gd name="T35" fmla="*/ 15 h 51"/>
                  <a:gd name="T36" fmla="*/ 7 w 67"/>
                  <a:gd name="T37" fmla="*/ 15 h 51"/>
                  <a:gd name="T38" fmla="*/ 4 w 67"/>
                  <a:gd name="T39" fmla="*/ 16 h 51"/>
                  <a:gd name="T40" fmla="*/ 0 w 67"/>
                  <a:gd name="T41" fmla="*/ 17 h 51"/>
                  <a:gd name="T42" fmla="*/ 0 w 67"/>
                  <a:gd name="T43" fmla="*/ 1 h 5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587" name="Freeform 41">
              <a:extLst>
                <a:ext uri="{FF2B5EF4-FFF2-40B4-BE49-F238E27FC236}">
                  <a16:creationId xmlns:a16="http://schemas.microsoft.com/office/drawing/2014/main" id="{F7BDA08B-10BE-4741-A6DD-7DD634AD0E5A}"/>
                </a:ext>
              </a:extLst>
            </p:cNvPr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3878263" y="3090864"/>
              <a:ext cx="31750" cy="58737"/>
            </a:xfrm>
            <a:custGeom>
              <a:avLst/>
              <a:gdLst>
                <a:gd name="T0" fmla="*/ 0 w 80"/>
                <a:gd name="T1" fmla="*/ 25913 h 34"/>
                <a:gd name="T2" fmla="*/ 397 w 80"/>
                <a:gd name="T3" fmla="*/ 32824 h 34"/>
                <a:gd name="T4" fmla="*/ 794 w 80"/>
                <a:gd name="T5" fmla="*/ 36279 h 34"/>
                <a:gd name="T6" fmla="*/ 1588 w 80"/>
                <a:gd name="T7" fmla="*/ 41461 h 34"/>
                <a:gd name="T8" fmla="*/ 2778 w 80"/>
                <a:gd name="T9" fmla="*/ 44917 h 34"/>
                <a:gd name="T10" fmla="*/ 5159 w 80"/>
                <a:gd name="T11" fmla="*/ 50099 h 34"/>
                <a:gd name="T12" fmla="*/ 8731 w 80"/>
                <a:gd name="T13" fmla="*/ 53554 h 34"/>
                <a:gd name="T14" fmla="*/ 15875 w 80"/>
                <a:gd name="T15" fmla="*/ 57009 h 34"/>
                <a:gd name="T16" fmla="*/ 21431 w 80"/>
                <a:gd name="T17" fmla="*/ 58737 h 34"/>
                <a:gd name="T18" fmla="*/ 23019 w 80"/>
                <a:gd name="T19" fmla="*/ 57009 h 34"/>
                <a:gd name="T20" fmla="*/ 24606 w 80"/>
                <a:gd name="T21" fmla="*/ 55282 h 34"/>
                <a:gd name="T22" fmla="*/ 25797 w 80"/>
                <a:gd name="T23" fmla="*/ 50099 h 34"/>
                <a:gd name="T24" fmla="*/ 26591 w 80"/>
                <a:gd name="T25" fmla="*/ 46644 h 34"/>
                <a:gd name="T26" fmla="*/ 28972 w 80"/>
                <a:gd name="T27" fmla="*/ 36279 h 34"/>
                <a:gd name="T28" fmla="*/ 31750 w 80"/>
                <a:gd name="T29" fmla="*/ 25913 h 34"/>
                <a:gd name="T30" fmla="*/ 29766 w 80"/>
                <a:gd name="T31" fmla="*/ 17276 h 34"/>
                <a:gd name="T32" fmla="*/ 27781 w 80"/>
                <a:gd name="T33" fmla="*/ 12093 h 34"/>
                <a:gd name="T34" fmla="*/ 25797 w 80"/>
                <a:gd name="T35" fmla="*/ 6910 h 34"/>
                <a:gd name="T36" fmla="*/ 23813 w 80"/>
                <a:gd name="T37" fmla="*/ 3455 h 34"/>
                <a:gd name="T38" fmla="*/ 21828 w 80"/>
                <a:gd name="T39" fmla="*/ 0 h 34"/>
                <a:gd name="T40" fmla="*/ 20241 w 80"/>
                <a:gd name="T41" fmla="*/ 0 h 34"/>
                <a:gd name="T42" fmla="*/ 17859 w 80"/>
                <a:gd name="T43" fmla="*/ 1728 h 34"/>
                <a:gd name="T44" fmla="*/ 16272 w 80"/>
                <a:gd name="T45" fmla="*/ 3455 h 34"/>
                <a:gd name="T46" fmla="*/ 13494 w 80"/>
                <a:gd name="T47" fmla="*/ 3455 h 34"/>
                <a:gd name="T48" fmla="*/ 8334 w 80"/>
                <a:gd name="T49" fmla="*/ 3455 h 34"/>
                <a:gd name="T50" fmla="*/ 5159 w 80"/>
                <a:gd name="T51" fmla="*/ 5183 h 34"/>
                <a:gd name="T52" fmla="*/ 2778 w 80"/>
                <a:gd name="T53" fmla="*/ 8638 h 34"/>
                <a:gd name="T54" fmla="*/ 1588 w 80"/>
                <a:gd name="T55" fmla="*/ 12093 h 34"/>
                <a:gd name="T56" fmla="*/ 794 w 80"/>
                <a:gd name="T57" fmla="*/ 15548 h 34"/>
                <a:gd name="T58" fmla="*/ 397 w 80"/>
                <a:gd name="T59" fmla="*/ 19003 h 34"/>
                <a:gd name="T60" fmla="*/ 0 w 80"/>
                <a:gd name="T61" fmla="*/ 25913 h 3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8" name="Freeform 42">
              <a:extLst>
                <a:ext uri="{FF2B5EF4-FFF2-40B4-BE49-F238E27FC236}">
                  <a16:creationId xmlns:a16="http://schemas.microsoft.com/office/drawing/2014/main" id="{C711E19C-5BF1-4D74-97E5-43EB9974CD46}"/>
                </a:ext>
              </a:extLst>
            </p:cNvPr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3933825" y="3097214"/>
              <a:ext cx="1588" cy="58737"/>
            </a:xfrm>
            <a:custGeom>
              <a:avLst/>
              <a:gdLst>
                <a:gd name="T0" fmla="*/ 0 w 7"/>
                <a:gd name="T1" fmla="*/ 0 h 13"/>
                <a:gd name="T2" fmla="*/ 1588 w 7"/>
                <a:gd name="T3" fmla="*/ 58737 h 13"/>
                <a:gd name="T4" fmla="*/ 1588 w 7"/>
                <a:gd name="T5" fmla="*/ 31628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9" name="Freeform 43">
              <a:extLst>
                <a:ext uri="{FF2B5EF4-FFF2-40B4-BE49-F238E27FC236}">
                  <a16:creationId xmlns:a16="http://schemas.microsoft.com/office/drawing/2014/main" id="{A43218E2-4AFB-4D58-9C70-A17315F55B67}"/>
                </a:ext>
              </a:extLst>
            </p:cNvPr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3946525" y="3098800"/>
              <a:ext cx="6350" cy="58738"/>
            </a:xfrm>
            <a:custGeom>
              <a:avLst/>
              <a:gdLst>
                <a:gd name="T0" fmla="*/ 0 w 20"/>
                <a:gd name="T1" fmla="*/ 0 h 6"/>
                <a:gd name="T2" fmla="*/ 2223 w 20"/>
                <a:gd name="T3" fmla="*/ 29369 h 6"/>
                <a:gd name="T4" fmla="*/ 6350 w 20"/>
                <a:gd name="T5" fmla="*/ 58738 h 6"/>
                <a:gd name="T6" fmla="*/ 0 w 20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0" name="Freeform 44">
              <a:extLst>
                <a:ext uri="{FF2B5EF4-FFF2-40B4-BE49-F238E27FC236}">
                  <a16:creationId xmlns:a16="http://schemas.microsoft.com/office/drawing/2014/main" id="{3D59C44F-0C2A-4961-A3BC-499CD1CF29E6}"/>
                </a:ext>
              </a:extLst>
            </p:cNvPr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3960814" y="3089275"/>
              <a:ext cx="7937" cy="57150"/>
            </a:xfrm>
            <a:custGeom>
              <a:avLst/>
              <a:gdLst>
                <a:gd name="T0" fmla="*/ 0 w 14"/>
                <a:gd name="T1" fmla="*/ 57150 h 12"/>
                <a:gd name="T2" fmla="*/ 7937 w 14"/>
                <a:gd name="T3" fmla="*/ 0 h 12"/>
                <a:gd name="T4" fmla="*/ 0 w 14"/>
                <a:gd name="T5" fmla="*/ 57150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1" name="Freeform 45">
              <a:extLst>
                <a:ext uri="{FF2B5EF4-FFF2-40B4-BE49-F238E27FC236}">
                  <a16:creationId xmlns:a16="http://schemas.microsoft.com/office/drawing/2014/main" id="{4D5A37E0-B8E0-4F60-84B7-7AA0B99ED99B}"/>
                </a:ext>
              </a:extLst>
            </p:cNvPr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3940176" y="3081339"/>
              <a:ext cx="11113" cy="58737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33564 h 7"/>
                <a:gd name="T4" fmla="*/ 823 w 27"/>
                <a:gd name="T5" fmla="*/ 50346 h 7"/>
                <a:gd name="T6" fmla="*/ 2881 w 27"/>
                <a:gd name="T7" fmla="*/ 58737 h 7"/>
                <a:gd name="T8" fmla="*/ 4116 w 27"/>
                <a:gd name="T9" fmla="*/ 58737 h 7"/>
                <a:gd name="T10" fmla="*/ 6174 w 27"/>
                <a:gd name="T11" fmla="*/ 50346 h 7"/>
                <a:gd name="T12" fmla="*/ 7820 w 27"/>
                <a:gd name="T13" fmla="*/ 33564 h 7"/>
                <a:gd name="T14" fmla="*/ 9467 w 27"/>
                <a:gd name="T15" fmla="*/ 16782 h 7"/>
                <a:gd name="T16" fmla="*/ 11113 w 27"/>
                <a:gd name="T17" fmla="*/ 0 h 7"/>
                <a:gd name="T18" fmla="*/ 0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2" name="Freeform 46">
              <a:extLst>
                <a:ext uri="{FF2B5EF4-FFF2-40B4-BE49-F238E27FC236}">
                  <a16:creationId xmlns:a16="http://schemas.microsoft.com/office/drawing/2014/main" id="{9758BE39-99FB-4370-A84D-3749A924751D}"/>
                </a:ext>
              </a:extLst>
            </p:cNvPr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3989389" y="3109914"/>
              <a:ext cx="14287" cy="60325"/>
            </a:xfrm>
            <a:custGeom>
              <a:avLst/>
              <a:gdLst>
                <a:gd name="T0" fmla="*/ 0 w 27"/>
                <a:gd name="T1" fmla="*/ 0 h 6"/>
                <a:gd name="T2" fmla="*/ 5821 w 27"/>
                <a:gd name="T3" fmla="*/ 30163 h 6"/>
                <a:gd name="T4" fmla="*/ 14287 w 27"/>
                <a:gd name="T5" fmla="*/ 60325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3" name="Line 47">
              <a:extLst>
                <a:ext uri="{FF2B5EF4-FFF2-40B4-BE49-F238E27FC236}">
                  <a16:creationId xmlns:a16="http://schemas.microsoft.com/office/drawing/2014/main" id="{9B207A72-F2B2-4C3D-99D4-E6A76FD354E2}"/>
                </a:ext>
              </a:extLst>
            </p:cNvPr>
            <p:cNvSpPr>
              <a:spLocks noChangeShapeType="1"/>
            </p:cNvSpPr>
            <p:nvPr>
              <p:custDataLst>
                <p:tags r:id="rId40"/>
              </p:custDataLst>
            </p:nvPr>
          </p:nvSpPr>
          <p:spPr bwMode="auto">
            <a:xfrm flipH="1" flipV="1">
              <a:off x="3997325" y="3106739"/>
              <a:ext cx="6350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94" name="Line 48">
              <a:extLst>
                <a:ext uri="{FF2B5EF4-FFF2-40B4-BE49-F238E27FC236}">
                  <a16:creationId xmlns:a16="http://schemas.microsoft.com/office/drawing/2014/main" id="{EF2CF2D0-99BB-405C-8934-F687DB8E7D6B}"/>
                </a:ext>
              </a:extLst>
            </p:cNvPr>
            <p:cNvSpPr>
              <a:spLocks noChangeShapeType="1"/>
            </p:cNvSpPr>
            <p:nvPr>
              <p:custDataLst>
                <p:tags r:id="rId41"/>
              </p:custDataLst>
            </p:nvPr>
          </p:nvSpPr>
          <p:spPr bwMode="auto">
            <a:xfrm flipH="1">
              <a:off x="3997325" y="3132138"/>
              <a:ext cx="6350" cy="1111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95" name="Freeform 49">
              <a:extLst>
                <a:ext uri="{FF2B5EF4-FFF2-40B4-BE49-F238E27FC236}">
                  <a16:creationId xmlns:a16="http://schemas.microsoft.com/office/drawing/2014/main" id="{E9177CB3-0D2D-4BBA-84D2-D4BDD4D98C9A}"/>
                </a:ext>
              </a:extLst>
            </p:cNvPr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3997326" y="3127375"/>
              <a:ext cx="11113" cy="58738"/>
            </a:xfrm>
            <a:custGeom>
              <a:avLst/>
              <a:gdLst>
                <a:gd name="T0" fmla="*/ 0 w 20"/>
                <a:gd name="T1" fmla="*/ 58738 h 24"/>
                <a:gd name="T2" fmla="*/ 1111 w 20"/>
                <a:gd name="T3" fmla="*/ 58738 h 24"/>
                <a:gd name="T4" fmla="*/ 3334 w 20"/>
                <a:gd name="T5" fmla="*/ 53843 h 24"/>
                <a:gd name="T6" fmla="*/ 5001 w 20"/>
                <a:gd name="T7" fmla="*/ 48948 h 24"/>
                <a:gd name="T8" fmla="*/ 6668 w 20"/>
                <a:gd name="T9" fmla="*/ 39159 h 24"/>
                <a:gd name="T10" fmla="*/ 8335 w 20"/>
                <a:gd name="T11" fmla="*/ 31816 h 24"/>
                <a:gd name="T12" fmla="*/ 10002 w 20"/>
                <a:gd name="T13" fmla="*/ 22027 h 24"/>
                <a:gd name="T14" fmla="*/ 10557 w 20"/>
                <a:gd name="T15" fmla="*/ 9790 h 24"/>
                <a:gd name="T16" fmla="*/ 11113 w 20"/>
                <a:gd name="T17" fmla="*/ 0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6" name="Freeform 50">
              <a:extLst>
                <a:ext uri="{FF2B5EF4-FFF2-40B4-BE49-F238E27FC236}">
                  <a16:creationId xmlns:a16="http://schemas.microsoft.com/office/drawing/2014/main" id="{4D38C35F-7F8A-4D13-990F-DB30EEF5AC06}"/>
                </a:ext>
              </a:extLst>
            </p:cNvPr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4003676" y="3155951"/>
              <a:ext cx="17463" cy="55563"/>
            </a:xfrm>
            <a:custGeom>
              <a:avLst/>
              <a:gdLst>
                <a:gd name="T0" fmla="*/ 6879 w 33"/>
                <a:gd name="T1" fmla="*/ 15558 h 25"/>
                <a:gd name="T2" fmla="*/ 0 w 33"/>
                <a:gd name="T3" fmla="*/ 42228 h 25"/>
                <a:gd name="T4" fmla="*/ 5292 w 33"/>
                <a:gd name="T5" fmla="*/ 44450 h 25"/>
                <a:gd name="T6" fmla="*/ 10054 w 33"/>
                <a:gd name="T7" fmla="*/ 48895 h 25"/>
                <a:gd name="T8" fmla="*/ 14288 w 33"/>
                <a:gd name="T9" fmla="*/ 55563 h 25"/>
                <a:gd name="T10" fmla="*/ 17463 w 33"/>
                <a:gd name="T11" fmla="*/ 55563 h 25"/>
                <a:gd name="T12" fmla="*/ 17463 w 33"/>
                <a:gd name="T13" fmla="*/ 0 h 25"/>
                <a:gd name="T14" fmla="*/ 14288 w 33"/>
                <a:gd name="T15" fmla="*/ 0 h 25"/>
                <a:gd name="T16" fmla="*/ 6879 w 33"/>
                <a:gd name="T17" fmla="*/ 15558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7" name="Freeform 51">
              <a:extLst>
                <a:ext uri="{FF2B5EF4-FFF2-40B4-BE49-F238E27FC236}">
                  <a16:creationId xmlns:a16="http://schemas.microsoft.com/office/drawing/2014/main" id="{8B05619F-BFC1-4FA0-835F-5D0B6BBE405E}"/>
                </a:ext>
              </a:extLst>
            </p:cNvPr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4010026" y="3203575"/>
              <a:ext cx="15875" cy="57150"/>
            </a:xfrm>
            <a:custGeom>
              <a:avLst/>
              <a:gdLst>
                <a:gd name="T0" fmla="*/ 0 w 40"/>
                <a:gd name="T1" fmla="*/ 0 h 18"/>
                <a:gd name="T2" fmla="*/ 1191 w 40"/>
                <a:gd name="T3" fmla="*/ 19050 h 18"/>
                <a:gd name="T4" fmla="*/ 2381 w 40"/>
                <a:gd name="T5" fmla="*/ 34925 h 18"/>
                <a:gd name="T6" fmla="*/ 3969 w 40"/>
                <a:gd name="T7" fmla="*/ 44450 h 18"/>
                <a:gd name="T8" fmla="*/ 5953 w 40"/>
                <a:gd name="T9" fmla="*/ 50800 h 18"/>
                <a:gd name="T10" fmla="*/ 10716 w 40"/>
                <a:gd name="T11" fmla="*/ 57150 h 18"/>
                <a:gd name="T12" fmla="*/ 15875 w 40"/>
                <a:gd name="T13" fmla="*/ 57150 h 18"/>
                <a:gd name="T14" fmla="*/ 15875 w 40"/>
                <a:gd name="T15" fmla="*/ 0 h 18"/>
                <a:gd name="T16" fmla="*/ 11906 w 40"/>
                <a:gd name="T17" fmla="*/ 0 h 18"/>
                <a:gd name="T18" fmla="*/ 7938 w 40"/>
                <a:gd name="T19" fmla="*/ 0 h 18"/>
                <a:gd name="T20" fmla="*/ 3969 w 40"/>
                <a:gd name="T21" fmla="*/ 0 h 18"/>
                <a:gd name="T22" fmla="*/ 0 w 4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8" name="Freeform 52">
              <a:extLst>
                <a:ext uri="{FF2B5EF4-FFF2-40B4-BE49-F238E27FC236}">
                  <a16:creationId xmlns:a16="http://schemas.microsoft.com/office/drawing/2014/main" id="{23D49950-E483-4B8F-BB59-B2F59CE0EFDF}"/>
                </a:ext>
              </a:extLst>
            </p:cNvPr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4019551" y="3228975"/>
              <a:ext cx="3175" cy="57150"/>
            </a:xfrm>
            <a:custGeom>
              <a:avLst/>
              <a:gdLst>
                <a:gd name="T0" fmla="*/ 1155 w 11"/>
                <a:gd name="T1" fmla="*/ 57150 h 32"/>
                <a:gd name="T2" fmla="*/ 1732 w 11"/>
                <a:gd name="T3" fmla="*/ 50006 h 32"/>
                <a:gd name="T4" fmla="*/ 2309 w 11"/>
                <a:gd name="T5" fmla="*/ 44648 h 32"/>
                <a:gd name="T6" fmla="*/ 2598 w 11"/>
                <a:gd name="T7" fmla="*/ 39291 h 32"/>
                <a:gd name="T8" fmla="*/ 2886 w 11"/>
                <a:gd name="T9" fmla="*/ 32147 h 32"/>
                <a:gd name="T10" fmla="*/ 3175 w 11"/>
                <a:gd name="T11" fmla="*/ 16073 h 32"/>
                <a:gd name="T12" fmla="*/ 3175 w 11"/>
                <a:gd name="T13" fmla="*/ 0 h 32"/>
                <a:gd name="T14" fmla="*/ 1732 w 11"/>
                <a:gd name="T15" fmla="*/ 5358 h 32"/>
                <a:gd name="T16" fmla="*/ 866 w 11"/>
                <a:gd name="T17" fmla="*/ 12502 h 32"/>
                <a:gd name="T18" fmla="*/ 289 w 11"/>
                <a:gd name="T19" fmla="*/ 19645 h 32"/>
                <a:gd name="T20" fmla="*/ 0 w 11"/>
                <a:gd name="T21" fmla="*/ 28575 h 32"/>
                <a:gd name="T22" fmla="*/ 0 w 11"/>
                <a:gd name="T23" fmla="*/ 35719 h 32"/>
                <a:gd name="T24" fmla="*/ 289 w 11"/>
                <a:gd name="T25" fmla="*/ 42863 h 32"/>
                <a:gd name="T26" fmla="*/ 577 w 11"/>
                <a:gd name="T27" fmla="*/ 50006 h 32"/>
                <a:gd name="T28" fmla="*/ 1155 w 11"/>
                <a:gd name="T29" fmla="*/ 57150 h 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9" name="Freeform 53">
              <a:extLst>
                <a:ext uri="{FF2B5EF4-FFF2-40B4-BE49-F238E27FC236}">
                  <a16:creationId xmlns:a16="http://schemas.microsoft.com/office/drawing/2014/main" id="{4BF5E33D-F05F-4F41-9E0D-33F53C51324C}"/>
                </a:ext>
              </a:extLst>
            </p:cNvPr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4041775" y="3259138"/>
              <a:ext cx="1588" cy="55562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55562 h 24"/>
                <a:gd name="T4" fmla="*/ 1588 w 14"/>
                <a:gd name="T5" fmla="*/ 27781 h 24"/>
                <a:gd name="T6" fmla="*/ 0 w 14"/>
                <a:gd name="T7" fmla="*/ 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0" name="Freeform 54">
              <a:extLst>
                <a:ext uri="{FF2B5EF4-FFF2-40B4-BE49-F238E27FC236}">
                  <a16:creationId xmlns:a16="http://schemas.microsoft.com/office/drawing/2014/main" id="{7DB7CC2D-91B2-45B2-80AC-2057058064D0}"/>
                </a:ext>
              </a:extLst>
            </p:cNvPr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4003676" y="3271839"/>
              <a:ext cx="15875" cy="58737"/>
            </a:xfrm>
            <a:custGeom>
              <a:avLst/>
              <a:gdLst>
                <a:gd name="T0" fmla="*/ 0 w 27"/>
                <a:gd name="T1" fmla="*/ 39158 h 18"/>
                <a:gd name="T2" fmla="*/ 4116 w 27"/>
                <a:gd name="T3" fmla="*/ 48948 h 18"/>
                <a:gd name="T4" fmla="*/ 7644 w 27"/>
                <a:gd name="T5" fmla="*/ 58737 h 18"/>
                <a:gd name="T6" fmla="*/ 12935 w 27"/>
                <a:gd name="T7" fmla="*/ 22842 h 18"/>
                <a:gd name="T8" fmla="*/ 15875 w 27"/>
                <a:gd name="T9" fmla="*/ 0 h 18"/>
                <a:gd name="T10" fmla="*/ 12935 w 27"/>
                <a:gd name="T11" fmla="*/ 0 h 18"/>
                <a:gd name="T12" fmla="*/ 10583 w 27"/>
                <a:gd name="T13" fmla="*/ 3263 h 18"/>
                <a:gd name="T14" fmla="*/ 7644 w 27"/>
                <a:gd name="T15" fmla="*/ 6526 h 18"/>
                <a:gd name="T16" fmla="*/ 5880 w 27"/>
                <a:gd name="T17" fmla="*/ 13053 h 18"/>
                <a:gd name="T18" fmla="*/ 2940 w 27"/>
                <a:gd name="T19" fmla="*/ 26105 h 18"/>
                <a:gd name="T20" fmla="*/ 0 w 27"/>
                <a:gd name="T21" fmla="*/ 39158 h 1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1" name="Freeform 55">
              <a:extLst>
                <a:ext uri="{FF2B5EF4-FFF2-40B4-BE49-F238E27FC236}">
                  <a16:creationId xmlns:a16="http://schemas.microsoft.com/office/drawing/2014/main" id="{983A68D9-3E1D-4B6F-8098-F04669FB140C}"/>
                </a:ext>
              </a:extLst>
            </p:cNvPr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3989388" y="3336925"/>
              <a:ext cx="23812" cy="57150"/>
            </a:xfrm>
            <a:custGeom>
              <a:avLst/>
              <a:gdLst>
                <a:gd name="T0" fmla="*/ 0 w 47"/>
                <a:gd name="T1" fmla="*/ 41988 h 49"/>
                <a:gd name="T2" fmla="*/ 507 w 47"/>
                <a:gd name="T3" fmla="*/ 45487 h 49"/>
                <a:gd name="T4" fmla="*/ 1013 w 47"/>
                <a:gd name="T5" fmla="*/ 47819 h 49"/>
                <a:gd name="T6" fmla="*/ 2027 w 47"/>
                <a:gd name="T7" fmla="*/ 50152 h 49"/>
                <a:gd name="T8" fmla="*/ 3040 w 47"/>
                <a:gd name="T9" fmla="*/ 52485 h 49"/>
                <a:gd name="T10" fmla="*/ 6080 w 47"/>
                <a:gd name="T11" fmla="*/ 55984 h 49"/>
                <a:gd name="T12" fmla="*/ 7093 w 47"/>
                <a:gd name="T13" fmla="*/ 57150 h 49"/>
                <a:gd name="T14" fmla="*/ 9119 w 47"/>
                <a:gd name="T15" fmla="*/ 57150 h 49"/>
                <a:gd name="T16" fmla="*/ 12159 w 47"/>
                <a:gd name="T17" fmla="*/ 53651 h 49"/>
                <a:gd name="T18" fmla="*/ 14693 w 47"/>
                <a:gd name="T19" fmla="*/ 48986 h 49"/>
                <a:gd name="T20" fmla="*/ 17732 w 47"/>
                <a:gd name="T21" fmla="*/ 45487 h 49"/>
                <a:gd name="T22" fmla="*/ 19759 w 47"/>
                <a:gd name="T23" fmla="*/ 40821 h 49"/>
                <a:gd name="T24" fmla="*/ 22292 w 47"/>
                <a:gd name="T25" fmla="*/ 36156 h 49"/>
                <a:gd name="T26" fmla="*/ 23305 w 47"/>
                <a:gd name="T27" fmla="*/ 31491 h 49"/>
                <a:gd name="T28" fmla="*/ 23812 w 47"/>
                <a:gd name="T29" fmla="*/ 27992 h 49"/>
                <a:gd name="T30" fmla="*/ 23812 w 47"/>
                <a:gd name="T31" fmla="*/ 13996 h 49"/>
                <a:gd name="T32" fmla="*/ 23812 w 47"/>
                <a:gd name="T33" fmla="*/ 0 h 49"/>
                <a:gd name="T34" fmla="*/ 13679 w 47"/>
                <a:gd name="T35" fmla="*/ 0 h 49"/>
                <a:gd name="T36" fmla="*/ 8613 w 47"/>
                <a:gd name="T37" fmla="*/ 9331 h 49"/>
                <a:gd name="T38" fmla="*/ 4560 w 47"/>
                <a:gd name="T39" fmla="*/ 18661 h 49"/>
                <a:gd name="T40" fmla="*/ 2533 w 47"/>
                <a:gd name="T41" fmla="*/ 23327 h 49"/>
                <a:gd name="T42" fmla="*/ 1013 w 47"/>
                <a:gd name="T43" fmla="*/ 29158 h 49"/>
                <a:gd name="T44" fmla="*/ 507 w 47"/>
                <a:gd name="T45" fmla="*/ 34990 h 49"/>
                <a:gd name="T46" fmla="*/ 0 w 47"/>
                <a:gd name="T47" fmla="*/ 41988 h 4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2" name="Freeform 56">
              <a:extLst>
                <a:ext uri="{FF2B5EF4-FFF2-40B4-BE49-F238E27FC236}">
                  <a16:creationId xmlns:a16="http://schemas.microsoft.com/office/drawing/2014/main" id="{691D18C6-413A-4D58-9A24-B5E2EC1DDABE}"/>
                </a:ext>
              </a:extLst>
            </p:cNvPr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4008438" y="3313113"/>
              <a:ext cx="12700" cy="57150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25400 h 9"/>
                <a:gd name="T4" fmla="*/ 1465 w 26"/>
                <a:gd name="T5" fmla="*/ 44450 h 9"/>
                <a:gd name="T6" fmla="*/ 2931 w 26"/>
                <a:gd name="T7" fmla="*/ 50800 h 9"/>
                <a:gd name="T8" fmla="*/ 5373 w 26"/>
                <a:gd name="T9" fmla="*/ 57150 h 9"/>
                <a:gd name="T10" fmla="*/ 7327 w 26"/>
                <a:gd name="T11" fmla="*/ 50800 h 9"/>
                <a:gd name="T12" fmla="*/ 9769 w 26"/>
                <a:gd name="T13" fmla="*/ 44450 h 9"/>
                <a:gd name="T14" fmla="*/ 11235 w 26"/>
                <a:gd name="T15" fmla="*/ 25400 h 9"/>
                <a:gd name="T16" fmla="*/ 12700 w 26"/>
                <a:gd name="T17" fmla="*/ 0 h 9"/>
                <a:gd name="T18" fmla="*/ 0 w 26"/>
                <a:gd name="T19" fmla="*/ 0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3" name="Freeform 57">
              <a:extLst>
                <a:ext uri="{FF2B5EF4-FFF2-40B4-BE49-F238E27FC236}">
                  <a16:creationId xmlns:a16="http://schemas.microsoft.com/office/drawing/2014/main" id="{7E394A42-9147-4BA7-B41A-AA4E2E7B1002}"/>
                </a:ext>
              </a:extLst>
            </p:cNvPr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3490914" y="2984500"/>
              <a:ext cx="15875" cy="57150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57150 h 18"/>
                <a:gd name="T4" fmla="*/ 2442 w 39"/>
                <a:gd name="T5" fmla="*/ 57150 h 18"/>
                <a:gd name="T6" fmla="*/ 5292 w 39"/>
                <a:gd name="T7" fmla="*/ 57150 h 18"/>
                <a:gd name="T8" fmla="*/ 9362 w 39"/>
                <a:gd name="T9" fmla="*/ 53975 h 18"/>
                <a:gd name="T10" fmla="*/ 12212 w 39"/>
                <a:gd name="T11" fmla="*/ 44450 h 18"/>
                <a:gd name="T12" fmla="*/ 13840 w 39"/>
                <a:gd name="T13" fmla="*/ 38100 h 18"/>
                <a:gd name="T14" fmla="*/ 15061 w 39"/>
                <a:gd name="T15" fmla="*/ 31750 h 18"/>
                <a:gd name="T16" fmla="*/ 15468 w 39"/>
                <a:gd name="T17" fmla="*/ 25400 h 18"/>
                <a:gd name="T18" fmla="*/ 15875 w 39"/>
                <a:gd name="T19" fmla="*/ 19050 h 18"/>
                <a:gd name="T20" fmla="*/ 11804 w 39"/>
                <a:gd name="T21" fmla="*/ 15875 h 18"/>
                <a:gd name="T22" fmla="*/ 7734 w 39"/>
                <a:gd name="T23" fmla="*/ 9525 h 18"/>
                <a:gd name="T24" fmla="*/ 4071 w 39"/>
                <a:gd name="T25" fmla="*/ 0 h 18"/>
                <a:gd name="T26" fmla="*/ 0 w 39"/>
                <a:gd name="T27" fmla="*/ 0 h 1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604" name="Group 58">
              <a:extLst>
                <a:ext uri="{FF2B5EF4-FFF2-40B4-BE49-F238E27FC236}">
                  <a16:creationId xmlns:a16="http://schemas.microsoft.com/office/drawing/2014/main" id="{68D807A5-0F7F-4527-8A74-2BDCEE9DFB9F}"/>
                </a:ext>
              </a:extLst>
            </p:cNvPr>
            <p:cNvGrpSpPr>
              <a:grpSpLocks/>
            </p:cNvGrpSpPr>
            <p:nvPr>
              <p:custDataLst>
                <p:tags r:id="rId51"/>
              </p:custDataLst>
            </p:nvPr>
          </p:nvGrpSpPr>
          <p:grpSpPr bwMode="auto">
            <a:xfrm>
              <a:off x="3616326" y="2817813"/>
              <a:ext cx="131763" cy="195262"/>
              <a:chOff x="1199" y="2121"/>
              <a:chExt cx="97" cy="123"/>
            </a:xfrm>
          </p:grpSpPr>
          <p:sp>
            <p:nvSpPr>
              <p:cNvPr id="1087" name="Freeform 59">
                <a:extLst>
                  <a:ext uri="{FF2B5EF4-FFF2-40B4-BE49-F238E27FC236}">
                    <a16:creationId xmlns:a16="http://schemas.microsoft.com/office/drawing/2014/main" id="{58A11712-7698-4D70-AEC8-46420CEDBE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8 h 25"/>
                  <a:gd name="T2" fmla="*/ 2 w 52"/>
                  <a:gd name="T3" fmla="*/ 8 h 25"/>
                  <a:gd name="T4" fmla="*/ 5 w 52"/>
                  <a:gd name="T5" fmla="*/ 8 h 25"/>
                  <a:gd name="T6" fmla="*/ 7 w 52"/>
                  <a:gd name="T7" fmla="*/ 7 h 25"/>
                  <a:gd name="T8" fmla="*/ 9 w 52"/>
                  <a:gd name="T9" fmla="*/ 6 h 25"/>
                  <a:gd name="T10" fmla="*/ 12 w 52"/>
                  <a:gd name="T11" fmla="*/ 5 h 25"/>
                  <a:gd name="T12" fmla="*/ 13 w 52"/>
                  <a:gd name="T13" fmla="*/ 4 h 25"/>
                  <a:gd name="T14" fmla="*/ 15 w 52"/>
                  <a:gd name="T15" fmla="*/ 2 h 25"/>
                  <a:gd name="T16" fmla="*/ 16 w 52"/>
                  <a:gd name="T17" fmla="*/ 0 h 25"/>
                  <a:gd name="T18" fmla="*/ 12 w 52"/>
                  <a:gd name="T19" fmla="*/ 0 h 25"/>
                  <a:gd name="T20" fmla="*/ 10 w 52"/>
                  <a:gd name="T21" fmla="*/ 0 h 25"/>
                  <a:gd name="T22" fmla="*/ 7 w 52"/>
                  <a:gd name="T23" fmla="*/ 0 h 25"/>
                  <a:gd name="T24" fmla="*/ 5 w 52"/>
                  <a:gd name="T25" fmla="*/ 1 h 25"/>
                  <a:gd name="T26" fmla="*/ 3 w 52"/>
                  <a:gd name="T27" fmla="*/ 2 h 25"/>
                  <a:gd name="T28" fmla="*/ 2 w 52"/>
                  <a:gd name="T29" fmla="*/ 3 h 25"/>
                  <a:gd name="T30" fmla="*/ 1 w 52"/>
                  <a:gd name="T31" fmla="*/ 5 h 25"/>
                  <a:gd name="T32" fmla="*/ 0 w 52"/>
                  <a:gd name="T33" fmla="*/ 8 h 2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8" name="Freeform 60">
                <a:extLst>
                  <a:ext uri="{FF2B5EF4-FFF2-40B4-BE49-F238E27FC236}">
                    <a16:creationId xmlns:a16="http://schemas.microsoft.com/office/drawing/2014/main" id="{2D5D5726-3756-455A-BB64-21F464E25A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2 h 13"/>
                  <a:gd name="T4" fmla="*/ 0 w 33"/>
                  <a:gd name="T5" fmla="*/ 4 h 13"/>
                  <a:gd name="T6" fmla="*/ 3 w 33"/>
                  <a:gd name="T7" fmla="*/ 4 h 13"/>
                  <a:gd name="T8" fmla="*/ 5 w 33"/>
                  <a:gd name="T9" fmla="*/ 4 h 13"/>
                  <a:gd name="T10" fmla="*/ 8 w 33"/>
                  <a:gd name="T11" fmla="*/ 3 h 13"/>
                  <a:gd name="T12" fmla="*/ 11 w 33"/>
                  <a:gd name="T13" fmla="*/ 2 h 13"/>
                  <a:gd name="T14" fmla="*/ 8 w 33"/>
                  <a:gd name="T15" fmla="*/ 1 h 13"/>
                  <a:gd name="T16" fmla="*/ 5 w 33"/>
                  <a:gd name="T17" fmla="*/ 0 h 13"/>
                  <a:gd name="T18" fmla="*/ 3 w 33"/>
                  <a:gd name="T19" fmla="*/ 0 h 13"/>
                  <a:gd name="T20" fmla="*/ 0 w 33"/>
                  <a:gd name="T21" fmla="*/ 0 h 1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9" name="Freeform 61">
                <a:extLst>
                  <a:ext uri="{FF2B5EF4-FFF2-40B4-BE49-F238E27FC236}">
                    <a16:creationId xmlns:a16="http://schemas.microsoft.com/office/drawing/2014/main" id="{2B7414F3-97D5-4336-A121-6661468A85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8 w 67"/>
                  <a:gd name="T1" fmla="*/ 6 h 86"/>
                  <a:gd name="T2" fmla="*/ 0 w 67"/>
                  <a:gd name="T3" fmla="*/ 0 h 86"/>
                  <a:gd name="T4" fmla="*/ 8 w 67"/>
                  <a:gd name="T5" fmla="*/ 0 h 86"/>
                  <a:gd name="T6" fmla="*/ 9 w 67"/>
                  <a:gd name="T7" fmla="*/ 1 h 86"/>
                  <a:gd name="T8" fmla="*/ 10 w 67"/>
                  <a:gd name="T9" fmla="*/ 3 h 86"/>
                  <a:gd name="T10" fmla="*/ 11 w 67"/>
                  <a:gd name="T11" fmla="*/ 4 h 86"/>
                  <a:gd name="T12" fmla="*/ 12 w 67"/>
                  <a:gd name="T13" fmla="*/ 5 h 86"/>
                  <a:gd name="T14" fmla="*/ 14 w 67"/>
                  <a:gd name="T15" fmla="*/ 6 h 86"/>
                  <a:gd name="T16" fmla="*/ 16 w 67"/>
                  <a:gd name="T17" fmla="*/ 6 h 86"/>
                  <a:gd name="T18" fmla="*/ 17 w 67"/>
                  <a:gd name="T19" fmla="*/ 10 h 86"/>
                  <a:gd name="T20" fmla="*/ 19 w 67"/>
                  <a:gd name="T21" fmla="*/ 13 h 86"/>
                  <a:gd name="T22" fmla="*/ 19 w 67"/>
                  <a:gd name="T23" fmla="*/ 15 h 86"/>
                  <a:gd name="T24" fmla="*/ 20 w 67"/>
                  <a:gd name="T25" fmla="*/ 16 h 86"/>
                  <a:gd name="T26" fmla="*/ 20 w 67"/>
                  <a:gd name="T27" fmla="*/ 18 h 86"/>
                  <a:gd name="T28" fmla="*/ 20 w 67"/>
                  <a:gd name="T29" fmla="*/ 20 h 86"/>
                  <a:gd name="T30" fmla="*/ 19 w 67"/>
                  <a:gd name="T31" fmla="*/ 24 h 86"/>
                  <a:gd name="T32" fmla="*/ 18 w 67"/>
                  <a:gd name="T33" fmla="*/ 28 h 86"/>
                  <a:gd name="T34" fmla="*/ 16 w 67"/>
                  <a:gd name="T35" fmla="*/ 22 h 86"/>
                  <a:gd name="T36" fmla="*/ 15 w 67"/>
                  <a:gd name="T37" fmla="*/ 18 h 86"/>
                  <a:gd name="T38" fmla="*/ 15 w 67"/>
                  <a:gd name="T39" fmla="*/ 15 h 86"/>
                  <a:gd name="T40" fmla="*/ 15 w 67"/>
                  <a:gd name="T41" fmla="*/ 13 h 86"/>
                  <a:gd name="T42" fmla="*/ 15 w 67"/>
                  <a:gd name="T43" fmla="*/ 11 h 86"/>
                  <a:gd name="T44" fmla="*/ 16 w 67"/>
                  <a:gd name="T45" fmla="*/ 10 h 86"/>
                  <a:gd name="T46" fmla="*/ 13 w 67"/>
                  <a:gd name="T47" fmla="*/ 10 h 86"/>
                  <a:gd name="T48" fmla="*/ 10 w 67"/>
                  <a:gd name="T49" fmla="*/ 9 h 86"/>
                  <a:gd name="T50" fmla="*/ 10 w 67"/>
                  <a:gd name="T51" fmla="*/ 9 h 86"/>
                  <a:gd name="T52" fmla="*/ 8 w 67"/>
                  <a:gd name="T53" fmla="*/ 8 h 86"/>
                  <a:gd name="T54" fmla="*/ 8 w 67"/>
                  <a:gd name="T55" fmla="*/ 7 h 86"/>
                  <a:gd name="T56" fmla="*/ 8 w 67"/>
                  <a:gd name="T57" fmla="*/ 6 h 8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0" name="Freeform 62">
                <a:extLst>
                  <a:ext uri="{FF2B5EF4-FFF2-40B4-BE49-F238E27FC236}">
                    <a16:creationId xmlns:a16="http://schemas.microsoft.com/office/drawing/2014/main" id="{0F938AEA-EA45-4AAC-AB08-6095DBC99B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9 w 49"/>
                  <a:gd name="T1" fmla="*/ 4 h 86"/>
                  <a:gd name="T2" fmla="*/ 7 w 49"/>
                  <a:gd name="T3" fmla="*/ 2 h 86"/>
                  <a:gd name="T4" fmla="*/ 5 w 49"/>
                  <a:gd name="T5" fmla="*/ 0 h 86"/>
                  <a:gd name="T6" fmla="*/ 3 w 49"/>
                  <a:gd name="T7" fmla="*/ 2 h 86"/>
                  <a:gd name="T8" fmla="*/ 2 w 49"/>
                  <a:gd name="T9" fmla="*/ 4 h 86"/>
                  <a:gd name="T10" fmla="*/ 0 w 49"/>
                  <a:gd name="T11" fmla="*/ 7 h 86"/>
                  <a:gd name="T12" fmla="*/ 0 w 49"/>
                  <a:gd name="T13" fmla="*/ 10 h 86"/>
                  <a:gd name="T14" fmla="*/ 0 w 49"/>
                  <a:gd name="T15" fmla="*/ 12 h 86"/>
                  <a:gd name="T16" fmla="*/ 1 w 49"/>
                  <a:gd name="T17" fmla="*/ 14 h 86"/>
                  <a:gd name="T18" fmla="*/ 2 w 49"/>
                  <a:gd name="T19" fmla="*/ 16 h 86"/>
                  <a:gd name="T20" fmla="*/ 3 w 49"/>
                  <a:gd name="T21" fmla="*/ 19 h 86"/>
                  <a:gd name="T22" fmla="*/ 4 w 49"/>
                  <a:gd name="T23" fmla="*/ 21 h 86"/>
                  <a:gd name="T24" fmla="*/ 6 w 49"/>
                  <a:gd name="T25" fmla="*/ 24 h 86"/>
                  <a:gd name="T26" fmla="*/ 7 w 49"/>
                  <a:gd name="T27" fmla="*/ 26 h 86"/>
                  <a:gd name="T28" fmla="*/ 9 w 49"/>
                  <a:gd name="T29" fmla="*/ 28 h 86"/>
                  <a:gd name="T30" fmla="*/ 10 w 49"/>
                  <a:gd name="T31" fmla="*/ 26 h 86"/>
                  <a:gd name="T32" fmla="*/ 12 w 49"/>
                  <a:gd name="T33" fmla="*/ 22 h 86"/>
                  <a:gd name="T34" fmla="*/ 14 w 49"/>
                  <a:gd name="T35" fmla="*/ 19 h 86"/>
                  <a:gd name="T36" fmla="*/ 15 w 49"/>
                  <a:gd name="T37" fmla="*/ 15 h 86"/>
                  <a:gd name="T38" fmla="*/ 16 w 49"/>
                  <a:gd name="T39" fmla="*/ 13 h 86"/>
                  <a:gd name="T40" fmla="*/ 16 w 49"/>
                  <a:gd name="T41" fmla="*/ 11 h 86"/>
                  <a:gd name="T42" fmla="*/ 16 w 49"/>
                  <a:gd name="T43" fmla="*/ 8 h 86"/>
                  <a:gd name="T44" fmla="*/ 16 w 49"/>
                  <a:gd name="T45" fmla="*/ 7 h 86"/>
                  <a:gd name="T46" fmla="*/ 14 w 49"/>
                  <a:gd name="T47" fmla="*/ 6 h 86"/>
                  <a:gd name="T48" fmla="*/ 13 w 49"/>
                  <a:gd name="T49" fmla="*/ 5 h 86"/>
                  <a:gd name="T50" fmla="*/ 11 w 49"/>
                  <a:gd name="T51" fmla="*/ 4 h 86"/>
                  <a:gd name="T52" fmla="*/ 9 w 49"/>
                  <a:gd name="T53" fmla="*/ 4 h 8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1" name="Freeform 63">
                <a:extLst>
                  <a:ext uri="{FF2B5EF4-FFF2-40B4-BE49-F238E27FC236}">
                    <a16:creationId xmlns:a16="http://schemas.microsoft.com/office/drawing/2014/main" id="{C4754108-7597-4CBB-A61C-A2A1D1B232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4 h 12"/>
                  <a:gd name="T2" fmla="*/ 2 w 6"/>
                  <a:gd name="T3" fmla="*/ 0 h 12"/>
                  <a:gd name="T4" fmla="*/ 1 w 6"/>
                  <a:gd name="T5" fmla="*/ 0 h 12"/>
                  <a:gd name="T6" fmla="*/ 1 w 6"/>
                  <a:gd name="T7" fmla="*/ 1 h 12"/>
                  <a:gd name="T8" fmla="*/ 0 w 6"/>
                  <a:gd name="T9" fmla="*/ 1 h 12"/>
                  <a:gd name="T10" fmla="*/ 0 w 6"/>
                  <a:gd name="T11" fmla="*/ 2 h 12"/>
                  <a:gd name="T12" fmla="*/ 0 w 6"/>
                  <a:gd name="T13" fmla="*/ 3 h 12"/>
                  <a:gd name="T14" fmla="*/ 0 w 6"/>
                  <a:gd name="T15" fmla="*/ 4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2" name="Freeform 64">
                <a:extLst>
                  <a:ext uri="{FF2B5EF4-FFF2-40B4-BE49-F238E27FC236}">
                    <a16:creationId xmlns:a16="http://schemas.microsoft.com/office/drawing/2014/main" id="{F86ED456-03B6-43A1-ACAC-A0DD697101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4 w 39"/>
                  <a:gd name="T3" fmla="*/ 3 h 48"/>
                  <a:gd name="T4" fmla="*/ 7 w 39"/>
                  <a:gd name="T5" fmla="*/ 5 h 48"/>
                  <a:gd name="T6" fmla="*/ 11 w 39"/>
                  <a:gd name="T7" fmla="*/ 8 h 48"/>
                  <a:gd name="T8" fmla="*/ 13 w 39"/>
                  <a:gd name="T9" fmla="*/ 9 h 48"/>
                  <a:gd name="T10" fmla="*/ 12 w 39"/>
                  <a:gd name="T11" fmla="*/ 12 h 48"/>
                  <a:gd name="T12" fmla="*/ 11 w 39"/>
                  <a:gd name="T13" fmla="*/ 15 h 48"/>
                  <a:gd name="T14" fmla="*/ 6 w 39"/>
                  <a:gd name="T15" fmla="*/ 11 h 48"/>
                  <a:gd name="T16" fmla="*/ 3 w 39"/>
                  <a:gd name="T17" fmla="*/ 8 h 48"/>
                  <a:gd name="T18" fmla="*/ 1 w 39"/>
                  <a:gd name="T19" fmla="*/ 7 h 48"/>
                  <a:gd name="T20" fmla="*/ 1 w 39"/>
                  <a:gd name="T21" fmla="*/ 5 h 48"/>
                  <a:gd name="T22" fmla="*/ 0 w 39"/>
                  <a:gd name="T23" fmla="*/ 3 h 48"/>
                  <a:gd name="T24" fmla="*/ 0 w 39"/>
                  <a:gd name="T25" fmla="*/ 0 h 4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3" name="Freeform 65">
                <a:extLst>
                  <a:ext uri="{FF2B5EF4-FFF2-40B4-BE49-F238E27FC236}">
                    <a16:creationId xmlns:a16="http://schemas.microsoft.com/office/drawing/2014/main" id="{67022BB2-D5FD-4AC2-BAC8-E52601F8A8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3 w 16"/>
                  <a:gd name="T1" fmla="*/ 0 h 43"/>
                  <a:gd name="T2" fmla="*/ 4 w 16"/>
                  <a:gd name="T3" fmla="*/ 3 h 43"/>
                  <a:gd name="T4" fmla="*/ 6 w 16"/>
                  <a:gd name="T5" fmla="*/ 5 h 43"/>
                  <a:gd name="T6" fmla="*/ 6 w 16"/>
                  <a:gd name="T7" fmla="*/ 7 h 43"/>
                  <a:gd name="T8" fmla="*/ 6 w 16"/>
                  <a:gd name="T9" fmla="*/ 9 h 43"/>
                  <a:gd name="T10" fmla="*/ 6 w 16"/>
                  <a:gd name="T11" fmla="*/ 10 h 43"/>
                  <a:gd name="T12" fmla="*/ 4 w 16"/>
                  <a:gd name="T13" fmla="*/ 11 h 43"/>
                  <a:gd name="T14" fmla="*/ 3 w 16"/>
                  <a:gd name="T15" fmla="*/ 13 h 43"/>
                  <a:gd name="T16" fmla="*/ 0 w 16"/>
                  <a:gd name="T17" fmla="*/ 14 h 43"/>
                  <a:gd name="T18" fmla="*/ 1 w 16"/>
                  <a:gd name="T19" fmla="*/ 9 h 43"/>
                  <a:gd name="T20" fmla="*/ 2 w 16"/>
                  <a:gd name="T21" fmla="*/ 6 h 43"/>
                  <a:gd name="T22" fmla="*/ 2 w 16"/>
                  <a:gd name="T23" fmla="*/ 3 h 43"/>
                  <a:gd name="T24" fmla="*/ 3 w 16"/>
                  <a:gd name="T25" fmla="*/ 0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4" name="Freeform 66">
                <a:extLst>
                  <a:ext uri="{FF2B5EF4-FFF2-40B4-BE49-F238E27FC236}">
                    <a16:creationId xmlns:a16="http://schemas.microsoft.com/office/drawing/2014/main" id="{AD93DB52-430F-4FFA-A1D3-89E9C60F31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8 w 24"/>
                  <a:gd name="T1" fmla="*/ 12 h 37"/>
                  <a:gd name="T2" fmla="*/ 6 w 24"/>
                  <a:gd name="T3" fmla="*/ 9 h 37"/>
                  <a:gd name="T4" fmla="*/ 5 w 24"/>
                  <a:gd name="T5" fmla="*/ 6 h 37"/>
                  <a:gd name="T6" fmla="*/ 4 w 24"/>
                  <a:gd name="T7" fmla="*/ 3 h 37"/>
                  <a:gd name="T8" fmla="*/ 4 w 24"/>
                  <a:gd name="T9" fmla="*/ 0 h 37"/>
                  <a:gd name="T10" fmla="*/ 2 w 24"/>
                  <a:gd name="T11" fmla="*/ 3 h 37"/>
                  <a:gd name="T12" fmla="*/ 1 w 24"/>
                  <a:gd name="T13" fmla="*/ 6 h 37"/>
                  <a:gd name="T14" fmla="*/ 0 w 24"/>
                  <a:gd name="T15" fmla="*/ 8 h 37"/>
                  <a:gd name="T16" fmla="*/ 0 w 24"/>
                  <a:gd name="T17" fmla="*/ 10 h 37"/>
                  <a:gd name="T18" fmla="*/ 0 w 24"/>
                  <a:gd name="T19" fmla="*/ 11 h 37"/>
                  <a:gd name="T20" fmla="*/ 1 w 24"/>
                  <a:gd name="T21" fmla="*/ 11 h 37"/>
                  <a:gd name="T22" fmla="*/ 1 w 24"/>
                  <a:gd name="T23" fmla="*/ 12 h 37"/>
                  <a:gd name="T24" fmla="*/ 2 w 24"/>
                  <a:gd name="T25" fmla="*/ 12 h 37"/>
                  <a:gd name="T26" fmla="*/ 5 w 24"/>
                  <a:gd name="T27" fmla="*/ 12 h 37"/>
                  <a:gd name="T28" fmla="*/ 8 w 24"/>
                  <a:gd name="T29" fmla="*/ 12 h 3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5" name="Freeform 67">
                <a:extLst>
                  <a:ext uri="{FF2B5EF4-FFF2-40B4-BE49-F238E27FC236}">
                    <a16:creationId xmlns:a16="http://schemas.microsoft.com/office/drawing/2014/main" id="{3DF3AB17-E89C-42F0-B369-3AE1C87BA9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11 w 34"/>
                  <a:gd name="T1" fmla="*/ 0 h 55"/>
                  <a:gd name="T2" fmla="*/ 11 w 34"/>
                  <a:gd name="T3" fmla="*/ 4 h 55"/>
                  <a:gd name="T4" fmla="*/ 11 w 34"/>
                  <a:gd name="T5" fmla="*/ 8 h 55"/>
                  <a:gd name="T6" fmla="*/ 11 w 34"/>
                  <a:gd name="T7" fmla="*/ 10 h 55"/>
                  <a:gd name="T8" fmla="*/ 10 w 34"/>
                  <a:gd name="T9" fmla="*/ 12 h 55"/>
                  <a:gd name="T10" fmla="*/ 9 w 34"/>
                  <a:gd name="T11" fmla="*/ 13 h 55"/>
                  <a:gd name="T12" fmla="*/ 8 w 34"/>
                  <a:gd name="T13" fmla="*/ 15 h 55"/>
                  <a:gd name="T14" fmla="*/ 6 w 34"/>
                  <a:gd name="T15" fmla="*/ 16 h 55"/>
                  <a:gd name="T16" fmla="*/ 5 w 34"/>
                  <a:gd name="T17" fmla="*/ 16 h 55"/>
                  <a:gd name="T18" fmla="*/ 3 w 34"/>
                  <a:gd name="T19" fmla="*/ 17 h 55"/>
                  <a:gd name="T20" fmla="*/ 0 w 34"/>
                  <a:gd name="T21" fmla="*/ 17 h 55"/>
                  <a:gd name="T22" fmla="*/ 3 w 34"/>
                  <a:gd name="T23" fmla="*/ 11 h 55"/>
                  <a:gd name="T24" fmla="*/ 5 w 34"/>
                  <a:gd name="T25" fmla="*/ 6 h 55"/>
                  <a:gd name="T26" fmla="*/ 6 w 34"/>
                  <a:gd name="T27" fmla="*/ 5 h 55"/>
                  <a:gd name="T28" fmla="*/ 7 w 34"/>
                  <a:gd name="T29" fmla="*/ 3 h 55"/>
                  <a:gd name="T30" fmla="*/ 9 w 34"/>
                  <a:gd name="T31" fmla="*/ 2 h 55"/>
                  <a:gd name="T32" fmla="*/ 11 w 34"/>
                  <a:gd name="T33" fmla="*/ 0 h 5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6" name="Freeform 68">
                <a:extLst>
                  <a:ext uri="{FF2B5EF4-FFF2-40B4-BE49-F238E27FC236}">
                    <a16:creationId xmlns:a16="http://schemas.microsoft.com/office/drawing/2014/main" id="{7C73778F-1DF6-4FFB-B6B7-F0B82AE14A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1 w 33"/>
                  <a:gd name="T3" fmla="*/ 1 h 12"/>
                  <a:gd name="T4" fmla="*/ 2 w 33"/>
                  <a:gd name="T5" fmla="*/ 2 h 12"/>
                  <a:gd name="T6" fmla="*/ 3 w 33"/>
                  <a:gd name="T7" fmla="*/ 3 h 12"/>
                  <a:gd name="T8" fmla="*/ 5 w 33"/>
                  <a:gd name="T9" fmla="*/ 4 h 12"/>
                  <a:gd name="T10" fmla="*/ 8 w 33"/>
                  <a:gd name="T11" fmla="*/ 4 h 12"/>
                  <a:gd name="T12" fmla="*/ 11 w 33"/>
                  <a:gd name="T13" fmla="*/ 4 h 12"/>
                  <a:gd name="T14" fmla="*/ 9 w 33"/>
                  <a:gd name="T15" fmla="*/ 3 h 12"/>
                  <a:gd name="T16" fmla="*/ 6 w 33"/>
                  <a:gd name="T17" fmla="*/ 1 h 12"/>
                  <a:gd name="T18" fmla="*/ 3 w 33"/>
                  <a:gd name="T19" fmla="*/ 0 h 12"/>
                  <a:gd name="T20" fmla="*/ 0 w 33"/>
                  <a:gd name="T21" fmla="*/ 0 h 1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605" name="Freeform 69">
              <a:extLst>
                <a:ext uri="{FF2B5EF4-FFF2-40B4-BE49-F238E27FC236}">
                  <a16:creationId xmlns:a16="http://schemas.microsoft.com/office/drawing/2014/main" id="{95DC2940-3E80-4578-AA7C-DD1181175783}"/>
                </a:ext>
              </a:extLst>
            </p:cNvPr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9429750" y="4244975"/>
              <a:ext cx="12700" cy="57150"/>
            </a:xfrm>
            <a:custGeom>
              <a:avLst/>
              <a:gdLst>
                <a:gd name="T0" fmla="*/ 0 w 33"/>
                <a:gd name="T1" fmla="*/ 57150 h 62"/>
                <a:gd name="T2" fmla="*/ 0 w 33"/>
                <a:gd name="T3" fmla="*/ 48854 h 62"/>
                <a:gd name="T4" fmla="*/ 0 w 33"/>
                <a:gd name="T5" fmla="*/ 41480 h 62"/>
                <a:gd name="T6" fmla="*/ 0 w 33"/>
                <a:gd name="T7" fmla="*/ 34106 h 62"/>
                <a:gd name="T8" fmla="*/ 0 w 33"/>
                <a:gd name="T9" fmla="*/ 28575 h 62"/>
                <a:gd name="T10" fmla="*/ 0 w 33"/>
                <a:gd name="T11" fmla="*/ 23966 h 62"/>
                <a:gd name="T12" fmla="*/ 770 w 33"/>
                <a:gd name="T13" fmla="*/ 20279 h 62"/>
                <a:gd name="T14" fmla="*/ 1539 w 33"/>
                <a:gd name="T15" fmla="*/ 15670 h 62"/>
                <a:gd name="T16" fmla="*/ 3079 w 33"/>
                <a:gd name="T17" fmla="*/ 11983 h 62"/>
                <a:gd name="T18" fmla="*/ 5388 w 33"/>
                <a:gd name="T19" fmla="*/ 5531 h 62"/>
                <a:gd name="T20" fmla="*/ 7697 w 33"/>
                <a:gd name="T21" fmla="*/ 0 h 62"/>
                <a:gd name="T22" fmla="*/ 10006 w 33"/>
                <a:gd name="T23" fmla="*/ 5531 h 62"/>
                <a:gd name="T24" fmla="*/ 12700 w 33"/>
                <a:gd name="T25" fmla="*/ 11983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6" name="Freeform 70">
              <a:extLst>
                <a:ext uri="{FF2B5EF4-FFF2-40B4-BE49-F238E27FC236}">
                  <a16:creationId xmlns:a16="http://schemas.microsoft.com/office/drawing/2014/main" id="{5DF25071-07DC-43F1-9135-FD7699FFAA87}"/>
                </a:ext>
              </a:extLst>
            </p:cNvPr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9439276" y="4335464"/>
              <a:ext cx="9525" cy="58737"/>
            </a:xfrm>
            <a:custGeom>
              <a:avLst/>
              <a:gdLst>
                <a:gd name="T0" fmla="*/ 0 w 26"/>
                <a:gd name="T1" fmla="*/ 58737 h 18"/>
                <a:gd name="T2" fmla="*/ 0 w 26"/>
                <a:gd name="T3" fmla="*/ 0 h 18"/>
                <a:gd name="T4" fmla="*/ 9525 w 26"/>
                <a:gd name="T5" fmla="*/ 0 h 18"/>
                <a:gd name="T6" fmla="*/ 2198 w 26"/>
                <a:gd name="T7" fmla="*/ 39158 h 18"/>
                <a:gd name="T8" fmla="*/ 2198 w 26"/>
                <a:gd name="T9" fmla="*/ 19579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7" name="Freeform 71">
              <a:extLst>
                <a:ext uri="{FF2B5EF4-FFF2-40B4-BE49-F238E27FC236}">
                  <a16:creationId xmlns:a16="http://schemas.microsoft.com/office/drawing/2014/main" id="{DC62FC4B-CFF7-49CC-910C-9D371884C4AE}"/>
                </a:ext>
              </a:extLst>
            </p:cNvPr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9553575" y="4244976"/>
              <a:ext cx="77788" cy="130175"/>
            </a:xfrm>
            <a:custGeom>
              <a:avLst/>
              <a:gdLst>
                <a:gd name="T0" fmla="*/ 77788 w 180"/>
                <a:gd name="T1" fmla="*/ 120412 h 240"/>
                <a:gd name="T2" fmla="*/ 75627 w 180"/>
                <a:gd name="T3" fmla="*/ 120954 h 240"/>
                <a:gd name="T4" fmla="*/ 73899 w 180"/>
                <a:gd name="T5" fmla="*/ 120954 h 240"/>
                <a:gd name="T6" fmla="*/ 72170 w 180"/>
                <a:gd name="T7" fmla="*/ 122039 h 240"/>
                <a:gd name="T8" fmla="*/ 70874 w 180"/>
                <a:gd name="T9" fmla="*/ 123124 h 240"/>
                <a:gd name="T10" fmla="*/ 68281 w 180"/>
                <a:gd name="T11" fmla="*/ 125836 h 240"/>
                <a:gd name="T12" fmla="*/ 66120 w 180"/>
                <a:gd name="T13" fmla="*/ 130175 h 240"/>
                <a:gd name="T14" fmla="*/ 60502 w 180"/>
                <a:gd name="T15" fmla="*/ 125836 h 240"/>
                <a:gd name="T16" fmla="*/ 56612 w 180"/>
                <a:gd name="T17" fmla="*/ 120954 h 240"/>
                <a:gd name="T18" fmla="*/ 53155 w 180"/>
                <a:gd name="T19" fmla="*/ 116073 h 240"/>
                <a:gd name="T20" fmla="*/ 50994 w 180"/>
                <a:gd name="T21" fmla="*/ 111734 h 240"/>
                <a:gd name="T22" fmla="*/ 48401 w 180"/>
                <a:gd name="T23" fmla="*/ 105767 h 240"/>
                <a:gd name="T24" fmla="*/ 45808 w 180"/>
                <a:gd name="T25" fmla="*/ 100343 h 240"/>
                <a:gd name="T26" fmla="*/ 42351 w 180"/>
                <a:gd name="T27" fmla="*/ 94377 h 240"/>
                <a:gd name="T28" fmla="*/ 37598 w 180"/>
                <a:gd name="T29" fmla="*/ 87326 h 240"/>
                <a:gd name="T30" fmla="*/ 35437 w 180"/>
                <a:gd name="T31" fmla="*/ 82987 h 240"/>
                <a:gd name="T32" fmla="*/ 32412 w 180"/>
                <a:gd name="T33" fmla="*/ 79190 h 240"/>
                <a:gd name="T34" fmla="*/ 30251 w 180"/>
                <a:gd name="T35" fmla="*/ 75393 h 240"/>
                <a:gd name="T36" fmla="*/ 26794 w 180"/>
                <a:gd name="T37" fmla="*/ 72139 h 240"/>
                <a:gd name="T38" fmla="*/ 20743 w 180"/>
                <a:gd name="T39" fmla="*/ 65630 h 240"/>
                <a:gd name="T40" fmla="*/ 14261 w 180"/>
                <a:gd name="T41" fmla="*/ 59664 h 240"/>
                <a:gd name="T42" fmla="*/ 11668 w 180"/>
                <a:gd name="T43" fmla="*/ 56409 h 240"/>
                <a:gd name="T44" fmla="*/ 9075 w 180"/>
                <a:gd name="T45" fmla="*/ 53155 h 240"/>
                <a:gd name="T46" fmla="*/ 6482 w 180"/>
                <a:gd name="T47" fmla="*/ 49900 h 240"/>
                <a:gd name="T48" fmla="*/ 4322 w 180"/>
                <a:gd name="T49" fmla="*/ 45561 h 240"/>
                <a:gd name="T50" fmla="*/ 2593 w 180"/>
                <a:gd name="T51" fmla="*/ 41764 h 240"/>
                <a:gd name="T52" fmla="*/ 1729 w 180"/>
                <a:gd name="T53" fmla="*/ 36883 h 240"/>
                <a:gd name="T54" fmla="*/ 432 w 180"/>
                <a:gd name="T55" fmla="*/ 32544 h 240"/>
                <a:gd name="T56" fmla="*/ 0 w 180"/>
                <a:gd name="T57" fmla="*/ 27120 h 240"/>
                <a:gd name="T58" fmla="*/ 0 w 180"/>
                <a:gd name="T59" fmla="*/ 18984 h 240"/>
                <a:gd name="T60" fmla="*/ 0 w 180"/>
                <a:gd name="T61" fmla="*/ 13560 h 240"/>
                <a:gd name="T62" fmla="*/ 0 w 180"/>
                <a:gd name="T63" fmla="*/ 8136 h 240"/>
                <a:gd name="T64" fmla="*/ 0 w 180"/>
                <a:gd name="T65" fmla="*/ 0 h 240"/>
                <a:gd name="T66" fmla="*/ 4322 w 180"/>
                <a:gd name="T67" fmla="*/ 4339 h 240"/>
                <a:gd name="T68" fmla="*/ 8211 w 180"/>
                <a:gd name="T69" fmla="*/ 9221 h 240"/>
                <a:gd name="T70" fmla="*/ 11668 w 180"/>
                <a:gd name="T71" fmla="*/ 14645 h 240"/>
                <a:gd name="T72" fmla="*/ 14693 w 180"/>
                <a:gd name="T73" fmla="*/ 20611 h 240"/>
                <a:gd name="T74" fmla="*/ 17718 w 180"/>
                <a:gd name="T75" fmla="*/ 26035 h 240"/>
                <a:gd name="T76" fmla="*/ 19879 w 180"/>
                <a:gd name="T77" fmla="*/ 31459 h 240"/>
                <a:gd name="T78" fmla="*/ 22040 w 180"/>
                <a:gd name="T79" fmla="*/ 35798 h 240"/>
                <a:gd name="T80" fmla="*/ 23336 w 180"/>
                <a:gd name="T81" fmla="*/ 40137 h 240"/>
                <a:gd name="T82" fmla="*/ 25929 w 180"/>
                <a:gd name="T83" fmla="*/ 46646 h 240"/>
                <a:gd name="T84" fmla="*/ 28522 w 180"/>
                <a:gd name="T85" fmla="*/ 53155 h 240"/>
                <a:gd name="T86" fmla="*/ 31980 w 180"/>
                <a:gd name="T87" fmla="*/ 58036 h 240"/>
                <a:gd name="T88" fmla="*/ 35437 w 180"/>
                <a:gd name="T89" fmla="*/ 62918 h 240"/>
                <a:gd name="T90" fmla="*/ 43216 w 180"/>
                <a:gd name="T91" fmla="*/ 72139 h 240"/>
                <a:gd name="T92" fmla="*/ 51427 w 180"/>
                <a:gd name="T93" fmla="*/ 80817 h 240"/>
                <a:gd name="T94" fmla="*/ 60070 w 180"/>
                <a:gd name="T95" fmla="*/ 88953 h 240"/>
                <a:gd name="T96" fmla="*/ 66984 w 180"/>
                <a:gd name="T97" fmla="*/ 97631 h 240"/>
                <a:gd name="T98" fmla="*/ 70441 w 180"/>
                <a:gd name="T99" fmla="*/ 102513 h 240"/>
                <a:gd name="T100" fmla="*/ 73034 w 180"/>
                <a:gd name="T101" fmla="*/ 107937 h 240"/>
                <a:gd name="T102" fmla="*/ 75627 w 180"/>
                <a:gd name="T103" fmla="*/ 113903 h 240"/>
                <a:gd name="T104" fmla="*/ 77788 w 180"/>
                <a:gd name="T105" fmla="*/ 120412 h 2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8" name="Freeform 72">
              <a:extLst>
                <a:ext uri="{FF2B5EF4-FFF2-40B4-BE49-F238E27FC236}">
                  <a16:creationId xmlns:a16="http://schemas.microsoft.com/office/drawing/2014/main" id="{24D2EF17-F040-41BB-8BA4-433CA1C90D6B}"/>
                </a:ext>
              </a:extLst>
            </p:cNvPr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9553575" y="4217988"/>
              <a:ext cx="14288" cy="57150"/>
            </a:xfrm>
            <a:custGeom>
              <a:avLst/>
              <a:gdLst>
                <a:gd name="T0" fmla="*/ 0 w 27"/>
                <a:gd name="T1" fmla="*/ 0 h 30"/>
                <a:gd name="T2" fmla="*/ 529 w 27"/>
                <a:gd name="T3" fmla="*/ 9525 h 30"/>
                <a:gd name="T4" fmla="*/ 1588 w 27"/>
                <a:gd name="T5" fmla="*/ 20955 h 30"/>
                <a:gd name="T6" fmla="*/ 2117 w 27"/>
                <a:gd name="T7" fmla="*/ 26670 h 30"/>
                <a:gd name="T8" fmla="*/ 2117 w 27"/>
                <a:gd name="T9" fmla="*/ 36195 h 30"/>
                <a:gd name="T10" fmla="*/ 1588 w 27"/>
                <a:gd name="T11" fmla="*/ 45720 h 30"/>
                <a:gd name="T12" fmla="*/ 0 w 27"/>
                <a:gd name="T13" fmla="*/ 57150 h 30"/>
                <a:gd name="T14" fmla="*/ 8996 w 27"/>
                <a:gd name="T15" fmla="*/ 51435 h 30"/>
                <a:gd name="T16" fmla="*/ 14288 w 27"/>
                <a:gd name="T17" fmla="*/ 45720 h 30"/>
                <a:gd name="T18" fmla="*/ 12171 w 27"/>
                <a:gd name="T19" fmla="*/ 38100 h 30"/>
                <a:gd name="T20" fmla="*/ 8996 w 27"/>
                <a:gd name="T21" fmla="*/ 22860 h 30"/>
                <a:gd name="T22" fmla="*/ 5821 w 27"/>
                <a:gd name="T23" fmla="*/ 15240 h 30"/>
                <a:gd name="T24" fmla="*/ 3704 w 27"/>
                <a:gd name="T25" fmla="*/ 7620 h 30"/>
                <a:gd name="T26" fmla="*/ 2117 w 27"/>
                <a:gd name="T27" fmla="*/ 1905 h 30"/>
                <a:gd name="T28" fmla="*/ 0 w 27"/>
                <a:gd name="T29" fmla="*/ 0 h 3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609" name="Group 73">
              <a:extLst>
                <a:ext uri="{FF2B5EF4-FFF2-40B4-BE49-F238E27FC236}">
                  <a16:creationId xmlns:a16="http://schemas.microsoft.com/office/drawing/2014/main" id="{BB69085F-C13E-428A-B919-709DC7BD0896}"/>
                </a:ext>
              </a:extLst>
            </p:cNvPr>
            <p:cNvGrpSpPr>
              <a:grpSpLocks/>
            </p:cNvGrpSpPr>
            <p:nvPr>
              <p:custDataLst>
                <p:tags r:id="rId56"/>
              </p:custDataLst>
            </p:nvPr>
          </p:nvGrpSpPr>
          <p:grpSpPr bwMode="auto">
            <a:xfrm>
              <a:off x="9244014" y="4738688"/>
              <a:ext cx="458787" cy="404812"/>
              <a:chOff x="5372" y="3323"/>
              <a:chExt cx="341" cy="253"/>
            </a:xfrm>
            <a:solidFill>
              <a:srgbClr val="0070C0"/>
            </a:solidFill>
          </p:grpSpPr>
          <p:sp>
            <p:nvSpPr>
              <p:cNvPr id="1084" name="Freeform 74">
                <a:extLst>
                  <a:ext uri="{FF2B5EF4-FFF2-40B4-BE49-F238E27FC236}">
                    <a16:creationId xmlns:a16="http://schemas.microsoft.com/office/drawing/2014/main" id="{2AC5D244-2255-4181-AFDC-4DE0ED2BDC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10 h 33"/>
                  <a:gd name="T2" fmla="*/ 1 w 53"/>
                  <a:gd name="T3" fmla="*/ 9 h 33"/>
                  <a:gd name="T4" fmla="*/ 2 w 53"/>
                  <a:gd name="T5" fmla="*/ 7 h 33"/>
                  <a:gd name="T6" fmla="*/ 5 w 53"/>
                  <a:gd name="T7" fmla="*/ 5 h 33"/>
                  <a:gd name="T8" fmla="*/ 6 w 53"/>
                  <a:gd name="T9" fmla="*/ 4 h 33"/>
                  <a:gd name="T10" fmla="*/ 9 w 53"/>
                  <a:gd name="T11" fmla="*/ 2 h 33"/>
                  <a:gd name="T12" fmla="*/ 11 w 53"/>
                  <a:gd name="T13" fmla="*/ 1 h 33"/>
                  <a:gd name="T14" fmla="*/ 14 w 53"/>
                  <a:gd name="T15" fmla="*/ 0 h 33"/>
                  <a:gd name="T16" fmla="*/ 16 w 53"/>
                  <a:gd name="T17" fmla="*/ 0 h 33"/>
                  <a:gd name="T18" fmla="*/ 16 w 53"/>
                  <a:gd name="T19" fmla="*/ 6 h 33"/>
                  <a:gd name="T20" fmla="*/ 11 w 53"/>
                  <a:gd name="T21" fmla="*/ 8 h 33"/>
                  <a:gd name="T22" fmla="*/ 8 w 53"/>
                  <a:gd name="T23" fmla="*/ 10 h 33"/>
                  <a:gd name="T24" fmla="*/ 6 w 53"/>
                  <a:gd name="T25" fmla="*/ 11 h 33"/>
                  <a:gd name="T26" fmla="*/ 5 w 53"/>
                  <a:gd name="T27" fmla="*/ 11 h 33"/>
                  <a:gd name="T28" fmla="*/ 3 w 53"/>
                  <a:gd name="T29" fmla="*/ 11 h 33"/>
                  <a:gd name="T30" fmla="*/ 0 w 53"/>
                  <a:gd name="T31" fmla="*/ 10 h 3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5" name="Freeform 75">
                <a:extLst>
                  <a:ext uri="{FF2B5EF4-FFF2-40B4-BE49-F238E27FC236}">
                    <a16:creationId xmlns:a16="http://schemas.microsoft.com/office/drawing/2014/main" id="{02116BEB-A7AE-4FB4-9177-FED7CD5C9E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8 w 631"/>
                  <a:gd name="T1" fmla="*/ 97 h 358"/>
                  <a:gd name="T2" fmla="*/ 16 w 631"/>
                  <a:gd name="T3" fmla="*/ 95 h 358"/>
                  <a:gd name="T4" fmla="*/ 21 w 631"/>
                  <a:gd name="T5" fmla="*/ 91 h 358"/>
                  <a:gd name="T6" fmla="*/ 25 w 631"/>
                  <a:gd name="T7" fmla="*/ 83 h 358"/>
                  <a:gd name="T8" fmla="*/ 32 w 631"/>
                  <a:gd name="T9" fmla="*/ 84 h 358"/>
                  <a:gd name="T10" fmla="*/ 40 w 631"/>
                  <a:gd name="T11" fmla="*/ 83 h 358"/>
                  <a:gd name="T12" fmla="*/ 45 w 631"/>
                  <a:gd name="T13" fmla="*/ 81 h 358"/>
                  <a:gd name="T14" fmla="*/ 52 w 631"/>
                  <a:gd name="T15" fmla="*/ 75 h 358"/>
                  <a:gd name="T16" fmla="*/ 58 w 631"/>
                  <a:gd name="T17" fmla="*/ 68 h 358"/>
                  <a:gd name="T18" fmla="*/ 68 w 631"/>
                  <a:gd name="T19" fmla="*/ 63 h 358"/>
                  <a:gd name="T20" fmla="*/ 83 w 631"/>
                  <a:gd name="T21" fmla="*/ 57 h 358"/>
                  <a:gd name="T22" fmla="*/ 105 w 631"/>
                  <a:gd name="T23" fmla="*/ 50 h 358"/>
                  <a:gd name="T24" fmla="*/ 116 w 631"/>
                  <a:gd name="T25" fmla="*/ 45 h 358"/>
                  <a:gd name="T26" fmla="*/ 125 w 631"/>
                  <a:gd name="T27" fmla="*/ 42 h 358"/>
                  <a:gd name="T28" fmla="*/ 130 w 631"/>
                  <a:gd name="T29" fmla="*/ 42 h 358"/>
                  <a:gd name="T30" fmla="*/ 141 w 631"/>
                  <a:gd name="T31" fmla="*/ 35 h 358"/>
                  <a:gd name="T32" fmla="*/ 150 w 631"/>
                  <a:gd name="T33" fmla="*/ 26 h 358"/>
                  <a:gd name="T34" fmla="*/ 153 w 631"/>
                  <a:gd name="T35" fmla="*/ 21 h 358"/>
                  <a:gd name="T36" fmla="*/ 161 w 631"/>
                  <a:gd name="T37" fmla="*/ 19 h 358"/>
                  <a:gd name="T38" fmla="*/ 172 w 631"/>
                  <a:gd name="T39" fmla="*/ 12 h 358"/>
                  <a:gd name="T40" fmla="*/ 182 w 631"/>
                  <a:gd name="T41" fmla="*/ 4 h 358"/>
                  <a:gd name="T42" fmla="*/ 189 w 631"/>
                  <a:gd name="T43" fmla="*/ 0 h 358"/>
                  <a:gd name="T44" fmla="*/ 193 w 631"/>
                  <a:gd name="T45" fmla="*/ 7 h 358"/>
                  <a:gd name="T46" fmla="*/ 198 w 631"/>
                  <a:gd name="T47" fmla="*/ 10 h 358"/>
                  <a:gd name="T48" fmla="*/ 200 w 631"/>
                  <a:gd name="T49" fmla="*/ 15 h 358"/>
                  <a:gd name="T50" fmla="*/ 192 w 631"/>
                  <a:gd name="T51" fmla="*/ 29 h 358"/>
                  <a:gd name="T52" fmla="*/ 182 w 631"/>
                  <a:gd name="T53" fmla="*/ 41 h 358"/>
                  <a:gd name="T54" fmla="*/ 169 w 631"/>
                  <a:gd name="T55" fmla="*/ 50 h 358"/>
                  <a:gd name="T56" fmla="*/ 156 w 631"/>
                  <a:gd name="T57" fmla="*/ 57 h 358"/>
                  <a:gd name="T58" fmla="*/ 142 w 631"/>
                  <a:gd name="T59" fmla="*/ 59 h 358"/>
                  <a:gd name="T60" fmla="*/ 140 w 631"/>
                  <a:gd name="T61" fmla="*/ 64 h 358"/>
                  <a:gd name="T62" fmla="*/ 139 w 631"/>
                  <a:gd name="T63" fmla="*/ 65 h 358"/>
                  <a:gd name="T64" fmla="*/ 126 w 631"/>
                  <a:gd name="T65" fmla="*/ 65 h 358"/>
                  <a:gd name="T66" fmla="*/ 117 w 631"/>
                  <a:gd name="T67" fmla="*/ 69 h 358"/>
                  <a:gd name="T68" fmla="*/ 111 w 631"/>
                  <a:gd name="T69" fmla="*/ 69 h 358"/>
                  <a:gd name="T70" fmla="*/ 108 w 631"/>
                  <a:gd name="T71" fmla="*/ 67 h 358"/>
                  <a:gd name="T72" fmla="*/ 100 w 631"/>
                  <a:gd name="T73" fmla="*/ 79 h 358"/>
                  <a:gd name="T74" fmla="*/ 87 w 631"/>
                  <a:gd name="T75" fmla="*/ 92 h 358"/>
                  <a:gd name="T76" fmla="*/ 70 w 631"/>
                  <a:gd name="T77" fmla="*/ 103 h 358"/>
                  <a:gd name="T78" fmla="*/ 53 w 631"/>
                  <a:gd name="T79" fmla="*/ 112 h 358"/>
                  <a:gd name="T80" fmla="*/ 35 w 631"/>
                  <a:gd name="T81" fmla="*/ 117 h 358"/>
                  <a:gd name="T82" fmla="*/ 23 w 631"/>
                  <a:gd name="T83" fmla="*/ 116 h 358"/>
                  <a:gd name="T84" fmla="*/ 18 w 631"/>
                  <a:gd name="T85" fmla="*/ 114 h 358"/>
                  <a:gd name="T86" fmla="*/ 11 w 631"/>
                  <a:gd name="T87" fmla="*/ 111 h 35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6" name="Freeform 76">
                <a:extLst>
                  <a:ext uri="{FF2B5EF4-FFF2-40B4-BE49-F238E27FC236}">
                    <a16:creationId xmlns:a16="http://schemas.microsoft.com/office/drawing/2014/main" id="{D8570B5E-B2EC-4165-B0A7-AE79EBB4B9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19 w 359"/>
                  <a:gd name="T1" fmla="*/ 94 h 431"/>
                  <a:gd name="T2" fmla="*/ 31 w 359"/>
                  <a:gd name="T3" fmla="*/ 88 h 431"/>
                  <a:gd name="T4" fmla="*/ 53 w 359"/>
                  <a:gd name="T5" fmla="*/ 68 h 431"/>
                  <a:gd name="T6" fmla="*/ 56 w 359"/>
                  <a:gd name="T7" fmla="*/ 55 h 431"/>
                  <a:gd name="T8" fmla="*/ 58 w 359"/>
                  <a:gd name="T9" fmla="*/ 49 h 431"/>
                  <a:gd name="T10" fmla="*/ 62 w 359"/>
                  <a:gd name="T11" fmla="*/ 45 h 431"/>
                  <a:gd name="T12" fmla="*/ 61 w 359"/>
                  <a:gd name="T13" fmla="*/ 41 h 431"/>
                  <a:gd name="T14" fmla="*/ 58 w 359"/>
                  <a:gd name="T15" fmla="*/ 31 h 431"/>
                  <a:gd name="T16" fmla="*/ 56 w 359"/>
                  <a:gd name="T17" fmla="*/ 11 h 431"/>
                  <a:gd name="T18" fmla="*/ 59 w 359"/>
                  <a:gd name="T19" fmla="*/ 0 h 431"/>
                  <a:gd name="T20" fmla="*/ 63 w 359"/>
                  <a:gd name="T21" fmla="*/ 4 h 431"/>
                  <a:gd name="T22" fmla="*/ 67 w 359"/>
                  <a:gd name="T23" fmla="*/ 9 h 431"/>
                  <a:gd name="T24" fmla="*/ 75 w 359"/>
                  <a:gd name="T25" fmla="*/ 18 h 431"/>
                  <a:gd name="T26" fmla="*/ 77 w 359"/>
                  <a:gd name="T27" fmla="*/ 24 h 431"/>
                  <a:gd name="T28" fmla="*/ 77 w 359"/>
                  <a:gd name="T29" fmla="*/ 29 h 431"/>
                  <a:gd name="T30" fmla="*/ 73 w 359"/>
                  <a:gd name="T31" fmla="*/ 33 h 431"/>
                  <a:gd name="T32" fmla="*/ 66 w 359"/>
                  <a:gd name="T33" fmla="*/ 39 h 431"/>
                  <a:gd name="T34" fmla="*/ 64 w 359"/>
                  <a:gd name="T35" fmla="*/ 43 h 431"/>
                  <a:gd name="T36" fmla="*/ 64 w 359"/>
                  <a:gd name="T37" fmla="*/ 49 h 431"/>
                  <a:gd name="T38" fmla="*/ 66 w 359"/>
                  <a:gd name="T39" fmla="*/ 52 h 431"/>
                  <a:gd name="T40" fmla="*/ 73 w 359"/>
                  <a:gd name="T41" fmla="*/ 52 h 431"/>
                  <a:gd name="T42" fmla="*/ 75 w 359"/>
                  <a:gd name="T43" fmla="*/ 50 h 431"/>
                  <a:gd name="T44" fmla="*/ 75 w 359"/>
                  <a:gd name="T45" fmla="*/ 44 h 431"/>
                  <a:gd name="T46" fmla="*/ 84 w 359"/>
                  <a:gd name="T47" fmla="*/ 63 h 431"/>
                  <a:gd name="T48" fmla="*/ 88 w 359"/>
                  <a:gd name="T49" fmla="*/ 68 h 431"/>
                  <a:gd name="T50" fmla="*/ 94 w 359"/>
                  <a:gd name="T51" fmla="*/ 72 h 431"/>
                  <a:gd name="T52" fmla="*/ 97 w 359"/>
                  <a:gd name="T53" fmla="*/ 71 h 431"/>
                  <a:gd name="T54" fmla="*/ 101 w 359"/>
                  <a:gd name="T55" fmla="*/ 67 h 431"/>
                  <a:gd name="T56" fmla="*/ 110 w 359"/>
                  <a:gd name="T57" fmla="*/ 63 h 431"/>
                  <a:gd name="T58" fmla="*/ 115 w 359"/>
                  <a:gd name="T59" fmla="*/ 67 h 431"/>
                  <a:gd name="T60" fmla="*/ 111 w 359"/>
                  <a:gd name="T61" fmla="*/ 79 h 431"/>
                  <a:gd name="T62" fmla="*/ 104 w 359"/>
                  <a:gd name="T63" fmla="*/ 85 h 431"/>
                  <a:gd name="T64" fmla="*/ 95 w 359"/>
                  <a:gd name="T65" fmla="*/ 90 h 431"/>
                  <a:gd name="T66" fmla="*/ 80 w 359"/>
                  <a:gd name="T67" fmla="*/ 94 h 431"/>
                  <a:gd name="T68" fmla="*/ 67 w 359"/>
                  <a:gd name="T69" fmla="*/ 98 h 431"/>
                  <a:gd name="T70" fmla="*/ 62 w 359"/>
                  <a:gd name="T71" fmla="*/ 101 h 431"/>
                  <a:gd name="T72" fmla="*/ 58 w 359"/>
                  <a:gd name="T73" fmla="*/ 111 h 431"/>
                  <a:gd name="T74" fmla="*/ 53 w 359"/>
                  <a:gd name="T75" fmla="*/ 116 h 431"/>
                  <a:gd name="T76" fmla="*/ 35 w 359"/>
                  <a:gd name="T77" fmla="*/ 129 h 431"/>
                  <a:gd name="T78" fmla="*/ 16 w 359"/>
                  <a:gd name="T79" fmla="*/ 139 h 431"/>
                  <a:gd name="T80" fmla="*/ 6 w 359"/>
                  <a:gd name="T81" fmla="*/ 141 h 431"/>
                  <a:gd name="T82" fmla="*/ 2 w 359"/>
                  <a:gd name="T83" fmla="*/ 139 h 431"/>
                  <a:gd name="T84" fmla="*/ 0 w 359"/>
                  <a:gd name="T85" fmla="*/ 136 h 431"/>
                  <a:gd name="T86" fmla="*/ 0 w 359"/>
                  <a:gd name="T87" fmla="*/ 132 h 431"/>
                  <a:gd name="T88" fmla="*/ 3 w 359"/>
                  <a:gd name="T89" fmla="*/ 128 h 431"/>
                  <a:gd name="T90" fmla="*/ 18 w 359"/>
                  <a:gd name="T91" fmla="*/ 122 h 431"/>
                  <a:gd name="T92" fmla="*/ 24 w 359"/>
                  <a:gd name="T93" fmla="*/ 115 h 431"/>
                  <a:gd name="T94" fmla="*/ 23 w 359"/>
                  <a:gd name="T95" fmla="*/ 110 h 431"/>
                  <a:gd name="T96" fmla="*/ 21 w 359"/>
                  <a:gd name="T97" fmla="*/ 107 h 431"/>
                  <a:gd name="T98" fmla="*/ 16 w 359"/>
                  <a:gd name="T99" fmla="*/ 105 h 431"/>
                  <a:gd name="T100" fmla="*/ 6 w 359"/>
                  <a:gd name="T101" fmla="*/ 105 h 43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610" name="Freeform 77">
              <a:extLst>
                <a:ext uri="{FF2B5EF4-FFF2-40B4-BE49-F238E27FC236}">
                  <a16:creationId xmlns:a16="http://schemas.microsoft.com/office/drawing/2014/main" id="{687AA021-C64A-4939-8C4E-D3B98CE269F4}"/>
                </a:ext>
              </a:extLst>
            </p:cNvPr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8886826" y="3395663"/>
              <a:ext cx="9525" cy="57150"/>
            </a:xfrm>
            <a:custGeom>
              <a:avLst/>
              <a:gdLst>
                <a:gd name="T0" fmla="*/ 0 w 21"/>
                <a:gd name="T1" fmla="*/ 39636 h 62"/>
                <a:gd name="T2" fmla="*/ 454 w 21"/>
                <a:gd name="T3" fmla="*/ 26731 h 62"/>
                <a:gd name="T4" fmla="*/ 1361 w 21"/>
                <a:gd name="T5" fmla="*/ 15670 h 62"/>
                <a:gd name="T6" fmla="*/ 1814 w 21"/>
                <a:gd name="T7" fmla="*/ 10140 h 62"/>
                <a:gd name="T8" fmla="*/ 2721 w 21"/>
                <a:gd name="T9" fmla="*/ 6452 h 62"/>
                <a:gd name="T10" fmla="*/ 4082 w 21"/>
                <a:gd name="T11" fmla="*/ 2765 h 62"/>
                <a:gd name="T12" fmla="*/ 6804 w 21"/>
                <a:gd name="T13" fmla="*/ 0 h 62"/>
                <a:gd name="T14" fmla="*/ 6804 w 21"/>
                <a:gd name="T15" fmla="*/ 13827 h 62"/>
                <a:gd name="T16" fmla="*/ 8164 w 21"/>
                <a:gd name="T17" fmla="*/ 28575 h 62"/>
                <a:gd name="T18" fmla="*/ 9071 w 21"/>
                <a:gd name="T19" fmla="*/ 40558 h 62"/>
                <a:gd name="T20" fmla="*/ 9525 w 21"/>
                <a:gd name="T21" fmla="*/ 45167 h 62"/>
                <a:gd name="T22" fmla="*/ 4536 w 21"/>
                <a:gd name="T23" fmla="*/ 50698 h 62"/>
                <a:gd name="T24" fmla="*/ 0 w 21"/>
                <a:gd name="T25" fmla="*/ 57150 h 62"/>
                <a:gd name="T26" fmla="*/ 0 w 21"/>
                <a:gd name="T27" fmla="*/ 39636 h 6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1" name="Freeform 78">
              <a:extLst>
                <a:ext uri="{FF2B5EF4-FFF2-40B4-BE49-F238E27FC236}">
                  <a16:creationId xmlns:a16="http://schemas.microsoft.com/office/drawing/2014/main" id="{E1F6F274-56A5-4FC0-93F0-0FC29C935E20}"/>
                </a:ext>
              </a:extLst>
            </p:cNvPr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9613900" y="4297363"/>
              <a:ext cx="14288" cy="57150"/>
            </a:xfrm>
            <a:custGeom>
              <a:avLst/>
              <a:gdLst>
                <a:gd name="T0" fmla="*/ 0 w 33"/>
                <a:gd name="T1" fmla="*/ 0 h 24"/>
                <a:gd name="T2" fmla="*/ 2165 w 33"/>
                <a:gd name="T3" fmla="*/ 11906 h 24"/>
                <a:gd name="T4" fmla="*/ 4330 w 33"/>
                <a:gd name="T5" fmla="*/ 23813 h 24"/>
                <a:gd name="T6" fmla="*/ 4763 w 33"/>
                <a:gd name="T7" fmla="*/ 30956 h 24"/>
                <a:gd name="T8" fmla="*/ 5196 w 33"/>
                <a:gd name="T9" fmla="*/ 38100 h 24"/>
                <a:gd name="T10" fmla="*/ 5629 w 33"/>
                <a:gd name="T11" fmla="*/ 47625 h 24"/>
                <a:gd name="T12" fmla="*/ 5629 w 33"/>
                <a:gd name="T13" fmla="*/ 57150 h 24"/>
                <a:gd name="T14" fmla="*/ 14288 w 33"/>
                <a:gd name="T15" fmla="*/ 0 h 24"/>
                <a:gd name="T16" fmla="*/ 10391 w 33"/>
                <a:gd name="T17" fmla="*/ 0 h 24"/>
                <a:gd name="T18" fmla="*/ 6928 w 33"/>
                <a:gd name="T19" fmla="*/ 0 h 24"/>
                <a:gd name="T20" fmla="*/ 3897 w 33"/>
                <a:gd name="T21" fmla="*/ 0 h 24"/>
                <a:gd name="T22" fmla="*/ 0 w 33"/>
                <a:gd name="T23" fmla="*/ 0 h 2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2" name="Freeform 79">
              <a:extLst>
                <a:ext uri="{FF2B5EF4-FFF2-40B4-BE49-F238E27FC236}">
                  <a16:creationId xmlns:a16="http://schemas.microsoft.com/office/drawing/2014/main" id="{7CC6C100-B1D1-48D1-A9DB-5442EFCC4FFC}"/>
                </a:ext>
              </a:extLst>
            </p:cNvPr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9636126" y="4306889"/>
              <a:ext cx="17463" cy="58737"/>
            </a:xfrm>
            <a:custGeom>
              <a:avLst/>
              <a:gdLst>
                <a:gd name="T0" fmla="*/ 13759 w 33"/>
                <a:gd name="T1" fmla="*/ 58737 h 25"/>
                <a:gd name="T2" fmla="*/ 15346 w 33"/>
                <a:gd name="T3" fmla="*/ 51689 h 25"/>
                <a:gd name="T4" fmla="*/ 17463 w 33"/>
                <a:gd name="T5" fmla="*/ 42291 h 25"/>
                <a:gd name="T6" fmla="*/ 17463 w 33"/>
                <a:gd name="T7" fmla="*/ 0 h 25"/>
                <a:gd name="T8" fmla="*/ 13230 w 33"/>
                <a:gd name="T9" fmla="*/ 0 h 25"/>
                <a:gd name="T10" fmla="*/ 8467 w 33"/>
                <a:gd name="T11" fmla="*/ 0 h 25"/>
                <a:gd name="T12" fmla="*/ 3175 w 33"/>
                <a:gd name="T13" fmla="*/ 0 h 25"/>
                <a:gd name="T14" fmla="*/ 0 w 33"/>
                <a:gd name="T15" fmla="*/ 0 h 25"/>
                <a:gd name="T16" fmla="*/ 13759 w 33"/>
                <a:gd name="T17" fmla="*/ 58737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3" name="Freeform 80">
              <a:extLst>
                <a:ext uri="{FF2B5EF4-FFF2-40B4-BE49-F238E27FC236}">
                  <a16:creationId xmlns:a16="http://schemas.microsoft.com/office/drawing/2014/main" id="{88A831BB-02AE-43A5-B6C6-AC02ABB4D19E}"/>
                </a:ext>
              </a:extLst>
            </p:cNvPr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8950325" y="3384551"/>
              <a:ext cx="1588" cy="55563"/>
            </a:xfrm>
            <a:custGeom>
              <a:avLst/>
              <a:gdLst>
                <a:gd name="T0" fmla="*/ 0 w 7"/>
                <a:gd name="T1" fmla="*/ 0 h 55563"/>
                <a:gd name="T2" fmla="*/ 1588 w 7"/>
                <a:gd name="T3" fmla="*/ 0 h 55563"/>
                <a:gd name="T4" fmla="*/ 0 w 7"/>
                <a:gd name="T5" fmla="*/ 0 h 5556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55563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4" name="Freeform 81">
              <a:extLst>
                <a:ext uri="{FF2B5EF4-FFF2-40B4-BE49-F238E27FC236}">
                  <a16:creationId xmlns:a16="http://schemas.microsoft.com/office/drawing/2014/main" id="{1BD83C8C-B420-4899-8994-7E08304FCFA0}"/>
                </a:ext>
              </a:extLst>
            </p:cNvPr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9009063" y="3328988"/>
              <a:ext cx="6350" cy="57150"/>
            </a:xfrm>
            <a:custGeom>
              <a:avLst/>
              <a:gdLst>
                <a:gd name="T0" fmla="*/ 6350 w 16"/>
                <a:gd name="T1" fmla="*/ 0 h 25"/>
                <a:gd name="T2" fmla="*/ 6350 w 16"/>
                <a:gd name="T3" fmla="*/ 13716 h 25"/>
                <a:gd name="T4" fmla="*/ 5556 w 16"/>
                <a:gd name="T5" fmla="*/ 29718 h 25"/>
                <a:gd name="T6" fmla="*/ 5159 w 16"/>
                <a:gd name="T7" fmla="*/ 36576 h 25"/>
                <a:gd name="T8" fmla="*/ 4366 w 16"/>
                <a:gd name="T9" fmla="*/ 45720 h 25"/>
                <a:gd name="T10" fmla="*/ 2778 w 16"/>
                <a:gd name="T11" fmla="*/ 52578 h 25"/>
                <a:gd name="T12" fmla="*/ 1191 w 16"/>
                <a:gd name="T13" fmla="*/ 57150 h 25"/>
                <a:gd name="T14" fmla="*/ 397 w 16"/>
                <a:gd name="T15" fmla="*/ 54864 h 25"/>
                <a:gd name="T16" fmla="*/ 0 w 16"/>
                <a:gd name="T17" fmla="*/ 48006 h 25"/>
                <a:gd name="T18" fmla="*/ 397 w 16"/>
                <a:gd name="T19" fmla="*/ 41148 h 25"/>
                <a:gd name="T20" fmla="*/ 794 w 16"/>
                <a:gd name="T21" fmla="*/ 29718 h 25"/>
                <a:gd name="T22" fmla="*/ 1588 w 16"/>
                <a:gd name="T23" fmla="*/ 20574 h 25"/>
                <a:gd name="T24" fmla="*/ 2778 w 16"/>
                <a:gd name="T25" fmla="*/ 9144 h 25"/>
                <a:gd name="T26" fmla="*/ 4366 w 16"/>
                <a:gd name="T27" fmla="*/ 2286 h 25"/>
                <a:gd name="T28" fmla="*/ 6350 w 16"/>
                <a:gd name="T29" fmla="*/ 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5" name="Freeform 82">
              <a:extLst>
                <a:ext uri="{FF2B5EF4-FFF2-40B4-BE49-F238E27FC236}">
                  <a16:creationId xmlns:a16="http://schemas.microsoft.com/office/drawing/2014/main" id="{C4946E27-8B56-45C1-953A-A819E69322DB}"/>
                </a:ext>
              </a:extLst>
            </p:cNvPr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9121776" y="3217863"/>
              <a:ext cx="4763" cy="57150"/>
            </a:xfrm>
            <a:custGeom>
              <a:avLst/>
              <a:gdLst>
                <a:gd name="T0" fmla="*/ 0 w 14"/>
                <a:gd name="T1" fmla="*/ 0 h 18"/>
                <a:gd name="T2" fmla="*/ 1021 w 14"/>
                <a:gd name="T3" fmla="*/ 3175 h 18"/>
                <a:gd name="T4" fmla="*/ 1701 w 14"/>
                <a:gd name="T5" fmla="*/ 6350 h 18"/>
                <a:gd name="T6" fmla="*/ 2382 w 14"/>
                <a:gd name="T7" fmla="*/ 12700 h 18"/>
                <a:gd name="T8" fmla="*/ 3062 w 14"/>
                <a:gd name="T9" fmla="*/ 22225 h 18"/>
                <a:gd name="T10" fmla="*/ 4423 w 14"/>
                <a:gd name="T11" fmla="*/ 41275 h 18"/>
                <a:gd name="T12" fmla="*/ 4763 w 14"/>
                <a:gd name="T13" fmla="*/ 57150 h 18"/>
                <a:gd name="T14" fmla="*/ 0 w 14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6" name="Freeform 83">
              <a:extLst>
                <a:ext uri="{FF2B5EF4-FFF2-40B4-BE49-F238E27FC236}">
                  <a16:creationId xmlns:a16="http://schemas.microsoft.com/office/drawing/2014/main" id="{B9AF56AF-01AE-40C7-80DB-C6B13DCC80F4}"/>
                </a:ext>
              </a:extLst>
            </p:cNvPr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9274175" y="3916364"/>
              <a:ext cx="26988" cy="58737"/>
            </a:xfrm>
            <a:custGeom>
              <a:avLst/>
              <a:gdLst>
                <a:gd name="T0" fmla="*/ 0 w 67"/>
                <a:gd name="T1" fmla="*/ 0 h 74"/>
                <a:gd name="T2" fmla="*/ 403 w 67"/>
                <a:gd name="T3" fmla="*/ 13494 h 74"/>
                <a:gd name="T4" fmla="*/ 1208 w 67"/>
                <a:gd name="T5" fmla="*/ 23812 h 74"/>
                <a:gd name="T6" fmla="*/ 2820 w 67"/>
                <a:gd name="T7" fmla="*/ 32543 h 74"/>
                <a:gd name="T8" fmla="*/ 4834 w 67"/>
                <a:gd name="T9" fmla="*/ 39687 h 74"/>
                <a:gd name="T10" fmla="*/ 6848 w 67"/>
                <a:gd name="T11" fmla="*/ 46037 h 74"/>
                <a:gd name="T12" fmla="*/ 9265 w 67"/>
                <a:gd name="T13" fmla="*/ 50800 h 74"/>
                <a:gd name="T14" fmla="*/ 11279 w 67"/>
                <a:gd name="T15" fmla="*/ 54768 h 74"/>
                <a:gd name="T16" fmla="*/ 13293 w 67"/>
                <a:gd name="T17" fmla="*/ 58737 h 74"/>
                <a:gd name="T18" fmla="*/ 17723 w 67"/>
                <a:gd name="T19" fmla="*/ 51593 h 74"/>
                <a:gd name="T20" fmla="*/ 22154 w 67"/>
                <a:gd name="T21" fmla="*/ 43656 h 74"/>
                <a:gd name="T22" fmla="*/ 23766 w 67"/>
                <a:gd name="T23" fmla="*/ 38893 h 74"/>
                <a:gd name="T24" fmla="*/ 25377 w 67"/>
                <a:gd name="T25" fmla="*/ 34131 h 74"/>
                <a:gd name="T26" fmla="*/ 26585 w 67"/>
                <a:gd name="T27" fmla="*/ 29369 h 74"/>
                <a:gd name="T28" fmla="*/ 26988 w 67"/>
                <a:gd name="T29" fmla="*/ 23812 h 74"/>
                <a:gd name="T30" fmla="*/ 26988 w 67"/>
                <a:gd name="T31" fmla="*/ 19844 h 74"/>
                <a:gd name="T32" fmla="*/ 26988 w 67"/>
                <a:gd name="T33" fmla="*/ 14287 h 74"/>
                <a:gd name="T34" fmla="*/ 26988 w 67"/>
                <a:gd name="T35" fmla="*/ 7144 h 74"/>
                <a:gd name="T36" fmla="*/ 26988 w 67"/>
                <a:gd name="T37" fmla="*/ 0 h 74"/>
                <a:gd name="T38" fmla="*/ 19335 w 67"/>
                <a:gd name="T39" fmla="*/ 0 h 74"/>
                <a:gd name="T40" fmla="*/ 13293 w 67"/>
                <a:gd name="T41" fmla="*/ 0 h 74"/>
                <a:gd name="T42" fmla="*/ 6848 w 67"/>
                <a:gd name="T43" fmla="*/ 0 h 74"/>
                <a:gd name="T44" fmla="*/ 0 w 67"/>
                <a:gd name="T45" fmla="*/ 0 h 7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7" name="Freeform 84">
              <a:extLst>
                <a:ext uri="{FF2B5EF4-FFF2-40B4-BE49-F238E27FC236}">
                  <a16:creationId xmlns:a16="http://schemas.microsoft.com/office/drawing/2014/main" id="{FC166AD2-6151-4617-AA78-6880200A4493}"/>
                </a:ext>
              </a:extLst>
            </p:cNvPr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9337675" y="3930650"/>
              <a:ext cx="12700" cy="57150"/>
            </a:xfrm>
            <a:custGeom>
              <a:avLst/>
              <a:gdLst>
                <a:gd name="T0" fmla="*/ 0 w 34"/>
                <a:gd name="T1" fmla="*/ 0 h 38"/>
                <a:gd name="T2" fmla="*/ 747 w 34"/>
                <a:gd name="T3" fmla="*/ 4512 h 38"/>
                <a:gd name="T4" fmla="*/ 1494 w 34"/>
                <a:gd name="T5" fmla="*/ 10528 h 38"/>
                <a:gd name="T6" fmla="*/ 1868 w 34"/>
                <a:gd name="T7" fmla="*/ 16543 h 38"/>
                <a:gd name="T8" fmla="*/ 2241 w 34"/>
                <a:gd name="T9" fmla="*/ 24063 h 38"/>
                <a:gd name="T10" fmla="*/ 3735 w 34"/>
                <a:gd name="T11" fmla="*/ 42111 h 38"/>
                <a:gd name="T12" fmla="*/ 4856 w 34"/>
                <a:gd name="T13" fmla="*/ 57150 h 38"/>
                <a:gd name="T14" fmla="*/ 5976 w 34"/>
                <a:gd name="T15" fmla="*/ 55646 h 38"/>
                <a:gd name="T16" fmla="*/ 7471 w 34"/>
                <a:gd name="T17" fmla="*/ 54142 h 38"/>
                <a:gd name="T18" fmla="*/ 8591 w 34"/>
                <a:gd name="T19" fmla="*/ 51134 h 38"/>
                <a:gd name="T20" fmla="*/ 9712 w 34"/>
                <a:gd name="T21" fmla="*/ 46622 h 38"/>
                <a:gd name="T22" fmla="*/ 10459 w 34"/>
                <a:gd name="T23" fmla="*/ 42111 h 38"/>
                <a:gd name="T24" fmla="*/ 11953 w 34"/>
                <a:gd name="T25" fmla="*/ 36095 h 38"/>
                <a:gd name="T26" fmla="*/ 12326 w 34"/>
                <a:gd name="T27" fmla="*/ 31583 h 38"/>
                <a:gd name="T28" fmla="*/ 12700 w 34"/>
                <a:gd name="T29" fmla="*/ 28575 h 38"/>
                <a:gd name="T30" fmla="*/ 11579 w 34"/>
                <a:gd name="T31" fmla="*/ 27071 h 38"/>
                <a:gd name="T32" fmla="*/ 10459 w 34"/>
                <a:gd name="T33" fmla="*/ 25567 h 38"/>
                <a:gd name="T34" fmla="*/ 9712 w 34"/>
                <a:gd name="T35" fmla="*/ 21055 h 38"/>
                <a:gd name="T36" fmla="*/ 8965 w 34"/>
                <a:gd name="T37" fmla="*/ 18047 h 38"/>
                <a:gd name="T38" fmla="*/ 7097 w 34"/>
                <a:gd name="T39" fmla="*/ 9024 h 38"/>
                <a:gd name="T40" fmla="*/ 4856 w 34"/>
                <a:gd name="T41" fmla="*/ 0 h 38"/>
                <a:gd name="T42" fmla="*/ 2241 w 34"/>
                <a:gd name="T43" fmla="*/ 0 h 38"/>
                <a:gd name="T44" fmla="*/ 0 w 34"/>
                <a:gd name="T45" fmla="*/ 0 h 3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8" name="Freeform 85">
              <a:extLst>
                <a:ext uri="{FF2B5EF4-FFF2-40B4-BE49-F238E27FC236}">
                  <a16:creationId xmlns:a16="http://schemas.microsoft.com/office/drawing/2014/main" id="{5694B07F-0141-4195-8D89-AFF9EA145BFB}"/>
                </a:ext>
              </a:extLst>
            </p:cNvPr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9194800" y="3706813"/>
              <a:ext cx="25400" cy="55562"/>
            </a:xfrm>
            <a:custGeom>
              <a:avLst/>
              <a:gdLst>
                <a:gd name="T0" fmla="*/ 25400 w 53"/>
                <a:gd name="T1" fmla="*/ 55562 h 23"/>
                <a:gd name="T2" fmla="*/ 25400 w 53"/>
                <a:gd name="T3" fmla="*/ 9663 h 23"/>
                <a:gd name="T4" fmla="*/ 23483 w 53"/>
                <a:gd name="T5" fmla="*/ 4831 h 23"/>
                <a:gd name="T6" fmla="*/ 21566 w 53"/>
                <a:gd name="T7" fmla="*/ 2416 h 23"/>
                <a:gd name="T8" fmla="*/ 20128 w 53"/>
                <a:gd name="T9" fmla="*/ 0 h 23"/>
                <a:gd name="T10" fmla="*/ 18211 w 53"/>
                <a:gd name="T11" fmla="*/ 0 h 23"/>
                <a:gd name="T12" fmla="*/ 14857 w 53"/>
                <a:gd name="T13" fmla="*/ 2416 h 23"/>
                <a:gd name="T14" fmla="*/ 11502 w 53"/>
                <a:gd name="T15" fmla="*/ 9663 h 23"/>
                <a:gd name="T16" fmla="*/ 5272 w 53"/>
                <a:gd name="T17" fmla="*/ 31405 h 23"/>
                <a:gd name="T18" fmla="*/ 0 w 53"/>
                <a:gd name="T19" fmla="*/ 55562 h 23"/>
                <a:gd name="T20" fmla="*/ 25400 w 53"/>
                <a:gd name="T21" fmla="*/ 55562 h 2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9" name="Freeform 86">
              <a:extLst>
                <a:ext uri="{FF2B5EF4-FFF2-40B4-BE49-F238E27FC236}">
                  <a16:creationId xmlns:a16="http://schemas.microsoft.com/office/drawing/2014/main" id="{80F17EAB-9985-452B-94CB-9B774F214635}"/>
                </a:ext>
              </a:extLst>
            </p:cNvPr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9137651" y="3681413"/>
              <a:ext cx="11113" cy="57150"/>
            </a:xfrm>
            <a:custGeom>
              <a:avLst/>
              <a:gdLst>
                <a:gd name="T0" fmla="*/ 0 w 26"/>
                <a:gd name="T1" fmla="*/ 0 h 12"/>
                <a:gd name="T2" fmla="*/ 1710 w 26"/>
                <a:gd name="T3" fmla="*/ 19050 h 12"/>
                <a:gd name="T4" fmla="*/ 4702 w 26"/>
                <a:gd name="T5" fmla="*/ 38100 h 12"/>
                <a:gd name="T6" fmla="*/ 5984 w 26"/>
                <a:gd name="T7" fmla="*/ 42863 h 12"/>
                <a:gd name="T8" fmla="*/ 7694 w 26"/>
                <a:gd name="T9" fmla="*/ 52388 h 12"/>
                <a:gd name="T10" fmla="*/ 9403 w 26"/>
                <a:gd name="T11" fmla="*/ 52388 h 12"/>
                <a:gd name="T12" fmla="*/ 11113 w 26"/>
                <a:gd name="T13" fmla="*/ 57150 h 12"/>
                <a:gd name="T14" fmla="*/ 8976 w 26"/>
                <a:gd name="T15" fmla="*/ 33338 h 12"/>
                <a:gd name="T16" fmla="*/ 5557 w 26"/>
                <a:gd name="T17" fmla="*/ 14288 h 12"/>
                <a:gd name="T18" fmla="*/ 2137 w 26"/>
                <a:gd name="T19" fmla="*/ 4763 h 12"/>
                <a:gd name="T20" fmla="*/ 0 w 26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20" name="Freeform 87">
              <a:extLst>
                <a:ext uri="{FF2B5EF4-FFF2-40B4-BE49-F238E27FC236}">
                  <a16:creationId xmlns:a16="http://schemas.microsoft.com/office/drawing/2014/main" id="{378E3C5B-FD51-45E4-8B5E-2364B2194124}"/>
                </a:ext>
              </a:extLst>
            </p:cNvPr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9337675" y="4013200"/>
              <a:ext cx="31750" cy="57150"/>
            </a:xfrm>
            <a:custGeom>
              <a:avLst/>
              <a:gdLst>
                <a:gd name="T0" fmla="*/ 0 w 73"/>
                <a:gd name="T1" fmla="*/ 0 h 57150"/>
                <a:gd name="T2" fmla="*/ 8699 w 73"/>
                <a:gd name="T3" fmla="*/ 0 h 57150"/>
                <a:gd name="T4" fmla="*/ 16092 w 73"/>
                <a:gd name="T5" fmla="*/ 0 h 57150"/>
                <a:gd name="T6" fmla="*/ 23921 w 73"/>
                <a:gd name="T7" fmla="*/ 0 h 57150"/>
                <a:gd name="T8" fmla="*/ 31750 w 73"/>
                <a:gd name="T9" fmla="*/ 0 h 571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3" h="57150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21" name="Freeform 88">
              <a:extLst>
                <a:ext uri="{FF2B5EF4-FFF2-40B4-BE49-F238E27FC236}">
                  <a16:creationId xmlns:a16="http://schemas.microsoft.com/office/drawing/2014/main" id="{16EBBB7B-50BB-4488-A45A-25A185F28A7E}"/>
                </a:ext>
              </a:extLst>
            </p:cNvPr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9293226" y="4002088"/>
              <a:ext cx="22225" cy="57150"/>
            </a:xfrm>
            <a:custGeom>
              <a:avLst/>
              <a:gdLst>
                <a:gd name="T0" fmla="*/ 0 w 53"/>
                <a:gd name="T1" fmla="*/ 0 h 3"/>
                <a:gd name="T2" fmla="*/ 5871 w 53"/>
                <a:gd name="T3" fmla="*/ 0 h 3"/>
                <a:gd name="T4" fmla="*/ 11322 w 53"/>
                <a:gd name="T5" fmla="*/ 57150 h 3"/>
                <a:gd name="T6" fmla="*/ 13419 w 53"/>
                <a:gd name="T7" fmla="*/ 57150 h 3"/>
                <a:gd name="T8" fmla="*/ 16354 w 53"/>
                <a:gd name="T9" fmla="*/ 57150 h 3"/>
                <a:gd name="T10" fmla="*/ 18870 w 53"/>
                <a:gd name="T11" fmla="*/ 19050 h 3"/>
                <a:gd name="T12" fmla="*/ 22225 w 53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22" name="Line 89">
              <a:extLst>
                <a:ext uri="{FF2B5EF4-FFF2-40B4-BE49-F238E27FC236}">
                  <a16:creationId xmlns:a16="http://schemas.microsoft.com/office/drawing/2014/main" id="{442290FD-3F94-4EE1-A162-55AD810D9885}"/>
                </a:ext>
              </a:extLst>
            </p:cNvPr>
            <p:cNvSpPr>
              <a:spLocks noChangeShapeType="1"/>
            </p:cNvSpPr>
            <p:nvPr>
              <p:custDataLst>
                <p:tags r:id="rId69"/>
              </p:custDataLst>
            </p:nvPr>
          </p:nvSpPr>
          <p:spPr bwMode="auto">
            <a:xfrm>
              <a:off x="9326564" y="3987800"/>
              <a:ext cx="20637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23" name="Freeform 90">
              <a:extLst>
                <a:ext uri="{FF2B5EF4-FFF2-40B4-BE49-F238E27FC236}">
                  <a16:creationId xmlns:a16="http://schemas.microsoft.com/office/drawing/2014/main" id="{94E7FA0F-DE41-4CBB-9516-BE5EF0D39F8B}"/>
                </a:ext>
              </a:extLst>
            </p:cNvPr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9347200" y="3994150"/>
              <a:ext cx="1588" cy="57150"/>
            </a:xfrm>
            <a:custGeom>
              <a:avLst/>
              <a:gdLst>
                <a:gd name="T0" fmla="*/ 0 w 1588"/>
                <a:gd name="T1" fmla="*/ 0 h 13"/>
                <a:gd name="T2" fmla="*/ 0 w 1588"/>
                <a:gd name="T3" fmla="*/ 26377 h 13"/>
                <a:gd name="T4" fmla="*/ 0 w 1588"/>
                <a:gd name="T5" fmla="*/ 57150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24" name="Freeform 91">
              <a:extLst>
                <a:ext uri="{FF2B5EF4-FFF2-40B4-BE49-F238E27FC236}">
                  <a16:creationId xmlns:a16="http://schemas.microsoft.com/office/drawing/2014/main" id="{C0C18FC9-E59E-4742-BA9A-2AB08838E666}"/>
                </a:ext>
              </a:extLst>
            </p:cNvPr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9301164" y="3987800"/>
              <a:ext cx="14287" cy="58738"/>
            </a:xfrm>
            <a:custGeom>
              <a:avLst/>
              <a:gdLst>
                <a:gd name="T0" fmla="*/ 0 w 26"/>
                <a:gd name="T1" fmla="*/ 0 h 58738"/>
                <a:gd name="T2" fmla="*/ 8243 w 26"/>
                <a:gd name="T3" fmla="*/ 0 h 58738"/>
                <a:gd name="T4" fmla="*/ 14287 w 26"/>
                <a:gd name="T5" fmla="*/ 0 h 5873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6" h="58738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25" name="Freeform 92">
              <a:extLst>
                <a:ext uri="{FF2B5EF4-FFF2-40B4-BE49-F238E27FC236}">
                  <a16:creationId xmlns:a16="http://schemas.microsoft.com/office/drawing/2014/main" id="{479FBF79-4198-4738-AAD4-90D3E7B0660C}"/>
                </a:ext>
              </a:extLst>
            </p:cNvPr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9294813" y="3968751"/>
              <a:ext cx="6350" cy="60325"/>
            </a:xfrm>
            <a:custGeom>
              <a:avLst/>
              <a:gdLst>
                <a:gd name="T0" fmla="*/ 6350 w 20"/>
                <a:gd name="T1" fmla="*/ 0 h 25"/>
                <a:gd name="T2" fmla="*/ 0 w 20"/>
                <a:gd name="T3" fmla="*/ 31369 h 25"/>
                <a:gd name="T4" fmla="*/ 1270 w 20"/>
                <a:gd name="T5" fmla="*/ 43434 h 25"/>
                <a:gd name="T6" fmla="*/ 3175 w 20"/>
                <a:gd name="T7" fmla="*/ 50673 h 25"/>
                <a:gd name="T8" fmla="*/ 4445 w 20"/>
                <a:gd name="T9" fmla="*/ 57912 h 25"/>
                <a:gd name="T10" fmla="*/ 6350 w 20"/>
                <a:gd name="T11" fmla="*/ 60325 h 25"/>
                <a:gd name="T12" fmla="*/ 6350 w 20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26" name="Freeform 93">
              <a:extLst>
                <a:ext uri="{FF2B5EF4-FFF2-40B4-BE49-F238E27FC236}">
                  <a16:creationId xmlns:a16="http://schemas.microsoft.com/office/drawing/2014/main" id="{149EABA1-F93A-4B13-8ADC-C2E8AE5A6280}"/>
                </a:ext>
              </a:extLst>
            </p:cNvPr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9375775" y="3695700"/>
              <a:ext cx="1588" cy="57150"/>
            </a:xfrm>
            <a:custGeom>
              <a:avLst/>
              <a:gdLst>
                <a:gd name="T0" fmla="*/ 0 w 6"/>
                <a:gd name="T1" fmla="*/ 57150 h 24"/>
                <a:gd name="T2" fmla="*/ 0 w 6"/>
                <a:gd name="T3" fmla="*/ 0 h 24"/>
                <a:gd name="T4" fmla="*/ 1588 w 6"/>
                <a:gd name="T5" fmla="*/ 28575 h 24"/>
                <a:gd name="T6" fmla="*/ 0 w 6"/>
                <a:gd name="T7" fmla="*/ 5715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627" name="Group 94">
              <a:extLst>
                <a:ext uri="{FF2B5EF4-FFF2-40B4-BE49-F238E27FC236}">
                  <a16:creationId xmlns:a16="http://schemas.microsoft.com/office/drawing/2014/main" id="{577053D8-866A-4EC8-81D6-FCC5F6DC0DFC}"/>
                </a:ext>
              </a:extLst>
            </p:cNvPr>
            <p:cNvGrpSpPr>
              <a:grpSpLocks/>
            </p:cNvGrpSpPr>
            <p:nvPr>
              <p:custDataLst>
                <p:tags r:id="rId74"/>
              </p:custDataLst>
            </p:nvPr>
          </p:nvGrpSpPr>
          <p:grpSpPr bwMode="auto">
            <a:xfrm>
              <a:off x="9250363" y="3367088"/>
              <a:ext cx="163512" cy="114300"/>
              <a:chOff x="5379" y="2466"/>
              <a:chExt cx="122" cy="71"/>
            </a:xfrm>
          </p:grpSpPr>
          <p:sp>
            <p:nvSpPr>
              <p:cNvPr id="1075" name="Freeform 95">
                <a:extLst>
                  <a:ext uri="{FF2B5EF4-FFF2-40B4-BE49-F238E27FC236}">
                    <a16:creationId xmlns:a16="http://schemas.microsoft.com/office/drawing/2014/main" id="{8E967533-E649-4797-9238-F566DD9FD5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6 w 19"/>
                  <a:gd name="T1" fmla="*/ 9 h 25"/>
                  <a:gd name="T2" fmla="*/ 6 w 19"/>
                  <a:gd name="T3" fmla="*/ 7 h 25"/>
                  <a:gd name="T4" fmla="*/ 5 w 19"/>
                  <a:gd name="T5" fmla="*/ 4 h 25"/>
                  <a:gd name="T6" fmla="*/ 5 w 19"/>
                  <a:gd name="T7" fmla="*/ 3 h 25"/>
                  <a:gd name="T8" fmla="*/ 5 w 19"/>
                  <a:gd name="T9" fmla="*/ 2 h 25"/>
                  <a:gd name="T10" fmla="*/ 5 w 19"/>
                  <a:gd name="T11" fmla="*/ 1 h 25"/>
                  <a:gd name="T12" fmla="*/ 6 w 19"/>
                  <a:gd name="T13" fmla="*/ 0 h 25"/>
                  <a:gd name="T14" fmla="*/ 0 w 19"/>
                  <a:gd name="T15" fmla="*/ 0 h 25"/>
                  <a:gd name="T16" fmla="*/ 0 w 19"/>
                  <a:gd name="T17" fmla="*/ 3 h 25"/>
                  <a:gd name="T18" fmla="*/ 2 w 19"/>
                  <a:gd name="T19" fmla="*/ 5 h 25"/>
                  <a:gd name="T20" fmla="*/ 2 w 19"/>
                  <a:gd name="T21" fmla="*/ 7 h 25"/>
                  <a:gd name="T22" fmla="*/ 3 w 19"/>
                  <a:gd name="T23" fmla="*/ 8 h 25"/>
                  <a:gd name="T24" fmla="*/ 5 w 19"/>
                  <a:gd name="T25" fmla="*/ 9 h 25"/>
                  <a:gd name="T26" fmla="*/ 6 w 19"/>
                  <a:gd name="T27" fmla="*/ 9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6" name="Freeform 96">
                <a:extLst>
                  <a:ext uri="{FF2B5EF4-FFF2-40B4-BE49-F238E27FC236}">
                    <a16:creationId xmlns:a16="http://schemas.microsoft.com/office/drawing/2014/main" id="{558ABE00-C061-40D0-859B-C0AF31EC71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7 w 26"/>
                  <a:gd name="T1" fmla="*/ 6 h 18"/>
                  <a:gd name="T2" fmla="*/ 2 w 26"/>
                  <a:gd name="T3" fmla="*/ 6 h 18"/>
                  <a:gd name="T4" fmla="*/ 1 w 26"/>
                  <a:gd name="T5" fmla="*/ 3 h 18"/>
                  <a:gd name="T6" fmla="*/ 0 w 26"/>
                  <a:gd name="T7" fmla="*/ 0 h 18"/>
                  <a:gd name="T8" fmla="*/ 2 w 26"/>
                  <a:gd name="T9" fmla="*/ 1 h 18"/>
                  <a:gd name="T10" fmla="*/ 4 w 26"/>
                  <a:gd name="T11" fmla="*/ 2 h 18"/>
                  <a:gd name="T12" fmla="*/ 5 w 26"/>
                  <a:gd name="T13" fmla="*/ 4 h 18"/>
                  <a:gd name="T14" fmla="*/ 7 w 26"/>
                  <a:gd name="T15" fmla="*/ 6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7" name="Freeform 97">
                <a:extLst>
                  <a:ext uri="{FF2B5EF4-FFF2-40B4-BE49-F238E27FC236}">
                    <a16:creationId xmlns:a16="http://schemas.microsoft.com/office/drawing/2014/main" id="{0D5CBB10-36B8-4244-9E32-172414457E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6 h 18"/>
                  <a:gd name="T2" fmla="*/ 5 w 13"/>
                  <a:gd name="T3" fmla="*/ 0 h 18"/>
                  <a:gd name="T4" fmla="*/ 0 w 13"/>
                  <a:gd name="T5" fmla="*/ 6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8" name="Freeform 98">
                <a:extLst>
                  <a:ext uri="{FF2B5EF4-FFF2-40B4-BE49-F238E27FC236}">
                    <a16:creationId xmlns:a16="http://schemas.microsoft.com/office/drawing/2014/main" id="{5616A639-01E0-4402-8C3B-5ABDB24F48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8 h 24"/>
                  <a:gd name="T2" fmla="*/ 1 w 26"/>
                  <a:gd name="T3" fmla="*/ 8 h 24"/>
                  <a:gd name="T4" fmla="*/ 2 w 26"/>
                  <a:gd name="T5" fmla="*/ 7 h 24"/>
                  <a:gd name="T6" fmla="*/ 3 w 26"/>
                  <a:gd name="T7" fmla="*/ 6 h 24"/>
                  <a:gd name="T8" fmla="*/ 5 w 26"/>
                  <a:gd name="T9" fmla="*/ 5 h 24"/>
                  <a:gd name="T10" fmla="*/ 6 w 26"/>
                  <a:gd name="T11" fmla="*/ 4 h 24"/>
                  <a:gd name="T12" fmla="*/ 7 w 26"/>
                  <a:gd name="T13" fmla="*/ 3 h 24"/>
                  <a:gd name="T14" fmla="*/ 8 w 26"/>
                  <a:gd name="T15" fmla="*/ 1 h 24"/>
                  <a:gd name="T16" fmla="*/ 8 w 26"/>
                  <a:gd name="T17" fmla="*/ 0 h 24"/>
                  <a:gd name="T18" fmla="*/ 0 w 26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9" name="Freeform 99">
                <a:extLst>
                  <a:ext uri="{FF2B5EF4-FFF2-40B4-BE49-F238E27FC236}">
                    <a16:creationId xmlns:a16="http://schemas.microsoft.com/office/drawing/2014/main" id="{C56A5882-FF2B-4270-93E6-A194C8B006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2 h 6"/>
                  <a:gd name="T2" fmla="*/ 3 w 34"/>
                  <a:gd name="T3" fmla="*/ 2 h 6"/>
                  <a:gd name="T4" fmla="*/ 6 w 34"/>
                  <a:gd name="T5" fmla="*/ 2 h 6"/>
                  <a:gd name="T6" fmla="*/ 8 w 34"/>
                  <a:gd name="T7" fmla="*/ 1 h 6"/>
                  <a:gd name="T8" fmla="*/ 11 w 34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0" name="Line 100">
                <a:extLst>
                  <a:ext uri="{FF2B5EF4-FFF2-40B4-BE49-F238E27FC236}">
                    <a16:creationId xmlns:a16="http://schemas.microsoft.com/office/drawing/2014/main" id="{22C49D2A-FC88-4564-871C-CF7DFCD820B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1" name="Freeform 101">
                <a:extLst>
                  <a:ext uri="{FF2B5EF4-FFF2-40B4-BE49-F238E27FC236}">
                    <a16:creationId xmlns:a16="http://schemas.microsoft.com/office/drawing/2014/main" id="{A7E50392-1F3C-454E-A946-2F4D1ABD3A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0 w 1"/>
                  <a:gd name="T1" fmla="*/ 7 h 19"/>
                  <a:gd name="T2" fmla="*/ 0 w 1"/>
                  <a:gd name="T3" fmla="*/ 3 h 19"/>
                  <a:gd name="T4" fmla="*/ 0 w 1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2" name="Line 102">
                <a:extLst>
                  <a:ext uri="{FF2B5EF4-FFF2-40B4-BE49-F238E27FC236}">
                    <a16:creationId xmlns:a16="http://schemas.microsoft.com/office/drawing/2014/main" id="{83BB8B1C-E220-4CD0-964E-3F46315914F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3" name="Freeform 103">
                <a:extLst>
                  <a:ext uri="{FF2B5EF4-FFF2-40B4-BE49-F238E27FC236}">
                    <a16:creationId xmlns:a16="http://schemas.microsoft.com/office/drawing/2014/main" id="{8AFA5AD5-4DB4-496D-9FC2-AF269113BD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4 w 14"/>
                  <a:gd name="T1" fmla="*/ 0 h 6"/>
                  <a:gd name="T2" fmla="*/ 2 w 14"/>
                  <a:gd name="T3" fmla="*/ 1 h 6"/>
                  <a:gd name="T4" fmla="*/ 0 w 14"/>
                  <a:gd name="T5" fmla="*/ 2 h 6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628" name="Freeform 104">
              <a:extLst>
                <a:ext uri="{FF2B5EF4-FFF2-40B4-BE49-F238E27FC236}">
                  <a16:creationId xmlns:a16="http://schemas.microsoft.com/office/drawing/2014/main" id="{693EE4C7-FF3B-4E3E-B746-D35206318A2A}"/>
                </a:ext>
              </a:extLst>
            </p:cNvPr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7834313" y="3228975"/>
              <a:ext cx="6350" cy="57150"/>
            </a:xfrm>
            <a:custGeom>
              <a:avLst/>
              <a:gdLst>
                <a:gd name="T0" fmla="*/ 3175 w 26"/>
                <a:gd name="T1" fmla="*/ 57150 h 111"/>
                <a:gd name="T2" fmla="*/ 2198 w 26"/>
                <a:gd name="T3" fmla="*/ 53031 h 111"/>
                <a:gd name="T4" fmla="*/ 977 w 26"/>
                <a:gd name="T5" fmla="*/ 48912 h 111"/>
                <a:gd name="T6" fmla="*/ 488 w 26"/>
                <a:gd name="T7" fmla="*/ 46853 h 111"/>
                <a:gd name="T8" fmla="*/ 244 w 26"/>
                <a:gd name="T9" fmla="*/ 44793 h 111"/>
                <a:gd name="T10" fmla="*/ 0 w 26"/>
                <a:gd name="T11" fmla="*/ 41189 h 111"/>
                <a:gd name="T12" fmla="*/ 0 w 26"/>
                <a:gd name="T13" fmla="*/ 38100 h 111"/>
                <a:gd name="T14" fmla="*/ 0 w 26"/>
                <a:gd name="T15" fmla="*/ 31407 h 111"/>
                <a:gd name="T16" fmla="*/ 244 w 26"/>
                <a:gd name="T17" fmla="*/ 26258 h 111"/>
                <a:gd name="T18" fmla="*/ 733 w 26"/>
                <a:gd name="T19" fmla="*/ 21109 h 111"/>
                <a:gd name="T20" fmla="*/ 1221 w 26"/>
                <a:gd name="T21" fmla="*/ 16991 h 111"/>
                <a:gd name="T22" fmla="*/ 2198 w 26"/>
                <a:gd name="T23" fmla="*/ 12357 h 111"/>
                <a:gd name="T24" fmla="*/ 3419 w 26"/>
                <a:gd name="T25" fmla="*/ 8753 h 111"/>
                <a:gd name="T26" fmla="*/ 4885 w 26"/>
                <a:gd name="T27" fmla="*/ 4634 h 111"/>
                <a:gd name="T28" fmla="*/ 6350 w 26"/>
                <a:gd name="T29" fmla="*/ 0 h 111"/>
                <a:gd name="T30" fmla="*/ 6350 w 26"/>
                <a:gd name="T31" fmla="*/ 3089 h 111"/>
                <a:gd name="T32" fmla="*/ 6350 w 26"/>
                <a:gd name="T33" fmla="*/ 6693 h 111"/>
                <a:gd name="T34" fmla="*/ 6350 w 26"/>
                <a:gd name="T35" fmla="*/ 11327 h 111"/>
                <a:gd name="T36" fmla="*/ 6350 w 26"/>
                <a:gd name="T37" fmla="*/ 16476 h 111"/>
                <a:gd name="T38" fmla="*/ 6106 w 26"/>
                <a:gd name="T39" fmla="*/ 22654 h 111"/>
                <a:gd name="T40" fmla="*/ 5373 w 26"/>
                <a:gd name="T41" fmla="*/ 28832 h 111"/>
                <a:gd name="T42" fmla="*/ 4396 w 26"/>
                <a:gd name="T43" fmla="*/ 34496 h 111"/>
                <a:gd name="T44" fmla="*/ 3175 w 26"/>
                <a:gd name="T45" fmla="*/ 41189 h 111"/>
                <a:gd name="T46" fmla="*/ 3175 w 26"/>
                <a:gd name="T47" fmla="*/ 57150 h 11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29" name="Freeform 105">
              <a:extLst>
                <a:ext uri="{FF2B5EF4-FFF2-40B4-BE49-F238E27FC236}">
                  <a16:creationId xmlns:a16="http://schemas.microsoft.com/office/drawing/2014/main" id="{F95F41E2-8B05-4EB9-909A-D490C6B55632}"/>
                </a:ext>
              </a:extLst>
            </p:cNvPr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4733926" y="5368925"/>
              <a:ext cx="53975" cy="58738"/>
            </a:xfrm>
            <a:custGeom>
              <a:avLst/>
              <a:gdLst>
                <a:gd name="T0" fmla="*/ 0 w 126"/>
                <a:gd name="T1" fmla="*/ 18000 h 62"/>
                <a:gd name="T2" fmla="*/ 4712 w 126"/>
                <a:gd name="T3" fmla="*/ 18948 h 62"/>
                <a:gd name="T4" fmla="*/ 8996 w 126"/>
                <a:gd name="T5" fmla="*/ 19895 h 62"/>
                <a:gd name="T6" fmla="*/ 12423 w 126"/>
                <a:gd name="T7" fmla="*/ 21790 h 62"/>
                <a:gd name="T8" fmla="*/ 15421 w 126"/>
                <a:gd name="T9" fmla="*/ 24632 h 62"/>
                <a:gd name="T10" fmla="*/ 21419 w 126"/>
                <a:gd name="T11" fmla="*/ 31264 h 62"/>
                <a:gd name="T12" fmla="*/ 26131 w 126"/>
                <a:gd name="T13" fmla="*/ 37895 h 62"/>
                <a:gd name="T14" fmla="*/ 29986 w 126"/>
                <a:gd name="T15" fmla="*/ 45475 h 62"/>
                <a:gd name="T16" fmla="*/ 33841 w 126"/>
                <a:gd name="T17" fmla="*/ 52106 h 62"/>
                <a:gd name="T18" fmla="*/ 35983 w 126"/>
                <a:gd name="T19" fmla="*/ 54948 h 62"/>
                <a:gd name="T20" fmla="*/ 38125 w 126"/>
                <a:gd name="T21" fmla="*/ 56843 h 62"/>
                <a:gd name="T22" fmla="*/ 40695 w 126"/>
                <a:gd name="T23" fmla="*/ 57791 h 62"/>
                <a:gd name="T24" fmla="*/ 42837 w 126"/>
                <a:gd name="T25" fmla="*/ 58738 h 62"/>
                <a:gd name="T26" fmla="*/ 44979 w 126"/>
                <a:gd name="T27" fmla="*/ 57791 h 62"/>
                <a:gd name="T28" fmla="*/ 46693 w 126"/>
                <a:gd name="T29" fmla="*/ 56843 h 62"/>
                <a:gd name="T30" fmla="*/ 48406 w 126"/>
                <a:gd name="T31" fmla="*/ 54948 h 62"/>
                <a:gd name="T32" fmla="*/ 50120 w 126"/>
                <a:gd name="T33" fmla="*/ 53054 h 62"/>
                <a:gd name="T34" fmla="*/ 52262 w 126"/>
                <a:gd name="T35" fmla="*/ 48317 h 62"/>
                <a:gd name="T36" fmla="*/ 53975 w 126"/>
                <a:gd name="T37" fmla="*/ 46422 h 62"/>
                <a:gd name="T38" fmla="*/ 47121 w 126"/>
                <a:gd name="T39" fmla="*/ 31264 h 62"/>
                <a:gd name="T40" fmla="*/ 41124 w 126"/>
                <a:gd name="T41" fmla="*/ 19895 h 62"/>
                <a:gd name="T42" fmla="*/ 38125 w 126"/>
                <a:gd name="T43" fmla="*/ 14211 h 62"/>
                <a:gd name="T44" fmla="*/ 34698 w 126"/>
                <a:gd name="T45" fmla="*/ 8526 h 62"/>
                <a:gd name="T46" fmla="*/ 30843 w 126"/>
                <a:gd name="T47" fmla="*/ 4737 h 62"/>
                <a:gd name="T48" fmla="*/ 26131 w 126"/>
                <a:gd name="T49" fmla="*/ 0 h 62"/>
                <a:gd name="T50" fmla="*/ 0 w 126"/>
                <a:gd name="T51" fmla="*/ 0 h 62"/>
                <a:gd name="T52" fmla="*/ 0 w 126"/>
                <a:gd name="T53" fmla="*/ 8526 h 62"/>
                <a:gd name="T54" fmla="*/ 0 w 126"/>
                <a:gd name="T55" fmla="*/ 18000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0" name="Freeform 106">
              <a:extLst>
                <a:ext uri="{FF2B5EF4-FFF2-40B4-BE49-F238E27FC236}">
                  <a16:creationId xmlns:a16="http://schemas.microsoft.com/office/drawing/2014/main" id="{65098E82-DC21-4C61-B3F6-5F21188A9BEA}"/>
                </a:ext>
              </a:extLst>
            </p:cNvPr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7035801" y="5207001"/>
              <a:ext cx="30163" cy="55563"/>
            </a:xfrm>
            <a:custGeom>
              <a:avLst/>
              <a:gdLst>
                <a:gd name="T0" fmla="*/ 0 w 66"/>
                <a:gd name="T1" fmla="*/ 0 h 44"/>
                <a:gd name="T2" fmla="*/ 5941 w 66"/>
                <a:gd name="T3" fmla="*/ 1263 h 44"/>
                <a:gd name="T4" fmla="*/ 10511 w 66"/>
                <a:gd name="T5" fmla="*/ 2526 h 44"/>
                <a:gd name="T6" fmla="*/ 14624 w 66"/>
                <a:gd name="T7" fmla="*/ 5051 h 44"/>
                <a:gd name="T8" fmla="*/ 17367 w 66"/>
                <a:gd name="T9" fmla="*/ 8840 h 44"/>
                <a:gd name="T10" fmla="*/ 20109 w 66"/>
                <a:gd name="T11" fmla="*/ 11365 h 44"/>
                <a:gd name="T12" fmla="*/ 22851 w 66"/>
                <a:gd name="T13" fmla="*/ 13891 h 44"/>
                <a:gd name="T14" fmla="*/ 26050 w 66"/>
                <a:gd name="T15" fmla="*/ 15154 h 44"/>
                <a:gd name="T16" fmla="*/ 30163 w 66"/>
                <a:gd name="T17" fmla="*/ 16416 h 44"/>
                <a:gd name="T18" fmla="*/ 29706 w 66"/>
                <a:gd name="T19" fmla="*/ 21468 h 44"/>
                <a:gd name="T20" fmla="*/ 28335 w 66"/>
                <a:gd name="T21" fmla="*/ 26519 h 44"/>
                <a:gd name="T22" fmla="*/ 27421 w 66"/>
                <a:gd name="T23" fmla="*/ 31570 h 44"/>
                <a:gd name="T24" fmla="*/ 26050 w 66"/>
                <a:gd name="T25" fmla="*/ 35358 h 44"/>
                <a:gd name="T26" fmla="*/ 22394 w 66"/>
                <a:gd name="T27" fmla="*/ 42935 h 44"/>
                <a:gd name="T28" fmla="*/ 18281 w 66"/>
                <a:gd name="T29" fmla="*/ 49249 h 44"/>
                <a:gd name="T30" fmla="*/ 14167 w 66"/>
                <a:gd name="T31" fmla="*/ 53037 h 44"/>
                <a:gd name="T32" fmla="*/ 9597 w 66"/>
                <a:gd name="T33" fmla="*/ 55563 h 44"/>
                <a:gd name="T34" fmla="*/ 4570 w 66"/>
                <a:gd name="T35" fmla="*/ 55563 h 44"/>
                <a:gd name="T36" fmla="*/ 0 w 66"/>
                <a:gd name="T37" fmla="*/ 54300 h 44"/>
                <a:gd name="T38" fmla="*/ 0 w 66"/>
                <a:gd name="T39" fmla="*/ 39147 h 44"/>
                <a:gd name="T40" fmla="*/ 0 w 66"/>
                <a:gd name="T41" fmla="*/ 27782 h 44"/>
                <a:gd name="T42" fmla="*/ 0 w 66"/>
                <a:gd name="T43" fmla="*/ 15154 h 44"/>
                <a:gd name="T44" fmla="*/ 0 w 66"/>
                <a:gd name="T45" fmla="*/ 0 h 4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1" name="Freeform 107">
              <a:extLst>
                <a:ext uri="{FF2B5EF4-FFF2-40B4-BE49-F238E27FC236}">
                  <a16:creationId xmlns:a16="http://schemas.microsoft.com/office/drawing/2014/main" id="{8D5A670C-4B6F-4CBF-A27F-8423692DFD30}"/>
                </a:ext>
              </a:extLst>
            </p:cNvPr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9190039" y="1978025"/>
              <a:ext cx="20637" cy="57150"/>
            </a:xfrm>
            <a:custGeom>
              <a:avLst/>
              <a:gdLst>
                <a:gd name="T0" fmla="*/ 20637 w 46"/>
                <a:gd name="T1" fmla="*/ 0 h 16"/>
                <a:gd name="T2" fmla="*/ 17945 w 46"/>
                <a:gd name="T3" fmla="*/ 25003 h 16"/>
                <a:gd name="T4" fmla="*/ 15702 w 46"/>
                <a:gd name="T5" fmla="*/ 46434 h 16"/>
                <a:gd name="T6" fmla="*/ 13908 w 46"/>
                <a:gd name="T7" fmla="*/ 50006 h 16"/>
                <a:gd name="T8" fmla="*/ 13010 w 46"/>
                <a:gd name="T9" fmla="*/ 53578 h 16"/>
                <a:gd name="T10" fmla="*/ 11664 w 46"/>
                <a:gd name="T11" fmla="*/ 57150 h 16"/>
                <a:gd name="T12" fmla="*/ 10319 w 46"/>
                <a:gd name="T13" fmla="*/ 57150 h 16"/>
                <a:gd name="T14" fmla="*/ 7178 w 46"/>
                <a:gd name="T15" fmla="*/ 50006 h 16"/>
                <a:gd name="T16" fmla="*/ 4935 w 46"/>
                <a:gd name="T17" fmla="*/ 39291 h 16"/>
                <a:gd name="T18" fmla="*/ 2243 w 46"/>
                <a:gd name="T19" fmla="*/ 21431 h 16"/>
                <a:gd name="T20" fmla="*/ 0 w 46"/>
                <a:gd name="T21" fmla="*/ 0 h 16"/>
                <a:gd name="T22" fmla="*/ 20637 w 46"/>
                <a:gd name="T23" fmla="*/ 0 h 1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2" name="Freeform 108">
              <a:extLst>
                <a:ext uri="{FF2B5EF4-FFF2-40B4-BE49-F238E27FC236}">
                  <a16:creationId xmlns:a16="http://schemas.microsoft.com/office/drawing/2014/main" id="{7CA5BE29-2A87-49AC-A8CF-72356508D48D}"/>
                </a:ext>
              </a:extLst>
            </p:cNvPr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9366251" y="2011363"/>
              <a:ext cx="15875" cy="57150"/>
            </a:xfrm>
            <a:custGeom>
              <a:avLst/>
              <a:gdLst>
                <a:gd name="T0" fmla="*/ 15875 w 39"/>
                <a:gd name="T1" fmla="*/ 54952 h 26"/>
                <a:gd name="T2" fmla="*/ 14654 w 39"/>
                <a:gd name="T3" fmla="*/ 57150 h 26"/>
                <a:gd name="T4" fmla="*/ 13026 w 39"/>
                <a:gd name="T5" fmla="*/ 57150 h 26"/>
                <a:gd name="T6" fmla="*/ 11397 w 39"/>
                <a:gd name="T7" fmla="*/ 57150 h 26"/>
                <a:gd name="T8" fmla="*/ 10176 w 39"/>
                <a:gd name="T9" fmla="*/ 54952 h 26"/>
                <a:gd name="T10" fmla="*/ 7327 w 39"/>
                <a:gd name="T11" fmla="*/ 48358 h 26"/>
                <a:gd name="T12" fmla="*/ 4885 w 39"/>
                <a:gd name="T13" fmla="*/ 39565 h 26"/>
                <a:gd name="T14" fmla="*/ 2849 w 39"/>
                <a:gd name="T15" fmla="*/ 28575 h 26"/>
                <a:gd name="T16" fmla="*/ 1221 w 39"/>
                <a:gd name="T17" fmla="*/ 15387 h 26"/>
                <a:gd name="T18" fmla="*/ 407 w 39"/>
                <a:gd name="T19" fmla="*/ 6594 h 26"/>
                <a:gd name="T20" fmla="*/ 0 w 39"/>
                <a:gd name="T21" fmla="*/ 0 h 26"/>
                <a:gd name="T22" fmla="*/ 4478 w 39"/>
                <a:gd name="T23" fmla="*/ 13188 h 26"/>
                <a:gd name="T24" fmla="*/ 8955 w 39"/>
                <a:gd name="T25" fmla="*/ 28575 h 26"/>
                <a:gd name="T26" fmla="*/ 13433 w 39"/>
                <a:gd name="T27" fmla="*/ 43962 h 26"/>
                <a:gd name="T28" fmla="*/ 15875 w 39"/>
                <a:gd name="T29" fmla="*/ 54952 h 2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3" name="Freeform 109">
              <a:extLst>
                <a:ext uri="{FF2B5EF4-FFF2-40B4-BE49-F238E27FC236}">
                  <a16:creationId xmlns:a16="http://schemas.microsoft.com/office/drawing/2014/main" id="{80799449-68FE-464D-B76F-36F41704DAC5}"/>
                </a:ext>
              </a:extLst>
            </p:cNvPr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8815388" y="2241550"/>
              <a:ext cx="4762" cy="58738"/>
            </a:xfrm>
            <a:custGeom>
              <a:avLst/>
              <a:gdLst>
                <a:gd name="T0" fmla="*/ 4762 w 11"/>
                <a:gd name="T1" fmla="*/ 0 h 25"/>
                <a:gd name="T2" fmla="*/ 4762 w 11"/>
                <a:gd name="T3" fmla="*/ 11748 h 25"/>
                <a:gd name="T4" fmla="*/ 4329 w 11"/>
                <a:gd name="T5" fmla="*/ 28194 h 25"/>
                <a:gd name="T6" fmla="*/ 3896 w 11"/>
                <a:gd name="T7" fmla="*/ 46990 h 25"/>
                <a:gd name="T8" fmla="*/ 1732 w 11"/>
                <a:gd name="T9" fmla="*/ 58738 h 25"/>
                <a:gd name="T10" fmla="*/ 866 w 11"/>
                <a:gd name="T11" fmla="*/ 54039 h 25"/>
                <a:gd name="T12" fmla="*/ 433 w 11"/>
                <a:gd name="T13" fmla="*/ 46990 h 25"/>
                <a:gd name="T14" fmla="*/ 0 w 11"/>
                <a:gd name="T15" fmla="*/ 35243 h 25"/>
                <a:gd name="T16" fmla="*/ 0 w 11"/>
                <a:gd name="T17" fmla="*/ 28194 h 25"/>
                <a:gd name="T18" fmla="*/ 433 w 11"/>
                <a:gd name="T19" fmla="*/ 21146 h 25"/>
                <a:gd name="T20" fmla="*/ 1299 w 11"/>
                <a:gd name="T21" fmla="*/ 11748 h 25"/>
                <a:gd name="T22" fmla="*/ 2597 w 11"/>
                <a:gd name="T23" fmla="*/ 4699 h 25"/>
                <a:gd name="T24" fmla="*/ 4762 w 11"/>
                <a:gd name="T25" fmla="*/ 0 h 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4" name="Freeform 110">
              <a:extLst>
                <a:ext uri="{FF2B5EF4-FFF2-40B4-BE49-F238E27FC236}">
                  <a16:creationId xmlns:a16="http://schemas.microsoft.com/office/drawing/2014/main" id="{0CF1AD0B-B089-4265-8079-CF3006FB212F}"/>
                </a:ext>
              </a:extLst>
            </p:cNvPr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8629650" y="2803525"/>
              <a:ext cx="14288" cy="58738"/>
            </a:xfrm>
            <a:custGeom>
              <a:avLst/>
              <a:gdLst>
                <a:gd name="T0" fmla="*/ 14288 w 20"/>
                <a:gd name="T1" fmla="*/ 0 h 31"/>
                <a:gd name="T2" fmla="*/ 11430 w 20"/>
                <a:gd name="T3" fmla="*/ 22737 h 31"/>
                <a:gd name="T4" fmla="*/ 7144 w 20"/>
                <a:gd name="T5" fmla="*/ 37895 h 31"/>
                <a:gd name="T6" fmla="*/ 3572 w 20"/>
                <a:gd name="T7" fmla="*/ 49264 h 31"/>
                <a:gd name="T8" fmla="*/ 0 w 20"/>
                <a:gd name="T9" fmla="*/ 58738 h 31"/>
                <a:gd name="T10" fmla="*/ 0 w 20"/>
                <a:gd name="T11" fmla="*/ 47369 h 31"/>
                <a:gd name="T12" fmla="*/ 714 w 20"/>
                <a:gd name="T13" fmla="*/ 36001 h 31"/>
                <a:gd name="T14" fmla="*/ 1429 w 20"/>
                <a:gd name="T15" fmla="*/ 24632 h 31"/>
                <a:gd name="T16" fmla="*/ 3572 w 20"/>
                <a:gd name="T17" fmla="*/ 17053 h 31"/>
                <a:gd name="T18" fmla="*/ 5715 w 20"/>
                <a:gd name="T19" fmla="*/ 11369 h 31"/>
                <a:gd name="T20" fmla="*/ 7858 w 20"/>
                <a:gd name="T21" fmla="*/ 5684 h 31"/>
                <a:gd name="T22" fmla="*/ 11430 w 20"/>
                <a:gd name="T23" fmla="*/ 0 h 31"/>
                <a:gd name="T24" fmla="*/ 14288 w 20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5" name="Freeform 111">
              <a:extLst>
                <a:ext uri="{FF2B5EF4-FFF2-40B4-BE49-F238E27FC236}">
                  <a16:creationId xmlns:a16="http://schemas.microsoft.com/office/drawing/2014/main" id="{A55FB68E-328C-4D82-8EF5-3DEAC99626DA}"/>
                </a:ext>
              </a:extLst>
            </p:cNvPr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8647114" y="2738438"/>
              <a:ext cx="15875" cy="57150"/>
            </a:xfrm>
            <a:custGeom>
              <a:avLst/>
              <a:gdLst>
                <a:gd name="T0" fmla="*/ 7938 w 26"/>
                <a:gd name="T1" fmla="*/ 57150 h 37"/>
                <a:gd name="T2" fmla="*/ 0 w 26"/>
                <a:gd name="T3" fmla="*/ 18535 h 37"/>
                <a:gd name="T4" fmla="*/ 3663 w 26"/>
                <a:gd name="T5" fmla="*/ 10812 h 37"/>
                <a:gd name="T6" fmla="*/ 7938 w 26"/>
                <a:gd name="T7" fmla="*/ 6178 h 37"/>
                <a:gd name="T8" fmla="*/ 12822 w 26"/>
                <a:gd name="T9" fmla="*/ 1545 h 37"/>
                <a:gd name="T10" fmla="*/ 15875 w 26"/>
                <a:gd name="T11" fmla="*/ 0 h 37"/>
                <a:gd name="T12" fmla="*/ 15875 w 26"/>
                <a:gd name="T13" fmla="*/ 9268 h 37"/>
                <a:gd name="T14" fmla="*/ 15264 w 26"/>
                <a:gd name="T15" fmla="*/ 16991 h 37"/>
                <a:gd name="T16" fmla="*/ 14654 w 26"/>
                <a:gd name="T17" fmla="*/ 26258 h 37"/>
                <a:gd name="T18" fmla="*/ 14043 w 26"/>
                <a:gd name="T19" fmla="*/ 32436 h 37"/>
                <a:gd name="T20" fmla="*/ 10990 w 26"/>
                <a:gd name="T21" fmla="*/ 44793 h 37"/>
                <a:gd name="T22" fmla="*/ 7938 w 26"/>
                <a:gd name="T23" fmla="*/ 57150 h 3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6" name="Freeform 112">
              <a:extLst>
                <a:ext uri="{FF2B5EF4-FFF2-40B4-BE49-F238E27FC236}">
                  <a16:creationId xmlns:a16="http://schemas.microsoft.com/office/drawing/2014/main" id="{58E80CA7-7614-41B1-8E12-7EA68283B966}"/>
                </a:ext>
              </a:extLst>
            </p:cNvPr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8535989" y="2587626"/>
              <a:ext cx="1587" cy="60325"/>
            </a:xfrm>
            <a:custGeom>
              <a:avLst/>
              <a:gdLst>
                <a:gd name="T0" fmla="*/ 0 w 7"/>
                <a:gd name="T1" fmla="*/ 60325 h 18"/>
                <a:gd name="T2" fmla="*/ 0 w 7"/>
                <a:gd name="T3" fmla="*/ 0 h 18"/>
                <a:gd name="T4" fmla="*/ 1587 w 7"/>
                <a:gd name="T5" fmla="*/ 40217 h 18"/>
                <a:gd name="T6" fmla="*/ 0 w 7"/>
                <a:gd name="T7" fmla="*/ 60325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7" name="Freeform 113">
              <a:extLst>
                <a:ext uri="{FF2B5EF4-FFF2-40B4-BE49-F238E27FC236}">
                  <a16:creationId xmlns:a16="http://schemas.microsoft.com/office/drawing/2014/main" id="{7BD3169D-69F2-41B3-98B2-E97328CF5ADF}"/>
                </a:ext>
              </a:extLst>
            </p:cNvPr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5387976" y="1714500"/>
              <a:ext cx="9525" cy="57150"/>
            </a:xfrm>
            <a:custGeom>
              <a:avLst/>
              <a:gdLst>
                <a:gd name="T0" fmla="*/ 0 w 33"/>
                <a:gd name="T1" fmla="*/ 22123 h 31"/>
                <a:gd name="T2" fmla="*/ 5484 w 33"/>
                <a:gd name="T3" fmla="*/ 0 h 31"/>
                <a:gd name="T4" fmla="*/ 6927 w 33"/>
                <a:gd name="T5" fmla="*/ 9218 h 31"/>
                <a:gd name="T6" fmla="*/ 8082 w 33"/>
                <a:gd name="T7" fmla="*/ 22123 h 31"/>
                <a:gd name="T8" fmla="*/ 9236 w 33"/>
                <a:gd name="T9" fmla="*/ 40558 h 31"/>
                <a:gd name="T10" fmla="*/ 9525 w 33"/>
                <a:gd name="T11" fmla="*/ 57150 h 31"/>
                <a:gd name="T12" fmla="*/ 7793 w 33"/>
                <a:gd name="T13" fmla="*/ 55306 h 31"/>
                <a:gd name="T14" fmla="*/ 6350 w 33"/>
                <a:gd name="T15" fmla="*/ 51619 h 31"/>
                <a:gd name="T16" fmla="*/ 4618 w 33"/>
                <a:gd name="T17" fmla="*/ 46089 h 31"/>
                <a:gd name="T18" fmla="*/ 3175 w 33"/>
                <a:gd name="T19" fmla="*/ 40558 h 31"/>
                <a:gd name="T20" fmla="*/ 866 w 33"/>
                <a:gd name="T21" fmla="*/ 27653 h 31"/>
                <a:gd name="T22" fmla="*/ 0 w 33"/>
                <a:gd name="T23" fmla="*/ 22123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8" name="Freeform 114">
              <a:extLst>
                <a:ext uri="{FF2B5EF4-FFF2-40B4-BE49-F238E27FC236}">
                  <a16:creationId xmlns:a16="http://schemas.microsoft.com/office/drawing/2014/main" id="{C1DA91C4-818D-41E7-8699-598F757E8BB0}"/>
                </a:ext>
              </a:extLst>
            </p:cNvPr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5373689" y="1482725"/>
              <a:ext cx="3175" cy="57150"/>
            </a:xfrm>
            <a:custGeom>
              <a:avLst/>
              <a:gdLst>
                <a:gd name="T0" fmla="*/ 3175 w 14"/>
                <a:gd name="T1" fmla="*/ 0 h 6"/>
                <a:gd name="T2" fmla="*/ 0 w 14"/>
                <a:gd name="T3" fmla="*/ 57150 h 6"/>
                <a:gd name="T4" fmla="*/ 3175 w 14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9" name="Freeform 115">
              <a:extLst>
                <a:ext uri="{FF2B5EF4-FFF2-40B4-BE49-F238E27FC236}">
                  <a16:creationId xmlns:a16="http://schemas.microsoft.com/office/drawing/2014/main" id="{19CCEEF5-5D79-4F46-A22D-90F98947FC06}"/>
                </a:ext>
              </a:extLst>
            </p:cNvPr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6854825" y="3260726"/>
              <a:ext cx="25400" cy="55563"/>
            </a:xfrm>
            <a:custGeom>
              <a:avLst/>
              <a:gdLst>
                <a:gd name="T0" fmla="*/ 25400 w 59"/>
                <a:gd name="T1" fmla="*/ 10754 h 31"/>
                <a:gd name="T2" fmla="*/ 24539 w 59"/>
                <a:gd name="T3" fmla="*/ 19716 h 31"/>
                <a:gd name="T4" fmla="*/ 22817 w 59"/>
                <a:gd name="T5" fmla="*/ 26885 h 31"/>
                <a:gd name="T6" fmla="*/ 21095 w 59"/>
                <a:gd name="T7" fmla="*/ 34055 h 31"/>
                <a:gd name="T8" fmla="*/ 19373 w 59"/>
                <a:gd name="T9" fmla="*/ 43017 h 31"/>
                <a:gd name="T10" fmla="*/ 17220 w 59"/>
                <a:gd name="T11" fmla="*/ 48394 h 31"/>
                <a:gd name="T12" fmla="*/ 15498 w 59"/>
                <a:gd name="T13" fmla="*/ 51978 h 31"/>
                <a:gd name="T14" fmla="*/ 12915 w 59"/>
                <a:gd name="T15" fmla="*/ 55563 h 31"/>
                <a:gd name="T16" fmla="*/ 11193 w 59"/>
                <a:gd name="T17" fmla="*/ 55563 h 31"/>
                <a:gd name="T18" fmla="*/ 9041 w 59"/>
                <a:gd name="T19" fmla="*/ 55563 h 31"/>
                <a:gd name="T20" fmla="*/ 7319 w 59"/>
                <a:gd name="T21" fmla="*/ 53771 h 31"/>
                <a:gd name="T22" fmla="*/ 6027 w 59"/>
                <a:gd name="T23" fmla="*/ 51978 h 31"/>
                <a:gd name="T24" fmla="*/ 4736 w 59"/>
                <a:gd name="T25" fmla="*/ 48394 h 31"/>
                <a:gd name="T26" fmla="*/ 1722 w 59"/>
                <a:gd name="T27" fmla="*/ 35847 h 31"/>
                <a:gd name="T28" fmla="*/ 0 w 59"/>
                <a:gd name="T29" fmla="*/ 21508 h 31"/>
                <a:gd name="T30" fmla="*/ 431 w 59"/>
                <a:gd name="T31" fmla="*/ 16131 h 31"/>
                <a:gd name="T32" fmla="*/ 1292 w 59"/>
                <a:gd name="T33" fmla="*/ 10754 h 31"/>
                <a:gd name="T34" fmla="*/ 2153 w 59"/>
                <a:gd name="T35" fmla="*/ 7169 h 31"/>
                <a:gd name="T36" fmla="*/ 3444 w 59"/>
                <a:gd name="T37" fmla="*/ 5377 h 31"/>
                <a:gd name="T38" fmla="*/ 6888 w 59"/>
                <a:gd name="T39" fmla="*/ 1792 h 31"/>
                <a:gd name="T40" fmla="*/ 10332 w 59"/>
                <a:gd name="T41" fmla="*/ 0 h 31"/>
                <a:gd name="T42" fmla="*/ 14637 w 59"/>
                <a:gd name="T43" fmla="*/ 0 h 31"/>
                <a:gd name="T44" fmla="*/ 18081 w 59"/>
                <a:gd name="T45" fmla="*/ 3585 h 31"/>
                <a:gd name="T46" fmla="*/ 21956 w 59"/>
                <a:gd name="T47" fmla="*/ 7169 h 31"/>
                <a:gd name="T48" fmla="*/ 25400 w 59"/>
                <a:gd name="T49" fmla="*/ 10754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40" name="Freeform 116">
              <a:extLst>
                <a:ext uri="{FF2B5EF4-FFF2-40B4-BE49-F238E27FC236}">
                  <a16:creationId xmlns:a16="http://schemas.microsoft.com/office/drawing/2014/main" id="{16A33131-4EB3-4A6D-8B91-2AF07E2258BB}"/>
                </a:ext>
              </a:extLst>
            </p:cNvPr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6557963" y="3122614"/>
              <a:ext cx="19050" cy="58737"/>
            </a:xfrm>
            <a:custGeom>
              <a:avLst/>
              <a:gdLst>
                <a:gd name="T0" fmla="*/ 5674 w 47"/>
                <a:gd name="T1" fmla="*/ 0 h 68"/>
                <a:gd name="T2" fmla="*/ 3243 w 47"/>
                <a:gd name="T3" fmla="*/ 8638 h 68"/>
                <a:gd name="T4" fmla="*/ 1621 w 47"/>
                <a:gd name="T5" fmla="*/ 16412 h 68"/>
                <a:gd name="T6" fmla="*/ 811 w 47"/>
                <a:gd name="T7" fmla="*/ 24186 h 68"/>
                <a:gd name="T8" fmla="*/ 0 w 47"/>
                <a:gd name="T9" fmla="*/ 31960 h 68"/>
                <a:gd name="T10" fmla="*/ 0 w 47"/>
                <a:gd name="T11" fmla="*/ 36279 h 68"/>
                <a:gd name="T12" fmla="*/ 811 w 47"/>
                <a:gd name="T13" fmla="*/ 40598 h 68"/>
                <a:gd name="T14" fmla="*/ 1216 w 47"/>
                <a:gd name="T15" fmla="*/ 44053 h 68"/>
                <a:gd name="T16" fmla="*/ 2027 w 47"/>
                <a:gd name="T17" fmla="*/ 47508 h 68"/>
                <a:gd name="T18" fmla="*/ 2837 w 47"/>
                <a:gd name="T19" fmla="*/ 50099 h 68"/>
                <a:gd name="T20" fmla="*/ 3648 w 47"/>
                <a:gd name="T21" fmla="*/ 51827 h 68"/>
                <a:gd name="T22" fmla="*/ 5269 w 47"/>
                <a:gd name="T23" fmla="*/ 53554 h 68"/>
                <a:gd name="T24" fmla="*/ 6485 w 47"/>
                <a:gd name="T25" fmla="*/ 55282 h 68"/>
                <a:gd name="T26" fmla="*/ 8917 w 47"/>
                <a:gd name="T27" fmla="*/ 57873 h 68"/>
                <a:gd name="T28" fmla="*/ 12565 w 47"/>
                <a:gd name="T29" fmla="*/ 58737 h 68"/>
                <a:gd name="T30" fmla="*/ 15807 w 47"/>
                <a:gd name="T31" fmla="*/ 58737 h 68"/>
                <a:gd name="T32" fmla="*/ 19050 w 47"/>
                <a:gd name="T33" fmla="*/ 58737 h 68"/>
                <a:gd name="T34" fmla="*/ 16618 w 47"/>
                <a:gd name="T35" fmla="*/ 50099 h 68"/>
                <a:gd name="T36" fmla="*/ 15402 w 47"/>
                <a:gd name="T37" fmla="*/ 41461 h 68"/>
                <a:gd name="T38" fmla="*/ 14591 w 47"/>
                <a:gd name="T39" fmla="*/ 37143 h 68"/>
                <a:gd name="T40" fmla="*/ 14186 w 47"/>
                <a:gd name="T41" fmla="*/ 32824 h 68"/>
                <a:gd name="T42" fmla="*/ 13376 w 47"/>
                <a:gd name="T43" fmla="*/ 26777 h 68"/>
                <a:gd name="T44" fmla="*/ 13376 w 47"/>
                <a:gd name="T45" fmla="*/ 21594 h 68"/>
                <a:gd name="T46" fmla="*/ 9728 w 47"/>
                <a:gd name="T47" fmla="*/ 11229 h 68"/>
                <a:gd name="T48" fmla="*/ 5674 w 47"/>
                <a:gd name="T49" fmla="*/ 0 h 6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641" name="Group 117">
              <a:extLst>
                <a:ext uri="{FF2B5EF4-FFF2-40B4-BE49-F238E27FC236}">
                  <a16:creationId xmlns:a16="http://schemas.microsoft.com/office/drawing/2014/main" id="{B1ECACAE-71A1-4A17-A5A5-E49C0D0B9DD1}"/>
                </a:ext>
              </a:extLst>
            </p:cNvPr>
            <p:cNvGrpSpPr>
              <a:grpSpLocks/>
            </p:cNvGrpSpPr>
            <p:nvPr>
              <p:custDataLst>
                <p:tags r:id="rId88"/>
              </p:custDataLst>
            </p:nvPr>
          </p:nvGrpSpPr>
          <p:grpSpPr bwMode="auto">
            <a:xfrm>
              <a:off x="7329489" y="3309938"/>
              <a:ext cx="46037" cy="374650"/>
              <a:chOff x="3950" y="2430"/>
              <a:chExt cx="36" cy="234"/>
            </a:xfrm>
          </p:grpSpPr>
          <p:sp>
            <p:nvSpPr>
              <p:cNvPr id="1044" name="Freeform 118">
                <a:extLst>
                  <a:ext uri="{FF2B5EF4-FFF2-40B4-BE49-F238E27FC236}">
                    <a16:creationId xmlns:a16="http://schemas.microsoft.com/office/drawing/2014/main" id="{C763CE69-4307-4BDB-9435-5FEFE460B6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45" name="Freeform 119">
                <a:extLst>
                  <a:ext uri="{FF2B5EF4-FFF2-40B4-BE49-F238E27FC236}">
                    <a16:creationId xmlns:a16="http://schemas.microsoft.com/office/drawing/2014/main" id="{ADF53289-21D4-428C-98C2-2AC1A66D95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46" name="Freeform 120">
                <a:extLst>
                  <a:ext uri="{FF2B5EF4-FFF2-40B4-BE49-F238E27FC236}">
                    <a16:creationId xmlns:a16="http://schemas.microsoft.com/office/drawing/2014/main" id="{25A1CC20-9D2A-4A1A-ADED-7DA25606B7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47" name="Rectangle 121">
                <a:extLst>
                  <a:ext uri="{FF2B5EF4-FFF2-40B4-BE49-F238E27FC236}">
                    <a16:creationId xmlns:a16="http://schemas.microsoft.com/office/drawing/2014/main" id="{A4C0656A-1434-45E4-8E63-BCCCA4C968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048" name="Line 122">
                <a:extLst>
                  <a:ext uri="{FF2B5EF4-FFF2-40B4-BE49-F238E27FC236}">
                    <a16:creationId xmlns:a16="http://schemas.microsoft.com/office/drawing/2014/main" id="{A4F0C2FE-7D84-46E7-ABA8-A7B55843ED4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49" name="Freeform 123">
                <a:extLst>
                  <a:ext uri="{FF2B5EF4-FFF2-40B4-BE49-F238E27FC236}">
                    <a16:creationId xmlns:a16="http://schemas.microsoft.com/office/drawing/2014/main" id="{8AC62D1A-879A-4A33-ABE5-30F180D4C3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50" name="Freeform 124">
                <a:extLst>
                  <a:ext uri="{FF2B5EF4-FFF2-40B4-BE49-F238E27FC236}">
                    <a16:creationId xmlns:a16="http://schemas.microsoft.com/office/drawing/2014/main" id="{B3826A15-B671-4EE2-B9B6-E8B74B4611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51" name="Line 125">
                <a:extLst>
                  <a:ext uri="{FF2B5EF4-FFF2-40B4-BE49-F238E27FC236}">
                    <a16:creationId xmlns:a16="http://schemas.microsoft.com/office/drawing/2014/main" id="{BA85F036-4673-40FA-9CA5-37B02FD894D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52" name="Freeform 126">
                <a:extLst>
                  <a:ext uri="{FF2B5EF4-FFF2-40B4-BE49-F238E27FC236}">
                    <a16:creationId xmlns:a16="http://schemas.microsoft.com/office/drawing/2014/main" id="{861B3061-6BEE-4AAC-BA0C-34508953E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53" name="Freeform 127">
                <a:extLst>
                  <a:ext uri="{FF2B5EF4-FFF2-40B4-BE49-F238E27FC236}">
                    <a16:creationId xmlns:a16="http://schemas.microsoft.com/office/drawing/2014/main" id="{AEE7B215-151E-4353-A19B-866BCE2288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54" name="Line 128">
                <a:extLst>
                  <a:ext uri="{FF2B5EF4-FFF2-40B4-BE49-F238E27FC236}">
                    <a16:creationId xmlns:a16="http://schemas.microsoft.com/office/drawing/2014/main" id="{09D0BCE0-5A6F-4D64-B019-3FCD339AFE4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55" name="Freeform 129">
                <a:extLst>
                  <a:ext uri="{FF2B5EF4-FFF2-40B4-BE49-F238E27FC236}">
                    <a16:creationId xmlns:a16="http://schemas.microsoft.com/office/drawing/2014/main" id="{2FD2F80F-8D0C-483A-9500-34D8C67459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56" name="Freeform 130">
                <a:extLst>
                  <a:ext uri="{FF2B5EF4-FFF2-40B4-BE49-F238E27FC236}">
                    <a16:creationId xmlns:a16="http://schemas.microsoft.com/office/drawing/2014/main" id="{51329C40-0415-4ADC-8D32-FEB5675A6C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57" name="Freeform 131">
                <a:extLst>
                  <a:ext uri="{FF2B5EF4-FFF2-40B4-BE49-F238E27FC236}">
                    <a16:creationId xmlns:a16="http://schemas.microsoft.com/office/drawing/2014/main" id="{CBCB5715-E34C-47B9-B887-15B6F70FA0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58" name="Freeform 132">
                <a:extLst>
                  <a:ext uri="{FF2B5EF4-FFF2-40B4-BE49-F238E27FC236}">
                    <a16:creationId xmlns:a16="http://schemas.microsoft.com/office/drawing/2014/main" id="{980EE341-49E8-48DB-BF86-AF89AC26E0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59" name="Freeform 133">
                <a:extLst>
                  <a:ext uri="{FF2B5EF4-FFF2-40B4-BE49-F238E27FC236}">
                    <a16:creationId xmlns:a16="http://schemas.microsoft.com/office/drawing/2014/main" id="{3332CC39-36B2-4BFA-AA96-BF98451414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60" name="Freeform 134">
                <a:extLst>
                  <a:ext uri="{FF2B5EF4-FFF2-40B4-BE49-F238E27FC236}">
                    <a16:creationId xmlns:a16="http://schemas.microsoft.com/office/drawing/2014/main" id="{5C43FEF2-55BC-4DAD-B0B7-410C2FE3AB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61" name="Freeform 135">
                <a:extLst>
                  <a:ext uri="{FF2B5EF4-FFF2-40B4-BE49-F238E27FC236}">
                    <a16:creationId xmlns:a16="http://schemas.microsoft.com/office/drawing/2014/main" id="{A7F8D89E-F069-4E7C-A1DC-A4B55781B5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62" name="Rectangle 136">
                <a:extLst>
                  <a:ext uri="{FF2B5EF4-FFF2-40B4-BE49-F238E27FC236}">
                    <a16:creationId xmlns:a16="http://schemas.microsoft.com/office/drawing/2014/main" id="{AACE0CF8-53BA-4EC4-9A14-4257617249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063" name="Line 137">
                <a:extLst>
                  <a:ext uri="{FF2B5EF4-FFF2-40B4-BE49-F238E27FC236}">
                    <a16:creationId xmlns:a16="http://schemas.microsoft.com/office/drawing/2014/main" id="{0BC7F85C-3C4E-4ACF-961B-E55ECDF63D3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64" name="Freeform 138">
                <a:extLst>
                  <a:ext uri="{FF2B5EF4-FFF2-40B4-BE49-F238E27FC236}">
                    <a16:creationId xmlns:a16="http://schemas.microsoft.com/office/drawing/2014/main" id="{685B7458-4716-482D-8803-5357A68AFE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65" name="Freeform 139">
                <a:extLst>
                  <a:ext uri="{FF2B5EF4-FFF2-40B4-BE49-F238E27FC236}">
                    <a16:creationId xmlns:a16="http://schemas.microsoft.com/office/drawing/2014/main" id="{3665954B-FA7C-4EAD-B7FD-606479362E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66" name="Line 140">
                <a:extLst>
                  <a:ext uri="{FF2B5EF4-FFF2-40B4-BE49-F238E27FC236}">
                    <a16:creationId xmlns:a16="http://schemas.microsoft.com/office/drawing/2014/main" id="{2E48FE54-FAD7-4BBB-A962-AA26464C1DC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67" name="Freeform 141">
                <a:extLst>
                  <a:ext uri="{FF2B5EF4-FFF2-40B4-BE49-F238E27FC236}">
                    <a16:creationId xmlns:a16="http://schemas.microsoft.com/office/drawing/2014/main" id="{64D96F86-5C03-4DC6-8F66-926B6B7D11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68" name="Freeform 142">
                <a:extLst>
                  <a:ext uri="{FF2B5EF4-FFF2-40B4-BE49-F238E27FC236}">
                    <a16:creationId xmlns:a16="http://schemas.microsoft.com/office/drawing/2014/main" id="{63F1D896-F55E-4BBB-AB8B-D43E6A2B89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69" name="Line 143">
                <a:extLst>
                  <a:ext uri="{FF2B5EF4-FFF2-40B4-BE49-F238E27FC236}">
                    <a16:creationId xmlns:a16="http://schemas.microsoft.com/office/drawing/2014/main" id="{481BAA9D-AE57-43ED-A706-E20163B9EAD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0" name="Freeform 144">
                <a:extLst>
                  <a:ext uri="{FF2B5EF4-FFF2-40B4-BE49-F238E27FC236}">
                    <a16:creationId xmlns:a16="http://schemas.microsoft.com/office/drawing/2014/main" id="{0715DB18-3091-4928-B49E-BEF760280A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1" name="Freeform 145">
                <a:extLst>
                  <a:ext uri="{FF2B5EF4-FFF2-40B4-BE49-F238E27FC236}">
                    <a16:creationId xmlns:a16="http://schemas.microsoft.com/office/drawing/2014/main" id="{195FEFB8-FB2E-48AF-9E2E-70378AC3B4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2" name="Freeform 146">
                <a:extLst>
                  <a:ext uri="{FF2B5EF4-FFF2-40B4-BE49-F238E27FC236}">
                    <a16:creationId xmlns:a16="http://schemas.microsoft.com/office/drawing/2014/main" id="{1032E1A3-28DD-423A-AD1C-A733D77256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3" name="Freeform 147">
                <a:extLst>
                  <a:ext uri="{FF2B5EF4-FFF2-40B4-BE49-F238E27FC236}">
                    <a16:creationId xmlns:a16="http://schemas.microsoft.com/office/drawing/2014/main" id="{47460571-A574-441B-AAD6-0EABF94849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4" name="Freeform 148">
                <a:extLst>
                  <a:ext uri="{FF2B5EF4-FFF2-40B4-BE49-F238E27FC236}">
                    <a16:creationId xmlns:a16="http://schemas.microsoft.com/office/drawing/2014/main" id="{BEFCDAD2-1D9A-4CD3-A86C-82DFABED0C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5 w 20"/>
                  <a:gd name="T1" fmla="*/ 6 h 18"/>
                  <a:gd name="T2" fmla="*/ 7 w 20"/>
                  <a:gd name="T3" fmla="*/ 0 h 18"/>
                  <a:gd name="T4" fmla="*/ 0 w 20"/>
                  <a:gd name="T5" fmla="*/ 0 h 18"/>
                  <a:gd name="T6" fmla="*/ 5 w 20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642" name="Group 149">
              <a:extLst>
                <a:ext uri="{FF2B5EF4-FFF2-40B4-BE49-F238E27FC236}">
                  <a16:creationId xmlns:a16="http://schemas.microsoft.com/office/drawing/2014/main" id="{022FB688-3FF4-4EDD-AE4D-9EEF0A70833F}"/>
                </a:ext>
              </a:extLst>
            </p:cNvPr>
            <p:cNvGrpSpPr>
              <a:grpSpLocks/>
            </p:cNvGrpSpPr>
            <p:nvPr>
              <p:custDataLst>
                <p:tags r:id="rId89"/>
              </p:custDataLst>
            </p:nvPr>
          </p:nvGrpSpPr>
          <p:grpSpPr bwMode="auto">
            <a:xfrm>
              <a:off x="9394825" y="3810001"/>
              <a:ext cx="185738" cy="214313"/>
              <a:chOff x="5486" y="2743"/>
              <a:chExt cx="137" cy="132"/>
            </a:xfrm>
          </p:grpSpPr>
          <p:sp>
            <p:nvSpPr>
              <p:cNvPr id="1035" name="Freeform 150">
                <a:extLst>
                  <a:ext uri="{FF2B5EF4-FFF2-40B4-BE49-F238E27FC236}">
                    <a16:creationId xmlns:a16="http://schemas.microsoft.com/office/drawing/2014/main" id="{2426BCA0-A397-4FBD-AD1B-16F61C5615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10 h 87"/>
                  <a:gd name="T2" fmla="*/ 0 w 40"/>
                  <a:gd name="T3" fmla="*/ 14 h 87"/>
                  <a:gd name="T4" fmla="*/ 1 w 40"/>
                  <a:gd name="T5" fmla="*/ 16 h 87"/>
                  <a:gd name="T6" fmla="*/ 2 w 40"/>
                  <a:gd name="T7" fmla="*/ 19 h 87"/>
                  <a:gd name="T8" fmla="*/ 3 w 40"/>
                  <a:gd name="T9" fmla="*/ 21 h 87"/>
                  <a:gd name="T10" fmla="*/ 5 w 40"/>
                  <a:gd name="T11" fmla="*/ 23 h 87"/>
                  <a:gd name="T12" fmla="*/ 7 w 40"/>
                  <a:gd name="T13" fmla="*/ 25 h 87"/>
                  <a:gd name="T14" fmla="*/ 10 w 40"/>
                  <a:gd name="T15" fmla="*/ 26 h 87"/>
                  <a:gd name="T16" fmla="*/ 13 w 40"/>
                  <a:gd name="T17" fmla="*/ 28 h 87"/>
                  <a:gd name="T18" fmla="*/ 11 w 40"/>
                  <a:gd name="T19" fmla="*/ 26 h 87"/>
                  <a:gd name="T20" fmla="*/ 10 w 40"/>
                  <a:gd name="T21" fmla="*/ 25 h 87"/>
                  <a:gd name="T22" fmla="*/ 9 w 40"/>
                  <a:gd name="T23" fmla="*/ 23 h 87"/>
                  <a:gd name="T24" fmla="*/ 8 w 40"/>
                  <a:gd name="T25" fmla="*/ 21 h 87"/>
                  <a:gd name="T26" fmla="*/ 7 w 40"/>
                  <a:gd name="T27" fmla="*/ 17 h 87"/>
                  <a:gd name="T28" fmla="*/ 7 w 40"/>
                  <a:gd name="T29" fmla="*/ 13 h 87"/>
                  <a:gd name="T30" fmla="*/ 6 w 40"/>
                  <a:gd name="T31" fmla="*/ 9 h 87"/>
                  <a:gd name="T32" fmla="*/ 4 w 40"/>
                  <a:gd name="T33" fmla="*/ 5 h 87"/>
                  <a:gd name="T34" fmla="*/ 4 w 40"/>
                  <a:gd name="T35" fmla="*/ 4 h 87"/>
                  <a:gd name="T36" fmla="*/ 3 w 40"/>
                  <a:gd name="T37" fmla="*/ 2 h 87"/>
                  <a:gd name="T38" fmla="*/ 1 w 40"/>
                  <a:gd name="T39" fmla="*/ 1 h 87"/>
                  <a:gd name="T40" fmla="*/ 0 w 40"/>
                  <a:gd name="T41" fmla="*/ 0 h 87"/>
                  <a:gd name="T42" fmla="*/ 0 w 40"/>
                  <a:gd name="T43" fmla="*/ 3 h 87"/>
                  <a:gd name="T44" fmla="*/ 0 w 40"/>
                  <a:gd name="T45" fmla="*/ 5 h 87"/>
                  <a:gd name="T46" fmla="*/ 0 w 40"/>
                  <a:gd name="T47" fmla="*/ 7 h 87"/>
                  <a:gd name="T48" fmla="*/ 0 w 40"/>
                  <a:gd name="T49" fmla="*/ 10 h 8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36" name="Freeform 151">
                <a:extLst>
                  <a:ext uri="{FF2B5EF4-FFF2-40B4-BE49-F238E27FC236}">
                    <a16:creationId xmlns:a16="http://schemas.microsoft.com/office/drawing/2014/main" id="{D1CC4C4F-607F-453E-8EB2-04BE28FC9B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10 h 37"/>
                  <a:gd name="T2" fmla="*/ 6 w 61"/>
                  <a:gd name="T3" fmla="*/ 10 h 37"/>
                  <a:gd name="T4" fmla="*/ 11 w 61"/>
                  <a:gd name="T5" fmla="*/ 11 h 37"/>
                  <a:gd name="T6" fmla="*/ 16 w 61"/>
                  <a:gd name="T7" fmla="*/ 12 h 37"/>
                  <a:gd name="T8" fmla="*/ 20 w 61"/>
                  <a:gd name="T9" fmla="*/ 12 h 37"/>
                  <a:gd name="T10" fmla="*/ 18 w 61"/>
                  <a:gd name="T11" fmla="*/ 9 h 37"/>
                  <a:gd name="T12" fmla="*/ 16 w 61"/>
                  <a:gd name="T13" fmla="*/ 7 h 37"/>
                  <a:gd name="T14" fmla="*/ 14 w 61"/>
                  <a:gd name="T15" fmla="*/ 6 h 37"/>
                  <a:gd name="T16" fmla="*/ 11 w 61"/>
                  <a:gd name="T17" fmla="*/ 4 h 37"/>
                  <a:gd name="T18" fmla="*/ 9 w 61"/>
                  <a:gd name="T19" fmla="*/ 3 h 37"/>
                  <a:gd name="T20" fmla="*/ 6 w 61"/>
                  <a:gd name="T21" fmla="*/ 2 h 37"/>
                  <a:gd name="T22" fmla="*/ 3 w 61"/>
                  <a:gd name="T23" fmla="*/ 1 h 37"/>
                  <a:gd name="T24" fmla="*/ 0 w 61"/>
                  <a:gd name="T25" fmla="*/ 0 h 37"/>
                  <a:gd name="T26" fmla="*/ 0 w 61"/>
                  <a:gd name="T27" fmla="*/ 10 h 3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37" name="Freeform 152">
                <a:extLst>
                  <a:ext uri="{FF2B5EF4-FFF2-40B4-BE49-F238E27FC236}">
                    <a16:creationId xmlns:a16="http://schemas.microsoft.com/office/drawing/2014/main" id="{9D23A05A-BFE4-42D0-8A8C-A2292E6A5A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13 w 40"/>
                  <a:gd name="T1" fmla="*/ 10 h 30"/>
                  <a:gd name="T2" fmla="*/ 11 w 40"/>
                  <a:gd name="T3" fmla="*/ 9 h 30"/>
                  <a:gd name="T4" fmla="*/ 8 w 40"/>
                  <a:gd name="T5" fmla="*/ 8 h 30"/>
                  <a:gd name="T6" fmla="*/ 7 w 40"/>
                  <a:gd name="T7" fmla="*/ 7 h 30"/>
                  <a:gd name="T8" fmla="*/ 5 w 40"/>
                  <a:gd name="T9" fmla="*/ 6 h 30"/>
                  <a:gd name="T10" fmla="*/ 4 w 40"/>
                  <a:gd name="T11" fmla="*/ 5 h 30"/>
                  <a:gd name="T12" fmla="*/ 2 w 40"/>
                  <a:gd name="T13" fmla="*/ 4 h 30"/>
                  <a:gd name="T14" fmla="*/ 1 w 40"/>
                  <a:gd name="T15" fmla="*/ 2 h 30"/>
                  <a:gd name="T16" fmla="*/ 0 w 40"/>
                  <a:gd name="T17" fmla="*/ 0 h 30"/>
                  <a:gd name="T18" fmla="*/ 3 w 40"/>
                  <a:gd name="T19" fmla="*/ 1 h 30"/>
                  <a:gd name="T20" fmla="*/ 5 w 40"/>
                  <a:gd name="T21" fmla="*/ 2 h 30"/>
                  <a:gd name="T22" fmla="*/ 7 w 40"/>
                  <a:gd name="T23" fmla="*/ 3 h 30"/>
                  <a:gd name="T24" fmla="*/ 9 w 40"/>
                  <a:gd name="T25" fmla="*/ 5 h 30"/>
                  <a:gd name="T26" fmla="*/ 11 w 40"/>
                  <a:gd name="T27" fmla="*/ 6 h 30"/>
                  <a:gd name="T28" fmla="*/ 12 w 40"/>
                  <a:gd name="T29" fmla="*/ 8 h 30"/>
                  <a:gd name="T30" fmla="*/ 13 w 40"/>
                  <a:gd name="T31" fmla="*/ 9 h 30"/>
                  <a:gd name="T32" fmla="*/ 13 w 40"/>
                  <a:gd name="T33" fmla="*/ 10 h 3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38" name="Freeform 153">
                <a:extLst>
                  <a:ext uri="{FF2B5EF4-FFF2-40B4-BE49-F238E27FC236}">
                    <a16:creationId xmlns:a16="http://schemas.microsoft.com/office/drawing/2014/main" id="{18D222A7-8277-4E5B-BA7E-01F056F6B8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24 w 74"/>
                  <a:gd name="T1" fmla="*/ 26 h 80"/>
                  <a:gd name="T2" fmla="*/ 23 w 74"/>
                  <a:gd name="T3" fmla="*/ 24 h 80"/>
                  <a:gd name="T4" fmla="*/ 23 w 74"/>
                  <a:gd name="T5" fmla="*/ 21 h 80"/>
                  <a:gd name="T6" fmla="*/ 22 w 74"/>
                  <a:gd name="T7" fmla="*/ 20 h 80"/>
                  <a:gd name="T8" fmla="*/ 21 w 74"/>
                  <a:gd name="T9" fmla="*/ 17 h 80"/>
                  <a:gd name="T10" fmla="*/ 19 w 74"/>
                  <a:gd name="T11" fmla="*/ 14 h 80"/>
                  <a:gd name="T12" fmla="*/ 16 w 74"/>
                  <a:gd name="T13" fmla="*/ 11 h 80"/>
                  <a:gd name="T14" fmla="*/ 12 w 74"/>
                  <a:gd name="T15" fmla="*/ 8 h 80"/>
                  <a:gd name="T16" fmla="*/ 9 w 74"/>
                  <a:gd name="T17" fmla="*/ 6 h 80"/>
                  <a:gd name="T18" fmla="*/ 6 w 74"/>
                  <a:gd name="T19" fmla="*/ 3 h 80"/>
                  <a:gd name="T20" fmla="*/ 4 w 74"/>
                  <a:gd name="T21" fmla="*/ 0 h 80"/>
                  <a:gd name="T22" fmla="*/ 3 w 74"/>
                  <a:gd name="T23" fmla="*/ 2 h 80"/>
                  <a:gd name="T24" fmla="*/ 1 w 74"/>
                  <a:gd name="T25" fmla="*/ 3 h 80"/>
                  <a:gd name="T26" fmla="*/ 0 w 74"/>
                  <a:gd name="T27" fmla="*/ 5 h 80"/>
                  <a:gd name="T28" fmla="*/ 0 w 74"/>
                  <a:gd name="T29" fmla="*/ 6 h 80"/>
                  <a:gd name="T30" fmla="*/ 0 w 74"/>
                  <a:gd name="T31" fmla="*/ 8 h 80"/>
                  <a:gd name="T32" fmla="*/ 1 w 74"/>
                  <a:gd name="T33" fmla="*/ 10 h 80"/>
                  <a:gd name="T34" fmla="*/ 1 w 74"/>
                  <a:gd name="T35" fmla="*/ 12 h 80"/>
                  <a:gd name="T36" fmla="*/ 2 w 74"/>
                  <a:gd name="T37" fmla="*/ 13 h 80"/>
                  <a:gd name="T38" fmla="*/ 3 w 74"/>
                  <a:gd name="T39" fmla="*/ 15 h 80"/>
                  <a:gd name="T40" fmla="*/ 5 w 74"/>
                  <a:gd name="T41" fmla="*/ 17 h 80"/>
                  <a:gd name="T42" fmla="*/ 6 w 74"/>
                  <a:gd name="T43" fmla="*/ 18 h 80"/>
                  <a:gd name="T44" fmla="*/ 8 w 74"/>
                  <a:gd name="T45" fmla="*/ 20 h 80"/>
                  <a:gd name="T46" fmla="*/ 10 w 74"/>
                  <a:gd name="T47" fmla="*/ 21 h 80"/>
                  <a:gd name="T48" fmla="*/ 11 w 74"/>
                  <a:gd name="T49" fmla="*/ 22 h 80"/>
                  <a:gd name="T50" fmla="*/ 14 w 74"/>
                  <a:gd name="T51" fmla="*/ 23 h 80"/>
                  <a:gd name="T52" fmla="*/ 15 w 74"/>
                  <a:gd name="T53" fmla="*/ 24 h 80"/>
                  <a:gd name="T54" fmla="*/ 18 w 74"/>
                  <a:gd name="T55" fmla="*/ 25 h 80"/>
                  <a:gd name="T56" fmla="*/ 19 w 74"/>
                  <a:gd name="T57" fmla="*/ 26 h 80"/>
                  <a:gd name="T58" fmla="*/ 22 w 74"/>
                  <a:gd name="T59" fmla="*/ 26 h 80"/>
                  <a:gd name="T60" fmla="*/ 24 w 74"/>
                  <a:gd name="T61" fmla="*/ 26 h 8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39" name="Freeform 154">
                <a:extLst>
                  <a:ext uri="{FF2B5EF4-FFF2-40B4-BE49-F238E27FC236}">
                    <a16:creationId xmlns:a16="http://schemas.microsoft.com/office/drawing/2014/main" id="{EAA202FE-218C-4D5E-AFF9-DD51027764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16 w 86"/>
                  <a:gd name="T1" fmla="*/ 27 h 80"/>
                  <a:gd name="T2" fmla="*/ 26 w 86"/>
                  <a:gd name="T3" fmla="*/ 27 h 80"/>
                  <a:gd name="T4" fmla="*/ 26 w 86"/>
                  <a:gd name="T5" fmla="*/ 21 h 80"/>
                  <a:gd name="T6" fmla="*/ 24 w 86"/>
                  <a:gd name="T7" fmla="*/ 20 h 80"/>
                  <a:gd name="T8" fmla="*/ 22 w 86"/>
                  <a:gd name="T9" fmla="*/ 19 h 80"/>
                  <a:gd name="T10" fmla="*/ 20 w 86"/>
                  <a:gd name="T11" fmla="*/ 18 h 80"/>
                  <a:gd name="T12" fmla="*/ 18 w 86"/>
                  <a:gd name="T13" fmla="*/ 17 h 80"/>
                  <a:gd name="T14" fmla="*/ 15 w 86"/>
                  <a:gd name="T15" fmla="*/ 14 h 80"/>
                  <a:gd name="T16" fmla="*/ 13 w 86"/>
                  <a:gd name="T17" fmla="*/ 11 h 80"/>
                  <a:gd name="T18" fmla="*/ 10 w 86"/>
                  <a:gd name="T19" fmla="*/ 8 h 80"/>
                  <a:gd name="T20" fmla="*/ 7 w 86"/>
                  <a:gd name="T21" fmla="*/ 5 h 80"/>
                  <a:gd name="T22" fmla="*/ 4 w 86"/>
                  <a:gd name="T23" fmla="*/ 2 h 80"/>
                  <a:gd name="T24" fmla="*/ 0 w 86"/>
                  <a:gd name="T25" fmla="*/ 0 h 80"/>
                  <a:gd name="T26" fmla="*/ 0 w 86"/>
                  <a:gd name="T27" fmla="*/ 3 h 80"/>
                  <a:gd name="T28" fmla="*/ 2 w 86"/>
                  <a:gd name="T29" fmla="*/ 7 h 80"/>
                  <a:gd name="T30" fmla="*/ 3 w 86"/>
                  <a:gd name="T31" fmla="*/ 11 h 80"/>
                  <a:gd name="T32" fmla="*/ 5 w 86"/>
                  <a:gd name="T33" fmla="*/ 15 h 80"/>
                  <a:gd name="T34" fmla="*/ 8 w 86"/>
                  <a:gd name="T35" fmla="*/ 19 h 80"/>
                  <a:gd name="T36" fmla="*/ 11 w 86"/>
                  <a:gd name="T37" fmla="*/ 23 h 80"/>
                  <a:gd name="T38" fmla="*/ 12 w 86"/>
                  <a:gd name="T39" fmla="*/ 24 h 80"/>
                  <a:gd name="T40" fmla="*/ 14 w 86"/>
                  <a:gd name="T41" fmla="*/ 26 h 80"/>
                  <a:gd name="T42" fmla="*/ 15 w 86"/>
                  <a:gd name="T43" fmla="*/ 27 h 80"/>
                  <a:gd name="T44" fmla="*/ 16 w 86"/>
                  <a:gd name="T45" fmla="*/ 27 h 8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40" name="Freeform 155">
                <a:extLst>
                  <a:ext uri="{FF2B5EF4-FFF2-40B4-BE49-F238E27FC236}">
                    <a16:creationId xmlns:a16="http://schemas.microsoft.com/office/drawing/2014/main" id="{39D8F371-0333-4994-A6A2-D01D60C617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2 h 31"/>
                  <a:gd name="T2" fmla="*/ 1 w 74"/>
                  <a:gd name="T3" fmla="*/ 4 h 31"/>
                  <a:gd name="T4" fmla="*/ 2 w 74"/>
                  <a:gd name="T5" fmla="*/ 5 h 31"/>
                  <a:gd name="T6" fmla="*/ 3 w 74"/>
                  <a:gd name="T7" fmla="*/ 6 h 31"/>
                  <a:gd name="T8" fmla="*/ 5 w 74"/>
                  <a:gd name="T9" fmla="*/ 7 h 31"/>
                  <a:gd name="T10" fmla="*/ 6 w 74"/>
                  <a:gd name="T11" fmla="*/ 9 h 31"/>
                  <a:gd name="T12" fmla="*/ 8 w 74"/>
                  <a:gd name="T13" fmla="*/ 9 h 31"/>
                  <a:gd name="T14" fmla="*/ 10 w 74"/>
                  <a:gd name="T15" fmla="*/ 10 h 31"/>
                  <a:gd name="T16" fmla="*/ 11 w 74"/>
                  <a:gd name="T17" fmla="*/ 10 h 31"/>
                  <a:gd name="T18" fmla="*/ 16 w 74"/>
                  <a:gd name="T19" fmla="*/ 11 h 31"/>
                  <a:gd name="T20" fmla="*/ 20 w 74"/>
                  <a:gd name="T21" fmla="*/ 11 h 31"/>
                  <a:gd name="T22" fmla="*/ 21 w 74"/>
                  <a:gd name="T23" fmla="*/ 11 h 31"/>
                  <a:gd name="T24" fmla="*/ 23 w 74"/>
                  <a:gd name="T25" fmla="*/ 10 h 31"/>
                  <a:gd name="T26" fmla="*/ 24 w 74"/>
                  <a:gd name="T27" fmla="*/ 10 h 31"/>
                  <a:gd name="T28" fmla="*/ 25 w 74"/>
                  <a:gd name="T29" fmla="*/ 9 h 31"/>
                  <a:gd name="T30" fmla="*/ 22 w 74"/>
                  <a:gd name="T31" fmla="*/ 6 h 31"/>
                  <a:gd name="T32" fmla="*/ 19 w 74"/>
                  <a:gd name="T33" fmla="*/ 5 h 31"/>
                  <a:gd name="T34" fmla="*/ 17 w 74"/>
                  <a:gd name="T35" fmla="*/ 4 h 31"/>
                  <a:gd name="T36" fmla="*/ 16 w 74"/>
                  <a:gd name="T37" fmla="*/ 3 h 31"/>
                  <a:gd name="T38" fmla="*/ 15 w 74"/>
                  <a:gd name="T39" fmla="*/ 2 h 31"/>
                  <a:gd name="T40" fmla="*/ 14 w 74"/>
                  <a:gd name="T41" fmla="*/ 0 h 31"/>
                  <a:gd name="T42" fmla="*/ 11 w 74"/>
                  <a:gd name="T43" fmla="*/ 0 h 31"/>
                  <a:gd name="T44" fmla="*/ 9 w 74"/>
                  <a:gd name="T45" fmla="*/ 0 h 31"/>
                  <a:gd name="T46" fmla="*/ 7 w 74"/>
                  <a:gd name="T47" fmla="*/ 0 h 31"/>
                  <a:gd name="T48" fmla="*/ 6 w 74"/>
                  <a:gd name="T49" fmla="*/ 0 h 31"/>
                  <a:gd name="T50" fmla="*/ 5 w 74"/>
                  <a:gd name="T51" fmla="*/ 0 h 31"/>
                  <a:gd name="T52" fmla="*/ 3 w 74"/>
                  <a:gd name="T53" fmla="*/ 0 h 31"/>
                  <a:gd name="T54" fmla="*/ 2 w 74"/>
                  <a:gd name="T55" fmla="*/ 1 h 31"/>
                  <a:gd name="T56" fmla="*/ 0 w 74"/>
                  <a:gd name="T57" fmla="*/ 2 h 31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41" name="Freeform 156">
                <a:extLst>
                  <a:ext uri="{FF2B5EF4-FFF2-40B4-BE49-F238E27FC236}">
                    <a16:creationId xmlns:a16="http://schemas.microsoft.com/office/drawing/2014/main" id="{51CC34CE-6A7E-497C-9118-BF785033AF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6 w 20"/>
                  <a:gd name="T1" fmla="*/ 0 h 1"/>
                  <a:gd name="T2" fmla="*/ 0 w 20"/>
                  <a:gd name="T3" fmla="*/ 0 h 1"/>
                  <a:gd name="T4" fmla="*/ 3 w 20"/>
                  <a:gd name="T5" fmla="*/ 0 h 1"/>
                  <a:gd name="T6" fmla="*/ 6 w 20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42" name="Freeform 157">
                <a:extLst>
                  <a:ext uri="{FF2B5EF4-FFF2-40B4-BE49-F238E27FC236}">
                    <a16:creationId xmlns:a16="http://schemas.microsoft.com/office/drawing/2014/main" id="{924DEF94-974D-4B2A-A2CF-373009FC32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2 w 100"/>
                  <a:gd name="T1" fmla="*/ 8 h 65"/>
                  <a:gd name="T2" fmla="*/ 11 w 100"/>
                  <a:gd name="T3" fmla="*/ 13 h 65"/>
                  <a:gd name="T4" fmla="*/ 20 w 100"/>
                  <a:gd name="T5" fmla="*/ 18 h 65"/>
                  <a:gd name="T6" fmla="*/ 23 w 100"/>
                  <a:gd name="T7" fmla="*/ 19 h 65"/>
                  <a:gd name="T8" fmla="*/ 27 w 100"/>
                  <a:gd name="T9" fmla="*/ 21 h 65"/>
                  <a:gd name="T10" fmla="*/ 28 w 100"/>
                  <a:gd name="T11" fmla="*/ 21 h 65"/>
                  <a:gd name="T12" fmla="*/ 29 w 100"/>
                  <a:gd name="T13" fmla="*/ 21 h 65"/>
                  <a:gd name="T14" fmla="*/ 31 w 100"/>
                  <a:gd name="T15" fmla="*/ 21 h 65"/>
                  <a:gd name="T16" fmla="*/ 32 w 100"/>
                  <a:gd name="T17" fmla="*/ 20 h 65"/>
                  <a:gd name="T18" fmla="*/ 30 w 100"/>
                  <a:gd name="T19" fmla="*/ 19 h 65"/>
                  <a:gd name="T20" fmla="*/ 28 w 100"/>
                  <a:gd name="T21" fmla="*/ 18 h 65"/>
                  <a:gd name="T22" fmla="*/ 27 w 100"/>
                  <a:gd name="T23" fmla="*/ 17 h 65"/>
                  <a:gd name="T24" fmla="*/ 25 w 100"/>
                  <a:gd name="T25" fmla="*/ 15 h 65"/>
                  <a:gd name="T26" fmla="*/ 21 w 100"/>
                  <a:gd name="T27" fmla="*/ 11 h 65"/>
                  <a:gd name="T28" fmla="*/ 18 w 100"/>
                  <a:gd name="T29" fmla="*/ 7 h 65"/>
                  <a:gd name="T30" fmla="*/ 17 w 100"/>
                  <a:gd name="T31" fmla="*/ 5 h 65"/>
                  <a:gd name="T32" fmla="*/ 15 w 100"/>
                  <a:gd name="T33" fmla="*/ 3 h 65"/>
                  <a:gd name="T34" fmla="*/ 13 w 100"/>
                  <a:gd name="T35" fmla="*/ 1 h 65"/>
                  <a:gd name="T36" fmla="*/ 11 w 100"/>
                  <a:gd name="T37" fmla="*/ 0 h 65"/>
                  <a:gd name="T38" fmla="*/ 9 w 100"/>
                  <a:gd name="T39" fmla="*/ 0 h 65"/>
                  <a:gd name="T40" fmla="*/ 6 w 100"/>
                  <a:gd name="T41" fmla="*/ 0 h 65"/>
                  <a:gd name="T42" fmla="*/ 3 w 100"/>
                  <a:gd name="T43" fmla="*/ 1 h 65"/>
                  <a:gd name="T44" fmla="*/ 0 w 100"/>
                  <a:gd name="T45" fmla="*/ 2 h 65"/>
                  <a:gd name="T46" fmla="*/ 2 w 100"/>
                  <a:gd name="T47" fmla="*/ 8 h 6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43" name="Freeform 158">
                <a:extLst>
                  <a:ext uri="{FF2B5EF4-FFF2-40B4-BE49-F238E27FC236}">
                    <a16:creationId xmlns:a16="http://schemas.microsoft.com/office/drawing/2014/main" id="{0D3E1ED3-F458-4536-9D05-712C67B6DE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22 w 79"/>
                  <a:gd name="T1" fmla="*/ 28 h 104"/>
                  <a:gd name="T2" fmla="*/ 17 w 79"/>
                  <a:gd name="T3" fmla="*/ 20 h 104"/>
                  <a:gd name="T4" fmla="*/ 13 w 79"/>
                  <a:gd name="T5" fmla="*/ 13 h 104"/>
                  <a:gd name="T6" fmla="*/ 9 w 79"/>
                  <a:gd name="T7" fmla="*/ 7 h 104"/>
                  <a:gd name="T8" fmla="*/ 4 w 79"/>
                  <a:gd name="T9" fmla="*/ 0 h 104"/>
                  <a:gd name="T10" fmla="*/ 2 w 79"/>
                  <a:gd name="T11" fmla="*/ 5 h 104"/>
                  <a:gd name="T12" fmla="*/ 1 w 79"/>
                  <a:gd name="T13" fmla="*/ 11 h 104"/>
                  <a:gd name="T14" fmla="*/ 0 w 79"/>
                  <a:gd name="T15" fmla="*/ 13 h 104"/>
                  <a:gd name="T16" fmla="*/ 0 w 79"/>
                  <a:gd name="T17" fmla="*/ 16 h 104"/>
                  <a:gd name="T18" fmla="*/ 0 w 79"/>
                  <a:gd name="T19" fmla="*/ 18 h 104"/>
                  <a:gd name="T20" fmla="*/ 0 w 79"/>
                  <a:gd name="T21" fmla="*/ 20 h 104"/>
                  <a:gd name="T22" fmla="*/ 0 w 79"/>
                  <a:gd name="T23" fmla="*/ 22 h 104"/>
                  <a:gd name="T24" fmla="*/ 1 w 79"/>
                  <a:gd name="T25" fmla="*/ 24 h 104"/>
                  <a:gd name="T26" fmla="*/ 2 w 79"/>
                  <a:gd name="T27" fmla="*/ 26 h 104"/>
                  <a:gd name="T28" fmla="*/ 3 w 79"/>
                  <a:gd name="T29" fmla="*/ 27 h 104"/>
                  <a:gd name="T30" fmla="*/ 4 w 79"/>
                  <a:gd name="T31" fmla="*/ 29 h 104"/>
                  <a:gd name="T32" fmla="*/ 6 w 79"/>
                  <a:gd name="T33" fmla="*/ 29 h 104"/>
                  <a:gd name="T34" fmla="*/ 8 w 79"/>
                  <a:gd name="T35" fmla="*/ 30 h 104"/>
                  <a:gd name="T36" fmla="*/ 10 w 79"/>
                  <a:gd name="T37" fmla="*/ 30 h 104"/>
                  <a:gd name="T38" fmla="*/ 13 w 79"/>
                  <a:gd name="T39" fmla="*/ 30 h 104"/>
                  <a:gd name="T40" fmla="*/ 16 w 79"/>
                  <a:gd name="T41" fmla="*/ 31 h 104"/>
                  <a:gd name="T42" fmla="*/ 20 w 79"/>
                  <a:gd name="T43" fmla="*/ 33 h 104"/>
                  <a:gd name="T44" fmla="*/ 24 w 79"/>
                  <a:gd name="T45" fmla="*/ 34 h 104"/>
                  <a:gd name="T46" fmla="*/ 22 w 79"/>
                  <a:gd name="T47" fmla="*/ 28 h 10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643" name="Freeform 159">
              <a:extLst>
                <a:ext uri="{FF2B5EF4-FFF2-40B4-BE49-F238E27FC236}">
                  <a16:creationId xmlns:a16="http://schemas.microsoft.com/office/drawing/2014/main" id="{E3C32E0C-6883-4D72-A0F2-7483B7603024}"/>
                </a:ext>
              </a:extLst>
            </p:cNvPr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5740401" y="3548063"/>
              <a:ext cx="11113" cy="55562"/>
            </a:xfrm>
            <a:custGeom>
              <a:avLst/>
              <a:gdLst>
                <a:gd name="T0" fmla="*/ 11113 w 27"/>
                <a:gd name="T1" fmla="*/ 0 h 19"/>
                <a:gd name="T2" fmla="*/ 11113 w 27"/>
                <a:gd name="T3" fmla="*/ 35092 h 19"/>
                <a:gd name="T4" fmla="*/ 11113 w 27"/>
                <a:gd name="T5" fmla="*/ 55562 h 19"/>
                <a:gd name="T6" fmla="*/ 3704 w 27"/>
                <a:gd name="T7" fmla="*/ 55562 h 19"/>
                <a:gd name="T8" fmla="*/ 0 w 27"/>
                <a:gd name="T9" fmla="*/ 55562 h 19"/>
                <a:gd name="T10" fmla="*/ 3704 w 27"/>
                <a:gd name="T11" fmla="*/ 35092 h 19"/>
                <a:gd name="T12" fmla="*/ 11113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44" name="Freeform 160">
              <a:extLst>
                <a:ext uri="{FF2B5EF4-FFF2-40B4-BE49-F238E27FC236}">
                  <a16:creationId xmlns:a16="http://schemas.microsoft.com/office/drawing/2014/main" id="{06B785BE-3020-477A-8086-4176952325CA}"/>
                </a:ext>
              </a:extLst>
            </p:cNvPr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5664200" y="3687763"/>
              <a:ext cx="14288" cy="57150"/>
            </a:xfrm>
            <a:custGeom>
              <a:avLst/>
              <a:gdLst>
                <a:gd name="T0" fmla="*/ 0 w 39"/>
                <a:gd name="T1" fmla="*/ 0 h 35"/>
                <a:gd name="T2" fmla="*/ 14288 w 39"/>
                <a:gd name="T3" fmla="*/ 0 h 35"/>
                <a:gd name="T4" fmla="*/ 13189 w 39"/>
                <a:gd name="T5" fmla="*/ 14696 h 35"/>
                <a:gd name="T6" fmla="*/ 12090 w 39"/>
                <a:gd name="T7" fmla="*/ 31024 h 35"/>
                <a:gd name="T8" fmla="*/ 9892 w 39"/>
                <a:gd name="T9" fmla="*/ 45720 h 35"/>
                <a:gd name="T10" fmla="*/ 8060 w 39"/>
                <a:gd name="T11" fmla="*/ 55517 h 35"/>
                <a:gd name="T12" fmla="*/ 6961 w 39"/>
                <a:gd name="T13" fmla="*/ 57150 h 35"/>
                <a:gd name="T14" fmla="*/ 5862 w 39"/>
                <a:gd name="T15" fmla="*/ 57150 h 35"/>
                <a:gd name="T16" fmla="*/ 4763 w 39"/>
                <a:gd name="T17" fmla="*/ 55517 h 35"/>
                <a:gd name="T18" fmla="*/ 4030 w 39"/>
                <a:gd name="T19" fmla="*/ 50619 h 35"/>
                <a:gd name="T20" fmla="*/ 2565 w 39"/>
                <a:gd name="T21" fmla="*/ 42454 h 35"/>
                <a:gd name="T22" fmla="*/ 1832 w 39"/>
                <a:gd name="T23" fmla="*/ 32657 h 35"/>
                <a:gd name="T24" fmla="*/ 733 w 39"/>
                <a:gd name="T25" fmla="*/ 17961 h 35"/>
                <a:gd name="T26" fmla="*/ 0 w 39"/>
                <a:gd name="T27" fmla="*/ 0 h 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45" name="Freeform 161">
              <a:extLst>
                <a:ext uri="{FF2B5EF4-FFF2-40B4-BE49-F238E27FC236}">
                  <a16:creationId xmlns:a16="http://schemas.microsoft.com/office/drawing/2014/main" id="{72C22F78-F0A1-488F-8F64-F5A405FBA47D}"/>
                </a:ext>
              </a:extLst>
            </p:cNvPr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7462838" y="2014539"/>
              <a:ext cx="728662" cy="331787"/>
            </a:xfrm>
            <a:custGeom>
              <a:avLst/>
              <a:gdLst>
                <a:gd name="T0" fmla="*/ 13813 w 1688"/>
                <a:gd name="T1" fmla="*/ 113756 h 630"/>
                <a:gd name="T2" fmla="*/ 37124 w 1688"/>
                <a:gd name="T3" fmla="*/ 131135 h 630"/>
                <a:gd name="T4" fmla="*/ 66909 w 1688"/>
                <a:gd name="T5" fmla="*/ 139035 h 630"/>
                <a:gd name="T6" fmla="*/ 82449 w 1688"/>
                <a:gd name="T7" fmla="*/ 147988 h 630"/>
                <a:gd name="T8" fmla="*/ 102738 w 1688"/>
                <a:gd name="T9" fmla="*/ 174320 h 630"/>
                <a:gd name="T10" fmla="*/ 109213 w 1688"/>
                <a:gd name="T11" fmla="*/ 183799 h 630"/>
                <a:gd name="T12" fmla="*/ 109645 w 1688"/>
                <a:gd name="T13" fmla="*/ 203285 h 630"/>
                <a:gd name="T14" fmla="*/ 117846 w 1688"/>
                <a:gd name="T15" fmla="*/ 214872 h 630"/>
                <a:gd name="T16" fmla="*/ 147200 w 1688"/>
                <a:gd name="T17" fmla="*/ 219085 h 630"/>
                <a:gd name="T18" fmla="*/ 199864 w 1688"/>
                <a:gd name="T19" fmla="*/ 238044 h 630"/>
                <a:gd name="T20" fmla="*/ 235693 w 1688"/>
                <a:gd name="T21" fmla="*/ 246997 h 630"/>
                <a:gd name="T22" fmla="*/ 248211 w 1688"/>
                <a:gd name="T23" fmla="*/ 268589 h 630"/>
                <a:gd name="T24" fmla="*/ 268500 w 1688"/>
                <a:gd name="T25" fmla="*/ 285442 h 630"/>
                <a:gd name="T26" fmla="*/ 289220 w 1688"/>
                <a:gd name="T27" fmla="*/ 292289 h 630"/>
                <a:gd name="T28" fmla="*/ 395843 w 1688"/>
                <a:gd name="T29" fmla="*/ 303348 h 630"/>
                <a:gd name="T30" fmla="*/ 447644 w 1688"/>
                <a:gd name="T31" fmla="*/ 323361 h 630"/>
                <a:gd name="T32" fmla="*/ 482177 w 1688"/>
                <a:gd name="T33" fmla="*/ 331787 h 630"/>
                <a:gd name="T34" fmla="*/ 499444 w 1688"/>
                <a:gd name="T35" fmla="*/ 322834 h 630"/>
                <a:gd name="T36" fmla="*/ 580167 w 1688"/>
                <a:gd name="T37" fmla="*/ 297028 h 630"/>
                <a:gd name="T38" fmla="*/ 602182 w 1688"/>
                <a:gd name="T39" fmla="*/ 268589 h 630"/>
                <a:gd name="T40" fmla="*/ 605636 w 1688"/>
                <a:gd name="T41" fmla="*/ 254370 h 630"/>
                <a:gd name="T42" fmla="*/ 598297 w 1688"/>
                <a:gd name="T43" fmla="*/ 239624 h 630"/>
                <a:gd name="T44" fmla="*/ 591390 w 1688"/>
                <a:gd name="T45" fmla="*/ 218558 h 630"/>
                <a:gd name="T46" fmla="*/ 647076 w 1688"/>
                <a:gd name="T47" fmla="*/ 207499 h 630"/>
                <a:gd name="T48" fmla="*/ 688085 w 1688"/>
                <a:gd name="T49" fmla="*/ 180640 h 630"/>
                <a:gd name="T50" fmla="*/ 712690 w 1688"/>
                <a:gd name="T51" fmla="*/ 171160 h 630"/>
                <a:gd name="T52" fmla="*/ 728662 w 1688"/>
                <a:gd name="T53" fmla="*/ 156414 h 630"/>
                <a:gd name="T54" fmla="*/ 714849 w 1688"/>
                <a:gd name="T55" fmla="*/ 146934 h 630"/>
                <a:gd name="T56" fmla="*/ 698877 w 1688"/>
                <a:gd name="T57" fmla="*/ 132715 h 630"/>
                <a:gd name="T58" fmla="*/ 683336 w 1688"/>
                <a:gd name="T59" fmla="*/ 130608 h 630"/>
                <a:gd name="T60" fmla="*/ 670386 w 1688"/>
                <a:gd name="T61" fmla="*/ 135875 h 630"/>
                <a:gd name="T62" fmla="*/ 646213 w 1688"/>
                <a:gd name="T63" fmla="*/ 134821 h 630"/>
                <a:gd name="T64" fmla="*/ 628946 w 1688"/>
                <a:gd name="T65" fmla="*/ 123762 h 630"/>
                <a:gd name="T66" fmla="*/ 619017 w 1688"/>
                <a:gd name="T67" fmla="*/ 98483 h 630"/>
                <a:gd name="T68" fmla="*/ 590095 w 1688"/>
                <a:gd name="T69" fmla="*/ 65304 h 630"/>
                <a:gd name="T70" fmla="*/ 555130 w 1688"/>
                <a:gd name="T71" fmla="*/ 63198 h 630"/>
                <a:gd name="T72" fmla="*/ 543906 w 1688"/>
                <a:gd name="T73" fmla="*/ 77417 h 630"/>
                <a:gd name="T74" fmla="*/ 533546 w 1688"/>
                <a:gd name="T75" fmla="*/ 86897 h 630"/>
                <a:gd name="T76" fmla="*/ 504193 w 1688"/>
                <a:gd name="T77" fmla="*/ 87950 h 630"/>
                <a:gd name="T78" fmla="*/ 450665 w 1688"/>
                <a:gd name="T79" fmla="*/ 87950 h 630"/>
                <a:gd name="T80" fmla="*/ 425628 w 1688"/>
                <a:gd name="T81" fmla="*/ 73730 h 630"/>
                <a:gd name="T82" fmla="*/ 398001 w 1688"/>
                <a:gd name="T83" fmla="*/ 56878 h 630"/>
                <a:gd name="T84" fmla="*/ 367784 w 1688"/>
                <a:gd name="T85" fmla="*/ 52665 h 630"/>
                <a:gd name="T86" fmla="*/ 345769 w 1688"/>
                <a:gd name="T87" fmla="*/ 60038 h 630"/>
                <a:gd name="T88" fmla="*/ 319437 w 1688"/>
                <a:gd name="T89" fmla="*/ 61091 h 630"/>
                <a:gd name="T90" fmla="*/ 298717 w 1688"/>
                <a:gd name="T91" fmla="*/ 53191 h 630"/>
                <a:gd name="T92" fmla="*/ 285767 w 1688"/>
                <a:gd name="T93" fmla="*/ 35812 h 630"/>
                <a:gd name="T94" fmla="*/ 192526 w 1688"/>
                <a:gd name="T95" fmla="*/ 3687 h 630"/>
                <a:gd name="T96" fmla="*/ 192526 w 1688"/>
                <a:gd name="T97" fmla="*/ 23172 h 630"/>
                <a:gd name="T98" fmla="*/ 203317 w 1688"/>
                <a:gd name="T99" fmla="*/ 41605 h 630"/>
                <a:gd name="T100" fmla="*/ 211519 w 1688"/>
                <a:gd name="T101" fmla="*/ 55824 h 630"/>
                <a:gd name="T102" fmla="*/ 132523 w 1688"/>
                <a:gd name="T103" fmla="*/ 64251 h 630"/>
                <a:gd name="T104" fmla="*/ 126912 w 1688"/>
                <a:gd name="T105" fmla="*/ 45818 h 630"/>
                <a:gd name="T106" fmla="*/ 97126 w 1688"/>
                <a:gd name="T107" fmla="*/ 51085 h 630"/>
                <a:gd name="T108" fmla="*/ 79859 w 1688"/>
                <a:gd name="T109" fmla="*/ 46345 h 630"/>
                <a:gd name="T110" fmla="*/ 59571 w 1688"/>
                <a:gd name="T111" fmla="*/ 51085 h 630"/>
                <a:gd name="T112" fmla="*/ 29354 w 1688"/>
                <a:gd name="T113" fmla="*/ 75310 h 630"/>
                <a:gd name="T114" fmla="*/ 13382 w 1688"/>
                <a:gd name="T115" fmla="*/ 79524 h 630"/>
                <a:gd name="T116" fmla="*/ 1727 w 1688"/>
                <a:gd name="T117" fmla="*/ 89003 h 6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46" name="Freeform 162">
              <a:extLst>
                <a:ext uri="{FF2B5EF4-FFF2-40B4-BE49-F238E27FC236}">
                  <a16:creationId xmlns:a16="http://schemas.microsoft.com/office/drawing/2014/main" id="{15155B15-618F-4C37-A008-648DB57293EB}"/>
                </a:ext>
              </a:extLst>
            </p:cNvPr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3789363" y="3981451"/>
              <a:ext cx="328612" cy="415925"/>
            </a:xfrm>
            <a:custGeom>
              <a:avLst/>
              <a:gdLst>
                <a:gd name="T0" fmla="*/ 11272 w 758"/>
                <a:gd name="T1" fmla="*/ 41854 h 795"/>
                <a:gd name="T2" fmla="*/ 21243 w 758"/>
                <a:gd name="T3" fmla="*/ 46039 h 795"/>
                <a:gd name="T4" fmla="*/ 31214 w 758"/>
                <a:gd name="T5" fmla="*/ 56503 h 795"/>
                <a:gd name="T6" fmla="*/ 38150 w 758"/>
                <a:gd name="T7" fmla="*/ 70106 h 795"/>
                <a:gd name="T8" fmla="*/ 40318 w 758"/>
                <a:gd name="T9" fmla="*/ 88417 h 795"/>
                <a:gd name="T10" fmla="*/ 36416 w 758"/>
                <a:gd name="T11" fmla="*/ 97311 h 795"/>
                <a:gd name="T12" fmla="*/ 35116 w 758"/>
                <a:gd name="T13" fmla="*/ 107251 h 795"/>
                <a:gd name="T14" fmla="*/ 38150 w 758"/>
                <a:gd name="T15" fmla="*/ 125562 h 795"/>
                <a:gd name="T16" fmla="*/ 41185 w 758"/>
                <a:gd name="T17" fmla="*/ 145443 h 795"/>
                <a:gd name="T18" fmla="*/ 35983 w 758"/>
                <a:gd name="T19" fmla="*/ 161138 h 795"/>
                <a:gd name="T20" fmla="*/ 35116 w 758"/>
                <a:gd name="T21" fmla="*/ 184158 h 795"/>
                <a:gd name="T22" fmla="*/ 40318 w 758"/>
                <a:gd name="T23" fmla="*/ 204039 h 795"/>
                <a:gd name="T24" fmla="*/ 42919 w 758"/>
                <a:gd name="T25" fmla="*/ 217118 h 795"/>
                <a:gd name="T26" fmla="*/ 33815 w 758"/>
                <a:gd name="T27" fmla="*/ 239091 h 795"/>
                <a:gd name="T28" fmla="*/ 48988 w 758"/>
                <a:gd name="T29" fmla="*/ 276760 h 795"/>
                <a:gd name="T30" fmla="*/ 59826 w 758"/>
                <a:gd name="T31" fmla="*/ 301873 h 795"/>
                <a:gd name="T32" fmla="*/ 63295 w 758"/>
                <a:gd name="T33" fmla="*/ 325416 h 795"/>
                <a:gd name="T34" fmla="*/ 65896 w 758"/>
                <a:gd name="T35" fmla="*/ 344773 h 795"/>
                <a:gd name="T36" fmla="*/ 81069 w 758"/>
                <a:gd name="T37" fmla="*/ 386104 h 795"/>
                <a:gd name="T38" fmla="*/ 92774 w 758"/>
                <a:gd name="T39" fmla="*/ 409124 h 795"/>
                <a:gd name="T40" fmla="*/ 99711 w 758"/>
                <a:gd name="T41" fmla="*/ 415402 h 795"/>
                <a:gd name="T42" fmla="*/ 108815 w 758"/>
                <a:gd name="T43" fmla="*/ 413309 h 795"/>
                <a:gd name="T44" fmla="*/ 125289 w 758"/>
                <a:gd name="T45" fmla="*/ 398137 h 795"/>
                <a:gd name="T46" fmla="*/ 140462 w 758"/>
                <a:gd name="T47" fmla="*/ 390289 h 795"/>
                <a:gd name="T48" fmla="*/ 153901 w 758"/>
                <a:gd name="T49" fmla="*/ 391336 h 795"/>
                <a:gd name="T50" fmla="*/ 168208 w 758"/>
                <a:gd name="T51" fmla="*/ 402846 h 795"/>
                <a:gd name="T52" fmla="*/ 181213 w 758"/>
                <a:gd name="T53" fmla="*/ 408077 h 795"/>
                <a:gd name="T54" fmla="*/ 189450 w 758"/>
                <a:gd name="T55" fmla="*/ 396567 h 795"/>
                <a:gd name="T56" fmla="*/ 207225 w 758"/>
                <a:gd name="T57" fmla="*/ 389766 h 795"/>
                <a:gd name="T58" fmla="*/ 227601 w 758"/>
                <a:gd name="T59" fmla="*/ 325416 h 795"/>
                <a:gd name="T60" fmla="*/ 233670 w 758"/>
                <a:gd name="T61" fmla="*/ 313906 h 795"/>
                <a:gd name="T62" fmla="*/ 249277 w 758"/>
                <a:gd name="T63" fmla="*/ 305535 h 795"/>
                <a:gd name="T64" fmla="*/ 288294 w 758"/>
                <a:gd name="T65" fmla="*/ 299780 h 795"/>
                <a:gd name="T66" fmla="*/ 297832 w 758"/>
                <a:gd name="T67" fmla="*/ 302919 h 795"/>
                <a:gd name="T68" fmla="*/ 305202 w 758"/>
                <a:gd name="T69" fmla="*/ 306058 h 795"/>
                <a:gd name="T70" fmla="*/ 322543 w 758"/>
                <a:gd name="T71" fmla="*/ 299780 h 795"/>
                <a:gd name="T72" fmla="*/ 328178 w 758"/>
                <a:gd name="T73" fmla="*/ 283038 h 795"/>
                <a:gd name="T74" fmla="*/ 326011 w 758"/>
                <a:gd name="T75" fmla="*/ 261065 h 795"/>
                <a:gd name="T76" fmla="*/ 314739 w 758"/>
                <a:gd name="T77" fmla="*/ 241707 h 795"/>
                <a:gd name="T78" fmla="*/ 307803 w 758"/>
                <a:gd name="T79" fmla="*/ 227582 h 795"/>
                <a:gd name="T80" fmla="*/ 290895 w 758"/>
                <a:gd name="T81" fmla="*/ 209794 h 795"/>
                <a:gd name="T82" fmla="*/ 274421 w 758"/>
                <a:gd name="T83" fmla="*/ 208747 h 795"/>
                <a:gd name="T84" fmla="*/ 262283 w 758"/>
                <a:gd name="T85" fmla="*/ 197761 h 795"/>
                <a:gd name="T86" fmla="*/ 255780 w 758"/>
                <a:gd name="T87" fmla="*/ 182588 h 795"/>
                <a:gd name="T88" fmla="*/ 253612 w 758"/>
                <a:gd name="T89" fmla="*/ 162708 h 795"/>
                <a:gd name="T90" fmla="*/ 252745 w 758"/>
                <a:gd name="T91" fmla="*/ 140734 h 795"/>
                <a:gd name="T92" fmla="*/ 242774 w 758"/>
                <a:gd name="T93" fmla="*/ 126609 h 795"/>
                <a:gd name="T94" fmla="*/ 218063 w 758"/>
                <a:gd name="T95" fmla="*/ 107251 h 795"/>
                <a:gd name="T96" fmla="*/ 190751 w 758"/>
                <a:gd name="T97" fmla="*/ 93125 h 795"/>
                <a:gd name="T98" fmla="*/ 169942 w 758"/>
                <a:gd name="T99" fmla="*/ 87370 h 795"/>
                <a:gd name="T100" fmla="*/ 155635 w 758"/>
                <a:gd name="T101" fmla="*/ 84231 h 795"/>
                <a:gd name="T102" fmla="*/ 143063 w 758"/>
                <a:gd name="T103" fmla="*/ 75861 h 795"/>
                <a:gd name="T104" fmla="*/ 133092 w 758"/>
                <a:gd name="T105" fmla="*/ 63827 h 795"/>
                <a:gd name="T106" fmla="*/ 126589 w 758"/>
                <a:gd name="T107" fmla="*/ 48132 h 795"/>
                <a:gd name="T108" fmla="*/ 120953 w 758"/>
                <a:gd name="T109" fmla="*/ 9940 h 795"/>
                <a:gd name="T110" fmla="*/ 113150 w 758"/>
                <a:gd name="T111" fmla="*/ 1570 h 795"/>
                <a:gd name="T112" fmla="*/ 98410 w 758"/>
                <a:gd name="T113" fmla="*/ 1570 h 795"/>
                <a:gd name="T114" fmla="*/ 75000 w 758"/>
                <a:gd name="T115" fmla="*/ 15695 h 795"/>
                <a:gd name="T116" fmla="*/ 51589 w 758"/>
                <a:gd name="T117" fmla="*/ 34530 h 795"/>
                <a:gd name="T118" fmla="*/ 0 w 758"/>
                <a:gd name="T119" fmla="*/ 41854 h 7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47" name="Freeform 163">
              <a:extLst>
                <a:ext uri="{FF2B5EF4-FFF2-40B4-BE49-F238E27FC236}">
                  <a16:creationId xmlns:a16="http://schemas.microsoft.com/office/drawing/2014/main" id="{C5A0D6CA-AB79-4011-A607-C5D72B62BE8C}"/>
                </a:ext>
              </a:extLst>
            </p:cNvPr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4003676" y="3411538"/>
              <a:ext cx="119063" cy="215900"/>
            </a:xfrm>
            <a:custGeom>
              <a:avLst/>
              <a:gdLst>
                <a:gd name="T0" fmla="*/ 98129 w 273"/>
                <a:gd name="T1" fmla="*/ 73010 h 414"/>
                <a:gd name="T2" fmla="*/ 92895 w 273"/>
                <a:gd name="T3" fmla="*/ 69359 h 414"/>
                <a:gd name="T4" fmla="*/ 87662 w 273"/>
                <a:gd name="T5" fmla="*/ 63101 h 414"/>
                <a:gd name="T6" fmla="*/ 82864 w 273"/>
                <a:gd name="T7" fmla="*/ 54757 h 414"/>
                <a:gd name="T8" fmla="*/ 79811 w 273"/>
                <a:gd name="T9" fmla="*/ 50064 h 414"/>
                <a:gd name="T10" fmla="*/ 76759 w 273"/>
                <a:gd name="T11" fmla="*/ 48499 h 414"/>
                <a:gd name="T12" fmla="*/ 72833 w 273"/>
                <a:gd name="T13" fmla="*/ 49021 h 414"/>
                <a:gd name="T14" fmla="*/ 70217 w 273"/>
                <a:gd name="T15" fmla="*/ 52671 h 414"/>
                <a:gd name="T16" fmla="*/ 66728 w 273"/>
                <a:gd name="T17" fmla="*/ 44849 h 414"/>
                <a:gd name="T18" fmla="*/ 61930 w 273"/>
                <a:gd name="T19" fmla="*/ 28161 h 414"/>
                <a:gd name="T20" fmla="*/ 57569 w 273"/>
                <a:gd name="T21" fmla="*/ 18774 h 414"/>
                <a:gd name="T22" fmla="*/ 53644 w 273"/>
                <a:gd name="T23" fmla="*/ 13037 h 414"/>
                <a:gd name="T24" fmla="*/ 48410 w 273"/>
                <a:gd name="T25" fmla="*/ 7301 h 414"/>
                <a:gd name="T26" fmla="*/ 41868 w 273"/>
                <a:gd name="T27" fmla="*/ 2607 h 414"/>
                <a:gd name="T28" fmla="*/ 34890 w 273"/>
                <a:gd name="T29" fmla="*/ 3650 h 414"/>
                <a:gd name="T30" fmla="*/ 30093 w 273"/>
                <a:gd name="T31" fmla="*/ 9908 h 414"/>
                <a:gd name="T32" fmla="*/ 27476 w 273"/>
                <a:gd name="T33" fmla="*/ 13037 h 414"/>
                <a:gd name="T34" fmla="*/ 24859 w 273"/>
                <a:gd name="T35" fmla="*/ 16688 h 414"/>
                <a:gd name="T36" fmla="*/ 24423 w 273"/>
                <a:gd name="T37" fmla="*/ 21903 h 414"/>
                <a:gd name="T38" fmla="*/ 25295 w 273"/>
                <a:gd name="T39" fmla="*/ 30768 h 414"/>
                <a:gd name="T40" fmla="*/ 22679 w 273"/>
                <a:gd name="T41" fmla="*/ 40677 h 414"/>
                <a:gd name="T42" fmla="*/ 14392 w 273"/>
                <a:gd name="T43" fmla="*/ 46935 h 414"/>
                <a:gd name="T44" fmla="*/ 7414 w 273"/>
                <a:gd name="T45" fmla="*/ 54236 h 414"/>
                <a:gd name="T46" fmla="*/ 1745 w 273"/>
                <a:gd name="T47" fmla="*/ 61537 h 414"/>
                <a:gd name="T48" fmla="*/ 17445 w 273"/>
                <a:gd name="T49" fmla="*/ 103257 h 414"/>
                <a:gd name="T50" fmla="*/ 31837 w 273"/>
                <a:gd name="T51" fmla="*/ 106907 h 414"/>
                <a:gd name="T52" fmla="*/ 36635 w 273"/>
                <a:gd name="T53" fmla="*/ 109514 h 414"/>
                <a:gd name="T54" fmla="*/ 40560 w 273"/>
                <a:gd name="T55" fmla="*/ 113686 h 414"/>
                <a:gd name="T56" fmla="*/ 43177 w 273"/>
                <a:gd name="T57" fmla="*/ 117858 h 414"/>
                <a:gd name="T58" fmla="*/ 44921 w 273"/>
                <a:gd name="T59" fmla="*/ 123595 h 414"/>
                <a:gd name="T60" fmla="*/ 46230 w 273"/>
                <a:gd name="T61" fmla="*/ 138197 h 414"/>
                <a:gd name="T62" fmla="*/ 44921 w 273"/>
                <a:gd name="T63" fmla="*/ 145498 h 414"/>
                <a:gd name="T64" fmla="*/ 41868 w 273"/>
                <a:gd name="T65" fmla="*/ 152799 h 414"/>
                <a:gd name="T66" fmla="*/ 38815 w 273"/>
                <a:gd name="T67" fmla="*/ 160100 h 414"/>
                <a:gd name="T68" fmla="*/ 37507 w 273"/>
                <a:gd name="T69" fmla="*/ 167401 h 414"/>
                <a:gd name="T70" fmla="*/ 39688 w 273"/>
                <a:gd name="T71" fmla="*/ 178874 h 414"/>
                <a:gd name="T72" fmla="*/ 46666 w 273"/>
                <a:gd name="T73" fmla="*/ 195040 h 414"/>
                <a:gd name="T74" fmla="*/ 51027 w 273"/>
                <a:gd name="T75" fmla="*/ 202863 h 414"/>
                <a:gd name="T76" fmla="*/ 56261 w 273"/>
                <a:gd name="T77" fmla="*/ 209121 h 414"/>
                <a:gd name="T78" fmla="*/ 61494 w 273"/>
                <a:gd name="T79" fmla="*/ 214336 h 414"/>
                <a:gd name="T80" fmla="*/ 66728 w 273"/>
                <a:gd name="T81" fmla="*/ 215900 h 414"/>
                <a:gd name="T82" fmla="*/ 93768 w 273"/>
                <a:gd name="T83" fmla="*/ 207556 h 414"/>
                <a:gd name="T84" fmla="*/ 111213 w 273"/>
                <a:gd name="T85" fmla="*/ 200777 h 414"/>
                <a:gd name="T86" fmla="*/ 116446 w 273"/>
                <a:gd name="T87" fmla="*/ 196605 h 414"/>
                <a:gd name="T88" fmla="*/ 119063 w 273"/>
                <a:gd name="T89" fmla="*/ 192954 h 414"/>
                <a:gd name="T90" fmla="*/ 117318 w 273"/>
                <a:gd name="T91" fmla="*/ 183567 h 414"/>
                <a:gd name="T92" fmla="*/ 114702 w 273"/>
                <a:gd name="T93" fmla="*/ 174702 h 414"/>
                <a:gd name="T94" fmla="*/ 105543 w 273"/>
                <a:gd name="T95" fmla="*/ 161143 h 414"/>
                <a:gd name="T96" fmla="*/ 96820 w 273"/>
                <a:gd name="T97" fmla="*/ 147062 h 414"/>
                <a:gd name="T98" fmla="*/ 93768 w 273"/>
                <a:gd name="T99" fmla="*/ 138718 h 414"/>
                <a:gd name="T100" fmla="*/ 92459 w 273"/>
                <a:gd name="T101" fmla="*/ 128810 h 414"/>
                <a:gd name="T102" fmla="*/ 93768 w 273"/>
                <a:gd name="T103" fmla="*/ 112122 h 414"/>
                <a:gd name="T104" fmla="*/ 96820 w 273"/>
                <a:gd name="T105" fmla="*/ 99085 h 414"/>
                <a:gd name="T106" fmla="*/ 100309 w 273"/>
                <a:gd name="T107" fmla="*/ 87090 h 414"/>
                <a:gd name="T108" fmla="*/ 101182 w 273"/>
                <a:gd name="T109" fmla="*/ 74053 h 41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648" name="Group 164">
              <a:extLst>
                <a:ext uri="{FF2B5EF4-FFF2-40B4-BE49-F238E27FC236}">
                  <a16:creationId xmlns:a16="http://schemas.microsoft.com/office/drawing/2014/main" id="{29888873-41F9-4C0C-B9B3-BE092F0C9AE9}"/>
                </a:ext>
              </a:extLst>
            </p:cNvPr>
            <p:cNvGrpSpPr>
              <a:grpSpLocks/>
            </p:cNvGrpSpPr>
            <p:nvPr>
              <p:custDataLst>
                <p:tags r:id="rId95"/>
              </p:custDataLst>
            </p:nvPr>
          </p:nvGrpSpPr>
          <p:grpSpPr bwMode="auto">
            <a:xfrm>
              <a:off x="3717925" y="3246439"/>
              <a:ext cx="323850" cy="401637"/>
              <a:chOff x="1486" y="2412"/>
              <a:chExt cx="244" cy="256"/>
            </a:xfrm>
          </p:grpSpPr>
          <p:sp>
            <p:nvSpPr>
              <p:cNvPr id="1031" name="Freeform 165">
                <a:extLst>
                  <a:ext uri="{FF2B5EF4-FFF2-40B4-BE49-F238E27FC236}">
                    <a16:creationId xmlns:a16="http://schemas.microsoft.com/office/drawing/2014/main" id="{49BFF34C-7B8A-4009-983A-51E6AFAC3F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6 h 22"/>
                  <a:gd name="T4" fmla="*/ 2 w 54"/>
                  <a:gd name="T5" fmla="*/ 6 h 22"/>
                  <a:gd name="T6" fmla="*/ 3 w 54"/>
                  <a:gd name="T7" fmla="*/ 7 h 22"/>
                  <a:gd name="T8" fmla="*/ 5 w 54"/>
                  <a:gd name="T9" fmla="*/ 7 h 22"/>
                  <a:gd name="T10" fmla="*/ 7 w 54"/>
                  <a:gd name="T11" fmla="*/ 7 h 22"/>
                  <a:gd name="T12" fmla="*/ 8 w 54"/>
                  <a:gd name="T13" fmla="*/ 7 h 22"/>
                  <a:gd name="T14" fmla="*/ 9 w 54"/>
                  <a:gd name="T15" fmla="*/ 7 h 22"/>
                  <a:gd name="T16" fmla="*/ 10 w 54"/>
                  <a:gd name="T17" fmla="*/ 6 h 22"/>
                  <a:gd name="T18" fmla="*/ 11 w 54"/>
                  <a:gd name="T19" fmla="*/ 6 h 22"/>
                  <a:gd name="T20" fmla="*/ 12 w 54"/>
                  <a:gd name="T21" fmla="*/ 5 h 22"/>
                  <a:gd name="T22" fmla="*/ 14 w 54"/>
                  <a:gd name="T23" fmla="*/ 4 h 22"/>
                  <a:gd name="T24" fmla="*/ 16 w 54"/>
                  <a:gd name="T25" fmla="*/ 3 h 22"/>
                  <a:gd name="T26" fmla="*/ 18 w 54"/>
                  <a:gd name="T27" fmla="*/ 2 h 22"/>
                  <a:gd name="T28" fmla="*/ 12 w 54"/>
                  <a:gd name="T29" fmla="*/ 2 h 22"/>
                  <a:gd name="T30" fmla="*/ 7 w 54"/>
                  <a:gd name="T31" fmla="*/ 1 h 22"/>
                  <a:gd name="T32" fmla="*/ 2 w 54"/>
                  <a:gd name="T33" fmla="*/ 0 h 22"/>
                  <a:gd name="T34" fmla="*/ 0 w 54"/>
                  <a:gd name="T35" fmla="*/ 0 h 2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32" name="Freeform 166">
                <a:extLst>
                  <a:ext uri="{FF2B5EF4-FFF2-40B4-BE49-F238E27FC236}">
                    <a16:creationId xmlns:a16="http://schemas.microsoft.com/office/drawing/2014/main" id="{D3B991AC-9FEA-4D07-A62F-AC85A98A6A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2 w 6"/>
                  <a:gd name="T1" fmla="*/ 8 h 24"/>
                  <a:gd name="T2" fmla="*/ 2 w 6"/>
                  <a:gd name="T3" fmla="*/ 0 h 24"/>
                  <a:gd name="T4" fmla="*/ 1 w 6"/>
                  <a:gd name="T5" fmla="*/ 0 h 24"/>
                  <a:gd name="T6" fmla="*/ 0 w 6"/>
                  <a:gd name="T7" fmla="*/ 1 h 24"/>
                  <a:gd name="T8" fmla="*/ 0 w 6"/>
                  <a:gd name="T9" fmla="*/ 2 h 24"/>
                  <a:gd name="T10" fmla="*/ 0 w 6"/>
                  <a:gd name="T11" fmla="*/ 4 h 24"/>
                  <a:gd name="T12" fmla="*/ 0 w 6"/>
                  <a:gd name="T13" fmla="*/ 5 h 24"/>
                  <a:gd name="T14" fmla="*/ 0 w 6"/>
                  <a:gd name="T15" fmla="*/ 7 h 24"/>
                  <a:gd name="T16" fmla="*/ 1 w 6"/>
                  <a:gd name="T17" fmla="*/ 8 h 24"/>
                  <a:gd name="T18" fmla="*/ 2 w 6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33" name="Freeform 167">
                <a:extLst>
                  <a:ext uri="{FF2B5EF4-FFF2-40B4-BE49-F238E27FC236}">
                    <a16:creationId xmlns:a16="http://schemas.microsoft.com/office/drawing/2014/main" id="{50B764EC-4912-4990-AC67-565A5B274F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4 h 12"/>
                  <a:gd name="T2" fmla="*/ 8 w 27"/>
                  <a:gd name="T3" fmla="*/ 4 h 12"/>
                  <a:gd name="T4" fmla="*/ 4 w 27"/>
                  <a:gd name="T5" fmla="*/ 0 h 12"/>
                  <a:gd name="T6" fmla="*/ 0 w 27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34" name="Freeform 168">
                <a:extLst>
                  <a:ext uri="{FF2B5EF4-FFF2-40B4-BE49-F238E27FC236}">
                    <a16:creationId xmlns:a16="http://schemas.microsoft.com/office/drawing/2014/main" id="{D0E1A5F4-7286-4403-8B72-363C37FD9D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3 w 743"/>
                  <a:gd name="T1" fmla="*/ 69 h 672"/>
                  <a:gd name="T2" fmla="*/ 16 w 743"/>
                  <a:gd name="T3" fmla="*/ 89 h 672"/>
                  <a:gd name="T4" fmla="*/ 40 w 743"/>
                  <a:gd name="T5" fmla="*/ 98 h 672"/>
                  <a:gd name="T6" fmla="*/ 55 w 743"/>
                  <a:gd name="T7" fmla="*/ 105 h 672"/>
                  <a:gd name="T8" fmla="*/ 65 w 743"/>
                  <a:gd name="T9" fmla="*/ 115 h 672"/>
                  <a:gd name="T10" fmla="*/ 97 w 743"/>
                  <a:gd name="T11" fmla="*/ 126 h 672"/>
                  <a:gd name="T12" fmla="*/ 94 w 743"/>
                  <a:gd name="T13" fmla="*/ 140 h 672"/>
                  <a:gd name="T14" fmla="*/ 102 w 743"/>
                  <a:gd name="T15" fmla="*/ 171 h 672"/>
                  <a:gd name="T16" fmla="*/ 100 w 743"/>
                  <a:gd name="T17" fmla="*/ 178 h 672"/>
                  <a:gd name="T18" fmla="*/ 99 w 743"/>
                  <a:gd name="T19" fmla="*/ 189 h 672"/>
                  <a:gd name="T20" fmla="*/ 108 w 743"/>
                  <a:gd name="T21" fmla="*/ 206 h 672"/>
                  <a:gd name="T22" fmla="*/ 122 w 743"/>
                  <a:gd name="T23" fmla="*/ 220 h 672"/>
                  <a:gd name="T24" fmla="*/ 136 w 743"/>
                  <a:gd name="T25" fmla="*/ 224 h 672"/>
                  <a:gd name="T26" fmla="*/ 153 w 743"/>
                  <a:gd name="T27" fmla="*/ 218 h 672"/>
                  <a:gd name="T28" fmla="*/ 166 w 743"/>
                  <a:gd name="T29" fmla="*/ 206 h 672"/>
                  <a:gd name="T30" fmla="*/ 172 w 743"/>
                  <a:gd name="T31" fmla="*/ 195 h 672"/>
                  <a:gd name="T32" fmla="*/ 157 w 743"/>
                  <a:gd name="T33" fmla="*/ 156 h 672"/>
                  <a:gd name="T34" fmla="*/ 189 w 743"/>
                  <a:gd name="T35" fmla="*/ 167 h 672"/>
                  <a:gd name="T36" fmla="*/ 197 w 743"/>
                  <a:gd name="T37" fmla="*/ 159 h 672"/>
                  <a:gd name="T38" fmla="*/ 214 w 743"/>
                  <a:gd name="T39" fmla="*/ 148 h 672"/>
                  <a:gd name="T40" fmla="*/ 220 w 743"/>
                  <a:gd name="T41" fmla="*/ 147 h 672"/>
                  <a:gd name="T42" fmla="*/ 225 w 743"/>
                  <a:gd name="T43" fmla="*/ 145 h 672"/>
                  <a:gd name="T44" fmla="*/ 219 w 743"/>
                  <a:gd name="T45" fmla="*/ 109 h 672"/>
                  <a:gd name="T46" fmla="*/ 233 w 743"/>
                  <a:gd name="T47" fmla="*/ 98 h 672"/>
                  <a:gd name="T48" fmla="*/ 234 w 743"/>
                  <a:gd name="T49" fmla="*/ 84 h 672"/>
                  <a:gd name="T50" fmla="*/ 238 w 743"/>
                  <a:gd name="T51" fmla="*/ 78 h 672"/>
                  <a:gd name="T52" fmla="*/ 239 w 743"/>
                  <a:gd name="T53" fmla="*/ 71 h 672"/>
                  <a:gd name="T54" fmla="*/ 230 w 743"/>
                  <a:gd name="T55" fmla="*/ 65 h 672"/>
                  <a:gd name="T56" fmla="*/ 225 w 743"/>
                  <a:gd name="T57" fmla="*/ 56 h 672"/>
                  <a:gd name="T58" fmla="*/ 220 w 743"/>
                  <a:gd name="T59" fmla="*/ 48 h 672"/>
                  <a:gd name="T60" fmla="*/ 210 w 743"/>
                  <a:gd name="T61" fmla="*/ 51 h 672"/>
                  <a:gd name="T62" fmla="*/ 207 w 743"/>
                  <a:gd name="T63" fmla="*/ 45 h 672"/>
                  <a:gd name="T64" fmla="*/ 198 w 743"/>
                  <a:gd name="T65" fmla="*/ 38 h 672"/>
                  <a:gd name="T66" fmla="*/ 192 w 743"/>
                  <a:gd name="T67" fmla="*/ 32 h 672"/>
                  <a:gd name="T68" fmla="*/ 176 w 743"/>
                  <a:gd name="T69" fmla="*/ 25 h 672"/>
                  <a:gd name="T70" fmla="*/ 161 w 743"/>
                  <a:gd name="T71" fmla="*/ 29 h 672"/>
                  <a:gd name="T72" fmla="*/ 155 w 743"/>
                  <a:gd name="T73" fmla="*/ 34 h 672"/>
                  <a:gd name="T74" fmla="*/ 143 w 743"/>
                  <a:gd name="T75" fmla="*/ 39 h 672"/>
                  <a:gd name="T76" fmla="*/ 137 w 743"/>
                  <a:gd name="T77" fmla="*/ 35 h 672"/>
                  <a:gd name="T78" fmla="*/ 129 w 743"/>
                  <a:gd name="T79" fmla="*/ 34 h 672"/>
                  <a:gd name="T80" fmla="*/ 118 w 743"/>
                  <a:gd name="T81" fmla="*/ 28 h 672"/>
                  <a:gd name="T82" fmla="*/ 104 w 743"/>
                  <a:gd name="T83" fmla="*/ 28 h 672"/>
                  <a:gd name="T84" fmla="*/ 96 w 743"/>
                  <a:gd name="T85" fmla="*/ 31 h 672"/>
                  <a:gd name="T86" fmla="*/ 83 w 743"/>
                  <a:gd name="T87" fmla="*/ 31 h 672"/>
                  <a:gd name="T88" fmla="*/ 77 w 743"/>
                  <a:gd name="T89" fmla="*/ 17 h 672"/>
                  <a:gd name="T90" fmla="*/ 59 w 743"/>
                  <a:gd name="T91" fmla="*/ 7 h 672"/>
                  <a:gd name="T92" fmla="*/ 49 w 743"/>
                  <a:gd name="T93" fmla="*/ 3 h 672"/>
                  <a:gd name="T94" fmla="*/ 45 w 743"/>
                  <a:gd name="T95" fmla="*/ 15 h 672"/>
                  <a:gd name="T96" fmla="*/ 39 w 743"/>
                  <a:gd name="T97" fmla="*/ 23 h 672"/>
                  <a:gd name="T98" fmla="*/ 39 w 743"/>
                  <a:gd name="T99" fmla="*/ 46 h 672"/>
                  <a:gd name="T100" fmla="*/ 34 w 743"/>
                  <a:gd name="T101" fmla="*/ 65 h 672"/>
                  <a:gd name="T102" fmla="*/ 29 w 743"/>
                  <a:gd name="T103" fmla="*/ 63 h 672"/>
                  <a:gd name="T104" fmla="*/ 23 w 743"/>
                  <a:gd name="T105" fmla="*/ 61 h 672"/>
                  <a:gd name="T106" fmla="*/ 19 w 743"/>
                  <a:gd name="T107" fmla="*/ 56 h 672"/>
                  <a:gd name="T108" fmla="*/ 17 w 743"/>
                  <a:gd name="T109" fmla="*/ 40 h 672"/>
                  <a:gd name="T110" fmla="*/ 24 w 743"/>
                  <a:gd name="T111" fmla="*/ 20 h 672"/>
                  <a:gd name="T112" fmla="*/ 32 w 743"/>
                  <a:gd name="T113" fmla="*/ 5 h 672"/>
                  <a:gd name="T114" fmla="*/ 17 w 743"/>
                  <a:gd name="T115" fmla="*/ 10 h 672"/>
                  <a:gd name="T116" fmla="*/ 5 w 743"/>
                  <a:gd name="T117" fmla="*/ 23 h 672"/>
                  <a:gd name="T118" fmla="*/ 0 w 743"/>
                  <a:gd name="T119" fmla="*/ 40 h 67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649" name="Freeform 169">
              <a:extLst>
                <a:ext uri="{FF2B5EF4-FFF2-40B4-BE49-F238E27FC236}">
                  <a16:creationId xmlns:a16="http://schemas.microsoft.com/office/drawing/2014/main" id="{AFDE5663-DD1B-4C03-BF39-BAE1D874259A}"/>
                </a:ext>
              </a:extLst>
            </p:cNvPr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8739188" y="4786313"/>
              <a:ext cx="31750" cy="11112"/>
            </a:xfrm>
            <a:custGeom>
              <a:avLst/>
              <a:gdLst>
                <a:gd name="T0" fmla="*/ 0 w 79"/>
                <a:gd name="T1" fmla="*/ 11112 h 23"/>
                <a:gd name="T2" fmla="*/ 8842 w 79"/>
                <a:gd name="T3" fmla="*/ 6281 h 23"/>
                <a:gd name="T4" fmla="*/ 18085 w 79"/>
                <a:gd name="T5" fmla="*/ 1933 h 23"/>
                <a:gd name="T6" fmla="*/ 22506 w 79"/>
                <a:gd name="T7" fmla="*/ 483 h 23"/>
                <a:gd name="T8" fmla="*/ 26123 w 79"/>
                <a:gd name="T9" fmla="*/ 0 h 23"/>
                <a:gd name="T10" fmla="*/ 27731 w 79"/>
                <a:gd name="T11" fmla="*/ 0 h 23"/>
                <a:gd name="T12" fmla="*/ 29741 w 79"/>
                <a:gd name="T13" fmla="*/ 483 h 23"/>
                <a:gd name="T14" fmla="*/ 30946 w 79"/>
                <a:gd name="T15" fmla="*/ 966 h 23"/>
                <a:gd name="T16" fmla="*/ 31750 w 79"/>
                <a:gd name="T17" fmla="*/ 1933 h 23"/>
                <a:gd name="T18" fmla="*/ 30946 w 79"/>
                <a:gd name="T19" fmla="*/ 3865 h 23"/>
                <a:gd name="T20" fmla="*/ 30142 w 79"/>
                <a:gd name="T21" fmla="*/ 6281 h 23"/>
                <a:gd name="T22" fmla="*/ 28937 w 79"/>
                <a:gd name="T23" fmla="*/ 7730 h 23"/>
                <a:gd name="T24" fmla="*/ 27329 w 79"/>
                <a:gd name="T25" fmla="*/ 9179 h 23"/>
                <a:gd name="T26" fmla="*/ 25722 w 79"/>
                <a:gd name="T27" fmla="*/ 10146 h 23"/>
                <a:gd name="T28" fmla="*/ 23712 w 79"/>
                <a:gd name="T29" fmla="*/ 10629 h 23"/>
                <a:gd name="T30" fmla="*/ 21301 w 79"/>
                <a:gd name="T31" fmla="*/ 11112 h 23"/>
                <a:gd name="T32" fmla="*/ 18487 w 79"/>
                <a:gd name="T33" fmla="*/ 11112 h 23"/>
                <a:gd name="T34" fmla="*/ 14870 w 79"/>
                <a:gd name="T35" fmla="*/ 11112 h 23"/>
                <a:gd name="T36" fmla="*/ 12861 w 79"/>
                <a:gd name="T37" fmla="*/ 10146 h 23"/>
                <a:gd name="T38" fmla="*/ 10449 w 79"/>
                <a:gd name="T39" fmla="*/ 9663 h 23"/>
                <a:gd name="T40" fmla="*/ 9244 w 79"/>
                <a:gd name="T41" fmla="*/ 9179 h 23"/>
                <a:gd name="T42" fmla="*/ 7636 w 79"/>
                <a:gd name="T43" fmla="*/ 8696 h 23"/>
                <a:gd name="T44" fmla="*/ 5627 w 79"/>
                <a:gd name="T45" fmla="*/ 8696 h 23"/>
                <a:gd name="T46" fmla="*/ 3617 w 79"/>
                <a:gd name="T47" fmla="*/ 9663 h 23"/>
                <a:gd name="T48" fmla="*/ 0 w 79"/>
                <a:gd name="T49" fmla="*/ 11112 h 2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0" name="Freeform 170">
              <a:extLst>
                <a:ext uri="{FF2B5EF4-FFF2-40B4-BE49-F238E27FC236}">
                  <a16:creationId xmlns:a16="http://schemas.microsoft.com/office/drawing/2014/main" id="{334362AF-D3CE-4E38-B95B-4204FCB2DB68}"/>
                </a:ext>
              </a:extLst>
            </p:cNvPr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8855075" y="4919663"/>
              <a:ext cx="1588" cy="4762"/>
            </a:xfrm>
            <a:custGeom>
              <a:avLst/>
              <a:gdLst>
                <a:gd name="T0" fmla="*/ 0 w 1588"/>
                <a:gd name="T1" fmla="*/ 0 h 6"/>
                <a:gd name="T2" fmla="*/ 0 w 1588"/>
                <a:gd name="T3" fmla="*/ 4762 h 6"/>
                <a:gd name="T4" fmla="*/ 0 w 1588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1" name="Line 171">
              <a:extLst>
                <a:ext uri="{FF2B5EF4-FFF2-40B4-BE49-F238E27FC236}">
                  <a16:creationId xmlns:a16="http://schemas.microsoft.com/office/drawing/2014/main" id="{71DA05C6-F561-4C31-8521-7FF8749D4A4A}"/>
                </a:ext>
              </a:extLst>
            </p:cNvPr>
            <p:cNvSpPr>
              <a:spLocks noChangeShapeType="1"/>
            </p:cNvSpPr>
            <p:nvPr>
              <p:custDataLst>
                <p:tags r:id="rId98"/>
              </p:custDataLst>
            </p:nvPr>
          </p:nvSpPr>
          <p:spPr bwMode="auto">
            <a:xfrm flipV="1">
              <a:off x="8945564" y="4918075"/>
              <a:ext cx="1587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52" name="Freeform 172">
              <a:extLst>
                <a:ext uri="{FF2B5EF4-FFF2-40B4-BE49-F238E27FC236}">
                  <a16:creationId xmlns:a16="http://schemas.microsoft.com/office/drawing/2014/main" id="{C1607BFC-7266-4411-9A1C-6FCF1A7A6A4D}"/>
                </a:ext>
              </a:extLst>
            </p:cNvPr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8945564" y="4918076"/>
              <a:ext cx="3175" cy="15875"/>
            </a:xfrm>
            <a:custGeom>
              <a:avLst/>
              <a:gdLst>
                <a:gd name="T0" fmla="*/ 0 w 5"/>
                <a:gd name="T1" fmla="*/ 0 h 30"/>
                <a:gd name="T2" fmla="*/ 1270 w 5"/>
                <a:gd name="T3" fmla="*/ 529 h 30"/>
                <a:gd name="T4" fmla="*/ 2540 w 5"/>
                <a:gd name="T5" fmla="*/ 2117 h 30"/>
                <a:gd name="T6" fmla="*/ 3175 w 5"/>
                <a:gd name="T7" fmla="*/ 4233 h 30"/>
                <a:gd name="T8" fmla="*/ 3175 w 5"/>
                <a:gd name="T9" fmla="*/ 6879 h 30"/>
                <a:gd name="T10" fmla="*/ 3175 w 5"/>
                <a:gd name="T11" fmla="*/ 9525 h 30"/>
                <a:gd name="T12" fmla="*/ 2540 w 5"/>
                <a:gd name="T13" fmla="*/ 12171 h 30"/>
                <a:gd name="T14" fmla="*/ 1270 w 5"/>
                <a:gd name="T15" fmla="*/ 14287 h 30"/>
                <a:gd name="T16" fmla="*/ 0 w 5"/>
                <a:gd name="T17" fmla="*/ 15875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3" name="Freeform 173">
              <a:extLst>
                <a:ext uri="{FF2B5EF4-FFF2-40B4-BE49-F238E27FC236}">
                  <a16:creationId xmlns:a16="http://schemas.microsoft.com/office/drawing/2014/main" id="{A0E70563-BA12-49AF-AB4B-7794872B9066}"/>
                </a:ext>
              </a:extLst>
            </p:cNvPr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9244014" y="4387851"/>
              <a:ext cx="22225" cy="28575"/>
            </a:xfrm>
            <a:custGeom>
              <a:avLst/>
              <a:gdLst>
                <a:gd name="T0" fmla="*/ 0 w 53"/>
                <a:gd name="T1" fmla="*/ 6235 h 55"/>
                <a:gd name="T2" fmla="*/ 419 w 53"/>
                <a:gd name="T3" fmla="*/ 8832 h 55"/>
                <a:gd name="T4" fmla="*/ 2097 w 53"/>
                <a:gd name="T5" fmla="*/ 11430 h 55"/>
                <a:gd name="T6" fmla="*/ 3774 w 53"/>
                <a:gd name="T7" fmla="*/ 14028 h 55"/>
                <a:gd name="T8" fmla="*/ 6290 w 53"/>
                <a:gd name="T9" fmla="*/ 17145 h 55"/>
                <a:gd name="T10" fmla="*/ 10903 w 53"/>
                <a:gd name="T11" fmla="*/ 22860 h 55"/>
                <a:gd name="T12" fmla="*/ 13838 w 53"/>
                <a:gd name="T13" fmla="*/ 28575 h 55"/>
                <a:gd name="T14" fmla="*/ 22225 w 53"/>
                <a:gd name="T15" fmla="*/ 28575 h 55"/>
                <a:gd name="T16" fmla="*/ 16774 w 53"/>
                <a:gd name="T17" fmla="*/ 21301 h 55"/>
                <a:gd name="T18" fmla="*/ 11742 w 53"/>
                <a:gd name="T19" fmla="*/ 15067 h 55"/>
                <a:gd name="T20" fmla="*/ 9645 w 53"/>
                <a:gd name="T21" fmla="*/ 11950 h 55"/>
                <a:gd name="T22" fmla="*/ 7967 w 53"/>
                <a:gd name="T23" fmla="*/ 8313 h 55"/>
                <a:gd name="T24" fmla="*/ 6709 w 53"/>
                <a:gd name="T25" fmla="*/ 4156 h 55"/>
                <a:gd name="T26" fmla="*/ 5871 w 53"/>
                <a:gd name="T27" fmla="*/ 0 h 55"/>
                <a:gd name="T28" fmla="*/ 2935 w 53"/>
                <a:gd name="T29" fmla="*/ 3117 h 55"/>
                <a:gd name="T30" fmla="*/ 0 w 53"/>
                <a:gd name="T31" fmla="*/ 6235 h 5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4" name="Freeform 174">
              <a:extLst>
                <a:ext uri="{FF2B5EF4-FFF2-40B4-BE49-F238E27FC236}">
                  <a16:creationId xmlns:a16="http://schemas.microsoft.com/office/drawing/2014/main" id="{D6CAA070-0469-4794-96F8-9040B5E934DF}"/>
                </a:ext>
              </a:extLst>
            </p:cNvPr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9250364" y="4314825"/>
              <a:ext cx="26987" cy="39688"/>
            </a:xfrm>
            <a:custGeom>
              <a:avLst/>
              <a:gdLst>
                <a:gd name="T0" fmla="*/ 0 w 65"/>
                <a:gd name="T1" fmla="*/ 16934 h 75"/>
                <a:gd name="T2" fmla="*/ 3737 w 65"/>
                <a:gd name="T3" fmla="*/ 22754 h 75"/>
                <a:gd name="T4" fmla="*/ 8304 w 65"/>
                <a:gd name="T5" fmla="*/ 29105 h 75"/>
                <a:gd name="T6" fmla="*/ 10795 w 65"/>
                <a:gd name="T7" fmla="*/ 32280 h 75"/>
                <a:gd name="T8" fmla="*/ 13286 w 65"/>
                <a:gd name="T9" fmla="*/ 35455 h 75"/>
                <a:gd name="T10" fmla="*/ 16192 w 65"/>
                <a:gd name="T11" fmla="*/ 37571 h 75"/>
                <a:gd name="T12" fmla="*/ 19098 w 65"/>
                <a:gd name="T13" fmla="*/ 39688 h 75"/>
                <a:gd name="T14" fmla="*/ 21174 w 65"/>
                <a:gd name="T15" fmla="*/ 32280 h 75"/>
                <a:gd name="T16" fmla="*/ 24081 w 65"/>
                <a:gd name="T17" fmla="*/ 25400 h 75"/>
                <a:gd name="T18" fmla="*/ 25326 w 65"/>
                <a:gd name="T19" fmla="*/ 22225 h 75"/>
                <a:gd name="T20" fmla="*/ 26157 w 65"/>
                <a:gd name="T21" fmla="*/ 19050 h 75"/>
                <a:gd name="T22" fmla="*/ 26987 w 65"/>
                <a:gd name="T23" fmla="*/ 16404 h 75"/>
                <a:gd name="T24" fmla="*/ 26987 w 65"/>
                <a:gd name="T25" fmla="*/ 13759 h 75"/>
                <a:gd name="T26" fmla="*/ 26987 w 65"/>
                <a:gd name="T27" fmla="*/ 11113 h 75"/>
                <a:gd name="T28" fmla="*/ 26157 w 65"/>
                <a:gd name="T29" fmla="*/ 9525 h 75"/>
                <a:gd name="T30" fmla="*/ 25326 w 65"/>
                <a:gd name="T31" fmla="*/ 6879 h 75"/>
                <a:gd name="T32" fmla="*/ 24081 w 65"/>
                <a:gd name="T33" fmla="*/ 5292 h 75"/>
                <a:gd name="T34" fmla="*/ 21174 w 65"/>
                <a:gd name="T35" fmla="*/ 2646 h 75"/>
                <a:gd name="T36" fmla="*/ 19098 w 65"/>
                <a:gd name="T37" fmla="*/ 0 h 75"/>
                <a:gd name="T38" fmla="*/ 14116 w 65"/>
                <a:gd name="T39" fmla="*/ 0 h 75"/>
                <a:gd name="T40" fmla="*/ 10795 w 65"/>
                <a:gd name="T41" fmla="*/ 0 h 75"/>
                <a:gd name="T42" fmla="*/ 10380 w 65"/>
                <a:gd name="T43" fmla="*/ 1058 h 75"/>
                <a:gd name="T44" fmla="*/ 9964 w 65"/>
                <a:gd name="T45" fmla="*/ 3704 h 75"/>
                <a:gd name="T46" fmla="*/ 9549 w 65"/>
                <a:gd name="T47" fmla="*/ 4763 h 75"/>
                <a:gd name="T48" fmla="*/ 9549 w 65"/>
                <a:gd name="T49" fmla="*/ 5821 h 75"/>
                <a:gd name="T50" fmla="*/ 9964 w 65"/>
                <a:gd name="T51" fmla="*/ 6350 h 75"/>
                <a:gd name="T52" fmla="*/ 10795 w 65"/>
                <a:gd name="T53" fmla="*/ 6879 h 7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" name="Freeform 175">
              <a:extLst>
                <a:ext uri="{FF2B5EF4-FFF2-40B4-BE49-F238E27FC236}">
                  <a16:creationId xmlns:a16="http://schemas.microsoft.com/office/drawing/2014/main" id="{99265740-8790-45C1-8EC1-9C861AD12D13}"/>
                </a:ext>
              </a:extLst>
            </p:cNvPr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9226551" y="4291013"/>
              <a:ext cx="17463" cy="30162"/>
            </a:xfrm>
            <a:custGeom>
              <a:avLst/>
              <a:gdLst>
                <a:gd name="T0" fmla="*/ 0 w 40"/>
                <a:gd name="T1" fmla="*/ 30162 h 62"/>
                <a:gd name="T2" fmla="*/ 1310 w 40"/>
                <a:gd name="T3" fmla="*/ 25297 h 62"/>
                <a:gd name="T4" fmla="*/ 3056 w 40"/>
                <a:gd name="T5" fmla="*/ 20919 h 62"/>
                <a:gd name="T6" fmla="*/ 5239 w 40"/>
                <a:gd name="T7" fmla="*/ 16054 h 62"/>
                <a:gd name="T8" fmla="*/ 7422 w 40"/>
                <a:gd name="T9" fmla="*/ 12162 h 62"/>
                <a:gd name="T10" fmla="*/ 10041 w 40"/>
                <a:gd name="T11" fmla="*/ 8270 h 62"/>
                <a:gd name="T12" fmla="*/ 12661 w 40"/>
                <a:gd name="T13" fmla="*/ 4378 h 62"/>
                <a:gd name="T14" fmla="*/ 15280 w 40"/>
                <a:gd name="T15" fmla="*/ 1459 h 62"/>
                <a:gd name="T16" fmla="*/ 17463 w 40"/>
                <a:gd name="T17" fmla="*/ 0 h 6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6" name="Freeform 176">
              <a:extLst>
                <a:ext uri="{FF2B5EF4-FFF2-40B4-BE49-F238E27FC236}">
                  <a16:creationId xmlns:a16="http://schemas.microsoft.com/office/drawing/2014/main" id="{39E7A05A-58ED-4E78-B45D-1F7636FCFD68}"/>
                </a:ext>
              </a:extLst>
            </p:cNvPr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9145588" y="4168776"/>
              <a:ext cx="68262" cy="138113"/>
            </a:xfrm>
            <a:custGeom>
              <a:avLst/>
              <a:gdLst>
                <a:gd name="T0" fmla="*/ 68262 w 159"/>
                <a:gd name="T1" fmla="*/ 138113 h 259"/>
                <a:gd name="T2" fmla="*/ 68262 w 159"/>
                <a:gd name="T3" fmla="*/ 133847 h 259"/>
                <a:gd name="T4" fmla="*/ 68262 w 159"/>
                <a:gd name="T5" fmla="*/ 130114 h 259"/>
                <a:gd name="T6" fmla="*/ 68262 w 159"/>
                <a:gd name="T7" fmla="*/ 125848 h 259"/>
                <a:gd name="T8" fmla="*/ 68262 w 159"/>
                <a:gd name="T9" fmla="*/ 121582 h 259"/>
                <a:gd name="T10" fmla="*/ 68262 w 159"/>
                <a:gd name="T11" fmla="*/ 119449 h 259"/>
                <a:gd name="T12" fmla="*/ 67833 w 159"/>
                <a:gd name="T13" fmla="*/ 116783 h 259"/>
                <a:gd name="T14" fmla="*/ 66974 w 159"/>
                <a:gd name="T15" fmla="*/ 114650 h 259"/>
                <a:gd name="T16" fmla="*/ 65686 w 159"/>
                <a:gd name="T17" fmla="*/ 111984 h 259"/>
                <a:gd name="T18" fmla="*/ 62252 w 159"/>
                <a:gd name="T19" fmla="*/ 107717 h 259"/>
                <a:gd name="T20" fmla="*/ 57958 w 159"/>
                <a:gd name="T21" fmla="*/ 103985 h 259"/>
                <a:gd name="T22" fmla="*/ 53236 w 159"/>
                <a:gd name="T23" fmla="*/ 100785 h 259"/>
                <a:gd name="T24" fmla="*/ 48084 w 159"/>
                <a:gd name="T25" fmla="*/ 98119 h 259"/>
                <a:gd name="T26" fmla="*/ 42503 w 159"/>
                <a:gd name="T27" fmla="*/ 95986 h 259"/>
                <a:gd name="T28" fmla="*/ 37351 w 159"/>
                <a:gd name="T29" fmla="*/ 95453 h 259"/>
                <a:gd name="T30" fmla="*/ 36492 w 159"/>
                <a:gd name="T31" fmla="*/ 94919 h 259"/>
                <a:gd name="T32" fmla="*/ 35204 w 159"/>
                <a:gd name="T33" fmla="*/ 94386 h 259"/>
                <a:gd name="T34" fmla="*/ 34775 w 159"/>
                <a:gd name="T35" fmla="*/ 93320 h 259"/>
                <a:gd name="T36" fmla="*/ 34346 w 159"/>
                <a:gd name="T37" fmla="*/ 92253 h 259"/>
                <a:gd name="T38" fmla="*/ 34346 w 159"/>
                <a:gd name="T39" fmla="*/ 89054 h 259"/>
                <a:gd name="T40" fmla="*/ 34775 w 159"/>
                <a:gd name="T41" fmla="*/ 85854 h 259"/>
                <a:gd name="T42" fmla="*/ 36492 w 159"/>
                <a:gd name="T43" fmla="*/ 78922 h 259"/>
                <a:gd name="T44" fmla="*/ 37351 w 159"/>
                <a:gd name="T45" fmla="*/ 75722 h 259"/>
                <a:gd name="T46" fmla="*/ 31340 w 159"/>
                <a:gd name="T47" fmla="*/ 75189 h 259"/>
                <a:gd name="T48" fmla="*/ 25330 w 159"/>
                <a:gd name="T49" fmla="*/ 74122 h 259"/>
                <a:gd name="T50" fmla="*/ 20607 w 159"/>
                <a:gd name="T51" fmla="*/ 71989 h 259"/>
                <a:gd name="T52" fmla="*/ 17173 w 159"/>
                <a:gd name="T53" fmla="*/ 68790 h 259"/>
                <a:gd name="T54" fmla="*/ 13309 w 159"/>
                <a:gd name="T55" fmla="*/ 64524 h 259"/>
                <a:gd name="T56" fmla="*/ 10304 w 159"/>
                <a:gd name="T57" fmla="*/ 60258 h 259"/>
                <a:gd name="T58" fmla="*/ 7728 w 159"/>
                <a:gd name="T59" fmla="*/ 55459 h 259"/>
                <a:gd name="T60" fmla="*/ 5581 w 159"/>
                <a:gd name="T61" fmla="*/ 50126 h 259"/>
                <a:gd name="T62" fmla="*/ 3864 w 159"/>
                <a:gd name="T63" fmla="*/ 44793 h 259"/>
                <a:gd name="T64" fmla="*/ 3005 w 159"/>
                <a:gd name="T65" fmla="*/ 38928 h 259"/>
                <a:gd name="T66" fmla="*/ 2147 w 159"/>
                <a:gd name="T67" fmla="*/ 31995 h 259"/>
                <a:gd name="T68" fmla="*/ 859 w 159"/>
                <a:gd name="T69" fmla="*/ 25596 h 259"/>
                <a:gd name="T70" fmla="*/ 0 w 159"/>
                <a:gd name="T71" fmla="*/ 13331 h 259"/>
                <a:gd name="T72" fmla="*/ 0 w 159"/>
                <a:gd name="T73" fmla="*/ 0 h 25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7" name="Line 177">
              <a:extLst>
                <a:ext uri="{FF2B5EF4-FFF2-40B4-BE49-F238E27FC236}">
                  <a16:creationId xmlns:a16="http://schemas.microsoft.com/office/drawing/2014/main" id="{649C6CFA-18F2-408A-AD40-4FABADBC085E}"/>
                </a:ext>
              </a:extLst>
            </p:cNvPr>
            <p:cNvSpPr>
              <a:spLocks noChangeShapeType="1"/>
            </p:cNvSpPr>
            <p:nvPr>
              <p:custDataLst>
                <p:tags r:id="rId104"/>
              </p:custDataLst>
            </p:nvPr>
          </p:nvSpPr>
          <p:spPr bwMode="auto">
            <a:xfrm flipH="1" flipV="1">
              <a:off x="9139238" y="4135439"/>
              <a:ext cx="6350" cy="33337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58" name="Freeform 178">
              <a:extLst>
                <a:ext uri="{FF2B5EF4-FFF2-40B4-BE49-F238E27FC236}">
                  <a16:creationId xmlns:a16="http://schemas.microsoft.com/office/drawing/2014/main" id="{B544BF24-C6BC-4C9C-A8B3-E49EE994C6AA}"/>
                </a:ext>
              </a:extLst>
            </p:cNvPr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9139238" y="4119564"/>
              <a:ext cx="6350" cy="15875"/>
            </a:xfrm>
            <a:custGeom>
              <a:avLst/>
              <a:gdLst>
                <a:gd name="T0" fmla="*/ 0 w 13"/>
                <a:gd name="T1" fmla="*/ 15875 h 25"/>
                <a:gd name="T2" fmla="*/ 488 w 13"/>
                <a:gd name="T3" fmla="*/ 12065 h 25"/>
                <a:gd name="T4" fmla="*/ 1954 w 13"/>
                <a:gd name="T5" fmla="*/ 8255 h 25"/>
                <a:gd name="T6" fmla="*/ 3908 w 13"/>
                <a:gd name="T7" fmla="*/ 3810 h 25"/>
                <a:gd name="T8" fmla="*/ 6350 w 13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9" name="Line 179">
              <a:extLst>
                <a:ext uri="{FF2B5EF4-FFF2-40B4-BE49-F238E27FC236}">
                  <a16:creationId xmlns:a16="http://schemas.microsoft.com/office/drawing/2014/main" id="{F61E5EBC-F9D0-4251-B6D2-94EEDA98AF98}"/>
                </a:ext>
              </a:extLst>
            </p:cNvPr>
            <p:cNvSpPr>
              <a:spLocks noChangeShapeType="1"/>
            </p:cNvSpPr>
            <p:nvPr>
              <p:custDataLst>
                <p:tags r:id="rId106"/>
              </p:custDataLst>
            </p:nvPr>
          </p:nvSpPr>
          <p:spPr bwMode="auto">
            <a:xfrm flipV="1">
              <a:off x="9145588" y="4106863"/>
              <a:ext cx="0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60" name="Freeform 180">
              <a:extLst>
                <a:ext uri="{FF2B5EF4-FFF2-40B4-BE49-F238E27FC236}">
                  <a16:creationId xmlns:a16="http://schemas.microsoft.com/office/drawing/2014/main" id="{3CC72F4A-8385-467C-9985-8F2B3D453C12}"/>
                </a:ext>
              </a:extLst>
            </p:cNvPr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9099550" y="4040189"/>
              <a:ext cx="46038" cy="66675"/>
            </a:xfrm>
            <a:custGeom>
              <a:avLst/>
              <a:gdLst>
                <a:gd name="T0" fmla="*/ 46038 w 100"/>
                <a:gd name="T1" fmla="*/ 66675 h 123"/>
                <a:gd name="T2" fmla="*/ 41434 w 100"/>
                <a:gd name="T3" fmla="*/ 66133 h 123"/>
                <a:gd name="T4" fmla="*/ 34989 w 100"/>
                <a:gd name="T5" fmla="*/ 64507 h 123"/>
                <a:gd name="T6" fmla="*/ 27623 w 100"/>
                <a:gd name="T7" fmla="*/ 61796 h 123"/>
                <a:gd name="T8" fmla="*/ 19796 w 100"/>
                <a:gd name="T9" fmla="*/ 58002 h 123"/>
                <a:gd name="T10" fmla="*/ 15653 w 100"/>
                <a:gd name="T11" fmla="*/ 55834 h 123"/>
                <a:gd name="T12" fmla="*/ 12430 w 100"/>
                <a:gd name="T13" fmla="*/ 53665 h 123"/>
                <a:gd name="T14" fmla="*/ 9208 w 100"/>
                <a:gd name="T15" fmla="*/ 50955 h 123"/>
                <a:gd name="T16" fmla="*/ 5985 w 100"/>
                <a:gd name="T17" fmla="*/ 48245 h 123"/>
                <a:gd name="T18" fmla="*/ 3683 w 100"/>
                <a:gd name="T19" fmla="*/ 45534 h 123"/>
                <a:gd name="T20" fmla="*/ 1842 w 100"/>
                <a:gd name="T21" fmla="*/ 42824 h 123"/>
                <a:gd name="T22" fmla="*/ 460 w 100"/>
                <a:gd name="T23" fmla="*/ 39571 h 123"/>
                <a:gd name="T24" fmla="*/ 0 w 100"/>
                <a:gd name="T25" fmla="*/ 36861 h 123"/>
                <a:gd name="T26" fmla="*/ 921 w 100"/>
                <a:gd name="T27" fmla="*/ 29814 h 123"/>
                <a:gd name="T28" fmla="*/ 3223 w 100"/>
                <a:gd name="T29" fmla="*/ 19515 h 123"/>
                <a:gd name="T30" fmla="*/ 5064 w 100"/>
                <a:gd name="T31" fmla="*/ 9215 h 123"/>
                <a:gd name="T32" fmla="*/ 5985 w 100"/>
                <a:gd name="T33" fmla="*/ 0 h 1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1" name="Freeform 181">
              <a:extLst>
                <a:ext uri="{FF2B5EF4-FFF2-40B4-BE49-F238E27FC236}">
                  <a16:creationId xmlns:a16="http://schemas.microsoft.com/office/drawing/2014/main" id="{5203E2AA-0552-48B3-9792-ACF77B198887}"/>
                </a:ext>
              </a:extLst>
            </p:cNvPr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9113839" y="3983038"/>
              <a:ext cx="1587" cy="50800"/>
            </a:xfrm>
            <a:custGeom>
              <a:avLst/>
              <a:gdLst>
                <a:gd name="T0" fmla="*/ 1587 w 5"/>
                <a:gd name="T1" fmla="*/ 0 h 99"/>
                <a:gd name="T2" fmla="*/ 1270 w 5"/>
                <a:gd name="T3" fmla="*/ 17446 h 99"/>
                <a:gd name="T4" fmla="*/ 317 w 5"/>
                <a:gd name="T5" fmla="*/ 30275 h 99"/>
                <a:gd name="T6" fmla="*/ 0 w 5"/>
                <a:gd name="T7" fmla="*/ 35406 h 99"/>
                <a:gd name="T8" fmla="*/ 0 w 5"/>
                <a:gd name="T9" fmla="*/ 40024 h 99"/>
                <a:gd name="T10" fmla="*/ 635 w 5"/>
                <a:gd name="T11" fmla="*/ 44642 h 99"/>
                <a:gd name="T12" fmla="*/ 1587 w 5"/>
                <a:gd name="T13" fmla="*/ 50800 h 9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2" name="Freeform 182">
              <a:extLst>
                <a:ext uri="{FF2B5EF4-FFF2-40B4-BE49-F238E27FC236}">
                  <a16:creationId xmlns:a16="http://schemas.microsoft.com/office/drawing/2014/main" id="{154C1A0A-4F36-4DF9-B808-8F235742ADDC}"/>
                </a:ext>
              </a:extLst>
            </p:cNvPr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9120189" y="3976688"/>
              <a:ext cx="7937" cy="36512"/>
            </a:xfrm>
            <a:custGeom>
              <a:avLst/>
              <a:gdLst>
                <a:gd name="T0" fmla="*/ 7937 w 14"/>
                <a:gd name="T1" fmla="*/ 0 h 68"/>
                <a:gd name="T2" fmla="*/ 4535 w 14"/>
                <a:gd name="T3" fmla="*/ 8591 h 68"/>
                <a:gd name="T4" fmla="*/ 2268 w 14"/>
                <a:gd name="T5" fmla="*/ 17719 h 68"/>
                <a:gd name="T6" fmla="*/ 1134 w 14"/>
                <a:gd name="T7" fmla="*/ 27921 h 68"/>
                <a:gd name="T8" fmla="*/ 0 w 14"/>
                <a:gd name="T9" fmla="*/ 36512 h 6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3" name="Freeform 183">
              <a:extLst>
                <a:ext uri="{FF2B5EF4-FFF2-40B4-BE49-F238E27FC236}">
                  <a16:creationId xmlns:a16="http://schemas.microsoft.com/office/drawing/2014/main" id="{EC544028-0834-42AA-9469-EDE3AE6641B7}"/>
                </a:ext>
              </a:extLst>
            </p:cNvPr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9136064" y="3957639"/>
              <a:ext cx="1587" cy="22225"/>
            </a:xfrm>
            <a:custGeom>
              <a:avLst/>
              <a:gdLst>
                <a:gd name="T0" fmla="*/ 0 w 1587"/>
                <a:gd name="T1" fmla="*/ 0 h 43"/>
                <a:gd name="T2" fmla="*/ 0 w 1587"/>
                <a:gd name="T3" fmla="*/ 6719 h 43"/>
                <a:gd name="T4" fmla="*/ 0 w 1587"/>
                <a:gd name="T5" fmla="*/ 13438 h 43"/>
                <a:gd name="T6" fmla="*/ 0 w 1587"/>
                <a:gd name="T7" fmla="*/ 19124 h 43"/>
                <a:gd name="T8" fmla="*/ 0 w 1587"/>
                <a:gd name="T9" fmla="*/ 22225 h 4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4" name="Line 184">
              <a:extLst>
                <a:ext uri="{FF2B5EF4-FFF2-40B4-BE49-F238E27FC236}">
                  <a16:creationId xmlns:a16="http://schemas.microsoft.com/office/drawing/2014/main" id="{739FE605-7B94-478A-99DA-57FAEC902A0A}"/>
                </a:ext>
              </a:extLst>
            </p:cNvPr>
            <p:cNvSpPr>
              <a:spLocks noChangeShapeType="1"/>
            </p:cNvSpPr>
            <p:nvPr>
              <p:custDataLst>
                <p:tags r:id="rId111"/>
              </p:custDataLst>
            </p:nvPr>
          </p:nvSpPr>
          <p:spPr bwMode="auto">
            <a:xfrm flipV="1">
              <a:off x="9136064" y="3976689"/>
              <a:ext cx="1587" cy="317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65" name="Freeform 185">
              <a:extLst>
                <a:ext uri="{FF2B5EF4-FFF2-40B4-BE49-F238E27FC236}">
                  <a16:creationId xmlns:a16="http://schemas.microsoft.com/office/drawing/2014/main" id="{7427B6C2-3864-4838-ADC9-9E5AA5F6CDAA}"/>
                </a:ext>
              </a:extLst>
            </p:cNvPr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9120189" y="3960814"/>
              <a:ext cx="1587" cy="15875"/>
            </a:xfrm>
            <a:custGeom>
              <a:avLst/>
              <a:gdLst>
                <a:gd name="T0" fmla="*/ 0 w 1587"/>
                <a:gd name="T1" fmla="*/ 15875 h 31"/>
                <a:gd name="T2" fmla="*/ 0 w 1587"/>
                <a:gd name="T3" fmla="*/ 11266 h 31"/>
                <a:gd name="T4" fmla="*/ 0 w 1587"/>
                <a:gd name="T5" fmla="*/ 7681 h 31"/>
                <a:gd name="T6" fmla="*/ 0 w 1587"/>
                <a:gd name="T7" fmla="*/ 4097 h 31"/>
                <a:gd name="T8" fmla="*/ 0 w 158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6" name="Freeform 186">
              <a:extLst>
                <a:ext uri="{FF2B5EF4-FFF2-40B4-BE49-F238E27FC236}">
                  <a16:creationId xmlns:a16="http://schemas.microsoft.com/office/drawing/2014/main" id="{312773FF-A492-495C-989B-14ED7BC5AA3E}"/>
                </a:ext>
              </a:extLst>
            </p:cNvPr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8840789" y="4949826"/>
              <a:ext cx="96837" cy="87313"/>
            </a:xfrm>
            <a:custGeom>
              <a:avLst/>
              <a:gdLst>
                <a:gd name="T0" fmla="*/ 8177 w 225"/>
                <a:gd name="T1" fmla="*/ 82608 h 167"/>
                <a:gd name="T2" fmla="*/ 3013 w 225"/>
                <a:gd name="T3" fmla="*/ 74242 h 167"/>
                <a:gd name="T4" fmla="*/ 0 w 225"/>
                <a:gd name="T5" fmla="*/ 67968 h 167"/>
                <a:gd name="T6" fmla="*/ 430 w 225"/>
                <a:gd name="T7" fmla="*/ 56466 h 167"/>
                <a:gd name="T8" fmla="*/ 4734 w 225"/>
                <a:gd name="T9" fmla="*/ 35553 h 167"/>
                <a:gd name="T10" fmla="*/ 10329 w 225"/>
                <a:gd name="T11" fmla="*/ 20390 h 167"/>
                <a:gd name="T12" fmla="*/ 14633 w 225"/>
                <a:gd name="T13" fmla="*/ 10979 h 167"/>
                <a:gd name="T14" fmla="*/ 18937 w 225"/>
                <a:gd name="T15" fmla="*/ 4705 h 167"/>
                <a:gd name="T16" fmla="*/ 23241 w 225"/>
                <a:gd name="T17" fmla="*/ 523 h 167"/>
                <a:gd name="T18" fmla="*/ 27975 w 225"/>
                <a:gd name="T19" fmla="*/ 523 h 167"/>
                <a:gd name="T20" fmla="*/ 32709 w 225"/>
                <a:gd name="T21" fmla="*/ 1568 h 167"/>
                <a:gd name="T22" fmla="*/ 37874 w 225"/>
                <a:gd name="T23" fmla="*/ 4183 h 167"/>
                <a:gd name="T24" fmla="*/ 43039 w 225"/>
                <a:gd name="T25" fmla="*/ 8888 h 167"/>
                <a:gd name="T26" fmla="*/ 48203 w 225"/>
                <a:gd name="T27" fmla="*/ 12548 h 167"/>
                <a:gd name="T28" fmla="*/ 55089 w 225"/>
                <a:gd name="T29" fmla="*/ 12548 h 167"/>
                <a:gd name="T30" fmla="*/ 62406 w 225"/>
                <a:gd name="T31" fmla="*/ 9934 h 167"/>
                <a:gd name="T32" fmla="*/ 71014 w 225"/>
                <a:gd name="T33" fmla="*/ 3660 h 167"/>
                <a:gd name="T34" fmla="*/ 96837 w 225"/>
                <a:gd name="T35" fmla="*/ 0 h 167"/>
                <a:gd name="T36" fmla="*/ 92533 w 225"/>
                <a:gd name="T37" fmla="*/ 11502 h 167"/>
                <a:gd name="T38" fmla="*/ 86508 w 225"/>
                <a:gd name="T39" fmla="*/ 21436 h 167"/>
                <a:gd name="T40" fmla="*/ 72305 w 225"/>
                <a:gd name="T41" fmla="*/ 37644 h 167"/>
                <a:gd name="T42" fmla="*/ 59393 w 225"/>
                <a:gd name="T43" fmla="*/ 52283 h 167"/>
                <a:gd name="T44" fmla="*/ 55520 w 225"/>
                <a:gd name="T45" fmla="*/ 59603 h 167"/>
                <a:gd name="T46" fmla="*/ 54229 w 225"/>
                <a:gd name="T47" fmla="*/ 67968 h 167"/>
                <a:gd name="T48" fmla="*/ 52938 w 225"/>
                <a:gd name="T49" fmla="*/ 65877 h 167"/>
                <a:gd name="T50" fmla="*/ 51646 w 225"/>
                <a:gd name="T51" fmla="*/ 61171 h 167"/>
                <a:gd name="T52" fmla="*/ 45621 w 225"/>
                <a:gd name="T53" fmla="*/ 63263 h 167"/>
                <a:gd name="T54" fmla="*/ 41748 w 225"/>
                <a:gd name="T55" fmla="*/ 66923 h 167"/>
                <a:gd name="T56" fmla="*/ 34431 w 225"/>
                <a:gd name="T57" fmla="*/ 75811 h 167"/>
                <a:gd name="T58" fmla="*/ 30557 w 225"/>
                <a:gd name="T59" fmla="*/ 79993 h 167"/>
                <a:gd name="T60" fmla="*/ 25823 w 225"/>
                <a:gd name="T61" fmla="*/ 83653 h 167"/>
                <a:gd name="T62" fmla="*/ 19798 w 225"/>
                <a:gd name="T63" fmla="*/ 86267 h 167"/>
                <a:gd name="T64" fmla="*/ 11190 w 225"/>
                <a:gd name="T65" fmla="*/ 87313 h 1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67" name="Freeform 187">
              <a:extLst>
                <a:ext uri="{FF2B5EF4-FFF2-40B4-BE49-F238E27FC236}">
                  <a16:creationId xmlns:a16="http://schemas.microsoft.com/office/drawing/2014/main" id="{F2FDB7F3-D8DD-4FE6-9B74-E737482451CA}"/>
                </a:ext>
              </a:extLst>
            </p:cNvPr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8978901" y="4168776"/>
              <a:ext cx="3175" cy="17463"/>
            </a:xfrm>
            <a:custGeom>
              <a:avLst/>
              <a:gdLst>
                <a:gd name="T0" fmla="*/ 0 w 7"/>
                <a:gd name="T1" fmla="*/ 17463 h 31"/>
                <a:gd name="T2" fmla="*/ 2268 w 7"/>
                <a:gd name="T3" fmla="*/ 12393 h 31"/>
                <a:gd name="T4" fmla="*/ 2721 w 7"/>
                <a:gd name="T5" fmla="*/ 7323 h 31"/>
                <a:gd name="T6" fmla="*/ 3175 w 7"/>
                <a:gd name="T7" fmla="*/ 3380 h 31"/>
                <a:gd name="T8" fmla="*/ 3175 w 7"/>
                <a:gd name="T9" fmla="*/ 0 h 31"/>
                <a:gd name="T10" fmla="*/ 2721 w 7"/>
                <a:gd name="T11" fmla="*/ 3380 h 31"/>
                <a:gd name="T12" fmla="*/ 1814 w 7"/>
                <a:gd name="T13" fmla="*/ 7323 h 31"/>
                <a:gd name="T14" fmla="*/ 454 w 7"/>
                <a:gd name="T15" fmla="*/ 12393 h 31"/>
                <a:gd name="T16" fmla="*/ 0 w 7"/>
                <a:gd name="T17" fmla="*/ 17463 h 3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8" name="Freeform 188">
              <a:extLst>
                <a:ext uri="{FF2B5EF4-FFF2-40B4-BE49-F238E27FC236}">
                  <a16:creationId xmlns:a16="http://schemas.microsoft.com/office/drawing/2014/main" id="{F6BEC03C-5F1C-466E-B2A1-2B9A86BB70C4}"/>
                </a:ext>
              </a:extLst>
            </p:cNvPr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8912226" y="4090989"/>
              <a:ext cx="15875" cy="15875"/>
            </a:xfrm>
            <a:custGeom>
              <a:avLst/>
              <a:gdLst>
                <a:gd name="T0" fmla="*/ 15875 w 33"/>
                <a:gd name="T1" fmla="*/ 15875 h 31"/>
                <a:gd name="T2" fmla="*/ 15875 w 33"/>
                <a:gd name="T3" fmla="*/ 0 h 31"/>
                <a:gd name="T4" fmla="*/ 12989 w 33"/>
                <a:gd name="T5" fmla="*/ 0 h 31"/>
                <a:gd name="T6" fmla="*/ 10583 w 33"/>
                <a:gd name="T7" fmla="*/ 1024 h 31"/>
                <a:gd name="T8" fmla="*/ 7697 w 33"/>
                <a:gd name="T9" fmla="*/ 2560 h 31"/>
                <a:gd name="T10" fmla="*/ 5292 w 33"/>
                <a:gd name="T11" fmla="*/ 4097 h 31"/>
                <a:gd name="T12" fmla="*/ 2886 w 33"/>
                <a:gd name="T13" fmla="*/ 6145 h 31"/>
                <a:gd name="T14" fmla="*/ 1443 w 33"/>
                <a:gd name="T15" fmla="*/ 8194 h 31"/>
                <a:gd name="T16" fmla="*/ 481 w 33"/>
                <a:gd name="T17" fmla="*/ 10754 h 31"/>
                <a:gd name="T18" fmla="*/ 0 w 33"/>
                <a:gd name="T19" fmla="*/ 12802 h 31"/>
                <a:gd name="T20" fmla="*/ 481 w 33"/>
                <a:gd name="T21" fmla="*/ 13827 h 31"/>
                <a:gd name="T22" fmla="*/ 1443 w 33"/>
                <a:gd name="T23" fmla="*/ 14851 h 31"/>
                <a:gd name="T24" fmla="*/ 2886 w 33"/>
                <a:gd name="T25" fmla="*/ 15363 h 31"/>
                <a:gd name="T26" fmla="*/ 5292 w 33"/>
                <a:gd name="T27" fmla="*/ 15363 h 31"/>
                <a:gd name="T28" fmla="*/ 10583 w 33"/>
                <a:gd name="T29" fmla="*/ 15875 h 31"/>
                <a:gd name="T30" fmla="*/ 15875 w 33"/>
                <a:gd name="T31" fmla="*/ 15875 h 3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9" name="Freeform 189">
              <a:extLst>
                <a:ext uri="{FF2B5EF4-FFF2-40B4-BE49-F238E27FC236}">
                  <a16:creationId xmlns:a16="http://schemas.microsoft.com/office/drawing/2014/main" id="{EE0FA5AD-AA8E-4D3E-8B87-BF19515228A1}"/>
                </a:ext>
              </a:extLst>
            </p:cNvPr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8928101" y="4003676"/>
              <a:ext cx="3175" cy="9525"/>
            </a:xfrm>
            <a:custGeom>
              <a:avLst/>
              <a:gdLst>
                <a:gd name="T0" fmla="*/ 0 w 13"/>
                <a:gd name="T1" fmla="*/ 9525 h 19"/>
                <a:gd name="T2" fmla="*/ 488 w 13"/>
                <a:gd name="T3" fmla="*/ 9024 h 19"/>
                <a:gd name="T4" fmla="*/ 1221 w 13"/>
                <a:gd name="T5" fmla="*/ 8522 h 19"/>
                <a:gd name="T6" fmla="*/ 1710 w 13"/>
                <a:gd name="T7" fmla="*/ 7520 h 19"/>
                <a:gd name="T8" fmla="*/ 1954 w 13"/>
                <a:gd name="T9" fmla="*/ 6016 h 19"/>
                <a:gd name="T10" fmla="*/ 2931 w 13"/>
                <a:gd name="T11" fmla="*/ 3008 h 19"/>
                <a:gd name="T12" fmla="*/ 3175 w 13"/>
                <a:gd name="T13" fmla="*/ 0 h 19"/>
                <a:gd name="T14" fmla="*/ 0 w 13"/>
                <a:gd name="T15" fmla="*/ 9525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0" name="Freeform 190">
              <a:extLst>
                <a:ext uri="{FF2B5EF4-FFF2-40B4-BE49-F238E27FC236}">
                  <a16:creationId xmlns:a16="http://schemas.microsoft.com/office/drawing/2014/main" id="{27F679FD-B18A-4772-AF0D-E9645CE64D7B}"/>
                </a:ext>
              </a:extLst>
            </p:cNvPr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8767763" y="4006851"/>
              <a:ext cx="36512" cy="22225"/>
            </a:xfrm>
            <a:custGeom>
              <a:avLst/>
              <a:gdLst>
                <a:gd name="T0" fmla="*/ 22663 w 87"/>
                <a:gd name="T1" fmla="*/ 22225 h 42"/>
                <a:gd name="T2" fmla="*/ 24761 w 87"/>
                <a:gd name="T3" fmla="*/ 22225 h 42"/>
                <a:gd name="T4" fmla="*/ 26859 w 87"/>
                <a:gd name="T5" fmla="*/ 21696 h 42"/>
                <a:gd name="T6" fmla="*/ 28538 w 87"/>
                <a:gd name="T7" fmla="*/ 21167 h 42"/>
                <a:gd name="T8" fmla="*/ 29797 w 87"/>
                <a:gd name="T9" fmla="*/ 20108 h 42"/>
                <a:gd name="T10" fmla="*/ 31476 w 87"/>
                <a:gd name="T11" fmla="*/ 17992 h 42"/>
                <a:gd name="T12" fmla="*/ 32735 w 87"/>
                <a:gd name="T13" fmla="*/ 14817 h 42"/>
                <a:gd name="T14" fmla="*/ 33155 w 87"/>
                <a:gd name="T15" fmla="*/ 11642 h 42"/>
                <a:gd name="T16" fmla="*/ 33574 w 87"/>
                <a:gd name="T17" fmla="*/ 8467 h 42"/>
                <a:gd name="T18" fmla="*/ 34414 w 87"/>
                <a:gd name="T19" fmla="*/ 5821 h 42"/>
                <a:gd name="T20" fmla="*/ 36512 w 87"/>
                <a:gd name="T21" fmla="*/ 3175 h 42"/>
                <a:gd name="T22" fmla="*/ 32315 w 87"/>
                <a:gd name="T23" fmla="*/ 1058 h 42"/>
                <a:gd name="T24" fmla="*/ 28118 w 87"/>
                <a:gd name="T25" fmla="*/ 0 h 42"/>
                <a:gd name="T26" fmla="*/ 23922 w 87"/>
                <a:gd name="T27" fmla="*/ 0 h 42"/>
                <a:gd name="T28" fmla="*/ 19725 w 87"/>
                <a:gd name="T29" fmla="*/ 0 h 42"/>
                <a:gd name="T30" fmla="*/ 16787 w 87"/>
                <a:gd name="T31" fmla="*/ 0 h 42"/>
                <a:gd name="T32" fmla="*/ 13430 w 87"/>
                <a:gd name="T33" fmla="*/ 1058 h 42"/>
                <a:gd name="T34" fmla="*/ 10492 w 87"/>
                <a:gd name="T35" fmla="*/ 2117 h 42"/>
                <a:gd name="T36" fmla="*/ 7974 w 87"/>
                <a:gd name="T37" fmla="*/ 3175 h 42"/>
                <a:gd name="T38" fmla="*/ 3357 w 87"/>
                <a:gd name="T39" fmla="*/ 6350 h 42"/>
                <a:gd name="T40" fmla="*/ 0 w 87"/>
                <a:gd name="T41" fmla="*/ 9525 h 42"/>
                <a:gd name="T42" fmla="*/ 4616 w 87"/>
                <a:gd name="T43" fmla="*/ 12700 h 42"/>
                <a:gd name="T44" fmla="*/ 11331 w 87"/>
                <a:gd name="T45" fmla="*/ 16933 h 42"/>
                <a:gd name="T46" fmla="*/ 18046 w 87"/>
                <a:gd name="T47" fmla="*/ 20638 h 42"/>
                <a:gd name="T48" fmla="*/ 22663 w 87"/>
                <a:gd name="T49" fmla="*/ 22225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1" name="Freeform 191">
              <a:extLst>
                <a:ext uri="{FF2B5EF4-FFF2-40B4-BE49-F238E27FC236}">
                  <a16:creationId xmlns:a16="http://schemas.microsoft.com/office/drawing/2014/main" id="{A5D305A2-2BF8-4E39-8D41-671C4E055117}"/>
                </a:ext>
              </a:extLst>
            </p:cNvPr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9012239" y="4470400"/>
              <a:ext cx="1587" cy="14288"/>
            </a:xfrm>
            <a:custGeom>
              <a:avLst/>
              <a:gdLst>
                <a:gd name="T0" fmla="*/ 0 w 7"/>
                <a:gd name="T1" fmla="*/ 0 h 31"/>
                <a:gd name="T2" fmla="*/ 1587 w 7"/>
                <a:gd name="T3" fmla="*/ 0 h 31"/>
                <a:gd name="T4" fmla="*/ 1587 w 7"/>
                <a:gd name="T5" fmla="*/ 8296 h 31"/>
                <a:gd name="T6" fmla="*/ 0 w 7"/>
                <a:gd name="T7" fmla="*/ 14288 h 31"/>
                <a:gd name="T8" fmla="*/ 0 w 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2" name="Freeform 192">
              <a:extLst>
                <a:ext uri="{FF2B5EF4-FFF2-40B4-BE49-F238E27FC236}">
                  <a16:creationId xmlns:a16="http://schemas.microsoft.com/office/drawing/2014/main" id="{C01719AD-EDDA-48E9-9AA3-864E9A131D5E}"/>
                </a:ext>
              </a:extLst>
            </p:cNvPr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8248651" y="3976688"/>
              <a:ext cx="1019175" cy="908050"/>
            </a:xfrm>
            <a:custGeom>
              <a:avLst/>
              <a:gdLst>
                <a:gd name="T0" fmla="*/ 93526 w 2332"/>
                <a:gd name="T1" fmla="*/ 370879 h 1731"/>
                <a:gd name="T2" fmla="*/ 142038 w 2332"/>
                <a:gd name="T3" fmla="*/ 340453 h 1731"/>
                <a:gd name="T4" fmla="*/ 190112 w 2332"/>
                <a:gd name="T5" fmla="*/ 317896 h 1731"/>
                <a:gd name="T6" fmla="*/ 264409 w 2332"/>
                <a:gd name="T7" fmla="*/ 299011 h 1731"/>
                <a:gd name="T8" fmla="*/ 295875 w 2332"/>
                <a:gd name="T9" fmla="*/ 229242 h 1731"/>
                <a:gd name="T10" fmla="*/ 331276 w 2332"/>
                <a:gd name="T11" fmla="*/ 230291 h 1731"/>
                <a:gd name="T12" fmla="*/ 342639 w 2332"/>
                <a:gd name="T13" fmla="*/ 190423 h 1731"/>
                <a:gd name="T14" fmla="*/ 378476 w 2332"/>
                <a:gd name="T15" fmla="*/ 165768 h 1731"/>
                <a:gd name="T16" fmla="*/ 410380 w 2332"/>
                <a:gd name="T17" fmla="*/ 129047 h 1731"/>
                <a:gd name="T18" fmla="*/ 448839 w 2332"/>
                <a:gd name="T19" fmla="*/ 116982 h 1731"/>
                <a:gd name="T20" fmla="*/ 471128 w 2332"/>
                <a:gd name="T21" fmla="*/ 148981 h 1731"/>
                <a:gd name="T22" fmla="*/ 496039 w 2332"/>
                <a:gd name="T23" fmla="*/ 141637 h 1731"/>
                <a:gd name="T24" fmla="*/ 513958 w 2332"/>
                <a:gd name="T25" fmla="*/ 90228 h 1731"/>
                <a:gd name="T26" fmla="*/ 576892 w 2332"/>
                <a:gd name="T27" fmla="*/ 61376 h 1731"/>
                <a:gd name="T28" fmla="*/ 583884 w 2332"/>
                <a:gd name="T29" fmla="*/ 21508 h 1731"/>
                <a:gd name="T30" fmla="*/ 625840 w 2332"/>
                <a:gd name="T31" fmla="*/ 56130 h 1731"/>
                <a:gd name="T32" fmla="*/ 674788 w 2332"/>
                <a:gd name="T33" fmla="*/ 61376 h 1731"/>
                <a:gd name="T34" fmla="*/ 640262 w 2332"/>
                <a:gd name="T35" fmla="*/ 137440 h 1731"/>
                <a:gd name="T36" fmla="*/ 659492 w 2332"/>
                <a:gd name="T37" fmla="*/ 174686 h 1731"/>
                <a:gd name="T38" fmla="*/ 691396 w 2332"/>
                <a:gd name="T39" fmla="*/ 185702 h 1731"/>
                <a:gd name="T40" fmla="*/ 728981 w 2332"/>
                <a:gd name="T41" fmla="*/ 221898 h 1731"/>
                <a:gd name="T42" fmla="*/ 770937 w 2332"/>
                <a:gd name="T43" fmla="*/ 216652 h 1731"/>
                <a:gd name="T44" fmla="*/ 799781 w 2332"/>
                <a:gd name="T45" fmla="*/ 107539 h 1731"/>
                <a:gd name="T46" fmla="*/ 832122 w 2332"/>
                <a:gd name="T47" fmla="*/ 5246 h 1731"/>
                <a:gd name="T48" fmla="*/ 844796 w 2332"/>
                <a:gd name="T49" fmla="*/ 41966 h 1731"/>
                <a:gd name="T50" fmla="*/ 849604 w 2332"/>
                <a:gd name="T51" fmla="*/ 92326 h 1731"/>
                <a:gd name="T52" fmla="*/ 867959 w 2332"/>
                <a:gd name="T53" fmla="*/ 125899 h 1731"/>
                <a:gd name="T54" fmla="*/ 891560 w 2332"/>
                <a:gd name="T55" fmla="*/ 225045 h 1731"/>
                <a:gd name="T56" fmla="*/ 912975 w 2332"/>
                <a:gd name="T57" fmla="*/ 283274 h 1731"/>
                <a:gd name="T58" fmla="*/ 945315 w 2332"/>
                <a:gd name="T59" fmla="*/ 359863 h 1731"/>
                <a:gd name="T60" fmla="*/ 969790 w 2332"/>
                <a:gd name="T61" fmla="*/ 403403 h 1731"/>
                <a:gd name="T62" fmla="*/ 1019175 w 2332"/>
                <a:gd name="T63" fmla="*/ 467926 h 1731"/>
                <a:gd name="T64" fmla="*/ 994701 w 2332"/>
                <a:gd name="T65" fmla="*/ 579662 h 1731"/>
                <a:gd name="T66" fmla="*/ 912100 w 2332"/>
                <a:gd name="T67" fmla="*/ 714480 h 1731"/>
                <a:gd name="T68" fmla="*/ 876263 w 2332"/>
                <a:gd name="T69" fmla="*/ 751200 h 1731"/>
                <a:gd name="T70" fmla="*/ 803278 w 2332"/>
                <a:gd name="T71" fmla="*/ 834609 h 1731"/>
                <a:gd name="T72" fmla="*/ 764381 w 2332"/>
                <a:gd name="T73" fmla="*/ 879198 h 1731"/>
                <a:gd name="T74" fmla="*/ 694455 w 2332"/>
                <a:gd name="T75" fmla="*/ 905427 h 1731"/>
                <a:gd name="T76" fmla="*/ 662988 w 2332"/>
                <a:gd name="T77" fmla="*/ 888116 h 1731"/>
                <a:gd name="T78" fmla="*/ 616225 w 2332"/>
                <a:gd name="T79" fmla="*/ 907001 h 1731"/>
                <a:gd name="T80" fmla="*/ 566840 w 2332"/>
                <a:gd name="T81" fmla="*/ 888116 h 1731"/>
                <a:gd name="T82" fmla="*/ 558973 w 2332"/>
                <a:gd name="T83" fmla="*/ 846674 h 1731"/>
                <a:gd name="T84" fmla="*/ 551980 w 2332"/>
                <a:gd name="T85" fmla="*/ 795265 h 1731"/>
                <a:gd name="T86" fmla="*/ 535373 w 2332"/>
                <a:gd name="T87" fmla="*/ 786872 h 1731"/>
                <a:gd name="T88" fmla="*/ 559410 w 2332"/>
                <a:gd name="T89" fmla="*/ 724971 h 1731"/>
                <a:gd name="T90" fmla="*/ 475498 w 2332"/>
                <a:gd name="T91" fmla="*/ 714480 h 1731"/>
                <a:gd name="T92" fmla="*/ 419995 w 2332"/>
                <a:gd name="T93" fmla="*/ 672513 h 1731"/>
                <a:gd name="T94" fmla="*/ 329527 w 2332"/>
                <a:gd name="T95" fmla="*/ 694021 h 1731"/>
                <a:gd name="T96" fmla="*/ 221579 w 2332"/>
                <a:gd name="T97" fmla="*/ 744381 h 1731"/>
                <a:gd name="T98" fmla="*/ 93526 w 2332"/>
                <a:gd name="T99" fmla="*/ 772708 h 1731"/>
                <a:gd name="T100" fmla="*/ 24037 w 2332"/>
                <a:gd name="T101" fmla="*/ 781626 h 1731"/>
                <a:gd name="T102" fmla="*/ 874 w 2332"/>
                <a:gd name="T103" fmla="*/ 746479 h 1731"/>
                <a:gd name="T104" fmla="*/ 42393 w 2332"/>
                <a:gd name="T105" fmla="*/ 705037 h 1731"/>
                <a:gd name="T106" fmla="*/ 32778 w 2332"/>
                <a:gd name="T107" fmla="*/ 651005 h 1731"/>
                <a:gd name="T108" fmla="*/ 49385 w 2332"/>
                <a:gd name="T109" fmla="*/ 613760 h 1731"/>
                <a:gd name="T110" fmla="*/ 25348 w 2332"/>
                <a:gd name="T111" fmla="*/ 494680 h 1731"/>
                <a:gd name="T112" fmla="*/ 49385 w 2332"/>
                <a:gd name="T113" fmla="*/ 505696 h 1731"/>
                <a:gd name="T114" fmla="*/ 46326 w 2332"/>
                <a:gd name="T115" fmla="*/ 452189 h 1731"/>
                <a:gd name="T116" fmla="*/ 64245 w 2332"/>
                <a:gd name="T117" fmla="*/ 401305 h 173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3" name="Freeform 193">
              <a:extLst>
                <a:ext uri="{FF2B5EF4-FFF2-40B4-BE49-F238E27FC236}">
                  <a16:creationId xmlns:a16="http://schemas.microsoft.com/office/drawing/2014/main" id="{92A2F047-5739-4EB3-A2A6-E684F98F1344}"/>
                </a:ext>
              </a:extLst>
            </p:cNvPr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2735264" y="2643189"/>
              <a:ext cx="668337" cy="581025"/>
            </a:xfrm>
            <a:custGeom>
              <a:avLst/>
              <a:gdLst>
                <a:gd name="T0" fmla="*/ 541201 w 1535"/>
                <a:gd name="T1" fmla="*/ 484624 h 1109"/>
                <a:gd name="T2" fmla="*/ 565583 w 1535"/>
                <a:gd name="T3" fmla="*/ 514487 h 1109"/>
                <a:gd name="T4" fmla="*/ 531186 w 1535"/>
                <a:gd name="T5" fmla="*/ 523394 h 1109"/>
                <a:gd name="T6" fmla="*/ 512464 w 1535"/>
                <a:gd name="T7" fmla="*/ 573690 h 1109"/>
                <a:gd name="T8" fmla="*/ 463700 w 1535"/>
                <a:gd name="T9" fmla="*/ 527061 h 1109"/>
                <a:gd name="T10" fmla="*/ 432786 w 1535"/>
                <a:gd name="T11" fmla="*/ 530205 h 1109"/>
                <a:gd name="T12" fmla="*/ 397519 w 1535"/>
                <a:gd name="T13" fmla="*/ 544351 h 1109"/>
                <a:gd name="T14" fmla="*/ 342223 w 1535"/>
                <a:gd name="T15" fmla="*/ 508724 h 1109"/>
                <a:gd name="T16" fmla="*/ 282138 w 1535"/>
                <a:gd name="T17" fmla="*/ 480433 h 1109"/>
                <a:gd name="T18" fmla="*/ 256014 w 1535"/>
                <a:gd name="T19" fmla="*/ 462620 h 1109"/>
                <a:gd name="T20" fmla="*/ 233809 w 1535"/>
                <a:gd name="T21" fmla="*/ 437471 h 1109"/>
                <a:gd name="T22" fmla="*/ 211168 w 1535"/>
                <a:gd name="T23" fmla="*/ 432756 h 1109"/>
                <a:gd name="T24" fmla="*/ 191140 w 1535"/>
                <a:gd name="T25" fmla="*/ 396606 h 1109"/>
                <a:gd name="T26" fmla="*/ 203331 w 1535"/>
                <a:gd name="T27" fmla="*/ 369362 h 1109"/>
                <a:gd name="T28" fmla="*/ 195929 w 1535"/>
                <a:gd name="T29" fmla="*/ 314875 h 1109"/>
                <a:gd name="T30" fmla="*/ 153260 w 1535"/>
                <a:gd name="T31" fmla="*/ 245194 h 1109"/>
                <a:gd name="T32" fmla="*/ 132361 w 1535"/>
                <a:gd name="T33" fmla="*/ 223189 h 1109"/>
                <a:gd name="T34" fmla="*/ 127572 w 1535"/>
                <a:gd name="T35" fmla="*/ 193326 h 1109"/>
                <a:gd name="T36" fmla="*/ 94482 w 1535"/>
                <a:gd name="T37" fmla="*/ 129932 h 1109"/>
                <a:gd name="T38" fmla="*/ 72712 w 1535"/>
                <a:gd name="T39" fmla="*/ 38770 h 1109"/>
                <a:gd name="T40" fmla="*/ 36573 w 1535"/>
                <a:gd name="T41" fmla="*/ 54487 h 1109"/>
                <a:gd name="T42" fmla="*/ 49200 w 1535"/>
                <a:gd name="T43" fmla="*/ 116310 h 1109"/>
                <a:gd name="T44" fmla="*/ 65310 w 1535"/>
                <a:gd name="T45" fmla="*/ 170797 h 1109"/>
                <a:gd name="T46" fmla="*/ 85338 w 1535"/>
                <a:gd name="T47" fmla="*/ 210615 h 1109"/>
                <a:gd name="T48" fmla="*/ 87080 w 1535"/>
                <a:gd name="T49" fmla="*/ 243622 h 1109"/>
                <a:gd name="T50" fmla="*/ 92740 w 1535"/>
                <a:gd name="T51" fmla="*/ 274533 h 1109"/>
                <a:gd name="T52" fmla="*/ 112768 w 1535"/>
                <a:gd name="T53" fmla="*/ 299157 h 1109"/>
                <a:gd name="T54" fmla="*/ 93175 w 1535"/>
                <a:gd name="T55" fmla="*/ 312255 h 1109"/>
                <a:gd name="T56" fmla="*/ 84032 w 1535"/>
                <a:gd name="T57" fmla="*/ 283964 h 1109"/>
                <a:gd name="T58" fmla="*/ 52248 w 1535"/>
                <a:gd name="T59" fmla="*/ 248337 h 1109"/>
                <a:gd name="T60" fmla="*/ 63568 w 1535"/>
                <a:gd name="T61" fmla="*/ 220046 h 1109"/>
                <a:gd name="T62" fmla="*/ 38750 w 1535"/>
                <a:gd name="T63" fmla="*/ 191754 h 1109"/>
                <a:gd name="T64" fmla="*/ 11756 w 1535"/>
                <a:gd name="T65" fmla="*/ 160843 h 1109"/>
                <a:gd name="T66" fmla="*/ 28301 w 1535"/>
                <a:gd name="T67" fmla="*/ 151412 h 1109"/>
                <a:gd name="T68" fmla="*/ 27866 w 1535"/>
                <a:gd name="T69" fmla="*/ 117882 h 1109"/>
                <a:gd name="T70" fmla="*/ 2612 w 1535"/>
                <a:gd name="T71" fmla="*/ 61298 h 1109"/>
                <a:gd name="T72" fmla="*/ 16545 w 1535"/>
                <a:gd name="T73" fmla="*/ 2620 h 1109"/>
                <a:gd name="T74" fmla="*/ 91869 w 1535"/>
                <a:gd name="T75" fmla="*/ 9431 h 1109"/>
                <a:gd name="T76" fmla="*/ 157179 w 1535"/>
                <a:gd name="T77" fmla="*/ 39818 h 1109"/>
                <a:gd name="T78" fmla="*/ 216829 w 1535"/>
                <a:gd name="T79" fmla="*/ 28815 h 1109"/>
                <a:gd name="T80" fmla="*/ 258191 w 1535"/>
                <a:gd name="T81" fmla="*/ 28292 h 1109"/>
                <a:gd name="T82" fmla="*/ 275607 w 1535"/>
                <a:gd name="T83" fmla="*/ 57631 h 1109"/>
                <a:gd name="T84" fmla="*/ 304779 w 1535"/>
                <a:gd name="T85" fmla="*/ 112642 h 1109"/>
                <a:gd name="T86" fmla="*/ 326549 w 1535"/>
                <a:gd name="T87" fmla="*/ 100592 h 1109"/>
                <a:gd name="T88" fmla="*/ 357898 w 1535"/>
                <a:gd name="T89" fmla="*/ 92210 h 1109"/>
                <a:gd name="T90" fmla="*/ 382715 w 1535"/>
                <a:gd name="T91" fmla="*/ 127836 h 1109"/>
                <a:gd name="T92" fmla="*/ 394036 w 1535"/>
                <a:gd name="T93" fmla="*/ 189658 h 1109"/>
                <a:gd name="T94" fmla="*/ 419724 w 1535"/>
                <a:gd name="T95" fmla="*/ 212187 h 1109"/>
                <a:gd name="T96" fmla="*/ 425385 w 1535"/>
                <a:gd name="T97" fmla="*/ 238907 h 1109"/>
                <a:gd name="T98" fmla="*/ 405356 w 1535"/>
                <a:gd name="T99" fmla="*/ 257768 h 1109"/>
                <a:gd name="T100" fmla="*/ 399261 w 1535"/>
                <a:gd name="T101" fmla="*/ 332164 h 1109"/>
                <a:gd name="T102" fmla="*/ 416241 w 1535"/>
                <a:gd name="T103" fmla="*/ 414419 h 1109"/>
                <a:gd name="T104" fmla="*/ 458910 w 1535"/>
                <a:gd name="T105" fmla="*/ 459476 h 1109"/>
                <a:gd name="T106" fmla="*/ 507675 w 1535"/>
                <a:gd name="T107" fmla="*/ 444806 h 1109"/>
                <a:gd name="T108" fmla="*/ 543813 w 1535"/>
                <a:gd name="T109" fmla="*/ 445330 h 1109"/>
                <a:gd name="T110" fmla="*/ 564277 w 1535"/>
                <a:gd name="T111" fmla="*/ 388747 h 1109"/>
                <a:gd name="T112" fmla="*/ 581693 w 1535"/>
                <a:gd name="T113" fmla="*/ 363075 h 1109"/>
                <a:gd name="T114" fmla="*/ 655710 w 1535"/>
                <a:gd name="T115" fmla="*/ 355216 h 1109"/>
                <a:gd name="T116" fmla="*/ 654404 w 1535"/>
                <a:gd name="T117" fmla="*/ 381936 h 1109"/>
                <a:gd name="T118" fmla="*/ 639165 w 1535"/>
                <a:gd name="T119" fmla="*/ 430137 h 1109"/>
                <a:gd name="T120" fmla="*/ 596061 w 1535"/>
                <a:gd name="T121" fmla="*/ 465239 h 110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74" name="Freeform 194">
              <a:extLst>
                <a:ext uri="{FF2B5EF4-FFF2-40B4-BE49-F238E27FC236}">
                  <a16:creationId xmlns:a16="http://schemas.microsoft.com/office/drawing/2014/main" id="{5E69D542-7F5D-43ED-881B-49B4254545CE}"/>
                </a:ext>
              </a:extLst>
            </p:cNvPr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4010025" y="4283076"/>
              <a:ext cx="211138" cy="265113"/>
            </a:xfrm>
            <a:custGeom>
              <a:avLst/>
              <a:gdLst>
                <a:gd name="T0" fmla="*/ 6082 w 486"/>
                <a:gd name="T1" fmla="*/ 92396 h 505"/>
                <a:gd name="T2" fmla="*/ 13468 w 486"/>
                <a:gd name="T3" fmla="*/ 103945 h 505"/>
                <a:gd name="T4" fmla="*/ 22156 w 486"/>
                <a:gd name="T5" fmla="*/ 121794 h 505"/>
                <a:gd name="T6" fmla="*/ 35624 w 486"/>
                <a:gd name="T7" fmla="*/ 139644 h 505"/>
                <a:gd name="T8" fmla="*/ 54739 w 486"/>
                <a:gd name="T9" fmla="*/ 153818 h 505"/>
                <a:gd name="T10" fmla="*/ 73855 w 486"/>
                <a:gd name="T11" fmla="*/ 162743 h 505"/>
                <a:gd name="T12" fmla="*/ 106872 w 486"/>
                <a:gd name="T13" fmla="*/ 172192 h 505"/>
                <a:gd name="T14" fmla="*/ 128160 w 486"/>
                <a:gd name="T15" fmla="*/ 180592 h 505"/>
                <a:gd name="T16" fmla="*/ 129898 w 486"/>
                <a:gd name="T17" fmla="*/ 200016 h 505"/>
                <a:gd name="T18" fmla="*/ 120340 w 486"/>
                <a:gd name="T19" fmla="*/ 219440 h 505"/>
                <a:gd name="T20" fmla="*/ 115996 w 486"/>
                <a:gd name="T21" fmla="*/ 232564 h 505"/>
                <a:gd name="T22" fmla="*/ 115561 w 486"/>
                <a:gd name="T23" fmla="*/ 243064 h 505"/>
                <a:gd name="T24" fmla="*/ 120774 w 486"/>
                <a:gd name="T25" fmla="*/ 253039 h 505"/>
                <a:gd name="T26" fmla="*/ 129898 w 486"/>
                <a:gd name="T27" fmla="*/ 259338 h 505"/>
                <a:gd name="T28" fmla="*/ 149447 w 486"/>
                <a:gd name="T29" fmla="*/ 264588 h 505"/>
                <a:gd name="T30" fmla="*/ 168128 w 486"/>
                <a:gd name="T31" fmla="*/ 264588 h 505"/>
                <a:gd name="T32" fmla="*/ 180293 w 486"/>
                <a:gd name="T33" fmla="*/ 259338 h 505"/>
                <a:gd name="T34" fmla="*/ 193760 w 486"/>
                <a:gd name="T35" fmla="*/ 248839 h 505"/>
                <a:gd name="T36" fmla="*/ 205490 w 486"/>
                <a:gd name="T37" fmla="*/ 234664 h 505"/>
                <a:gd name="T38" fmla="*/ 210704 w 486"/>
                <a:gd name="T39" fmla="*/ 219440 h 505"/>
                <a:gd name="T40" fmla="*/ 210269 w 486"/>
                <a:gd name="T41" fmla="*/ 208416 h 505"/>
                <a:gd name="T42" fmla="*/ 207662 w 486"/>
                <a:gd name="T43" fmla="*/ 187941 h 505"/>
                <a:gd name="T44" fmla="*/ 204621 w 486"/>
                <a:gd name="T45" fmla="*/ 165892 h 505"/>
                <a:gd name="T46" fmla="*/ 202015 w 486"/>
                <a:gd name="T47" fmla="*/ 141744 h 505"/>
                <a:gd name="T48" fmla="*/ 198105 w 486"/>
                <a:gd name="T49" fmla="*/ 132294 h 505"/>
                <a:gd name="T50" fmla="*/ 190719 w 486"/>
                <a:gd name="T51" fmla="*/ 125469 h 505"/>
                <a:gd name="T52" fmla="*/ 179424 w 486"/>
                <a:gd name="T53" fmla="*/ 121794 h 505"/>
                <a:gd name="T54" fmla="*/ 170301 w 486"/>
                <a:gd name="T55" fmla="*/ 116545 h 505"/>
                <a:gd name="T56" fmla="*/ 160743 w 486"/>
                <a:gd name="T57" fmla="*/ 108670 h 505"/>
                <a:gd name="T58" fmla="*/ 143365 w 486"/>
                <a:gd name="T59" fmla="*/ 98696 h 505"/>
                <a:gd name="T60" fmla="*/ 125988 w 486"/>
                <a:gd name="T61" fmla="*/ 90296 h 505"/>
                <a:gd name="T62" fmla="*/ 118602 w 486"/>
                <a:gd name="T63" fmla="*/ 83996 h 505"/>
                <a:gd name="T64" fmla="*/ 114692 w 486"/>
                <a:gd name="T65" fmla="*/ 79271 h 505"/>
                <a:gd name="T66" fmla="*/ 113389 w 486"/>
                <a:gd name="T67" fmla="*/ 65622 h 505"/>
                <a:gd name="T68" fmla="*/ 113389 w 486"/>
                <a:gd name="T69" fmla="*/ 47248 h 505"/>
                <a:gd name="T70" fmla="*/ 110782 w 486"/>
                <a:gd name="T71" fmla="*/ 37273 h 505"/>
                <a:gd name="T72" fmla="*/ 104700 w 486"/>
                <a:gd name="T73" fmla="*/ 28874 h 505"/>
                <a:gd name="T74" fmla="*/ 101659 w 486"/>
                <a:gd name="T75" fmla="*/ 19424 h 505"/>
                <a:gd name="T76" fmla="*/ 86454 w 486"/>
                <a:gd name="T77" fmla="*/ 6300 h 505"/>
                <a:gd name="T78" fmla="*/ 80806 w 486"/>
                <a:gd name="T79" fmla="*/ 4200 h 505"/>
                <a:gd name="T80" fmla="*/ 75158 w 486"/>
                <a:gd name="T81" fmla="*/ 1050 h 505"/>
                <a:gd name="T82" fmla="*/ 60387 w 486"/>
                <a:gd name="T83" fmla="*/ 525 h 505"/>
                <a:gd name="T84" fmla="*/ 30411 w 486"/>
                <a:gd name="T85" fmla="*/ 5775 h 505"/>
                <a:gd name="T86" fmla="*/ 18246 w 486"/>
                <a:gd name="T87" fmla="*/ 11025 h 505"/>
                <a:gd name="T88" fmla="*/ 10427 w 486"/>
                <a:gd name="T89" fmla="*/ 19424 h 505"/>
                <a:gd name="T90" fmla="*/ 8689 w 486"/>
                <a:gd name="T91" fmla="*/ 33598 h 5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75" name="Freeform 195">
              <a:extLst>
                <a:ext uri="{FF2B5EF4-FFF2-40B4-BE49-F238E27FC236}">
                  <a16:creationId xmlns:a16="http://schemas.microsoft.com/office/drawing/2014/main" id="{19D04518-0847-4BAA-9E0F-F449E65AD336}"/>
                </a:ext>
              </a:extLst>
            </p:cNvPr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4179889" y="3487739"/>
              <a:ext cx="73025" cy="109537"/>
            </a:xfrm>
            <a:custGeom>
              <a:avLst/>
              <a:gdLst>
                <a:gd name="T0" fmla="*/ 3079 w 166"/>
                <a:gd name="T1" fmla="*/ 96371 h 208"/>
                <a:gd name="T2" fmla="*/ 34753 w 166"/>
                <a:gd name="T3" fmla="*/ 109537 h 208"/>
                <a:gd name="T4" fmla="*/ 37392 w 166"/>
                <a:gd name="T5" fmla="*/ 109010 h 208"/>
                <a:gd name="T6" fmla="*/ 39592 w 166"/>
                <a:gd name="T7" fmla="*/ 107431 h 208"/>
                <a:gd name="T8" fmla="*/ 42671 w 166"/>
                <a:gd name="T9" fmla="*/ 104271 h 208"/>
                <a:gd name="T10" fmla="*/ 45751 w 166"/>
                <a:gd name="T11" fmla="*/ 101111 h 208"/>
                <a:gd name="T12" fmla="*/ 51469 w 166"/>
                <a:gd name="T13" fmla="*/ 92685 h 208"/>
                <a:gd name="T14" fmla="*/ 57188 w 166"/>
                <a:gd name="T15" fmla="*/ 83206 h 208"/>
                <a:gd name="T16" fmla="*/ 67746 w 166"/>
                <a:gd name="T17" fmla="*/ 64248 h 208"/>
                <a:gd name="T18" fmla="*/ 73025 w 166"/>
                <a:gd name="T19" fmla="*/ 54242 h 208"/>
                <a:gd name="T20" fmla="*/ 63347 w 166"/>
                <a:gd name="T21" fmla="*/ 49502 h 208"/>
                <a:gd name="T22" fmla="*/ 55429 w 166"/>
                <a:gd name="T23" fmla="*/ 44236 h 208"/>
                <a:gd name="T24" fmla="*/ 47510 w 166"/>
                <a:gd name="T25" fmla="*/ 38970 h 208"/>
                <a:gd name="T26" fmla="*/ 40912 w 166"/>
                <a:gd name="T27" fmla="*/ 33704 h 208"/>
                <a:gd name="T28" fmla="*/ 37832 w 166"/>
                <a:gd name="T29" fmla="*/ 30544 h 208"/>
                <a:gd name="T30" fmla="*/ 35633 w 166"/>
                <a:gd name="T31" fmla="*/ 27911 h 208"/>
                <a:gd name="T32" fmla="*/ 32993 w 166"/>
                <a:gd name="T33" fmla="*/ 24751 h 208"/>
                <a:gd name="T34" fmla="*/ 31234 w 166"/>
                <a:gd name="T35" fmla="*/ 21065 h 208"/>
                <a:gd name="T36" fmla="*/ 29474 w 166"/>
                <a:gd name="T37" fmla="*/ 17378 h 208"/>
                <a:gd name="T38" fmla="*/ 28154 w 166"/>
                <a:gd name="T39" fmla="*/ 13692 h 208"/>
                <a:gd name="T40" fmla="*/ 27274 w 166"/>
                <a:gd name="T41" fmla="*/ 9479 h 208"/>
                <a:gd name="T42" fmla="*/ 26395 w 166"/>
                <a:gd name="T43" fmla="*/ 5793 h 208"/>
                <a:gd name="T44" fmla="*/ 21995 w 166"/>
                <a:gd name="T45" fmla="*/ 5266 h 208"/>
                <a:gd name="T46" fmla="*/ 18916 w 166"/>
                <a:gd name="T47" fmla="*/ 4213 h 208"/>
                <a:gd name="T48" fmla="*/ 17596 w 166"/>
                <a:gd name="T49" fmla="*/ 2633 h 208"/>
                <a:gd name="T50" fmla="*/ 17156 w 166"/>
                <a:gd name="T51" fmla="*/ 1580 h 208"/>
                <a:gd name="T52" fmla="*/ 16717 w 166"/>
                <a:gd name="T53" fmla="*/ 527 h 208"/>
                <a:gd name="T54" fmla="*/ 15837 w 166"/>
                <a:gd name="T55" fmla="*/ 0 h 208"/>
                <a:gd name="T56" fmla="*/ 14077 w 166"/>
                <a:gd name="T57" fmla="*/ 527 h 208"/>
                <a:gd name="T58" fmla="*/ 11878 w 166"/>
                <a:gd name="T59" fmla="*/ 2633 h 208"/>
                <a:gd name="T60" fmla="*/ 8798 w 166"/>
                <a:gd name="T61" fmla="*/ 5793 h 208"/>
                <a:gd name="T62" fmla="*/ 4839 w 166"/>
                <a:gd name="T63" fmla="*/ 11586 h 208"/>
                <a:gd name="T64" fmla="*/ 3079 w 166"/>
                <a:gd name="T65" fmla="*/ 15272 h 208"/>
                <a:gd name="T66" fmla="*/ 1760 w 166"/>
                <a:gd name="T67" fmla="*/ 19485 h 208"/>
                <a:gd name="T68" fmla="*/ 880 w 166"/>
                <a:gd name="T69" fmla="*/ 23698 h 208"/>
                <a:gd name="T70" fmla="*/ 0 w 166"/>
                <a:gd name="T71" fmla="*/ 28437 h 208"/>
                <a:gd name="T72" fmla="*/ 0 w 166"/>
                <a:gd name="T73" fmla="*/ 31597 h 208"/>
                <a:gd name="T74" fmla="*/ 880 w 166"/>
                <a:gd name="T75" fmla="*/ 34230 h 208"/>
                <a:gd name="T76" fmla="*/ 1320 w 166"/>
                <a:gd name="T77" fmla="*/ 36863 h 208"/>
                <a:gd name="T78" fmla="*/ 2200 w 166"/>
                <a:gd name="T79" fmla="*/ 40023 h 208"/>
                <a:gd name="T80" fmla="*/ 4399 w 166"/>
                <a:gd name="T81" fmla="*/ 45289 h 208"/>
                <a:gd name="T82" fmla="*/ 7478 w 166"/>
                <a:gd name="T83" fmla="*/ 51609 h 208"/>
                <a:gd name="T84" fmla="*/ 9678 w 166"/>
                <a:gd name="T85" fmla="*/ 57402 h 208"/>
                <a:gd name="T86" fmla="*/ 12317 w 166"/>
                <a:gd name="T87" fmla="*/ 63194 h 208"/>
                <a:gd name="T88" fmla="*/ 13197 w 166"/>
                <a:gd name="T89" fmla="*/ 66354 h 208"/>
                <a:gd name="T90" fmla="*/ 14077 w 166"/>
                <a:gd name="T91" fmla="*/ 70040 h 208"/>
                <a:gd name="T92" fmla="*/ 14517 w 166"/>
                <a:gd name="T93" fmla="*/ 73200 h 208"/>
                <a:gd name="T94" fmla="*/ 14517 w 166"/>
                <a:gd name="T95" fmla="*/ 77413 h 208"/>
                <a:gd name="T96" fmla="*/ 14077 w 166"/>
                <a:gd name="T97" fmla="*/ 80573 h 208"/>
                <a:gd name="T98" fmla="*/ 13637 w 166"/>
                <a:gd name="T99" fmla="*/ 83733 h 208"/>
                <a:gd name="T100" fmla="*/ 12317 w 166"/>
                <a:gd name="T101" fmla="*/ 86892 h 208"/>
                <a:gd name="T102" fmla="*/ 10998 w 166"/>
                <a:gd name="T103" fmla="*/ 88999 h 208"/>
                <a:gd name="T104" fmla="*/ 9238 w 166"/>
                <a:gd name="T105" fmla="*/ 91632 h 208"/>
                <a:gd name="T106" fmla="*/ 7478 w 166"/>
                <a:gd name="T107" fmla="*/ 93212 h 208"/>
                <a:gd name="T108" fmla="*/ 4839 w 166"/>
                <a:gd name="T109" fmla="*/ 94792 h 208"/>
                <a:gd name="T110" fmla="*/ 3079 w 166"/>
                <a:gd name="T111" fmla="*/ 96371 h 20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76" name="Freeform 196">
              <a:extLst>
                <a:ext uri="{FF2B5EF4-FFF2-40B4-BE49-F238E27FC236}">
                  <a16:creationId xmlns:a16="http://schemas.microsoft.com/office/drawing/2014/main" id="{25168F61-EE91-4DC1-A409-4CC0D2AC11C5}"/>
                </a:ext>
              </a:extLst>
            </p:cNvPr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3694113" y="3046414"/>
              <a:ext cx="69850" cy="58737"/>
            </a:xfrm>
            <a:custGeom>
              <a:avLst/>
              <a:gdLst>
                <a:gd name="T0" fmla="*/ 65165 w 164"/>
                <a:gd name="T1" fmla="*/ 58737 h 104"/>
                <a:gd name="T2" fmla="*/ 57073 w 164"/>
                <a:gd name="T3" fmla="*/ 57607 h 104"/>
                <a:gd name="T4" fmla="*/ 46851 w 164"/>
                <a:gd name="T5" fmla="*/ 54784 h 104"/>
                <a:gd name="T6" fmla="*/ 40888 w 164"/>
                <a:gd name="T7" fmla="*/ 53089 h 104"/>
                <a:gd name="T8" fmla="*/ 34073 w 164"/>
                <a:gd name="T9" fmla="*/ 52524 h 104"/>
                <a:gd name="T10" fmla="*/ 31092 w 164"/>
                <a:gd name="T11" fmla="*/ 52524 h 104"/>
                <a:gd name="T12" fmla="*/ 27259 w 164"/>
                <a:gd name="T13" fmla="*/ 53089 h 104"/>
                <a:gd name="T14" fmla="*/ 23425 w 164"/>
                <a:gd name="T15" fmla="*/ 54219 h 104"/>
                <a:gd name="T16" fmla="*/ 20018 w 164"/>
                <a:gd name="T17" fmla="*/ 55348 h 104"/>
                <a:gd name="T18" fmla="*/ 17463 w 164"/>
                <a:gd name="T19" fmla="*/ 56478 h 104"/>
                <a:gd name="T20" fmla="*/ 14481 w 164"/>
                <a:gd name="T21" fmla="*/ 56478 h 104"/>
                <a:gd name="T22" fmla="*/ 11500 w 164"/>
                <a:gd name="T23" fmla="*/ 55913 h 104"/>
                <a:gd name="T24" fmla="*/ 8092 w 164"/>
                <a:gd name="T25" fmla="*/ 54219 h 104"/>
                <a:gd name="T26" fmla="*/ 4685 w 164"/>
                <a:gd name="T27" fmla="*/ 51960 h 104"/>
                <a:gd name="T28" fmla="*/ 2555 w 164"/>
                <a:gd name="T29" fmla="*/ 49701 h 104"/>
                <a:gd name="T30" fmla="*/ 1278 w 164"/>
                <a:gd name="T31" fmla="*/ 48571 h 104"/>
                <a:gd name="T32" fmla="*/ 426 w 164"/>
                <a:gd name="T33" fmla="*/ 47441 h 104"/>
                <a:gd name="T34" fmla="*/ 0 w 164"/>
                <a:gd name="T35" fmla="*/ 45747 h 104"/>
                <a:gd name="T36" fmla="*/ 0 w 164"/>
                <a:gd name="T37" fmla="*/ 44618 h 104"/>
                <a:gd name="T38" fmla="*/ 0 w 164"/>
                <a:gd name="T39" fmla="*/ 42923 h 104"/>
                <a:gd name="T40" fmla="*/ 426 w 164"/>
                <a:gd name="T41" fmla="*/ 41794 h 104"/>
                <a:gd name="T42" fmla="*/ 1278 w 164"/>
                <a:gd name="T43" fmla="*/ 40099 h 104"/>
                <a:gd name="T44" fmla="*/ 2555 w 164"/>
                <a:gd name="T45" fmla="*/ 39535 h 104"/>
                <a:gd name="T46" fmla="*/ 5111 w 164"/>
                <a:gd name="T47" fmla="*/ 37840 h 104"/>
                <a:gd name="T48" fmla="*/ 8518 w 164"/>
                <a:gd name="T49" fmla="*/ 37275 h 104"/>
                <a:gd name="T50" fmla="*/ 17037 w 164"/>
                <a:gd name="T51" fmla="*/ 37275 h 104"/>
                <a:gd name="T52" fmla="*/ 25981 w 164"/>
                <a:gd name="T53" fmla="*/ 37840 h 104"/>
                <a:gd name="T54" fmla="*/ 29814 w 164"/>
                <a:gd name="T55" fmla="*/ 37840 h 104"/>
                <a:gd name="T56" fmla="*/ 33647 w 164"/>
                <a:gd name="T57" fmla="*/ 37840 h 104"/>
                <a:gd name="T58" fmla="*/ 37055 w 164"/>
                <a:gd name="T59" fmla="*/ 37840 h 104"/>
                <a:gd name="T60" fmla="*/ 40036 w 164"/>
                <a:gd name="T61" fmla="*/ 37840 h 104"/>
                <a:gd name="T62" fmla="*/ 40036 w 164"/>
                <a:gd name="T63" fmla="*/ 31628 h 104"/>
                <a:gd name="T64" fmla="*/ 40036 w 164"/>
                <a:gd name="T65" fmla="*/ 24285 h 104"/>
                <a:gd name="T66" fmla="*/ 40036 w 164"/>
                <a:gd name="T67" fmla="*/ 16379 h 104"/>
                <a:gd name="T68" fmla="*/ 40036 w 164"/>
                <a:gd name="T69" fmla="*/ 10166 h 104"/>
                <a:gd name="T70" fmla="*/ 33647 w 164"/>
                <a:gd name="T71" fmla="*/ 9601 h 104"/>
                <a:gd name="T72" fmla="*/ 28536 w 164"/>
                <a:gd name="T73" fmla="*/ 8472 h 104"/>
                <a:gd name="T74" fmla="*/ 26407 w 164"/>
                <a:gd name="T75" fmla="*/ 7342 h 104"/>
                <a:gd name="T76" fmla="*/ 24277 w 164"/>
                <a:gd name="T77" fmla="*/ 5648 h 104"/>
                <a:gd name="T78" fmla="*/ 22148 w 164"/>
                <a:gd name="T79" fmla="*/ 3389 h 104"/>
                <a:gd name="T80" fmla="*/ 20018 w 164"/>
                <a:gd name="T81" fmla="*/ 0 h 104"/>
                <a:gd name="T82" fmla="*/ 62184 w 164"/>
                <a:gd name="T83" fmla="*/ 0 h 104"/>
                <a:gd name="T84" fmla="*/ 62609 w 164"/>
                <a:gd name="T85" fmla="*/ 3389 h 104"/>
                <a:gd name="T86" fmla="*/ 63035 w 164"/>
                <a:gd name="T87" fmla="*/ 7342 h 104"/>
                <a:gd name="T88" fmla="*/ 63887 w 164"/>
                <a:gd name="T89" fmla="*/ 10731 h 104"/>
                <a:gd name="T90" fmla="*/ 64739 w 164"/>
                <a:gd name="T91" fmla="*/ 14119 h 104"/>
                <a:gd name="T92" fmla="*/ 66443 w 164"/>
                <a:gd name="T93" fmla="*/ 19767 h 104"/>
                <a:gd name="T94" fmla="*/ 67720 w 164"/>
                <a:gd name="T95" fmla="*/ 25980 h 104"/>
                <a:gd name="T96" fmla="*/ 69424 w 164"/>
                <a:gd name="T97" fmla="*/ 30498 h 104"/>
                <a:gd name="T98" fmla="*/ 69850 w 164"/>
                <a:gd name="T99" fmla="*/ 35016 h 104"/>
                <a:gd name="T100" fmla="*/ 69424 w 164"/>
                <a:gd name="T101" fmla="*/ 36711 h 104"/>
                <a:gd name="T102" fmla="*/ 68146 w 164"/>
                <a:gd name="T103" fmla="*/ 38405 h 104"/>
                <a:gd name="T104" fmla="*/ 66869 w 164"/>
                <a:gd name="T105" fmla="*/ 40099 h 104"/>
                <a:gd name="T106" fmla="*/ 65165 w 164"/>
                <a:gd name="T107" fmla="*/ 41229 h 104"/>
                <a:gd name="T108" fmla="*/ 65165 w 164"/>
                <a:gd name="T109" fmla="*/ 58737 h 1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7" name="Freeform 197">
              <a:extLst>
                <a:ext uri="{FF2B5EF4-FFF2-40B4-BE49-F238E27FC236}">
                  <a16:creationId xmlns:a16="http://schemas.microsoft.com/office/drawing/2014/main" id="{D251B3DF-E9C8-42E6-A1A5-07CAF23A1D2E}"/>
                </a:ext>
              </a:extLst>
            </p:cNvPr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4060826" y="5400675"/>
              <a:ext cx="23813" cy="57150"/>
            </a:xfrm>
            <a:custGeom>
              <a:avLst/>
              <a:gdLst>
                <a:gd name="T0" fmla="*/ 0 w 53"/>
                <a:gd name="T1" fmla="*/ 24063 h 19"/>
                <a:gd name="T2" fmla="*/ 3145 w 53"/>
                <a:gd name="T3" fmla="*/ 39103 h 19"/>
                <a:gd name="T4" fmla="*/ 6290 w 53"/>
                <a:gd name="T5" fmla="*/ 51134 h 19"/>
                <a:gd name="T6" fmla="*/ 9885 w 53"/>
                <a:gd name="T7" fmla="*/ 57150 h 19"/>
                <a:gd name="T8" fmla="*/ 13030 w 53"/>
                <a:gd name="T9" fmla="*/ 57150 h 19"/>
                <a:gd name="T10" fmla="*/ 15726 w 53"/>
                <a:gd name="T11" fmla="*/ 54142 h 19"/>
                <a:gd name="T12" fmla="*/ 18871 w 53"/>
                <a:gd name="T13" fmla="*/ 45118 h 19"/>
                <a:gd name="T14" fmla="*/ 21117 w 53"/>
                <a:gd name="T15" fmla="*/ 36095 h 19"/>
                <a:gd name="T16" fmla="*/ 23813 w 53"/>
                <a:gd name="T17" fmla="*/ 24063 h 19"/>
                <a:gd name="T18" fmla="*/ 21117 w 53"/>
                <a:gd name="T19" fmla="*/ 15039 h 19"/>
                <a:gd name="T20" fmla="*/ 18871 w 53"/>
                <a:gd name="T21" fmla="*/ 6016 h 19"/>
                <a:gd name="T22" fmla="*/ 15726 w 53"/>
                <a:gd name="T23" fmla="*/ 3008 h 19"/>
                <a:gd name="T24" fmla="*/ 13030 w 53"/>
                <a:gd name="T25" fmla="*/ 0 h 19"/>
                <a:gd name="T26" fmla="*/ 9885 w 53"/>
                <a:gd name="T27" fmla="*/ 0 h 19"/>
                <a:gd name="T28" fmla="*/ 6290 w 53"/>
                <a:gd name="T29" fmla="*/ 3008 h 19"/>
                <a:gd name="T30" fmla="*/ 3145 w 53"/>
                <a:gd name="T31" fmla="*/ 9024 h 19"/>
                <a:gd name="T32" fmla="*/ 0 w 53"/>
                <a:gd name="T33" fmla="*/ 24063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8" name="Freeform 198">
              <a:extLst>
                <a:ext uri="{FF2B5EF4-FFF2-40B4-BE49-F238E27FC236}">
                  <a16:creationId xmlns:a16="http://schemas.microsoft.com/office/drawing/2014/main" id="{BD5D5CAD-E8AD-40A9-BE5F-07C1D9E6E130}"/>
                </a:ext>
              </a:extLst>
            </p:cNvPr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4025901" y="5380039"/>
              <a:ext cx="34925" cy="58737"/>
            </a:xfrm>
            <a:custGeom>
              <a:avLst/>
              <a:gdLst>
                <a:gd name="T0" fmla="*/ 0 w 80"/>
                <a:gd name="T1" fmla="*/ 0 h 18"/>
                <a:gd name="T2" fmla="*/ 437 w 80"/>
                <a:gd name="T3" fmla="*/ 19579 h 18"/>
                <a:gd name="T4" fmla="*/ 2183 w 80"/>
                <a:gd name="T5" fmla="*/ 39158 h 18"/>
                <a:gd name="T6" fmla="*/ 3493 w 80"/>
                <a:gd name="T7" fmla="*/ 45684 h 18"/>
                <a:gd name="T8" fmla="*/ 4802 w 80"/>
                <a:gd name="T9" fmla="*/ 52211 h 18"/>
                <a:gd name="T10" fmla="*/ 6548 w 80"/>
                <a:gd name="T11" fmla="*/ 58737 h 18"/>
                <a:gd name="T12" fmla="*/ 8731 w 80"/>
                <a:gd name="T13" fmla="*/ 58737 h 18"/>
                <a:gd name="T14" fmla="*/ 9604 w 80"/>
                <a:gd name="T15" fmla="*/ 48948 h 18"/>
                <a:gd name="T16" fmla="*/ 10478 w 80"/>
                <a:gd name="T17" fmla="*/ 42421 h 18"/>
                <a:gd name="T18" fmla="*/ 11351 w 80"/>
                <a:gd name="T19" fmla="*/ 35895 h 18"/>
                <a:gd name="T20" fmla="*/ 13533 w 80"/>
                <a:gd name="T21" fmla="*/ 32632 h 18"/>
                <a:gd name="T22" fmla="*/ 16589 w 80"/>
                <a:gd name="T23" fmla="*/ 26105 h 18"/>
                <a:gd name="T24" fmla="*/ 20518 w 80"/>
                <a:gd name="T25" fmla="*/ 22842 h 18"/>
                <a:gd name="T26" fmla="*/ 24884 w 80"/>
                <a:gd name="T27" fmla="*/ 22842 h 18"/>
                <a:gd name="T28" fmla="*/ 28813 w 80"/>
                <a:gd name="T29" fmla="*/ 19579 h 18"/>
                <a:gd name="T30" fmla="*/ 30559 w 80"/>
                <a:gd name="T31" fmla="*/ 16316 h 18"/>
                <a:gd name="T32" fmla="*/ 32306 w 80"/>
                <a:gd name="T33" fmla="*/ 13053 h 18"/>
                <a:gd name="T34" fmla="*/ 33615 w 80"/>
                <a:gd name="T35" fmla="*/ 6526 h 18"/>
                <a:gd name="T36" fmla="*/ 34925 w 80"/>
                <a:gd name="T37" fmla="*/ 0 h 18"/>
                <a:gd name="T38" fmla="*/ 0 w 80"/>
                <a:gd name="T39" fmla="*/ 0 h 1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9" name="Freeform 199">
              <a:extLst>
                <a:ext uri="{FF2B5EF4-FFF2-40B4-BE49-F238E27FC236}">
                  <a16:creationId xmlns:a16="http://schemas.microsoft.com/office/drawing/2014/main" id="{CD103F8F-07EF-4228-8D4B-862F37CBD389}"/>
                </a:ext>
              </a:extLst>
            </p:cNvPr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4025901" y="5359401"/>
              <a:ext cx="22225" cy="60325"/>
            </a:xfrm>
            <a:custGeom>
              <a:avLst/>
              <a:gdLst>
                <a:gd name="T0" fmla="*/ 9663 w 46"/>
                <a:gd name="T1" fmla="*/ 0 h 27"/>
                <a:gd name="T2" fmla="*/ 0 w 46"/>
                <a:gd name="T3" fmla="*/ 40217 h 27"/>
                <a:gd name="T4" fmla="*/ 4348 w 46"/>
                <a:gd name="T5" fmla="*/ 49154 h 27"/>
                <a:gd name="T6" fmla="*/ 7730 w 46"/>
                <a:gd name="T7" fmla="*/ 55856 h 27"/>
                <a:gd name="T8" fmla="*/ 11113 w 46"/>
                <a:gd name="T9" fmla="*/ 60325 h 27"/>
                <a:gd name="T10" fmla="*/ 14011 w 46"/>
                <a:gd name="T11" fmla="*/ 60325 h 27"/>
                <a:gd name="T12" fmla="*/ 15944 w 46"/>
                <a:gd name="T13" fmla="*/ 60325 h 27"/>
                <a:gd name="T14" fmla="*/ 17877 w 46"/>
                <a:gd name="T15" fmla="*/ 55856 h 27"/>
                <a:gd name="T16" fmla="*/ 20292 w 46"/>
                <a:gd name="T17" fmla="*/ 49154 h 27"/>
                <a:gd name="T18" fmla="*/ 22225 w 46"/>
                <a:gd name="T19" fmla="*/ 40217 h 27"/>
                <a:gd name="T20" fmla="*/ 19809 w 46"/>
                <a:gd name="T21" fmla="*/ 35748 h 27"/>
                <a:gd name="T22" fmla="*/ 15944 w 46"/>
                <a:gd name="T23" fmla="*/ 24577 h 27"/>
                <a:gd name="T24" fmla="*/ 12562 w 46"/>
                <a:gd name="T25" fmla="*/ 11171 h 27"/>
                <a:gd name="T26" fmla="*/ 9663 w 46"/>
                <a:gd name="T27" fmla="*/ 0 h 2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0" name="Freeform 200">
              <a:extLst>
                <a:ext uri="{FF2B5EF4-FFF2-40B4-BE49-F238E27FC236}">
                  <a16:creationId xmlns:a16="http://schemas.microsoft.com/office/drawing/2014/main" id="{C67EF3D5-7759-4631-81A8-0CE0174D8DCA}"/>
                </a:ext>
              </a:extLst>
            </p:cNvPr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3995738" y="5353051"/>
              <a:ext cx="25400" cy="60325"/>
            </a:xfrm>
            <a:custGeom>
              <a:avLst/>
              <a:gdLst>
                <a:gd name="T0" fmla="*/ 15993 w 54"/>
                <a:gd name="T1" fmla="*/ 0 h 39"/>
                <a:gd name="T2" fmla="*/ 9407 w 54"/>
                <a:gd name="T3" fmla="*/ 6187 h 39"/>
                <a:gd name="T4" fmla="*/ 4704 w 54"/>
                <a:gd name="T5" fmla="*/ 15468 h 39"/>
                <a:gd name="T6" fmla="*/ 2822 w 54"/>
                <a:gd name="T7" fmla="*/ 20108 h 39"/>
                <a:gd name="T8" fmla="*/ 1881 w 54"/>
                <a:gd name="T9" fmla="*/ 24749 h 39"/>
                <a:gd name="T10" fmla="*/ 941 w 54"/>
                <a:gd name="T11" fmla="*/ 30936 h 39"/>
                <a:gd name="T12" fmla="*/ 0 w 54"/>
                <a:gd name="T13" fmla="*/ 37123 h 39"/>
                <a:gd name="T14" fmla="*/ 941 w 54"/>
                <a:gd name="T15" fmla="*/ 43310 h 39"/>
                <a:gd name="T16" fmla="*/ 1411 w 54"/>
                <a:gd name="T17" fmla="*/ 49497 h 39"/>
                <a:gd name="T18" fmla="*/ 2352 w 54"/>
                <a:gd name="T19" fmla="*/ 54138 h 39"/>
                <a:gd name="T20" fmla="*/ 3763 w 54"/>
                <a:gd name="T21" fmla="*/ 57231 h 39"/>
                <a:gd name="T22" fmla="*/ 5174 w 54"/>
                <a:gd name="T23" fmla="*/ 58778 h 39"/>
                <a:gd name="T24" fmla="*/ 7526 w 54"/>
                <a:gd name="T25" fmla="*/ 60325 h 39"/>
                <a:gd name="T26" fmla="*/ 9407 w 54"/>
                <a:gd name="T27" fmla="*/ 60325 h 39"/>
                <a:gd name="T28" fmla="*/ 11759 w 54"/>
                <a:gd name="T29" fmla="*/ 60325 h 39"/>
                <a:gd name="T30" fmla="*/ 14111 w 54"/>
                <a:gd name="T31" fmla="*/ 58778 h 39"/>
                <a:gd name="T32" fmla="*/ 15993 w 54"/>
                <a:gd name="T33" fmla="*/ 57231 h 39"/>
                <a:gd name="T34" fmla="*/ 18344 w 54"/>
                <a:gd name="T35" fmla="*/ 54138 h 39"/>
                <a:gd name="T36" fmla="*/ 20226 w 54"/>
                <a:gd name="T37" fmla="*/ 51044 h 39"/>
                <a:gd name="T38" fmla="*/ 22107 w 54"/>
                <a:gd name="T39" fmla="*/ 46404 h 39"/>
                <a:gd name="T40" fmla="*/ 23519 w 54"/>
                <a:gd name="T41" fmla="*/ 40217 h 39"/>
                <a:gd name="T42" fmla="*/ 24459 w 54"/>
                <a:gd name="T43" fmla="*/ 34029 h 39"/>
                <a:gd name="T44" fmla="*/ 25400 w 54"/>
                <a:gd name="T45" fmla="*/ 27842 h 39"/>
                <a:gd name="T46" fmla="*/ 23989 w 54"/>
                <a:gd name="T47" fmla="*/ 26296 h 39"/>
                <a:gd name="T48" fmla="*/ 22578 w 54"/>
                <a:gd name="T49" fmla="*/ 24749 h 39"/>
                <a:gd name="T50" fmla="*/ 20696 w 54"/>
                <a:gd name="T51" fmla="*/ 21655 h 39"/>
                <a:gd name="T52" fmla="*/ 19756 w 54"/>
                <a:gd name="T53" fmla="*/ 17015 h 39"/>
                <a:gd name="T54" fmla="*/ 18344 w 54"/>
                <a:gd name="T55" fmla="*/ 12374 h 39"/>
                <a:gd name="T56" fmla="*/ 17404 w 54"/>
                <a:gd name="T57" fmla="*/ 7734 h 39"/>
                <a:gd name="T58" fmla="*/ 15993 w 54"/>
                <a:gd name="T59" fmla="*/ 3094 h 39"/>
                <a:gd name="T60" fmla="*/ 15993 w 54"/>
                <a:gd name="T61" fmla="*/ 0 h 3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1" name="Freeform 201">
              <a:extLst>
                <a:ext uri="{FF2B5EF4-FFF2-40B4-BE49-F238E27FC236}">
                  <a16:creationId xmlns:a16="http://schemas.microsoft.com/office/drawing/2014/main" id="{E547EEA7-6EDB-4056-A82E-F88640ABE116}"/>
                </a:ext>
              </a:extLst>
            </p:cNvPr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3970339" y="5343525"/>
              <a:ext cx="28575" cy="58738"/>
            </a:xfrm>
            <a:custGeom>
              <a:avLst/>
              <a:gdLst>
                <a:gd name="T0" fmla="*/ 0 w 60"/>
                <a:gd name="T1" fmla="*/ 43075 h 15"/>
                <a:gd name="T2" fmla="*/ 4763 w 60"/>
                <a:gd name="T3" fmla="*/ 50906 h 15"/>
                <a:gd name="T4" fmla="*/ 8573 w 60"/>
                <a:gd name="T5" fmla="*/ 54822 h 15"/>
                <a:gd name="T6" fmla="*/ 12859 w 60"/>
                <a:gd name="T7" fmla="*/ 58738 h 15"/>
                <a:gd name="T8" fmla="*/ 16669 w 60"/>
                <a:gd name="T9" fmla="*/ 58738 h 15"/>
                <a:gd name="T10" fmla="*/ 19526 w 60"/>
                <a:gd name="T11" fmla="*/ 54822 h 15"/>
                <a:gd name="T12" fmla="*/ 22860 w 60"/>
                <a:gd name="T13" fmla="*/ 46990 h 15"/>
                <a:gd name="T14" fmla="*/ 26194 w 60"/>
                <a:gd name="T15" fmla="*/ 35243 h 15"/>
                <a:gd name="T16" fmla="*/ 28575 w 60"/>
                <a:gd name="T17" fmla="*/ 19579 h 15"/>
                <a:gd name="T18" fmla="*/ 27146 w 60"/>
                <a:gd name="T19" fmla="*/ 11748 h 15"/>
                <a:gd name="T20" fmla="*/ 25718 w 60"/>
                <a:gd name="T21" fmla="*/ 0 h 15"/>
                <a:gd name="T22" fmla="*/ 24289 w 60"/>
                <a:gd name="T23" fmla="*/ 0 h 15"/>
                <a:gd name="T24" fmla="*/ 22384 w 60"/>
                <a:gd name="T25" fmla="*/ 0 h 15"/>
                <a:gd name="T26" fmla="*/ 19050 w 60"/>
                <a:gd name="T27" fmla="*/ 0 h 15"/>
                <a:gd name="T28" fmla="*/ 15716 w 60"/>
                <a:gd name="T29" fmla="*/ 11748 h 15"/>
                <a:gd name="T30" fmla="*/ 11430 w 60"/>
                <a:gd name="T31" fmla="*/ 23495 h 15"/>
                <a:gd name="T32" fmla="*/ 7620 w 60"/>
                <a:gd name="T33" fmla="*/ 31327 h 15"/>
                <a:gd name="T34" fmla="*/ 3334 w 60"/>
                <a:gd name="T35" fmla="*/ 39159 h 15"/>
                <a:gd name="T36" fmla="*/ 0 w 60"/>
                <a:gd name="T37" fmla="*/ 43075 h 1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2" name="Freeform 202">
              <a:extLst>
                <a:ext uri="{FF2B5EF4-FFF2-40B4-BE49-F238E27FC236}">
                  <a16:creationId xmlns:a16="http://schemas.microsoft.com/office/drawing/2014/main" id="{32B96B38-792F-4CD8-9817-AE644AA4F1FC}"/>
                </a:ext>
              </a:extLst>
            </p:cNvPr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3946525" y="5330825"/>
              <a:ext cx="33338" cy="57150"/>
            </a:xfrm>
            <a:custGeom>
              <a:avLst/>
              <a:gdLst>
                <a:gd name="T0" fmla="*/ 16880 w 79"/>
                <a:gd name="T1" fmla="*/ 0 h 32"/>
                <a:gd name="T2" fmla="*/ 14348 w 79"/>
                <a:gd name="T3" fmla="*/ 1786 h 32"/>
                <a:gd name="T4" fmla="*/ 12660 w 79"/>
                <a:gd name="T5" fmla="*/ 3572 h 32"/>
                <a:gd name="T6" fmla="*/ 10550 w 79"/>
                <a:gd name="T7" fmla="*/ 7144 h 32"/>
                <a:gd name="T8" fmla="*/ 8440 w 79"/>
                <a:gd name="T9" fmla="*/ 10716 h 32"/>
                <a:gd name="T10" fmla="*/ 6330 w 79"/>
                <a:gd name="T11" fmla="*/ 16073 h 32"/>
                <a:gd name="T12" fmla="*/ 4220 w 79"/>
                <a:gd name="T13" fmla="*/ 19645 h 32"/>
                <a:gd name="T14" fmla="*/ 2110 w 79"/>
                <a:gd name="T15" fmla="*/ 21431 h 32"/>
                <a:gd name="T16" fmla="*/ 0 w 79"/>
                <a:gd name="T17" fmla="*/ 23217 h 32"/>
                <a:gd name="T18" fmla="*/ 2110 w 79"/>
                <a:gd name="T19" fmla="*/ 37505 h 32"/>
                <a:gd name="T20" fmla="*/ 4220 w 79"/>
                <a:gd name="T21" fmla="*/ 46434 h 32"/>
                <a:gd name="T22" fmla="*/ 5064 w 79"/>
                <a:gd name="T23" fmla="*/ 51792 h 32"/>
                <a:gd name="T24" fmla="*/ 6330 w 79"/>
                <a:gd name="T25" fmla="*/ 55364 h 32"/>
                <a:gd name="T26" fmla="*/ 7596 w 79"/>
                <a:gd name="T27" fmla="*/ 55364 h 32"/>
                <a:gd name="T28" fmla="*/ 8440 w 79"/>
                <a:gd name="T29" fmla="*/ 57150 h 32"/>
                <a:gd name="T30" fmla="*/ 11394 w 79"/>
                <a:gd name="T31" fmla="*/ 55364 h 32"/>
                <a:gd name="T32" fmla="*/ 14348 w 79"/>
                <a:gd name="T33" fmla="*/ 53578 h 32"/>
                <a:gd name="T34" fmla="*/ 17302 w 79"/>
                <a:gd name="T35" fmla="*/ 48220 h 32"/>
                <a:gd name="T36" fmla="*/ 20256 w 79"/>
                <a:gd name="T37" fmla="*/ 42863 h 32"/>
                <a:gd name="T38" fmla="*/ 26164 w 79"/>
                <a:gd name="T39" fmla="*/ 32147 h 32"/>
                <a:gd name="T40" fmla="*/ 33338 w 79"/>
                <a:gd name="T41" fmla="*/ 23217 h 32"/>
                <a:gd name="T42" fmla="*/ 28274 w 79"/>
                <a:gd name="T43" fmla="*/ 10716 h 32"/>
                <a:gd name="T44" fmla="*/ 24476 w 79"/>
                <a:gd name="T45" fmla="*/ 3572 h 32"/>
                <a:gd name="T46" fmla="*/ 20678 w 79"/>
                <a:gd name="T47" fmla="*/ 1786 h 32"/>
                <a:gd name="T48" fmla="*/ 16880 w 79"/>
                <a:gd name="T49" fmla="*/ 0 h 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3" name="Freeform 203">
              <a:extLst>
                <a:ext uri="{FF2B5EF4-FFF2-40B4-BE49-F238E27FC236}">
                  <a16:creationId xmlns:a16="http://schemas.microsoft.com/office/drawing/2014/main" id="{756A0FE6-85E2-4FEC-B595-46F9776A564F}"/>
                </a:ext>
              </a:extLst>
            </p:cNvPr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3940176" y="5311775"/>
              <a:ext cx="30163" cy="57150"/>
            </a:xfrm>
            <a:custGeom>
              <a:avLst/>
              <a:gdLst>
                <a:gd name="T0" fmla="*/ 15082 w 66"/>
                <a:gd name="T1" fmla="*/ 0 h 19"/>
                <a:gd name="T2" fmla="*/ 11425 w 66"/>
                <a:gd name="T3" fmla="*/ 3008 h 19"/>
                <a:gd name="T4" fmla="*/ 8683 w 66"/>
                <a:gd name="T5" fmla="*/ 6016 h 19"/>
                <a:gd name="T6" fmla="*/ 5941 w 66"/>
                <a:gd name="T7" fmla="*/ 12032 h 19"/>
                <a:gd name="T8" fmla="*/ 4113 w 66"/>
                <a:gd name="T9" fmla="*/ 21055 h 19"/>
                <a:gd name="T10" fmla="*/ 2285 w 66"/>
                <a:gd name="T11" fmla="*/ 33087 h 19"/>
                <a:gd name="T12" fmla="*/ 914 w 66"/>
                <a:gd name="T13" fmla="*/ 42111 h 19"/>
                <a:gd name="T14" fmla="*/ 0 w 66"/>
                <a:gd name="T15" fmla="*/ 51134 h 19"/>
                <a:gd name="T16" fmla="*/ 0 w 66"/>
                <a:gd name="T17" fmla="*/ 57150 h 19"/>
                <a:gd name="T18" fmla="*/ 8683 w 66"/>
                <a:gd name="T19" fmla="*/ 57150 h 19"/>
                <a:gd name="T20" fmla="*/ 17367 w 66"/>
                <a:gd name="T21" fmla="*/ 57150 h 19"/>
                <a:gd name="T22" fmla="*/ 21023 w 66"/>
                <a:gd name="T23" fmla="*/ 54142 h 19"/>
                <a:gd name="T24" fmla="*/ 24679 w 66"/>
                <a:gd name="T25" fmla="*/ 51134 h 19"/>
                <a:gd name="T26" fmla="*/ 27878 w 66"/>
                <a:gd name="T27" fmla="*/ 45118 h 19"/>
                <a:gd name="T28" fmla="*/ 30163 w 66"/>
                <a:gd name="T29" fmla="*/ 39103 h 19"/>
                <a:gd name="T30" fmla="*/ 26050 w 66"/>
                <a:gd name="T31" fmla="*/ 24063 h 19"/>
                <a:gd name="T32" fmla="*/ 22851 w 66"/>
                <a:gd name="T33" fmla="*/ 12032 h 19"/>
                <a:gd name="T34" fmla="*/ 19195 w 66"/>
                <a:gd name="T35" fmla="*/ 3008 h 19"/>
                <a:gd name="T36" fmla="*/ 15082 w 66"/>
                <a:gd name="T37" fmla="*/ 0 h 1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4" name="Freeform 204">
              <a:extLst>
                <a:ext uri="{FF2B5EF4-FFF2-40B4-BE49-F238E27FC236}">
                  <a16:creationId xmlns:a16="http://schemas.microsoft.com/office/drawing/2014/main" id="{1A7A107A-9119-4A7A-BC58-268393AEA2BD}"/>
                </a:ext>
              </a:extLst>
            </p:cNvPr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3840163" y="5002214"/>
              <a:ext cx="25400" cy="60325"/>
            </a:xfrm>
            <a:custGeom>
              <a:avLst/>
              <a:gdLst>
                <a:gd name="T0" fmla="*/ 6230 w 53"/>
                <a:gd name="T1" fmla="*/ 0 h 80"/>
                <a:gd name="T2" fmla="*/ 3834 w 53"/>
                <a:gd name="T3" fmla="*/ 3770 h 80"/>
                <a:gd name="T4" fmla="*/ 1917 w 53"/>
                <a:gd name="T5" fmla="*/ 7541 h 80"/>
                <a:gd name="T6" fmla="*/ 958 w 53"/>
                <a:gd name="T7" fmla="*/ 9803 h 80"/>
                <a:gd name="T8" fmla="*/ 479 w 53"/>
                <a:gd name="T9" fmla="*/ 12065 h 80"/>
                <a:gd name="T10" fmla="*/ 0 w 53"/>
                <a:gd name="T11" fmla="*/ 15081 h 80"/>
                <a:gd name="T12" fmla="*/ 0 w 53"/>
                <a:gd name="T13" fmla="*/ 18852 h 80"/>
                <a:gd name="T14" fmla="*/ 0 w 53"/>
                <a:gd name="T15" fmla="*/ 22622 h 80"/>
                <a:gd name="T16" fmla="*/ 958 w 53"/>
                <a:gd name="T17" fmla="*/ 29408 h 80"/>
                <a:gd name="T18" fmla="*/ 2875 w 53"/>
                <a:gd name="T19" fmla="*/ 36195 h 80"/>
                <a:gd name="T20" fmla="*/ 4313 w 53"/>
                <a:gd name="T21" fmla="*/ 42982 h 80"/>
                <a:gd name="T22" fmla="*/ 6230 w 53"/>
                <a:gd name="T23" fmla="*/ 49768 h 80"/>
                <a:gd name="T24" fmla="*/ 9585 w 53"/>
                <a:gd name="T25" fmla="*/ 55047 h 80"/>
                <a:gd name="T26" fmla="*/ 10543 w 53"/>
                <a:gd name="T27" fmla="*/ 57309 h 80"/>
                <a:gd name="T28" fmla="*/ 12460 w 53"/>
                <a:gd name="T29" fmla="*/ 58817 h 80"/>
                <a:gd name="T30" fmla="*/ 14377 w 53"/>
                <a:gd name="T31" fmla="*/ 60325 h 80"/>
                <a:gd name="T32" fmla="*/ 15815 w 53"/>
                <a:gd name="T33" fmla="*/ 60325 h 80"/>
                <a:gd name="T34" fmla="*/ 17253 w 53"/>
                <a:gd name="T35" fmla="*/ 59571 h 80"/>
                <a:gd name="T36" fmla="*/ 18211 w 53"/>
                <a:gd name="T37" fmla="*/ 58817 h 80"/>
                <a:gd name="T38" fmla="*/ 20128 w 53"/>
                <a:gd name="T39" fmla="*/ 57309 h 80"/>
                <a:gd name="T40" fmla="*/ 21566 w 53"/>
                <a:gd name="T41" fmla="*/ 55047 h 80"/>
                <a:gd name="T42" fmla="*/ 23004 w 53"/>
                <a:gd name="T43" fmla="*/ 52784 h 80"/>
                <a:gd name="T44" fmla="*/ 24442 w 53"/>
                <a:gd name="T45" fmla="*/ 50522 h 80"/>
                <a:gd name="T46" fmla="*/ 25400 w 53"/>
                <a:gd name="T47" fmla="*/ 48260 h 80"/>
                <a:gd name="T48" fmla="*/ 25400 w 53"/>
                <a:gd name="T49" fmla="*/ 46752 h 80"/>
                <a:gd name="T50" fmla="*/ 24921 w 53"/>
                <a:gd name="T51" fmla="*/ 40719 h 80"/>
                <a:gd name="T52" fmla="*/ 23483 w 53"/>
                <a:gd name="T53" fmla="*/ 35441 h 80"/>
                <a:gd name="T54" fmla="*/ 22045 w 53"/>
                <a:gd name="T55" fmla="*/ 31671 h 80"/>
                <a:gd name="T56" fmla="*/ 20608 w 53"/>
                <a:gd name="T57" fmla="*/ 27900 h 80"/>
                <a:gd name="T58" fmla="*/ 19170 w 53"/>
                <a:gd name="T59" fmla="*/ 24130 h 80"/>
                <a:gd name="T60" fmla="*/ 17253 w 53"/>
                <a:gd name="T61" fmla="*/ 20360 h 80"/>
                <a:gd name="T62" fmla="*/ 16294 w 53"/>
                <a:gd name="T63" fmla="*/ 15081 h 80"/>
                <a:gd name="T64" fmla="*/ 15815 w 53"/>
                <a:gd name="T65" fmla="*/ 9049 h 80"/>
                <a:gd name="T66" fmla="*/ 15815 w 53"/>
                <a:gd name="T67" fmla="*/ 7541 h 80"/>
                <a:gd name="T68" fmla="*/ 14857 w 53"/>
                <a:gd name="T69" fmla="*/ 6033 h 80"/>
                <a:gd name="T70" fmla="*/ 13898 w 53"/>
                <a:gd name="T71" fmla="*/ 4524 h 80"/>
                <a:gd name="T72" fmla="*/ 11981 w 53"/>
                <a:gd name="T73" fmla="*/ 3016 h 80"/>
                <a:gd name="T74" fmla="*/ 9106 w 53"/>
                <a:gd name="T75" fmla="*/ 754 h 80"/>
                <a:gd name="T76" fmla="*/ 6230 w 53"/>
                <a:gd name="T77" fmla="*/ 0 h 8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5" name="Freeform 205">
              <a:extLst>
                <a:ext uri="{FF2B5EF4-FFF2-40B4-BE49-F238E27FC236}">
                  <a16:creationId xmlns:a16="http://schemas.microsoft.com/office/drawing/2014/main" id="{A796F3AE-CEEE-4DD9-8D2D-EA52DB428796}"/>
                </a:ext>
              </a:extLst>
            </p:cNvPr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3870326" y="5097464"/>
              <a:ext cx="17463" cy="53975"/>
            </a:xfrm>
            <a:custGeom>
              <a:avLst/>
              <a:gdLst>
                <a:gd name="T0" fmla="*/ 0 w 41"/>
                <a:gd name="T1" fmla="*/ 53975 h 43"/>
                <a:gd name="T2" fmla="*/ 11500 w 41"/>
                <a:gd name="T3" fmla="*/ 53975 h 43"/>
                <a:gd name="T4" fmla="*/ 17463 w 41"/>
                <a:gd name="T5" fmla="*/ 30126 h 43"/>
                <a:gd name="T6" fmla="*/ 16185 w 41"/>
                <a:gd name="T7" fmla="*/ 15063 h 43"/>
                <a:gd name="T8" fmla="*/ 14482 w 41"/>
                <a:gd name="T9" fmla="*/ 0 h 43"/>
                <a:gd name="T10" fmla="*/ 11500 w 41"/>
                <a:gd name="T11" fmla="*/ 5021 h 43"/>
                <a:gd name="T12" fmla="*/ 8519 w 41"/>
                <a:gd name="T13" fmla="*/ 11297 h 43"/>
                <a:gd name="T14" fmla="*/ 6389 w 41"/>
                <a:gd name="T15" fmla="*/ 17573 h 43"/>
                <a:gd name="T16" fmla="*/ 4259 w 41"/>
                <a:gd name="T17" fmla="*/ 23849 h 43"/>
                <a:gd name="T18" fmla="*/ 2556 w 41"/>
                <a:gd name="T19" fmla="*/ 30126 h 43"/>
                <a:gd name="T20" fmla="*/ 1278 w 41"/>
                <a:gd name="T21" fmla="*/ 37657 h 43"/>
                <a:gd name="T22" fmla="*/ 426 w 41"/>
                <a:gd name="T23" fmla="*/ 46444 h 43"/>
                <a:gd name="T24" fmla="*/ 0 w 41"/>
                <a:gd name="T25" fmla="*/ 53975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6" name="Freeform 206">
              <a:extLst>
                <a:ext uri="{FF2B5EF4-FFF2-40B4-BE49-F238E27FC236}">
                  <a16:creationId xmlns:a16="http://schemas.microsoft.com/office/drawing/2014/main" id="{B74F46A6-2798-4CDF-B6B3-13F8DB3B0CE5}"/>
                </a:ext>
              </a:extLst>
            </p:cNvPr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3875089" y="5119689"/>
              <a:ext cx="7937" cy="58737"/>
            </a:xfrm>
            <a:custGeom>
              <a:avLst/>
              <a:gdLst>
                <a:gd name="T0" fmla="*/ 7937 w 20"/>
                <a:gd name="T1" fmla="*/ 0 h 24"/>
                <a:gd name="T2" fmla="*/ 0 w 20"/>
                <a:gd name="T3" fmla="*/ 0 h 24"/>
                <a:gd name="T4" fmla="*/ 397 w 20"/>
                <a:gd name="T5" fmla="*/ 12237 h 24"/>
                <a:gd name="T6" fmla="*/ 794 w 20"/>
                <a:gd name="T7" fmla="*/ 22026 h 24"/>
                <a:gd name="T8" fmla="*/ 1587 w 20"/>
                <a:gd name="T9" fmla="*/ 31816 h 24"/>
                <a:gd name="T10" fmla="*/ 2778 w 20"/>
                <a:gd name="T11" fmla="*/ 41605 h 24"/>
                <a:gd name="T12" fmla="*/ 3969 w 20"/>
                <a:gd name="T13" fmla="*/ 48948 h 24"/>
                <a:gd name="T14" fmla="*/ 5556 w 20"/>
                <a:gd name="T15" fmla="*/ 53842 h 24"/>
                <a:gd name="T16" fmla="*/ 6746 w 20"/>
                <a:gd name="T17" fmla="*/ 58737 h 24"/>
                <a:gd name="T18" fmla="*/ 7937 w 20"/>
                <a:gd name="T19" fmla="*/ 58737 h 24"/>
                <a:gd name="T20" fmla="*/ 7937 w 20"/>
                <a:gd name="T21" fmla="*/ 0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7" name="Freeform 207">
              <a:extLst>
                <a:ext uri="{FF2B5EF4-FFF2-40B4-BE49-F238E27FC236}">
                  <a16:creationId xmlns:a16="http://schemas.microsoft.com/office/drawing/2014/main" id="{E4FDF259-72C6-4319-8C9C-6ED689DA5CA6}"/>
                </a:ext>
              </a:extLst>
            </p:cNvPr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3889376" y="5181601"/>
              <a:ext cx="17463" cy="60325"/>
            </a:xfrm>
            <a:custGeom>
              <a:avLst/>
              <a:gdLst>
                <a:gd name="T0" fmla="*/ 0 w 39"/>
                <a:gd name="T1" fmla="*/ 16835 h 43"/>
                <a:gd name="T2" fmla="*/ 896 w 39"/>
                <a:gd name="T3" fmla="*/ 23849 h 43"/>
                <a:gd name="T4" fmla="*/ 2687 w 39"/>
                <a:gd name="T5" fmla="*/ 30864 h 43"/>
                <a:gd name="T6" fmla="*/ 5373 w 39"/>
                <a:gd name="T7" fmla="*/ 37878 h 43"/>
                <a:gd name="T8" fmla="*/ 7164 w 39"/>
                <a:gd name="T9" fmla="*/ 44893 h 43"/>
                <a:gd name="T10" fmla="*/ 10299 w 39"/>
                <a:gd name="T11" fmla="*/ 51908 h 43"/>
                <a:gd name="T12" fmla="*/ 12538 w 39"/>
                <a:gd name="T13" fmla="*/ 56116 h 43"/>
                <a:gd name="T14" fmla="*/ 15224 w 39"/>
                <a:gd name="T15" fmla="*/ 60325 h 43"/>
                <a:gd name="T16" fmla="*/ 17463 w 39"/>
                <a:gd name="T17" fmla="*/ 60325 h 43"/>
                <a:gd name="T18" fmla="*/ 17015 w 39"/>
                <a:gd name="T19" fmla="*/ 44893 h 43"/>
                <a:gd name="T20" fmla="*/ 16120 w 39"/>
                <a:gd name="T21" fmla="*/ 26655 h 43"/>
                <a:gd name="T22" fmla="*/ 15224 w 39"/>
                <a:gd name="T23" fmla="*/ 11223 h 43"/>
                <a:gd name="T24" fmla="*/ 14329 w 39"/>
                <a:gd name="T25" fmla="*/ 0 h 43"/>
                <a:gd name="T26" fmla="*/ 8508 w 39"/>
                <a:gd name="T27" fmla="*/ 4209 h 43"/>
                <a:gd name="T28" fmla="*/ 2687 w 39"/>
                <a:gd name="T29" fmla="*/ 8417 h 43"/>
                <a:gd name="T30" fmla="*/ 0 w 39"/>
                <a:gd name="T31" fmla="*/ 16835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8" name="Freeform 208">
              <a:extLst>
                <a:ext uri="{FF2B5EF4-FFF2-40B4-BE49-F238E27FC236}">
                  <a16:creationId xmlns:a16="http://schemas.microsoft.com/office/drawing/2014/main" id="{40B438BA-7CA0-49C1-888D-4BDAAB81C25D}"/>
                </a:ext>
              </a:extLst>
            </p:cNvPr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3876675" y="5194300"/>
              <a:ext cx="26988" cy="58738"/>
            </a:xfrm>
            <a:custGeom>
              <a:avLst/>
              <a:gdLst>
                <a:gd name="T0" fmla="*/ 14230 w 55"/>
                <a:gd name="T1" fmla="*/ 24632 h 62"/>
                <a:gd name="T2" fmla="*/ 3926 w 55"/>
                <a:gd name="T3" fmla="*/ 0 h 62"/>
                <a:gd name="T4" fmla="*/ 1963 w 55"/>
                <a:gd name="T5" fmla="*/ 4737 h 62"/>
                <a:gd name="T6" fmla="*/ 491 w 55"/>
                <a:gd name="T7" fmla="*/ 10421 h 62"/>
                <a:gd name="T8" fmla="*/ 0 w 55"/>
                <a:gd name="T9" fmla="*/ 15158 h 62"/>
                <a:gd name="T10" fmla="*/ 0 w 55"/>
                <a:gd name="T11" fmla="*/ 19895 h 62"/>
                <a:gd name="T12" fmla="*/ 981 w 55"/>
                <a:gd name="T13" fmla="*/ 24632 h 62"/>
                <a:gd name="T14" fmla="*/ 1963 w 55"/>
                <a:gd name="T15" fmla="*/ 29369 h 62"/>
                <a:gd name="T16" fmla="*/ 3926 w 55"/>
                <a:gd name="T17" fmla="*/ 34106 h 62"/>
                <a:gd name="T18" fmla="*/ 5398 w 55"/>
                <a:gd name="T19" fmla="*/ 38843 h 62"/>
                <a:gd name="T20" fmla="*/ 7851 w 55"/>
                <a:gd name="T21" fmla="*/ 42632 h 62"/>
                <a:gd name="T22" fmla="*/ 10305 w 55"/>
                <a:gd name="T23" fmla="*/ 46422 h 62"/>
                <a:gd name="T24" fmla="*/ 12758 w 55"/>
                <a:gd name="T25" fmla="*/ 50212 h 62"/>
                <a:gd name="T26" fmla="*/ 16193 w 55"/>
                <a:gd name="T27" fmla="*/ 53054 h 62"/>
                <a:gd name="T28" fmla="*/ 18646 w 55"/>
                <a:gd name="T29" fmla="*/ 54948 h 62"/>
                <a:gd name="T30" fmla="*/ 21590 w 55"/>
                <a:gd name="T31" fmla="*/ 56843 h 62"/>
                <a:gd name="T32" fmla="*/ 24044 w 55"/>
                <a:gd name="T33" fmla="*/ 57791 h 62"/>
                <a:gd name="T34" fmla="*/ 26988 w 55"/>
                <a:gd name="T35" fmla="*/ 58738 h 62"/>
                <a:gd name="T36" fmla="*/ 26497 w 55"/>
                <a:gd name="T37" fmla="*/ 50212 h 62"/>
                <a:gd name="T38" fmla="*/ 26007 w 55"/>
                <a:gd name="T39" fmla="*/ 43580 h 62"/>
                <a:gd name="T40" fmla="*/ 24044 w 55"/>
                <a:gd name="T41" fmla="*/ 37895 h 62"/>
                <a:gd name="T42" fmla="*/ 22572 w 55"/>
                <a:gd name="T43" fmla="*/ 33159 h 62"/>
                <a:gd name="T44" fmla="*/ 21100 w 55"/>
                <a:gd name="T45" fmla="*/ 29369 h 62"/>
                <a:gd name="T46" fmla="*/ 18646 w 55"/>
                <a:gd name="T47" fmla="*/ 26527 h 62"/>
                <a:gd name="T48" fmla="*/ 16193 w 55"/>
                <a:gd name="T49" fmla="*/ 24632 h 62"/>
                <a:gd name="T50" fmla="*/ 14230 w 55"/>
                <a:gd name="T51" fmla="*/ 24632 h 6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9" name="Freeform 209">
              <a:extLst>
                <a:ext uri="{FF2B5EF4-FFF2-40B4-BE49-F238E27FC236}">
                  <a16:creationId xmlns:a16="http://schemas.microsoft.com/office/drawing/2014/main" id="{55272BFD-6E7A-476C-9134-C910F917F553}"/>
                </a:ext>
              </a:extLst>
            </p:cNvPr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3906838" y="5227639"/>
              <a:ext cx="11112" cy="58737"/>
            </a:xfrm>
            <a:custGeom>
              <a:avLst/>
              <a:gdLst>
                <a:gd name="T0" fmla="*/ 10477 w 35"/>
                <a:gd name="T1" fmla="*/ 17758 h 43"/>
                <a:gd name="T2" fmla="*/ 2222 w 35"/>
                <a:gd name="T3" fmla="*/ 0 h 43"/>
                <a:gd name="T4" fmla="*/ 1270 w 35"/>
                <a:gd name="T5" fmla="*/ 10928 h 43"/>
                <a:gd name="T6" fmla="*/ 0 w 35"/>
                <a:gd name="T7" fmla="*/ 25954 h 43"/>
                <a:gd name="T8" fmla="*/ 635 w 35"/>
                <a:gd name="T9" fmla="*/ 38247 h 43"/>
                <a:gd name="T10" fmla="*/ 1587 w 35"/>
                <a:gd name="T11" fmla="*/ 49175 h 43"/>
                <a:gd name="T12" fmla="*/ 1905 w 35"/>
                <a:gd name="T13" fmla="*/ 53273 h 43"/>
                <a:gd name="T14" fmla="*/ 2540 w 35"/>
                <a:gd name="T15" fmla="*/ 56005 h 43"/>
                <a:gd name="T16" fmla="*/ 3492 w 35"/>
                <a:gd name="T17" fmla="*/ 58737 h 43"/>
                <a:gd name="T18" fmla="*/ 4445 w 35"/>
                <a:gd name="T19" fmla="*/ 58737 h 43"/>
                <a:gd name="T20" fmla="*/ 5715 w 35"/>
                <a:gd name="T21" fmla="*/ 58737 h 43"/>
                <a:gd name="T22" fmla="*/ 6985 w 35"/>
                <a:gd name="T23" fmla="*/ 57371 h 43"/>
                <a:gd name="T24" fmla="*/ 8255 w 35"/>
                <a:gd name="T25" fmla="*/ 56005 h 43"/>
                <a:gd name="T26" fmla="*/ 8890 w 35"/>
                <a:gd name="T27" fmla="*/ 53273 h 43"/>
                <a:gd name="T28" fmla="*/ 9842 w 35"/>
                <a:gd name="T29" fmla="*/ 47809 h 43"/>
                <a:gd name="T30" fmla="*/ 10477 w 35"/>
                <a:gd name="T31" fmla="*/ 40979 h 43"/>
                <a:gd name="T32" fmla="*/ 11112 w 35"/>
                <a:gd name="T33" fmla="*/ 27320 h 43"/>
                <a:gd name="T34" fmla="*/ 10477 w 35"/>
                <a:gd name="T35" fmla="*/ 17758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90" name="Freeform 210">
              <a:extLst>
                <a:ext uri="{FF2B5EF4-FFF2-40B4-BE49-F238E27FC236}">
                  <a16:creationId xmlns:a16="http://schemas.microsoft.com/office/drawing/2014/main" id="{316D9A31-AD12-4B68-BB9D-F79905C10D14}"/>
                </a:ext>
              </a:extLst>
            </p:cNvPr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3903664" y="5260976"/>
              <a:ext cx="20637" cy="55563"/>
            </a:xfrm>
            <a:custGeom>
              <a:avLst/>
              <a:gdLst>
                <a:gd name="T0" fmla="*/ 20637 w 53"/>
                <a:gd name="T1" fmla="*/ 0 h 21"/>
                <a:gd name="T2" fmla="*/ 15964 w 53"/>
                <a:gd name="T3" fmla="*/ 2646 h 21"/>
                <a:gd name="T4" fmla="*/ 12460 w 53"/>
                <a:gd name="T5" fmla="*/ 5292 h 21"/>
                <a:gd name="T6" fmla="*/ 9734 w 53"/>
                <a:gd name="T7" fmla="*/ 13229 h 21"/>
                <a:gd name="T8" fmla="*/ 8177 w 53"/>
                <a:gd name="T9" fmla="*/ 18521 h 21"/>
                <a:gd name="T10" fmla="*/ 6619 w 53"/>
                <a:gd name="T11" fmla="*/ 26459 h 21"/>
                <a:gd name="T12" fmla="*/ 5062 w 53"/>
                <a:gd name="T13" fmla="*/ 34396 h 21"/>
                <a:gd name="T14" fmla="*/ 3115 w 53"/>
                <a:gd name="T15" fmla="*/ 42334 h 21"/>
                <a:gd name="T16" fmla="*/ 0 w 53"/>
                <a:gd name="T17" fmla="*/ 47625 h 21"/>
                <a:gd name="T18" fmla="*/ 1947 w 53"/>
                <a:gd name="T19" fmla="*/ 52917 h 21"/>
                <a:gd name="T20" fmla="*/ 4283 w 53"/>
                <a:gd name="T21" fmla="*/ 55563 h 21"/>
                <a:gd name="T22" fmla="*/ 6619 w 53"/>
                <a:gd name="T23" fmla="*/ 55563 h 21"/>
                <a:gd name="T24" fmla="*/ 9345 w 53"/>
                <a:gd name="T25" fmla="*/ 55563 h 21"/>
                <a:gd name="T26" fmla="*/ 14796 w 53"/>
                <a:gd name="T27" fmla="*/ 50271 h 21"/>
                <a:gd name="T28" fmla="*/ 20637 w 53"/>
                <a:gd name="T29" fmla="*/ 47625 h 21"/>
                <a:gd name="T30" fmla="*/ 20637 w 53"/>
                <a:gd name="T31" fmla="*/ 0 h 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91" name="Freeform 211">
              <a:extLst>
                <a:ext uri="{FF2B5EF4-FFF2-40B4-BE49-F238E27FC236}">
                  <a16:creationId xmlns:a16="http://schemas.microsoft.com/office/drawing/2014/main" id="{C2885B21-AE7F-4A68-8C2E-3CD93ADCD265}"/>
                </a:ext>
              </a:extLst>
            </p:cNvPr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3927476" y="5275263"/>
              <a:ext cx="17463" cy="57150"/>
            </a:xfrm>
            <a:custGeom>
              <a:avLst/>
              <a:gdLst>
                <a:gd name="T0" fmla="*/ 8935 w 43"/>
                <a:gd name="T1" fmla="*/ 0 h 38"/>
                <a:gd name="T2" fmla="*/ 4873 w 43"/>
                <a:gd name="T3" fmla="*/ 0 h 38"/>
                <a:gd name="T4" fmla="*/ 812 w 43"/>
                <a:gd name="T5" fmla="*/ 0 h 38"/>
                <a:gd name="T6" fmla="*/ 406 w 43"/>
                <a:gd name="T7" fmla="*/ 0 h 38"/>
                <a:gd name="T8" fmla="*/ 0 w 43"/>
                <a:gd name="T9" fmla="*/ 1504 h 38"/>
                <a:gd name="T10" fmla="*/ 0 w 43"/>
                <a:gd name="T11" fmla="*/ 4512 h 38"/>
                <a:gd name="T12" fmla="*/ 0 w 43"/>
                <a:gd name="T13" fmla="*/ 9024 h 38"/>
                <a:gd name="T14" fmla="*/ 406 w 43"/>
                <a:gd name="T15" fmla="*/ 15039 h 38"/>
                <a:gd name="T16" fmla="*/ 812 w 43"/>
                <a:gd name="T17" fmla="*/ 18047 h 38"/>
                <a:gd name="T18" fmla="*/ 1218 w 43"/>
                <a:gd name="T19" fmla="*/ 27071 h 38"/>
                <a:gd name="T20" fmla="*/ 2031 w 43"/>
                <a:gd name="T21" fmla="*/ 37599 h 38"/>
                <a:gd name="T22" fmla="*/ 4061 w 43"/>
                <a:gd name="T23" fmla="*/ 45118 h 38"/>
                <a:gd name="T24" fmla="*/ 6092 w 43"/>
                <a:gd name="T25" fmla="*/ 51134 h 38"/>
                <a:gd name="T26" fmla="*/ 8528 w 43"/>
                <a:gd name="T27" fmla="*/ 55646 h 38"/>
                <a:gd name="T28" fmla="*/ 10965 w 43"/>
                <a:gd name="T29" fmla="*/ 57150 h 38"/>
                <a:gd name="T30" fmla="*/ 14214 w 43"/>
                <a:gd name="T31" fmla="*/ 57150 h 38"/>
                <a:gd name="T32" fmla="*/ 17463 w 43"/>
                <a:gd name="T33" fmla="*/ 55646 h 38"/>
                <a:gd name="T34" fmla="*/ 16245 w 43"/>
                <a:gd name="T35" fmla="*/ 43614 h 38"/>
                <a:gd name="T36" fmla="*/ 14620 w 43"/>
                <a:gd name="T37" fmla="*/ 34591 h 38"/>
                <a:gd name="T38" fmla="*/ 13402 w 43"/>
                <a:gd name="T39" fmla="*/ 25567 h 38"/>
                <a:gd name="T40" fmla="*/ 12183 w 43"/>
                <a:gd name="T41" fmla="*/ 19551 h 38"/>
                <a:gd name="T42" fmla="*/ 10965 w 43"/>
                <a:gd name="T43" fmla="*/ 15039 h 38"/>
                <a:gd name="T44" fmla="*/ 9747 w 43"/>
                <a:gd name="T45" fmla="*/ 10528 h 38"/>
                <a:gd name="T46" fmla="*/ 9341 w 43"/>
                <a:gd name="T47" fmla="*/ 6016 h 38"/>
                <a:gd name="T48" fmla="*/ 8935 w 43"/>
                <a:gd name="T49" fmla="*/ 0 h 3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92" name="Freeform 212">
              <a:extLst>
                <a:ext uri="{FF2B5EF4-FFF2-40B4-BE49-F238E27FC236}">
                  <a16:creationId xmlns:a16="http://schemas.microsoft.com/office/drawing/2014/main" id="{2435F24F-8564-4288-8D87-5A45045675F3}"/>
                </a:ext>
              </a:extLst>
            </p:cNvPr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3929063" y="5303838"/>
              <a:ext cx="6350" cy="57150"/>
            </a:xfrm>
            <a:custGeom>
              <a:avLst/>
              <a:gdLst>
                <a:gd name="T0" fmla="*/ 0 w 20"/>
                <a:gd name="T1" fmla="*/ 0 h 5"/>
                <a:gd name="T2" fmla="*/ 318 w 20"/>
                <a:gd name="T3" fmla="*/ 22860 h 5"/>
                <a:gd name="T4" fmla="*/ 635 w 20"/>
                <a:gd name="T5" fmla="*/ 34290 h 5"/>
                <a:gd name="T6" fmla="*/ 1270 w 20"/>
                <a:gd name="T7" fmla="*/ 45720 h 5"/>
                <a:gd name="T8" fmla="*/ 2223 w 20"/>
                <a:gd name="T9" fmla="*/ 57150 h 5"/>
                <a:gd name="T10" fmla="*/ 3493 w 20"/>
                <a:gd name="T11" fmla="*/ 45720 h 5"/>
                <a:gd name="T12" fmla="*/ 4445 w 20"/>
                <a:gd name="T13" fmla="*/ 34290 h 5"/>
                <a:gd name="T14" fmla="*/ 5398 w 20"/>
                <a:gd name="T15" fmla="*/ 22860 h 5"/>
                <a:gd name="T16" fmla="*/ 6350 w 20"/>
                <a:gd name="T17" fmla="*/ 0 h 5"/>
                <a:gd name="T18" fmla="*/ 0 w 20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93" name="Freeform 213">
              <a:extLst>
                <a:ext uri="{FF2B5EF4-FFF2-40B4-BE49-F238E27FC236}">
                  <a16:creationId xmlns:a16="http://schemas.microsoft.com/office/drawing/2014/main" id="{313168AF-C081-40B0-A7B5-B2629C58EF09}"/>
                </a:ext>
              </a:extLst>
            </p:cNvPr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4003676" y="5373688"/>
              <a:ext cx="34925" cy="57150"/>
            </a:xfrm>
            <a:custGeom>
              <a:avLst/>
              <a:gdLst>
                <a:gd name="T0" fmla="*/ 19137 w 73"/>
                <a:gd name="T1" fmla="*/ 0 h 22"/>
                <a:gd name="T2" fmla="*/ 15310 w 73"/>
                <a:gd name="T3" fmla="*/ 2598 h 22"/>
                <a:gd name="T4" fmla="*/ 12439 w 73"/>
                <a:gd name="T5" fmla="*/ 5195 h 22"/>
                <a:gd name="T6" fmla="*/ 9568 w 73"/>
                <a:gd name="T7" fmla="*/ 12989 h 22"/>
                <a:gd name="T8" fmla="*/ 7176 w 73"/>
                <a:gd name="T9" fmla="*/ 20782 h 22"/>
                <a:gd name="T10" fmla="*/ 2871 w 73"/>
                <a:gd name="T11" fmla="*/ 36368 h 22"/>
                <a:gd name="T12" fmla="*/ 0 w 73"/>
                <a:gd name="T13" fmla="*/ 49357 h 22"/>
                <a:gd name="T14" fmla="*/ 9568 w 73"/>
                <a:gd name="T15" fmla="*/ 51955 h 22"/>
                <a:gd name="T16" fmla="*/ 18659 w 73"/>
                <a:gd name="T17" fmla="*/ 57150 h 22"/>
                <a:gd name="T18" fmla="*/ 23443 w 73"/>
                <a:gd name="T19" fmla="*/ 57150 h 22"/>
                <a:gd name="T20" fmla="*/ 27270 w 73"/>
                <a:gd name="T21" fmla="*/ 57150 h 22"/>
                <a:gd name="T22" fmla="*/ 31098 w 73"/>
                <a:gd name="T23" fmla="*/ 54552 h 22"/>
                <a:gd name="T24" fmla="*/ 34925 w 73"/>
                <a:gd name="T25" fmla="*/ 49357 h 22"/>
                <a:gd name="T26" fmla="*/ 30619 w 73"/>
                <a:gd name="T27" fmla="*/ 36368 h 22"/>
                <a:gd name="T28" fmla="*/ 26792 w 73"/>
                <a:gd name="T29" fmla="*/ 20782 h 22"/>
                <a:gd name="T30" fmla="*/ 25357 w 73"/>
                <a:gd name="T31" fmla="*/ 12989 h 22"/>
                <a:gd name="T32" fmla="*/ 23443 w 73"/>
                <a:gd name="T33" fmla="*/ 5195 h 22"/>
                <a:gd name="T34" fmla="*/ 21051 w 73"/>
                <a:gd name="T35" fmla="*/ 2598 h 22"/>
                <a:gd name="T36" fmla="*/ 19137 w 73"/>
                <a:gd name="T37" fmla="*/ 0 h 2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94" name="Freeform 214">
              <a:extLst>
                <a:ext uri="{FF2B5EF4-FFF2-40B4-BE49-F238E27FC236}">
                  <a16:creationId xmlns:a16="http://schemas.microsoft.com/office/drawing/2014/main" id="{3474F57B-49D2-4E93-A5BB-9EF9ED6EC779}"/>
                </a:ext>
              </a:extLst>
            </p:cNvPr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4041776" y="5314951"/>
              <a:ext cx="123825" cy="100013"/>
            </a:xfrm>
            <a:custGeom>
              <a:avLst/>
              <a:gdLst>
                <a:gd name="T0" fmla="*/ 103555 w 281"/>
                <a:gd name="T1" fmla="*/ 87058 h 193"/>
                <a:gd name="T2" fmla="*/ 82844 w 281"/>
                <a:gd name="T3" fmla="*/ 88613 h 193"/>
                <a:gd name="T4" fmla="*/ 74031 w 281"/>
                <a:gd name="T5" fmla="*/ 87058 h 193"/>
                <a:gd name="T6" fmla="*/ 68302 w 281"/>
                <a:gd name="T7" fmla="*/ 84985 h 193"/>
                <a:gd name="T8" fmla="*/ 57286 w 281"/>
                <a:gd name="T9" fmla="*/ 69957 h 193"/>
                <a:gd name="T10" fmla="*/ 45828 w 281"/>
                <a:gd name="T11" fmla="*/ 48711 h 193"/>
                <a:gd name="T12" fmla="*/ 41422 w 281"/>
                <a:gd name="T13" fmla="*/ 38347 h 193"/>
                <a:gd name="T14" fmla="*/ 38337 w 281"/>
                <a:gd name="T15" fmla="*/ 26428 h 193"/>
                <a:gd name="T16" fmla="*/ 36575 w 281"/>
                <a:gd name="T17" fmla="*/ 13991 h 193"/>
                <a:gd name="T18" fmla="*/ 18948 w 281"/>
                <a:gd name="T19" fmla="*/ 0 h 193"/>
                <a:gd name="T20" fmla="*/ 12338 w 281"/>
                <a:gd name="T21" fmla="*/ 26947 h 193"/>
                <a:gd name="T22" fmla="*/ 7932 w 281"/>
                <a:gd name="T23" fmla="*/ 31610 h 193"/>
                <a:gd name="T24" fmla="*/ 2644 w 281"/>
                <a:gd name="T25" fmla="*/ 35756 h 193"/>
                <a:gd name="T26" fmla="*/ 0 w 281"/>
                <a:gd name="T27" fmla="*/ 37829 h 193"/>
                <a:gd name="T28" fmla="*/ 441 w 281"/>
                <a:gd name="T29" fmla="*/ 38865 h 193"/>
                <a:gd name="T30" fmla="*/ 3966 w 281"/>
                <a:gd name="T31" fmla="*/ 41974 h 193"/>
                <a:gd name="T32" fmla="*/ 16304 w 281"/>
                <a:gd name="T33" fmla="*/ 57520 h 193"/>
                <a:gd name="T34" fmla="*/ 19830 w 281"/>
                <a:gd name="T35" fmla="*/ 63221 h 193"/>
                <a:gd name="T36" fmla="*/ 23355 w 281"/>
                <a:gd name="T37" fmla="*/ 66848 h 193"/>
                <a:gd name="T38" fmla="*/ 27321 w 281"/>
                <a:gd name="T39" fmla="*/ 69439 h 193"/>
                <a:gd name="T40" fmla="*/ 31287 w 281"/>
                <a:gd name="T41" fmla="*/ 70475 h 193"/>
                <a:gd name="T42" fmla="*/ 33490 w 281"/>
                <a:gd name="T43" fmla="*/ 73066 h 193"/>
                <a:gd name="T44" fmla="*/ 34812 w 281"/>
                <a:gd name="T45" fmla="*/ 76694 h 193"/>
                <a:gd name="T46" fmla="*/ 37897 w 281"/>
                <a:gd name="T47" fmla="*/ 79285 h 193"/>
                <a:gd name="T48" fmla="*/ 43625 w 281"/>
                <a:gd name="T49" fmla="*/ 79803 h 193"/>
                <a:gd name="T50" fmla="*/ 46710 w 281"/>
                <a:gd name="T51" fmla="*/ 81358 h 193"/>
                <a:gd name="T52" fmla="*/ 48032 w 281"/>
                <a:gd name="T53" fmla="*/ 84467 h 193"/>
                <a:gd name="T54" fmla="*/ 48032 w 281"/>
                <a:gd name="T55" fmla="*/ 92758 h 193"/>
                <a:gd name="T56" fmla="*/ 48913 w 281"/>
                <a:gd name="T57" fmla="*/ 97940 h 193"/>
                <a:gd name="T58" fmla="*/ 50676 w 281"/>
                <a:gd name="T59" fmla="*/ 100013 h 193"/>
                <a:gd name="T60" fmla="*/ 56845 w 281"/>
                <a:gd name="T61" fmla="*/ 100013 h 193"/>
                <a:gd name="T62" fmla="*/ 72268 w 281"/>
                <a:gd name="T63" fmla="*/ 98977 h 193"/>
                <a:gd name="T64" fmla="*/ 79319 w 281"/>
                <a:gd name="T65" fmla="*/ 97940 h 193"/>
                <a:gd name="T66" fmla="*/ 84606 w 281"/>
                <a:gd name="T67" fmla="*/ 96386 h 193"/>
                <a:gd name="T68" fmla="*/ 93420 w 281"/>
                <a:gd name="T69" fmla="*/ 97422 h 193"/>
                <a:gd name="T70" fmla="*/ 123825 w 281"/>
                <a:gd name="T71" fmla="*/ 86540 h 19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95" name="Freeform 215">
              <a:extLst>
                <a:ext uri="{FF2B5EF4-FFF2-40B4-BE49-F238E27FC236}">
                  <a16:creationId xmlns:a16="http://schemas.microsoft.com/office/drawing/2014/main" id="{90304167-8E1F-45A1-BEFE-991C1AD7D609}"/>
                </a:ext>
              </a:extLst>
            </p:cNvPr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3594100" y="3081339"/>
              <a:ext cx="52388" cy="58737"/>
            </a:xfrm>
            <a:custGeom>
              <a:avLst/>
              <a:gdLst>
                <a:gd name="T0" fmla="*/ 0 w 120"/>
                <a:gd name="T1" fmla="*/ 18880 h 56"/>
                <a:gd name="T2" fmla="*/ 1746 w 120"/>
                <a:gd name="T3" fmla="*/ 27271 h 56"/>
                <a:gd name="T4" fmla="*/ 4366 w 120"/>
                <a:gd name="T5" fmla="*/ 34613 h 56"/>
                <a:gd name="T6" fmla="*/ 6549 w 120"/>
                <a:gd name="T7" fmla="*/ 38808 h 56"/>
                <a:gd name="T8" fmla="*/ 9168 w 120"/>
                <a:gd name="T9" fmla="*/ 43004 h 56"/>
                <a:gd name="T10" fmla="*/ 11787 w 120"/>
                <a:gd name="T11" fmla="*/ 46151 h 56"/>
                <a:gd name="T12" fmla="*/ 15280 w 120"/>
                <a:gd name="T13" fmla="*/ 48248 h 56"/>
                <a:gd name="T14" fmla="*/ 18772 w 120"/>
                <a:gd name="T15" fmla="*/ 50346 h 56"/>
                <a:gd name="T16" fmla="*/ 22265 w 120"/>
                <a:gd name="T17" fmla="*/ 51395 h 56"/>
                <a:gd name="T18" fmla="*/ 29250 w 120"/>
                <a:gd name="T19" fmla="*/ 52444 h 56"/>
                <a:gd name="T20" fmla="*/ 37108 w 120"/>
                <a:gd name="T21" fmla="*/ 53493 h 56"/>
                <a:gd name="T22" fmla="*/ 44530 w 120"/>
                <a:gd name="T23" fmla="*/ 54542 h 56"/>
                <a:gd name="T24" fmla="*/ 52388 w 120"/>
                <a:gd name="T25" fmla="*/ 58737 h 56"/>
                <a:gd name="T26" fmla="*/ 52388 w 120"/>
                <a:gd name="T27" fmla="*/ 38808 h 56"/>
                <a:gd name="T28" fmla="*/ 48459 w 120"/>
                <a:gd name="T29" fmla="*/ 35662 h 56"/>
                <a:gd name="T30" fmla="*/ 44530 w 120"/>
                <a:gd name="T31" fmla="*/ 31466 h 56"/>
                <a:gd name="T32" fmla="*/ 41037 w 120"/>
                <a:gd name="T33" fmla="*/ 25173 h 56"/>
                <a:gd name="T34" fmla="*/ 38418 w 120"/>
                <a:gd name="T35" fmla="*/ 18880 h 56"/>
                <a:gd name="T36" fmla="*/ 35362 w 120"/>
                <a:gd name="T37" fmla="*/ 13635 h 56"/>
                <a:gd name="T38" fmla="*/ 32743 w 120"/>
                <a:gd name="T39" fmla="*/ 7342 h 56"/>
                <a:gd name="T40" fmla="*/ 29250 w 120"/>
                <a:gd name="T41" fmla="*/ 3147 h 56"/>
                <a:gd name="T42" fmla="*/ 26194 w 120"/>
                <a:gd name="T43" fmla="*/ 0 h 56"/>
                <a:gd name="T44" fmla="*/ 24011 w 120"/>
                <a:gd name="T45" fmla="*/ 1049 h 56"/>
                <a:gd name="T46" fmla="*/ 20955 w 120"/>
                <a:gd name="T47" fmla="*/ 3147 h 56"/>
                <a:gd name="T48" fmla="*/ 17899 w 120"/>
                <a:gd name="T49" fmla="*/ 6293 h 56"/>
                <a:gd name="T50" fmla="*/ 14407 w 120"/>
                <a:gd name="T51" fmla="*/ 9440 h 56"/>
                <a:gd name="T52" fmla="*/ 10478 w 120"/>
                <a:gd name="T53" fmla="*/ 13635 h 56"/>
                <a:gd name="T54" fmla="*/ 6985 w 120"/>
                <a:gd name="T55" fmla="*/ 15733 h 56"/>
                <a:gd name="T56" fmla="*/ 3493 w 120"/>
                <a:gd name="T57" fmla="*/ 18880 h 56"/>
                <a:gd name="T58" fmla="*/ 0 w 120"/>
                <a:gd name="T59" fmla="*/ 18880 h 5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96" name="Freeform 216">
              <a:extLst>
                <a:ext uri="{FF2B5EF4-FFF2-40B4-BE49-F238E27FC236}">
                  <a16:creationId xmlns:a16="http://schemas.microsoft.com/office/drawing/2014/main" id="{9785EA77-0EE9-42D2-A443-33FA99A07A6D}"/>
                </a:ext>
              </a:extLst>
            </p:cNvPr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3451226" y="2943225"/>
              <a:ext cx="250825" cy="109538"/>
            </a:xfrm>
            <a:custGeom>
              <a:avLst/>
              <a:gdLst>
                <a:gd name="T0" fmla="*/ 55496 w 574"/>
                <a:gd name="T1" fmla="*/ 537 h 204"/>
                <a:gd name="T2" fmla="*/ 41513 w 574"/>
                <a:gd name="T3" fmla="*/ 3222 h 204"/>
                <a:gd name="T4" fmla="*/ 28841 w 574"/>
                <a:gd name="T5" fmla="*/ 8591 h 204"/>
                <a:gd name="T6" fmla="*/ 18790 w 574"/>
                <a:gd name="T7" fmla="*/ 13961 h 204"/>
                <a:gd name="T8" fmla="*/ 13109 w 574"/>
                <a:gd name="T9" fmla="*/ 18793 h 204"/>
                <a:gd name="T10" fmla="*/ 6992 w 574"/>
                <a:gd name="T11" fmla="*/ 27385 h 204"/>
                <a:gd name="T12" fmla="*/ 1748 w 574"/>
                <a:gd name="T13" fmla="*/ 38124 h 204"/>
                <a:gd name="T14" fmla="*/ 0 w 574"/>
                <a:gd name="T15" fmla="*/ 44030 h 204"/>
                <a:gd name="T16" fmla="*/ 437 w 574"/>
                <a:gd name="T17" fmla="*/ 46178 h 204"/>
                <a:gd name="T18" fmla="*/ 5681 w 574"/>
                <a:gd name="T19" fmla="*/ 46178 h 204"/>
                <a:gd name="T20" fmla="*/ 12672 w 574"/>
                <a:gd name="T21" fmla="*/ 44567 h 204"/>
                <a:gd name="T22" fmla="*/ 22723 w 574"/>
                <a:gd name="T23" fmla="*/ 40271 h 204"/>
                <a:gd name="T24" fmla="*/ 34958 w 574"/>
                <a:gd name="T25" fmla="*/ 31143 h 204"/>
                <a:gd name="T26" fmla="*/ 44572 w 574"/>
                <a:gd name="T27" fmla="*/ 24700 h 204"/>
                <a:gd name="T28" fmla="*/ 52000 w 574"/>
                <a:gd name="T29" fmla="*/ 21478 h 204"/>
                <a:gd name="T30" fmla="*/ 76471 w 574"/>
                <a:gd name="T31" fmla="*/ 19867 h 204"/>
                <a:gd name="T32" fmla="*/ 76908 w 574"/>
                <a:gd name="T33" fmla="*/ 25774 h 204"/>
                <a:gd name="T34" fmla="*/ 78656 w 574"/>
                <a:gd name="T35" fmla="*/ 29532 h 204"/>
                <a:gd name="T36" fmla="*/ 80404 w 574"/>
                <a:gd name="T37" fmla="*/ 31680 h 204"/>
                <a:gd name="T38" fmla="*/ 83026 w 574"/>
                <a:gd name="T39" fmla="*/ 32754 h 204"/>
                <a:gd name="T40" fmla="*/ 100068 w 574"/>
                <a:gd name="T41" fmla="*/ 32754 h 204"/>
                <a:gd name="T42" fmla="*/ 117547 w 574"/>
                <a:gd name="T43" fmla="*/ 41882 h 204"/>
                <a:gd name="T44" fmla="*/ 131967 w 574"/>
                <a:gd name="T45" fmla="*/ 51010 h 204"/>
                <a:gd name="T46" fmla="*/ 146824 w 574"/>
                <a:gd name="T47" fmla="*/ 59602 h 204"/>
                <a:gd name="T48" fmla="*/ 163867 w 574"/>
                <a:gd name="T49" fmla="*/ 66045 h 204"/>
                <a:gd name="T50" fmla="*/ 164303 w 574"/>
                <a:gd name="T51" fmla="*/ 71951 h 204"/>
                <a:gd name="T52" fmla="*/ 166925 w 574"/>
                <a:gd name="T53" fmla="*/ 76247 h 204"/>
                <a:gd name="T54" fmla="*/ 173043 w 574"/>
                <a:gd name="T55" fmla="*/ 81617 h 204"/>
                <a:gd name="T56" fmla="*/ 187026 w 574"/>
                <a:gd name="T57" fmla="*/ 89134 h 204"/>
                <a:gd name="T58" fmla="*/ 175665 w 574"/>
                <a:gd name="T59" fmla="*/ 102558 h 204"/>
                <a:gd name="T60" fmla="*/ 177850 w 574"/>
                <a:gd name="T61" fmla="*/ 105779 h 204"/>
                <a:gd name="T62" fmla="*/ 180909 w 574"/>
                <a:gd name="T63" fmla="*/ 107927 h 204"/>
                <a:gd name="T64" fmla="*/ 187463 w 574"/>
                <a:gd name="T65" fmla="*/ 109538 h 204"/>
                <a:gd name="T66" fmla="*/ 201447 w 574"/>
                <a:gd name="T67" fmla="*/ 109538 h 204"/>
                <a:gd name="T68" fmla="*/ 242522 w 574"/>
                <a:gd name="T69" fmla="*/ 101484 h 204"/>
                <a:gd name="T70" fmla="*/ 244270 w 574"/>
                <a:gd name="T71" fmla="*/ 98262 h 204"/>
                <a:gd name="T72" fmla="*/ 246892 w 574"/>
                <a:gd name="T73" fmla="*/ 95040 h 204"/>
                <a:gd name="T74" fmla="*/ 249951 w 574"/>
                <a:gd name="T75" fmla="*/ 92893 h 204"/>
                <a:gd name="T76" fmla="*/ 250825 w 574"/>
                <a:gd name="T77" fmla="*/ 86449 h 204"/>
                <a:gd name="T78" fmla="*/ 245144 w 574"/>
                <a:gd name="T79" fmla="*/ 82154 h 204"/>
                <a:gd name="T80" fmla="*/ 232472 w 574"/>
                <a:gd name="T81" fmla="*/ 79469 h 204"/>
                <a:gd name="T82" fmla="*/ 220237 w 574"/>
                <a:gd name="T83" fmla="*/ 74099 h 204"/>
                <a:gd name="T84" fmla="*/ 207564 w 574"/>
                <a:gd name="T85" fmla="*/ 66582 h 204"/>
                <a:gd name="T86" fmla="*/ 189211 w 574"/>
                <a:gd name="T87" fmla="*/ 53695 h 204"/>
                <a:gd name="T88" fmla="*/ 167362 w 574"/>
                <a:gd name="T89" fmla="*/ 36513 h 204"/>
                <a:gd name="T90" fmla="*/ 156438 w 574"/>
                <a:gd name="T91" fmla="*/ 28995 h 204"/>
                <a:gd name="T92" fmla="*/ 152068 w 574"/>
                <a:gd name="T93" fmla="*/ 27921 h 204"/>
                <a:gd name="T94" fmla="*/ 144203 w 574"/>
                <a:gd name="T95" fmla="*/ 27921 h 204"/>
                <a:gd name="T96" fmla="*/ 136337 w 574"/>
                <a:gd name="T97" fmla="*/ 27385 h 204"/>
                <a:gd name="T98" fmla="*/ 131967 w 574"/>
                <a:gd name="T99" fmla="*/ 26311 h 204"/>
                <a:gd name="T100" fmla="*/ 128471 w 574"/>
                <a:gd name="T101" fmla="*/ 23089 h 204"/>
                <a:gd name="T102" fmla="*/ 126723 w 574"/>
                <a:gd name="T103" fmla="*/ 17182 h 204"/>
                <a:gd name="T104" fmla="*/ 62051 w 574"/>
                <a:gd name="T105" fmla="*/ 0 h 20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97" name="Freeform 217">
              <a:extLst>
                <a:ext uri="{FF2B5EF4-FFF2-40B4-BE49-F238E27FC236}">
                  <a16:creationId xmlns:a16="http://schemas.microsoft.com/office/drawing/2014/main" id="{D691C54B-1E10-49C8-8726-7A8195562FDA}"/>
                </a:ext>
              </a:extLst>
            </p:cNvPr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3756025" y="3046413"/>
              <a:ext cx="88900" cy="69850"/>
            </a:xfrm>
            <a:custGeom>
              <a:avLst/>
              <a:gdLst>
                <a:gd name="T0" fmla="*/ 17608 w 207"/>
                <a:gd name="T1" fmla="*/ 69850 h 129"/>
                <a:gd name="T2" fmla="*/ 21473 w 207"/>
                <a:gd name="T3" fmla="*/ 65518 h 129"/>
                <a:gd name="T4" fmla="*/ 25768 w 207"/>
                <a:gd name="T5" fmla="*/ 62269 h 129"/>
                <a:gd name="T6" fmla="*/ 30063 w 207"/>
                <a:gd name="T7" fmla="*/ 59562 h 129"/>
                <a:gd name="T8" fmla="*/ 34787 w 207"/>
                <a:gd name="T9" fmla="*/ 56855 h 129"/>
                <a:gd name="T10" fmla="*/ 45094 w 207"/>
                <a:gd name="T11" fmla="*/ 53606 h 129"/>
                <a:gd name="T12" fmla="*/ 55401 w 207"/>
                <a:gd name="T13" fmla="*/ 49816 h 129"/>
                <a:gd name="T14" fmla="*/ 65279 w 207"/>
                <a:gd name="T15" fmla="*/ 47108 h 129"/>
                <a:gd name="T16" fmla="*/ 74298 w 207"/>
                <a:gd name="T17" fmla="*/ 43859 h 129"/>
                <a:gd name="T18" fmla="*/ 78163 w 207"/>
                <a:gd name="T19" fmla="*/ 41693 h 129"/>
                <a:gd name="T20" fmla="*/ 82029 w 207"/>
                <a:gd name="T21" fmla="*/ 39528 h 129"/>
                <a:gd name="T22" fmla="*/ 85894 w 207"/>
                <a:gd name="T23" fmla="*/ 36279 h 129"/>
                <a:gd name="T24" fmla="*/ 88900 w 207"/>
                <a:gd name="T25" fmla="*/ 33030 h 129"/>
                <a:gd name="T26" fmla="*/ 85035 w 207"/>
                <a:gd name="T27" fmla="*/ 29240 h 129"/>
                <a:gd name="T28" fmla="*/ 80740 w 207"/>
                <a:gd name="T29" fmla="*/ 25449 h 129"/>
                <a:gd name="T30" fmla="*/ 76875 w 207"/>
                <a:gd name="T31" fmla="*/ 22742 h 129"/>
                <a:gd name="T32" fmla="*/ 72580 w 207"/>
                <a:gd name="T33" fmla="*/ 19493 h 129"/>
                <a:gd name="T34" fmla="*/ 64420 w 207"/>
                <a:gd name="T35" fmla="*/ 15703 h 129"/>
                <a:gd name="T36" fmla="*/ 55401 w 207"/>
                <a:gd name="T37" fmla="*/ 12454 h 129"/>
                <a:gd name="T38" fmla="*/ 45953 w 207"/>
                <a:gd name="T39" fmla="*/ 9747 h 129"/>
                <a:gd name="T40" fmla="*/ 36505 w 207"/>
                <a:gd name="T41" fmla="*/ 7039 h 129"/>
                <a:gd name="T42" fmla="*/ 27057 w 207"/>
                <a:gd name="T43" fmla="*/ 3790 h 129"/>
                <a:gd name="T44" fmla="*/ 17608 w 207"/>
                <a:gd name="T45" fmla="*/ 0 h 129"/>
                <a:gd name="T46" fmla="*/ 0 w 207"/>
                <a:gd name="T47" fmla="*/ 0 h 129"/>
                <a:gd name="T48" fmla="*/ 429 w 207"/>
                <a:gd name="T49" fmla="*/ 3249 h 129"/>
                <a:gd name="T50" fmla="*/ 859 w 207"/>
                <a:gd name="T51" fmla="*/ 7039 h 129"/>
                <a:gd name="T52" fmla="*/ 1718 w 207"/>
                <a:gd name="T53" fmla="*/ 10288 h 129"/>
                <a:gd name="T54" fmla="*/ 2577 w 207"/>
                <a:gd name="T55" fmla="*/ 13537 h 129"/>
                <a:gd name="T56" fmla="*/ 4295 w 207"/>
                <a:gd name="T57" fmla="*/ 18952 h 129"/>
                <a:gd name="T58" fmla="*/ 5583 w 207"/>
                <a:gd name="T59" fmla="*/ 24908 h 129"/>
                <a:gd name="T60" fmla="*/ 7301 w 207"/>
                <a:gd name="T61" fmla="*/ 29240 h 129"/>
                <a:gd name="T62" fmla="*/ 7730 w 207"/>
                <a:gd name="T63" fmla="*/ 33571 h 129"/>
                <a:gd name="T64" fmla="*/ 7301 w 207"/>
                <a:gd name="T65" fmla="*/ 35196 h 129"/>
                <a:gd name="T66" fmla="*/ 6013 w 207"/>
                <a:gd name="T67" fmla="*/ 36820 h 129"/>
                <a:gd name="T68" fmla="*/ 4724 w 207"/>
                <a:gd name="T69" fmla="*/ 38445 h 129"/>
                <a:gd name="T70" fmla="*/ 3006 w 207"/>
                <a:gd name="T71" fmla="*/ 39528 h 129"/>
                <a:gd name="T72" fmla="*/ 0 w 207"/>
                <a:gd name="T73" fmla="*/ 56313 h 129"/>
                <a:gd name="T74" fmla="*/ 1718 w 207"/>
                <a:gd name="T75" fmla="*/ 57396 h 129"/>
                <a:gd name="T76" fmla="*/ 5583 w 207"/>
                <a:gd name="T77" fmla="*/ 59562 h 129"/>
                <a:gd name="T78" fmla="*/ 8160 w 207"/>
                <a:gd name="T79" fmla="*/ 61186 h 129"/>
                <a:gd name="T80" fmla="*/ 10737 w 207"/>
                <a:gd name="T81" fmla="*/ 63352 h 129"/>
                <a:gd name="T82" fmla="*/ 14172 w 207"/>
                <a:gd name="T83" fmla="*/ 66060 h 129"/>
                <a:gd name="T84" fmla="*/ 17608 w 207"/>
                <a:gd name="T85" fmla="*/ 69850 h 12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98" name="Freeform 218">
              <a:extLst>
                <a:ext uri="{FF2B5EF4-FFF2-40B4-BE49-F238E27FC236}">
                  <a16:creationId xmlns:a16="http://schemas.microsoft.com/office/drawing/2014/main" id="{8A28CD68-1ED9-4B68-A0A5-C7A2A449A270}"/>
                </a:ext>
              </a:extLst>
            </p:cNvPr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3324225" y="3106739"/>
              <a:ext cx="33338" cy="84137"/>
            </a:xfrm>
            <a:custGeom>
              <a:avLst/>
              <a:gdLst>
                <a:gd name="T0" fmla="*/ 33338 w 72"/>
                <a:gd name="T1" fmla="*/ 0 h 154"/>
                <a:gd name="T2" fmla="*/ 31949 w 72"/>
                <a:gd name="T3" fmla="*/ 2185 h 154"/>
                <a:gd name="T4" fmla="*/ 31023 w 72"/>
                <a:gd name="T5" fmla="*/ 4917 h 154"/>
                <a:gd name="T6" fmla="*/ 30560 w 72"/>
                <a:gd name="T7" fmla="*/ 7102 h 154"/>
                <a:gd name="T8" fmla="*/ 30560 w 72"/>
                <a:gd name="T9" fmla="*/ 9834 h 154"/>
                <a:gd name="T10" fmla="*/ 30560 w 72"/>
                <a:gd name="T11" fmla="*/ 14751 h 154"/>
                <a:gd name="T12" fmla="*/ 30560 w 72"/>
                <a:gd name="T13" fmla="*/ 20215 h 154"/>
                <a:gd name="T14" fmla="*/ 31949 w 72"/>
                <a:gd name="T15" fmla="*/ 23493 h 154"/>
                <a:gd name="T16" fmla="*/ 32875 w 72"/>
                <a:gd name="T17" fmla="*/ 27317 h 154"/>
                <a:gd name="T18" fmla="*/ 32875 w 72"/>
                <a:gd name="T19" fmla="*/ 31142 h 154"/>
                <a:gd name="T20" fmla="*/ 32875 w 72"/>
                <a:gd name="T21" fmla="*/ 35512 h 154"/>
                <a:gd name="T22" fmla="*/ 31949 w 72"/>
                <a:gd name="T23" fmla="*/ 39883 h 154"/>
                <a:gd name="T24" fmla="*/ 31023 w 72"/>
                <a:gd name="T25" fmla="*/ 44800 h 154"/>
                <a:gd name="T26" fmla="*/ 30097 w 72"/>
                <a:gd name="T27" fmla="*/ 49717 h 154"/>
                <a:gd name="T28" fmla="*/ 28245 w 72"/>
                <a:gd name="T29" fmla="*/ 54634 h 154"/>
                <a:gd name="T30" fmla="*/ 24540 w 72"/>
                <a:gd name="T31" fmla="*/ 63376 h 154"/>
                <a:gd name="T32" fmla="*/ 20373 w 72"/>
                <a:gd name="T33" fmla="*/ 71571 h 154"/>
                <a:gd name="T34" fmla="*/ 15743 w 72"/>
                <a:gd name="T35" fmla="*/ 78674 h 154"/>
                <a:gd name="T36" fmla="*/ 12039 w 72"/>
                <a:gd name="T37" fmla="*/ 84137 h 154"/>
                <a:gd name="T38" fmla="*/ 12039 w 72"/>
                <a:gd name="T39" fmla="*/ 77035 h 154"/>
                <a:gd name="T40" fmla="*/ 6945 w 72"/>
                <a:gd name="T41" fmla="*/ 78674 h 154"/>
                <a:gd name="T42" fmla="*/ 0 w 72"/>
                <a:gd name="T43" fmla="*/ 80859 h 154"/>
                <a:gd name="T44" fmla="*/ 1389 w 72"/>
                <a:gd name="T45" fmla="*/ 70478 h 154"/>
                <a:gd name="T46" fmla="*/ 3704 w 72"/>
                <a:gd name="T47" fmla="*/ 57366 h 154"/>
                <a:gd name="T48" fmla="*/ 4167 w 72"/>
                <a:gd name="T49" fmla="*/ 50264 h 154"/>
                <a:gd name="T50" fmla="*/ 5556 w 72"/>
                <a:gd name="T51" fmla="*/ 42069 h 154"/>
                <a:gd name="T52" fmla="*/ 6945 w 72"/>
                <a:gd name="T53" fmla="*/ 34420 h 154"/>
                <a:gd name="T54" fmla="*/ 9261 w 72"/>
                <a:gd name="T55" fmla="*/ 26771 h 154"/>
                <a:gd name="T56" fmla="*/ 9261 w 72"/>
                <a:gd name="T57" fmla="*/ 0 h 154"/>
                <a:gd name="T58" fmla="*/ 11576 w 72"/>
                <a:gd name="T59" fmla="*/ 0 h 154"/>
                <a:gd name="T60" fmla="*/ 17595 w 72"/>
                <a:gd name="T61" fmla="*/ 0 h 154"/>
                <a:gd name="T62" fmla="*/ 25930 w 72"/>
                <a:gd name="T63" fmla="*/ 0 h 154"/>
                <a:gd name="T64" fmla="*/ 33338 w 72"/>
                <a:gd name="T65" fmla="*/ 0 h 15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99" name="Freeform 219">
              <a:extLst>
                <a:ext uri="{FF2B5EF4-FFF2-40B4-BE49-F238E27FC236}">
                  <a16:creationId xmlns:a16="http://schemas.microsoft.com/office/drawing/2014/main" id="{E0D85ACA-20BD-4F6C-AACF-D31E3FAD90FC}"/>
                </a:ext>
              </a:extLst>
            </p:cNvPr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3244851" y="3106738"/>
              <a:ext cx="93663" cy="146050"/>
            </a:xfrm>
            <a:custGeom>
              <a:avLst/>
              <a:gdLst>
                <a:gd name="T0" fmla="*/ 3501 w 214"/>
                <a:gd name="T1" fmla="*/ 111558 h 271"/>
                <a:gd name="T2" fmla="*/ 5252 w 214"/>
                <a:gd name="T3" fmla="*/ 97546 h 271"/>
                <a:gd name="T4" fmla="*/ 10504 w 214"/>
                <a:gd name="T5" fmla="*/ 79762 h 271"/>
                <a:gd name="T6" fmla="*/ 15319 w 214"/>
                <a:gd name="T7" fmla="*/ 63594 h 271"/>
                <a:gd name="T8" fmla="*/ 19258 w 214"/>
                <a:gd name="T9" fmla="*/ 60360 h 271"/>
                <a:gd name="T10" fmla="*/ 28449 w 214"/>
                <a:gd name="T11" fmla="*/ 59821 h 271"/>
                <a:gd name="T12" fmla="*/ 38953 w 214"/>
                <a:gd name="T13" fmla="*/ 59821 h 271"/>
                <a:gd name="T14" fmla="*/ 46394 w 214"/>
                <a:gd name="T15" fmla="*/ 59282 h 271"/>
                <a:gd name="T16" fmla="*/ 52521 w 214"/>
                <a:gd name="T17" fmla="*/ 56588 h 271"/>
                <a:gd name="T18" fmla="*/ 56898 w 214"/>
                <a:gd name="T19" fmla="*/ 50659 h 271"/>
                <a:gd name="T20" fmla="*/ 49458 w 214"/>
                <a:gd name="T21" fmla="*/ 39342 h 271"/>
                <a:gd name="T22" fmla="*/ 37640 w 214"/>
                <a:gd name="T23" fmla="*/ 31258 h 271"/>
                <a:gd name="T24" fmla="*/ 33701 w 214"/>
                <a:gd name="T25" fmla="*/ 26408 h 271"/>
                <a:gd name="T26" fmla="*/ 32388 w 214"/>
                <a:gd name="T27" fmla="*/ 22096 h 271"/>
                <a:gd name="T28" fmla="*/ 32826 w 214"/>
                <a:gd name="T29" fmla="*/ 18324 h 271"/>
                <a:gd name="T30" fmla="*/ 35890 w 214"/>
                <a:gd name="T31" fmla="*/ 15090 h 271"/>
                <a:gd name="T32" fmla="*/ 44205 w 214"/>
                <a:gd name="T33" fmla="*/ 10240 h 271"/>
                <a:gd name="T34" fmla="*/ 65652 w 214"/>
                <a:gd name="T35" fmla="*/ 1617 h 271"/>
                <a:gd name="T36" fmla="*/ 78782 w 214"/>
                <a:gd name="T37" fmla="*/ 0 h 271"/>
                <a:gd name="T38" fmla="*/ 86660 w 214"/>
                <a:gd name="T39" fmla="*/ 0 h 271"/>
                <a:gd name="T40" fmla="*/ 90599 w 214"/>
                <a:gd name="T41" fmla="*/ 26408 h 271"/>
                <a:gd name="T42" fmla="*/ 87098 w 214"/>
                <a:gd name="T43" fmla="*/ 41498 h 271"/>
                <a:gd name="T44" fmla="*/ 85347 w 214"/>
                <a:gd name="T45" fmla="*/ 56588 h 271"/>
                <a:gd name="T46" fmla="*/ 81846 w 214"/>
                <a:gd name="T47" fmla="*/ 79762 h 271"/>
                <a:gd name="T48" fmla="*/ 93225 w 214"/>
                <a:gd name="T49" fmla="*/ 82995 h 271"/>
                <a:gd name="T50" fmla="*/ 93663 w 214"/>
                <a:gd name="T51" fmla="*/ 89462 h 271"/>
                <a:gd name="T52" fmla="*/ 91912 w 214"/>
                <a:gd name="T53" fmla="*/ 93774 h 271"/>
                <a:gd name="T54" fmla="*/ 90599 w 214"/>
                <a:gd name="T55" fmla="*/ 95391 h 271"/>
                <a:gd name="T56" fmla="*/ 87536 w 214"/>
                <a:gd name="T57" fmla="*/ 95930 h 271"/>
                <a:gd name="T58" fmla="*/ 84034 w 214"/>
                <a:gd name="T59" fmla="*/ 105630 h 271"/>
                <a:gd name="T60" fmla="*/ 79220 w 214"/>
                <a:gd name="T61" fmla="*/ 115331 h 271"/>
                <a:gd name="T62" fmla="*/ 67840 w 214"/>
                <a:gd name="T63" fmla="*/ 130960 h 271"/>
                <a:gd name="T64" fmla="*/ 52521 w 214"/>
                <a:gd name="T65" fmla="*/ 146050 h 271"/>
                <a:gd name="T66" fmla="*/ 38078 w 214"/>
                <a:gd name="T67" fmla="*/ 140661 h 271"/>
                <a:gd name="T68" fmla="*/ 24072 w 214"/>
                <a:gd name="T69" fmla="*/ 133655 h 271"/>
                <a:gd name="T70" fmla="*/ 0 w 214"/>
                <a:gd name="T71" fmla="*/ 119104 h 27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00" name="Freeform 220">
              <a:extLst>
                <a:ext uri="{FF2B5EF4-FFF2-40B4-BE49-F238E27FC236}">
                  <a16:creationId xmlns:a16="http://schemas.microsoft.com/office/drawing/2014/main" id="{7A0E12FA-3357-4E55-BCD5-5C704112CF6C}"/>
                </a:ext>
              </a:extLst>
            </p:cNvPr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3292475" y="3217863"/>
              <a:ext cx="71438" cy="57150"/>
            </a:xfrm>
            <a:custGeom>
              <a:avLst/>
              <a:gdLst>
                <a:gd name="T0" fmla="*/ 28015 w 153"/>
                <a:gd name="T1" fmla="*/ 0 h 80"/>
                <a:gd name="T2" fmla="*/ 38754 w 153"/>
                <a:gd name="T3" fmla="*/ 10001 h 80"/>
                <a:gd name="T4" fmla="*/ 48559 w 153"/>
                <a:gd name="T5" fmla="*/ 17145 h 80"/>
                <a:gd name="T6" fmla="*/ 53695 w 153"/>
                <a:gd name="T7" fmla="*/ 20003 h 80"/>
                <a:gd name="T8" fmla="*/ 58831 w 153"/>
                <a:gd name="T9" fmla="*/ 22146 h 80"/>
                <a:gd name="T10" fmla="*/ 62100 w 153"/>
                <a:gd name="T11" fmla="*/ 22860 h 80"/>
                <a:gd name="T12" fmla="*/ 64901 w 153"/>
                <a:gd name="T13" fmla="*/ 22860 h 80"/>
                <a:gd name="T14" fmla="*/ 68170 w 153"/>
                <a:gd name="T15" fmla="*/ 22146 h 80"/>
                <a:gd name="T16" fmla="*/ 71438 w 153"/>
                <a:gd name="T17" fmla="*/ 21431 h 80"/>
                <a:gd name="T18" fmla="*/ 71438 w 153"/>
                <a:gd name="T19" fmla="*/ 40005 h 80"/>
                <a:gd name="T20" fmla="*/ 69570 w 153"/>
                <a:gd name="T21" fmla="*/ 42863 h 80"/>
                <a:gd name="T22" fmla="*/ 67703 w 153"/>
                <a:gd name="T23" fmla="*/ 46434 h 80"/>
                <a:gd name="T24" fmla="*/ 64434 w 153"/>
                <a:gd name="T25" fmla="*/ 49292 h 80"/>
                <a:gd name="T26" fmla="*/ 61633 w 153"/>
                <a:gd name="T27" fmla="*/ 51435 h 80"/>
                <a:gd name="T28" fmla="*/ 58364 w 153"/>
                <a:gd name="T29" fmla="*/ 53578 h 80"/>
                <a:gd name="T30" fmla="*/ 55563 w 153"/>
                <a:gd name="T31" fmla="*/ 55721 h 80"/>
                <a:gd name="T32" fmla="*/ 52294 w 153"/>
                <a:gd name="T33" fmla="*/ 56436 h 80"/>
                <a:gd name="T34" fmla="*/ 49493 w 153"/>
                <a:gd name="T35" fmla="*/ 57150 h 80"/>
                <a:gd name="T36" fmla="*/ 42022 w 153"/>
                <a:gd name="T37" fmla="*/ 52864 h 80"/>
                <a:gd name="T38" fmla="*/ 35486 w 153"/>
                <a:gd name="T39" fmla="*/ 50721 h 80"/>
                <a:gd name="T40" fmla="*/ 29416 w 153"/>
                <a:gd name="T41" fmla="*/ 49292 h 80"/>
                <a:gd name="T42" fmla="*/ 23346 w 153"/>
                <a:gd name="T43" fmla="*/ 49292 h 80"/>
                <a:gd name="T44" fmla="*/ 18210 w 153"/>
                <a:gd name="T45" fmla="*/ 48578 h 80"/>
                <a:gd name="T46" fmla="*/ 12607 w 153"/>
                <a:gd name="T47" fmla="*/ 47863 h 80"/>
                <a:gd name="T48" fmla="*/ 6537 w 153"/>
                <a:gd name="T49" fmla="*/ 46434 h 80"/>
                <a:gd name="T50" fmla="*/ 0 w 153"/>
                <a:gd name="T51" fmla="*/ 44291 h 80"/>
                <a:gd name="T52" fmla="*/ 3268 w 153"/>
                <a:gd name="T53" fmla="*/ 41434 h 80"/>
                <a:gd name="T54" fmla="*/ 10739 w 153"/>
                <a:gd name="T55" fmla="*/ 32147 h 80"/>
                <a:gd name="T56" fmla="*/ 15875 w 153"/>
                <a:gd name="T57" fmla="*/ 26432 h 80"/>
                <a:gd name="T58" fmla="*/ 21011 w 153"/>
                <a:gd name="T59" fmla="*/ 20003 h 80"/>
                <a:gd name="T60" fmla="*/ 26147 w 153"/>
                <a:gd name="T61" fmla="*/ 12144 h 80"/>
                <a:gd name="T62" fmla="*/ 31283 w 153"/>
                <a:gd name="T63" fmla="*/ 4286 h 80"/>
                <a:gd name="T64" fmla="*/ 28015 w 153"/>
                <a:gd name="T65" fmla="*/ 0 h 8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01" name="Freeform 221">
              <a:extLst>
                <a:ext uri="{FF2B5EF4-FFF2-40B4-BE49-F238E27FC236}">
                  <a16:creationId xmlns:a16="http://schemas.microsoft.com/office/drawing/2014/main" id="{A70AE00F-F98F-4DCC-83B7-5EA91FCD54C9}"/>
                </a:ext>
              </a:extLst>
            </p:cNvPr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3324226" y="3179763"/>
              <a:ext cx="142875" cy="87312"/>
            </a:xfrm>
            <a:custGeom>
              <a:avLst/>
              <a:gdLst>
                <a:gd name="T0" fmla="*/ 0 w 332"/>
                <a:gd name="T1" fmla="*/ 39781 h 169"/>
                <a:gd name="T2" fmla="*/ 18935 w 332"/>
                <a:gd name="T3" fmla="*/ 52181 h 169"/>
                <a:gd name="T4" fmla="*/ 28403 w 332"/>
                <a:gd name="T5" fmla="*/ 55797 h 169"/>
                <a:gd name="T6" fmla="*/ 33997 w 332"/>
                <a:gd name="T7" fmla="*/ 56314 h 169"/>
                <a:gd name="T8" fmla="*/ 40022 w 332"/>
                <a:gd name="T9" fmla="*/ 55280 h 169"/>
                <a:gd name="T10" fmla="*/ 38731 w 332"/>
                <a:gd name="T11" fmla="*/ 74396 h 169"/>
                <a:gd name="T12" fmla="*/ 40883 w 332"/>
                <a:gd name="T13" fmla="*/ 79562 h 169"/>
                <a:gd name="T14" fmla="*/ 42604 w 332"/>
                <a:gd name="T15" fmla="*/ 84212 h 169"/>
                <a:gd name="T16" fmla="*/ 46047 w 332"/>
                <a:gd name="T17" fmla="*/ 86795 h 169"/>
                <a:gd name="T18" fmla="*/ 50351 w 332"/>
                <a:gd name="T19" fmla="*/ 87312 h 169"/>
                <a:gd name="T20" fmla="*/ 52933 w 332"/>
                <a:gd name="T21" fmla="*/ 85762 h 169"/>
                <a:gd name="T22" fmla="*/ 56806 w 332"/>
                <a:gd name="T23" fmla="*/ 81112 h 169"/>
                <a:gd name="T24" fmla="*/ 62831 w 332"/>
                <a:gd name="T25" fmla="*/ 70263 h 169"/>
                <a:gd name="T26" fmla="*/ 74880 w 332"/>
                <a:gd name="T27" fmla="*/ 59413 h 169"/>
                <a:gd name="T28" fmla="*/ 92094 w 332"/>
                <a:gd name="T29" fmla="*/ 49597 h 169"/>
                <a:gd name="T30" fmla="*/ 110169 w 332"/>
                <a:gd name="T31" fmla="*/ 41331 h 169"/>
                <a:gd name="T32" fmla="*/ 130825 w 332"/>
                <a:gd name="T33" fmla="*/ 33582 h 169"/>
                <a:gd name="T34" fmla="*/ 142875 w 332"/>
                <a:gd name="T35" fmla="*/ 23765 h 169"/>
                <a:gd name="T36" fmla="*/ 142875 w 332"/>
                <a:gd name="T37" fmla="*/ 11366 h 169"/>
                <a:gd name="T38" fmla="*/ 137711 w 332"/>
                <a:gd name="T39" fmla="*/ 1033 h 169"/>
                <a:gd name="T40" fmla="*/ 121788 w 332"/>
                <a:gd name="T41" fmla="*/ 517 h 169"/>
                <a:gd name="T42" fmla="*/ 100701 w 332"/>
                <a:gd name="T43" fmla="*/ 0 h 169"/>
                <a:gd name="T44" fmla="*/ 77462 w 332"/>
                <a:gd name="T45" fmla="*/ 517 h 169"/>
                <a:gd name="T46" fmla="*/ 56375 w 332"/>
                <a:gd name="T47" fmla="*/ 2067 h 169"/>
                <a:gd name="T48" fmla="*/ 38731 w 332"/>
                <a:gd name="T49" fmla="*/ 5166 h 169"/>
                <a:gd name="T50" fmla="*/ 25390 w 332"/>
                <a:gd name="T51" fmla="*/ 9816 h 169"/>
                <a:gd name="T52" fmla="*/ 18075 w 332"/>
                <a:gd name="T53" fmla="*/ 11366 h 169"/>
                <a:gd name="T54" fmla="*/ 15062 w 332"/>
                <a:gd name="T55" fmla="*/ 11883 h 169"/>
                <a:gd name="T56" fmla="*/ 14632 w 332"/>
                <a:gd name="T57" fmla="*/ 13433 h 169"/>
                <a:gd name="T58" fmla="*/ 14201 w 332"/>
                <a:gd name="T59" fmla="*/ 19632 h 169"/>
                <a:gd name="T60" fmla="*/ 12480 w 332"/>
                <a:gd name="T61" fmla="*/ 22732 h 169"/>
                <a:gd name="T62" fmla="*/ 9898 w 332"/>
                <a:gd name="T63" fmla="*/ 23765 h 169"/>
                <a:gd name="T64" fmla="*/ 8177 w 332"/>
                <a:gd name="T65" fmla="*/ 28415 h 169"/>
                <a:gd name="T66" fmla="*/ 4734 w 332"/>
                <a:gd name="T67" fmla="*/ 37198 h 169"/>
                <a:gd name="T68" fmla="*/ 3012 w 332"/>
                <a:gd name="T69" fmla="*/ 42881 h 16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02" name="Freeform 222">
              <a:extLst>
                <a:ext uri="{FF2B5EF4-FFF2-40B4-BE49-F238E27FC236}">
                  <a16:creationId xmlns:a16="http://schemas.microsoft.com/office/drawing/2014/main" id="{0DBA3E92-2537-4712-8A1A-B0E77469CF34}"/>
                </a:ext>
              </a:extLst>
            </p:cNvPr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3341688" y="3209925"/>
              <a:ext cx="125412" cy="122238"/>
            </a:xfrm>
            <a:custGeom>
              <a:avLst/>
              <a:gdLst>
                <a:gd name="T0" fmla="*/ 19294 w 286"/>
                <a:gd name="T1" fmla="*/ 44734 h 235"/>
                <a:gd name="T2" fmla="*/ 21487 w 286"/>
                <a:gd name="T3" fmla="*/ 49936 h 235"/>
                <a:gd name="T4" fmla="*/ 23241 w 286"/>
                <a:gd name="T5" fmla="*/ 54617 h 235"/>
                <a:gd name="T6" fmla="*/ 26749 w 286"/>
                <a:gd name="T7" fmla="*/ 57218 h 235"/>
                <a:gd name="T8" fmla="*/ 31134 w 286"/>
                <a:gd name="T9" fmla="*/ 57738 h 235"/>
                <a:gd name="T10" fmla="*/ 33765 w 286"/>
                <a:gd name="T11" fmla="*/ 56177 h 235"/>
                <a:gd name="T12" fmla="*/ 37711 w 286"/>
                <a:gd name="T13" fmla="*/ 51496 h 235"/>
                <a:gd name="T14" fmla="*/ 43850 w 286"/>
                <a:gd name="T15" fmla="*/ 40573 h 235"/>
                <a:gd name="T16" fmla="*/ 56128 w 286"/>
                <a:gd name="T17" fmla="*/ 29649 h 235"/>
                <a:gd name="T18" fmla="*/ 73669 w 286"/>
                <a:gd name="T19" fmla="*/ 19766 h 235"/>
                <a:gd name="T20" fmla="*/ 92086 w 286"/>
                <a:gd name="T21" fmla="*/ 11444 h 235"/>
                <a:gd name="T22" fmla="*/ 113134 w 286"/>
                <a:gd name="T23" fmla="*/ 3641 h 235"/>
                <a:gd name="T24" fmla="*/ 125412 w 286"/>
                <a:gd name="T25" fmla="*/ 5722 h 235"/>
                <a:gd name="T26" fmla="*/ 123658 w 286"/>
                <a:gd name="T27" fmla="*/ 16645 h 235"/>
                <a:gd name="T28" fmla="*/ 119273 w 286"/>
                <a:gd name="T29" fmla="*/ 36411 h 235"/>
                <a:gd name="T30" fmla="*/ 111380 w 286"/>
                <a:gd name="T31" fmla="*/ 66581 h 235"/>
                <a:gd name="T32" fmla="*/ 106995 w 286"/>
                <a:gd name="T33" fmla="*/ 90508 h 235"/>
                <a:gd name="T34" fmla="*/ 105241 w 286"/>
                <a:gd name="T35" fmla="*/ 107153 h 235"/>
                <a:gd name="T36" fmla="*/ 64022 w 286"/>
                <a:gd name="T37" fmla="*/ 112355 h 235"/>
                <a:gd name="T38" fmla="*/ 60513 w 286"/>
                <a:gd name="T39" fmla="*/ 113395 h 235"/>
                <a:gd name="T40" fmla="*/ 57882 w 286"/>
                <a:gd name="T41" fmla="*/ 115996 h 235"/>
                <a:gd name="T42" fmla="*/ 55690 w 286"/>
                <a:gd name="T43" fmla="*/ 122238 h 235"/>
                <a:gd name="T44" fmla="*/ 47797 w 286"/>
                <a:gd name="T45" fmla="*/ 112875 h 235"/>
                <a:gd name="T46" fmla="*/ 41219 w 286"/>
                <a:gd name="T47" fmla="*/ 103512 h 235"/>
                <a:gd name="T48" fmla="*/ 30257 w 286"/>
                <a:gd name="T49" fmla="*/ 83226 h 235"/>
                <a:gd name="T50" fmla="*/ 24118 w 286"/>
                <a:gd name="T51" fmla="*/ 73863 h 235"/>
                <a:gd name="T52" fmla="*/ 17979 w 286"/>
                <a:gd name="T53" fmla="*/ 65020 h 235"/>
                <a:gd name="T54" fmla="*/ 9647 w 286"/>
                <a:gd name="T55" fmla="*/ 57218 h 235"/>
                <a:gd name="T56" fmla="*/ 0 w 286"/>
                <a:gd name="T57" fmla="*/ 51496 h 235"/>
                <a:gd name="T58" fmla="*/ 5701 w 286"/>
                <a:gd name="T59" fmla="*/ 50456 h 235"/>
                <a:gd name="T60" fmla="*/ 11401 w 286"/>
                <a:gd name="T61" fmla="*/ 47335 h 235"/>
                <a:gd name="T62" fmla="*/ 17102 w 286"/>
                <a:gd name="T63" fmla="*/ 43694 h 235"/>
                <a:gd name="T64" fmla="*/ 20610 w 286"/>
                <a:gd name="T65" fmla="*/ 39012 h 2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03" name="Freeform 223">
              <a:extLst>
                <a:ext uri="{FF2B5EF4-FFF2-40B4-BE49-F238E27FC236}">
                  <a16:creationId xmlns:a16="http://schemas.microsoft.com/office/drawing/2014/main" id="{38218BF8-D584-46F3-B178-633848F2341D}"/>
                </a:ext>
              </a:extLst>
            </p:cNvPr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3392489" y="3322638"/>
              <a:ext cx="84137" cy="100012"/>
            </a:xfrm>
            <a:custGeom>
              <a:avLst/>
              <a:gdLst>
                <a:gd name="T0" fmla="*/ 77160 w 205"/>
                <a:gd name="T1" fmla="*/ 96870 h 191"/>
                <a:gd name="T2" fmla="*/ 71824 w 205"/>
                <a:gd name="T3" fmla="*/ 96870 h 191"/>
                <a:gd name="T4" fmla="*/ 64847 w 205"/>
                <a:gd name="T5" fmla="*/ 96870 h 191"/>
                <a:gd name="T6" fmla="*/ 59101 w 205"/>
                <a:gd name="T7" fmla="*/ 94252 h 191"/>
                <a:gd name="T8" fmla="*/ 55818 w 205"/>
                <a:gd name="T9" fmla="*/ 90587 h 191"/>
                <a:gd name="T10" fmla="*/ 52945 w 205"/>
                <a:gd name="T11" fmla="*/ 85351 h 191"/>
                <a:gd name="T12" fmla="*/ 49251 w 205"/>
                <a:gd name="T13" fmla="*/ 76973 h 191"/>
                <a:gd name="T14" fmla="*/ 45147 w 205"/>
                <a:gd name="T15" fmla="*/ 68595 h 191"/>
                <a:gd name="T16" fmla="*/ 40632 w 205"/>
                <a:gd name="T17" fmla="*/ 63358 h 191"/>
                <a:gd name="T18" fmla="*/ 38169 w 205"/>
                <a:gd name="T19" fmla="*/ 65977 h 191"/>
                <a:gd name="T20" fmla="*/ 36938 w 205"/>
                <a:gd name="T21" fmla="*/ 70689 h 191"/>
                <a:gd name="T22" fmla="*/ 34476 w 205"/>
                <a:gd name="T23" fmla="*/ 68071 h 191"/>
                <a:gd name="T24" fmla="*/ 29551 w 205"/>
                <a:gd name="T25" fmla="*/ 59169 h 191"/>
                <a:gd name="T26" fmla="*/ 22984 w 205"/>
                <a:gd name="T27" fmla="*/ 45555 h 191"/>
                <a:gd name="T28" fmla="*/ 16827 w 205"/>
                <a:gd name="T29" fmla="*/ 35083 h 191"/>
                <a:gd name="T30" fmla="*/ 12723 w 205"/>
                <a:gd name="T31" fmla="*/ 30370 h 191"/>
                <a:gd name="T32" fmla="*/ 10671 w 205"/>
                <a:gd name="T33" fmla="*/ 31417 h 191"/>
                <a:gd name="T34" fmla="*/ 11902 w 205"/>
                <a:gd name="T35" fmla="*/ 36130 h 191"/>
                <a:gd name="T36" fmla="*/ 13954 w 205"/>
                <a:gd name="T37" fmla="*/ 40843 h 191"/>
                <a:gd name="T38" fmla="*/ 16827 w 205"/>
                <a:gd name="T39" fmla="*/ 43984 h 191"/>
                <a:gd name="T40" fmla="*/ 18880 w 205"/>
                <a:gd name="T41" fmla="*/ 54980 h 191"/>
                <a:gd name="T42" fmla="*/ 5336 w 205"/>
                <a:gd name="T43" fmla="*/ 51315 h 191"/>
                <a:gd name="T44" fmla="*/ 1642 w 205"/>
                <a:gd name="T45" fmla="*/ 43984 h 191"/>
                <a:gd name="T46" fmla="*/ 0 w 205"/>
                <a:gd name="T47" fmla="*/ 31417 h 191"/>
                <a:gd name="T48" fmla="*/ 0 w 205"/>
                <a:gd name="T49" fmla="*/ 19898 h 191"/>
                <a:gd name="T50" fmla="*/ 1231 w 205"/>
                <a:gd name="T51" fmla="*/ 14661 h 191"/>
                <a:gd name="T52" fmla="*/ 3283 w 205"/>
                <a:gd name="T53" fmla="*/ 11520 h 191"/>
                <a:gd name="T54" fmla="*/ 5746 w 205"/>
                <a:gd name="T55" fmla="*/ 6807 h 191"/>
                <a:gd name="T56" fmla="*/ 8208 w 205"/>
                <a:gd name="T57" fmla="*/ 2094 h 191"/>
                <a:gd name="T58" fmla="*/ 11492 w 205"/>
                <a:gd name="T59" fmla="*/ 0 h 191"/>
                <a:gd name="T60" fmla="*/ 51713 w 205"/>
                <a:gd name="T61" fmla="*/ 3142 h 191"/>
                <a:gd name="T62" fmla="*/ 52124 w 205"/>
                <a:gd name="T63" fmla="*/ 10996 h 191"/>
                <a:gd name="T64" fmla="*/ 53355 w 205"/>
                <a:gd name="T65" fmla="*/ 19374 h 191"/>
                <a:gd name="T66" fmla="*/ 58691 w 205"/>
                <a:gd name="T67" fmla="*/ 36654 h 191"/>
                <a:gd name="T68" fmla="*/ 67720 w 205"/>
                <a:gd name="T69" fmla="*/ 53410 h 191"/>
                <a:gd name="T70" fmla="*/ 72645 w 205"/>
                <a:gd name="T71" fmla="*/ 61264 h 191"/>
                <a:gd name="T72" fmla="*/ 78801 w 205"/>
                <a:gd name="T73" fmla="*/ 68071 h 191"/>
                <a:gd name="T74" fmla="*/ 77570 w 205"/>
                <a:gd name="T75" fmla="*/ 74878 h 191"/>
                <a:gd name="T76" fmla="*/ 77570 w 205"/>
                <a:gd name="T77" fmla="*/ 81685 h 191"/>
                <a:gd name="T78" fmla="*/ 78801 w 205"/>
                <a:gd name="T79" fmla="*/ 100012 h 191"/>
                <a:gd name="T80" fmla="*/ 84137 w 205"/>
                <a:gd name="T81" fmla="*/ 96870 h 19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04" name="Freeform 224">
              <a:extLst>
                <a:ext uri="{FF2B5EF4-FFF2-40B4-BE49-F238E27FC236}">
                  <a16:creationId xmlns:a16="http://schemas.microsoft.com/office/drawing/2014/main" id="{A5BDE14B-68B9-491F-AAF6-FBB422C95081}"/>
                </a:ext>
              </a:extLst>
            </p:cNvPr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3473451" y="3376614"/>
              <a:ext cx="142875" cy="79375"/>
            </a:xfrm>
            <a:custGeom>
              <a:avLst/>
              <a:gdLst>
                <a:gd name="T0" fmla="*/ 1303 w 329"/>
                <a:gd name="T1" fmla="*/ 29894 h 154"/>
                <a:gd name="T2" fmla="*/ 0 w 329"/>
                <a:gd name="T3" fmla="*/ 21648 h 154"/>
                <a:gd name="T4" fmla="*/ 869 w 329"/>
                <a:gd name="T5" fmla="*/ 15978 h 154"/>
                <a:gd name="T6" fmla="*/ 7383 w 329"/>
                <a:gd name="T7" fmla="*/ 17009 h 154"/>
                <a:gd name="T8" fmla="*/ 15634 w 329"/>
                <a:gd name="T9" fmla="*/ 21132 h 154"/>
                <a:gd name="T10" fmla="*/ 21279 w 329"/>
                <a:gd name="T11" fmla="*/ 22163 h 154"/>
                <a:gd name="T12" fmla="*/ 29096 w 329"/>
                <a:gd name="T13" fmla="*/ 22163 h 154"/>
                <a:gd name="T14" fmla="*/ 37347 w 329"/>
                <a:gd name="T15" fmla="*/ 20101 h 154"/>
                <a:gd name="T16" fmla="*/ 47770 w 329"/>
                <a:gd name="T17" fmla="*/ 15463 h 154"/>
                <a:gd name="T18" fmla="*/ 60798 w 329"/>
                <a:gd name="T19" fmla="*/ 6700 h 154"/>
                <a:gd name="T20" fmla="*/ 70352 w 329"/>
                <a:gd name="T21" fmla="*/ 2062 h 154"/>
                <a:gd name="T22" fmla="*/ 77734 w 329"/>
                <a:gd name="T23" fmla="*/ 0 h 154"/>
                <a:gd name="T24" fmla="*/ 88157 w 329"/>
                <a:gd name="T25" fmla="*/ 0 h 154"/>
                <a:gd name="T26" fmla="*/ 97277 w 329"/>
                <a:gd name="T27" fmla="*/ 3093 h 154"/>
                <a:gd name="T28" fmla="*/ 105528 w 329"/>
                <a:gd name="T29" fmla="*/ 7731 h 154"/>
                <a:gd name="T30" fmla="*/ 112476 w 329"/>
                <a:gd name="T31" fmla="*/ 14432 h 154"/>
                <a:gd name="T32" fmla="*/ 121596 w 329"/>
                <a:gd name="T33" fmla="*/ 23709 h 154"/>
                <a:gd name="T34" fmla="*/ 131150 w 329"/>
                <a:gd name="T35" fmla="*/ 31441 h 154"/>
                <a:gd name="T36" fmla="*/ 138532 w 329"/>
                <a:gd name="T37" fmla="*/ 34533 h 154"/>
                <a:gd name="T38" fmla="*/ 135927 w 329"/>
                <a:gd name="T39" fmla="*/ 42265 h 154"/>
                <a:gd name="T40" fmla="*/ 127241 w 329"/>
                <a:gd name="T41" fmla="*/ 54635 h 154"/>
                <a:gd name="T42" fmla="*/ 120293 w 329"/>
                <a:gd name="T43" fmla="*/ 71128 h 154"/>
                <a:gd name="T44" fmla="*/ 115082 w 329"/>
                <a:gd name="T45" fmla="*/ 78860 h 154"/>
                <a:gd name="T46" fmla="*/ 109870 w 329"/>
                <a:gd name="T47" fmla="*/ 75252 h 154"/>
                <a:gd name="T48" fmla="*/ 104225 w 329"/>
                <a:gd name="T49" fmla="*/ 70097 h 154"/>
                <a:gd name="T50" fmla="*/ 99882 w 329"/>
                <a:gd name="T51" fmla="*/ 64943 h 154"/>
                <a:gd name="T52" fmla="*/ 99882 w 329"/>
                <a:gd name="T53" fmla="*/ 58758 h 154"/>
                <a:gd name="T54" fmla="*/ 102054 w 329"/>
                <a:gd name="T55" fmla="*/ 51542 h 154"/>
                <a:gd name="T56" fmla="*/ 108133 w 329"/>
                <a:gd name="T57" fmla="*/ 44326 h 154"/>
                <a:gd name="T58" fmla="*/ 101185 w 329"/>
                <a:gd name="T59" fmla="*/ 35049 h 154"/>
                <a:gd name="T60" fmla="*/ 89894 w 329"/>
                <a:gd name="T61" fmla="*/ 28348 h 154"/>
                <a:gd name="T62" fmla="*/ 84683 w 329"/>
                <a:gd name="T63" fmla="*/ 21132 h 154"/>
                <a:gd name="T64" fmla="*/ 77734 w 329"/>
                <a:gd name="T65" fmla="*/ 17524 h 154"/>
                <a:gd name="T66" fmla="*/ 70786 w 329"/>
                <a:gd name="T67" fmla="*/ 21132 h 154"/>
                <a:gd name="T68" fmla="*/ 65141 w 329"/>
                <a:gd name="T69" fmla="*/ 25771 h 154"/>
                <a:gd name="T70" fmla="*/ 60798 w 329"/>
                <a:gd name="T71" fmla="*/ 31441 h 154"/>
                <a:gd name="T72" fmla="*/ 57324 w 329"/>
                <a:gd name="T73" fmla="*/ 38141 h 154"/>
                <a:gd name="T74" fmla="*/ 55587 w 329"/>
                <a:gd name="T75" fmla="*/ 45357 h 154"/>
                <a:gd name="T76" fmla="*/ 53415 w 329"/>
                <a:gd name="T77" fmla="*/ 56181 h 154"/>
                <a:gd name="T78" fmla="*/ 52981 w 329"/>
                <a:gd name="T79" fmla="*/ 64428 h 154"/>
                <a:gd name="T80" fmla="*/ 51244 w 329"/>
                <a:gd name="T81" fmla="*/ 66489 h 154"/>
                <a:gd name="T82" fmla="*/ 46901 w 329"/>
                <a:gd name="T83" fmla="*/ 69582 h 154"/>
                <a:gd name="T84" fmla="*/ 41690 w 329"/>
                <a:gd name="T85" fmla="*/ 69582 h 154"/>
                <a:gd name="T86" fmla="*/ 36044 w 329"/>
                <a:gd name="T87" fmla="*/ 66489 h 154"/>
                <a:gd name="T88" fmla="*/ 28662 w 329"/>
                <a:gd name="T89" fmla="*/ 59789 h 154"/>
                <a:gd name="T90" fmla="*/ 20845 w 329"/>
                <a:gd name="T91" fmla="*/ 48450 h 154"/>
                <a:gd name="T92" fmla="*/ 14331 w 329"/>
                <a:gd name="T93" fmla="*/ 41234 h 154"/>
                <a:gd name="T94" fmla="*/ 9554 w 329"/>
                <a:gd name="T95" fmla="*/ 38141 h 154"/>
                <a:gd name="T96" fmla="*/ 1303 w 329"/>
                <a:gd name="T97" fmla="*/ 37626 h 15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05" name="Freeform 225">
              <a:extLst>
                <a:ext uri="{FF2B5EF4-FFF2-40B4-BE49-F238E27FC236}">
                  <a16:creationId xmlns:a16="http://schemas.microsoft.com/office/drawing/2014/main" id="{814927C0-3AF7-457F-B9DD-26EABBB8EB09}"/>
                </a:ext>
              </a:extLst>
            </p:cNvPr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4154488" y="4630739"/>
              <a:ext cx="133350" cy="155575"/>
            </a:xfrm>
            <a:custGeom>
              <a:avLst/>
              <a:gdLst>
                <a:gd name="T0" fmla="*/ 129428 w 306"/>
                <a:gd name="T1" fmla="*/ 96106 h 293"/>
                <a:gd name="T2" fmla="*/ 128992 w 306"/>
                <a:gd name="T3" fmla="*/ 98230 h 293"/>
                <a:gd name="T4" fmla="*/ 126813 w 306"/>
                <a:gd name="T5" fmla="*/ 103009 h 293"/>
                <a:gd name="T6" fmla="*/ 122891 w 306"/>
                <a:gd name="T7" fmla="*/ 105664 h 293"/>
                <a:gd name="T8" fmla="*/ 118533 w 306"/>
                <a:gd name="T9" fmla="*/ 106726 h 293"/>
                <a:gd name="T10" fmla="*/ 114611 w 306"/>
                <a:gd name="T11" fmla="*/ 109911 h 293"/>
                <a:gd name="T12" fmla="*/ 110253 w 306"/>
                <a:gd name="T13" fmla="*/ 121593 h 293"/>
                <a:gd name="T14" fmla="*/ 105460 w 306"/>
                <a:gd name="T15" fmla="*/ 134867 h 293"/>
                <a:gd name="T16" fmla="*/ 100666 w 306"/>
                <a:gd name="T17" fmla="*/ 141770 h 293"/>
                <a:gd name="T18" fmla="*/ 96308 w 306"/>
                <a:gd name="T19" fmla="*/ 144956 h 293"/>
                <a:gd name="T20" fmla="*/ 87157 w 306"/>
                <a:gd name="T21" fmla="*/ 149203 h 293"/>
                <a:gd name="T22" fmla="*/ 71469 w 306"/>
                <a:gd name="T23" fmla="*/ 153982 h 293"/>
                <a:gd name="T24" fmla="*/ 60574 w 306"/>
                <a:gd name="T25" fmla="*/ 155575 h 293"/>
                <a:gd name="T26" fmla="*/ 53601 w 306"/>
                <a:gd name="T27" fmla="*/ 155575 h 293"/>
                <a:gd name="T28" fmla="*/ 46193 w 306"/>
                <a:gd name="T29" fmla="*/ 153982 h 293"/>
                <a:gd name="T30" fmla="*/ 40092 w 306"/>
                <a:gd name="T31" fmla="*/ 151858 h 293"/>
                <a:gd name="T32" fmla="*/ 34863 w 306"/>
                <a:gd name="T33" fmla="*/ 147610 h 293"/>
                <a:gd name="T34" fmla="*/ 30941 w 306"/>
                <a:gd name="T35" fmla="*/ 142301 h 293"/>
                <a:gd name="T36" fmla="*/ 436 w 306"/>
                <a:gd name="T37" fmla="*/ 125310 h 293"/>
                <a:gd name="T38" fmla="*/ 0 w 306"/>
                <a:gd name="T39" fmla="*/ 46726 h 293"/>
                <a:gd name="T40" fmla="*/ 436 w 306"/>
                <a:gd name="T41" fmla="*/ 26018 h 293"/>
                <a:gd name="T42" fmla="*/ 1743 w 306"/>
                <a:gd name="T43" fmla="*/ 18584 h 293"/>
                <a:gd name="T44" fmla="*/ 4794 w 306"/>
                <a:gd name="T45" fmla="*/ 11150 h 293"/>
                <a:gd name="T46" fmla="*/ 8716 w 306"/>
                <a:gd name="T47" fmla="*/ 4248 h 293"/>
                <a:gd name="T48" fmla="*/ 17867 w 306"/>
                <a:gd name="T49" fmla="*/ 1062 h 293"/>
                <a:gd name="T50" fmla="*/ 23097 w 306"/>
                <a:gd name="T51" fmla="*/ 0 h 293"/>
                <a:gd name="T52" fmla="*/ 31376 w 306"/>
                <a:gd name="T53" fmla="*/ 3186 h 293"/>
                <a:gd name="T54" fmla="*/ 34863 w 306"/>
                <a:gd name="T55" fmla="*/ 3717 h 293"/>
                <a:gd name="T56" fmla="*/ 36606 w 306"/>
                <a:gd name="T57" fmla="*/ 2124 h 293"/>
                <a:gd name="T58" fmla="*/ 37913 w 306"/>
                <a:gd name="T59" fmla="*/ 2655 h 293"/>
                <a:gd name="T60" fmla="*/ 39221 w 306"/>
                <a:gd name="T61" fmla="*/ 5841 h 293"/>
                <a:gd name="T62" fmla="*/ 43143 w 306"/>
                <a:gd name="T63" fmla="*/ 10088 h 293"/>
                <a:gd name="T64" fmla="*/ 52730 w 306"/>
                <a:gd name="T65" fmla="*/ 16460 h 293"/>
                <a:gd name="T66" fmla="*/ 64496 w 306"/>
                <a:gd name="T67" fmla="*/ 21770 h 293"/>
                <a:gd name="T68" fmla="*/ 79313 w 306"/>
                <a:gd name="T69" fmla="*/ 31327 h 293"/>
                <a:gd name="T70" fmla="*/ 91515 w 306"/>
                <a:gd name="T71" fmla="*/ 41947 h 293"/>
                <a:gd name="T72" fmla="*/ 105024 w 306"/>
                <a:gd name="T73" fmla="*/ 54159 h 293"/>
                <a:gd name="T74" fmla="*/ 113740 w 306"/>
                <a:gd name="T75" fmla="*/ 62124 h 293"/>
                <a:gd name="T76" fmla="*/ 115919 w 306"/>
                <a:gd name="T77" fmla="*/ 65841 h 293"/>
                <a:gd name="T78" fmla="*/ 122020 w 306"/>
                <a:gd name="T79" fmla="*/ 71681 h 293"/>
                <a:gd name="T80" fmla="*/ 130300 w 306"/>
                <a:gd name="T81" fmla="*/ 80177 h 293"/>
                <a:gd name="T82" fmla="*/ 133350 w 306"/>
                <a:gd name="T83" fmla="*/ 85487 h 293"/>
                <a:gd name="T84" fmla="*/ 132478 w 306"/>
                <a:gd name="T85" fmla="*/ 88141 h 29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06" name="Freeform 226">
              <a:extLst>
                <a:ext uri="{FF2B5EF4-FFF2-40B4-BE49-F238E27FC236}">
                  <a16:creationId xmlns:a16="http://schemas.microsoft.com/office/drawing/2014/main" id="{5F2B2798-9915-4797-A56E-45621D061B61}"/>
                </a:ext>
              </a:extLst>
            </p:cNvPr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5700714" y="1247776"/>
              <a:ext cx="236537" cy="92075"/>
            </a:xfrm>
            <a:custGeom>
              <a:avLst/>
              <a:gdLst>
                <a:gd name="T0" fmla="*/ 32058 w 546"/>
                <a:gd name="T1" fmla="*/ 10112 h 173"/>
                <a:gd name="T2" fmla="*/ 40722 w 546"/>
                <a:gd name="T3" fmla="*/ 18096 h 173"/>
                <a:gd name="T4" fmla="*/ 47654 w 546"/>
                <a:gd name="T5" fmla="*/ 14370 h 173"/>
                <a:gd name="T6" fmla="*/ 57185 w 546"/>
                <a:gd name="T7" fmla="*/ 14370 h 173"/>
                <a:gd name="T8" fmla="*/ 69748 w 546"/>
                <a:gd name="T9" fmla="*/ 23418 h 173"/>
                <a:gd name="T10" fmla="*/ 90543 w 546"/>
                <a:gd name="T11" fmla="*/ 10112 h 173"/>
                <a:gd name="T12" fmla="*/ 105272 w 546"/>
                <a:gd name="T13" fmla="*/ 10112 h 173"/>
                <a:gd name="T14" fmla="*/ 112637 w 546"/>
                <a:gd name="T15" fmla="*/ 8516 h 173"/>
                <a:gd name="T16" fmla="*/ 116536 w 546"/>
                <a:gd name="T17" fmla="*/ 7451 h 173"/>
                <a:gd name="T18" fmla="*/ 120868 w 546"/>
                <a:gd name="T19" fmla="*/ 5854 h 173"/>
                <a:gd name="T20" fmla="*/ 123900 w 546"/>
                <a:gd name="T21" fmla="*/ 1597 h 173"/>
                <a:gd name="T22" fmla="*/ 139063 w 546"/>
                <a:gd name="T23" fmla="*/ 2661 h 173"/>
                <a:gd name="T24" fmla="*/ 144262 w 546"/>
                <a:gd name="T25" fmla="*/ 6387 h 173"/>
                <a:gd name="T26" fmla="*/ 150760 w 546"/>
                <a:gd name="T27" fmla="*/ 3726 h 173"/>
                <a:gd name="T28" fmla="*/ 152926 w 546"/>
                <a:gd name="T29" fmla="*/ 0 h 173"/>
                <a:gd name="T30" fmla="*/ 158991 w 546"/>
                <a:gd name="T31" fmla="*/ 3726 h 173"/>
                <a:gd name="T32" fmla="*/ 168522 w 546"/>
                <a:gd name="T33" fmla="*/ 3726 h 173"/>
                <a:gd name="T34" fmla="*/ 188883 w 546"/>
                <a:gd name="T35" fmla="*/ 532 h 173"/>
                <a:gd name="T36" fmla="*/ 208811 w 546"/>
                <a:gd name="T37" fmla="*/ 3193 h 173"/>
                <a:gd name="T38" fmla="*/ 228739 w 546"/>
                <a:gd name="T39" fmla="*/ 6387 h 173"/>
                <a:gd name="T40" fmla="*/ 236104 w 546"/>
                <a:gd name="T41" fmla="*/ 26079 h 173"/>
                <a:gd name="T42" fmla="*/ 232638 w 546"/>
                <a:gd name="T43" fmla="*/ 31934 h 173"/>
                <a:gd name="T44" fmla="*/ 222241 w 546"/>
                <a:gd name="T45" fmla="*/ 32998 h 173"/>
                <a:gd name="T46" fmla="*/ 209244 w 546"/>
                <a:gd name="T47" fmla="*/ 28740 h 173"/>
                <a:gd name="T48" fmla="*/ 178919 w 546"/>
                <a:gd name="T49" fmla="*/ 23418 h 173"/>
                <a:gd name="T50" fmla="*/ 189749 w 546"/>
                <a:gd name="T51" fmla="*/ 43110 h 173"/>
                <a:gd name="T52" fmla="*/ 204046 w 546"/>
                <a:gd name="T53" fmla="*/ 54287 h 173"/>
                <a:gd name="T54" fmla="*/ 213576 w 546"/>
                <a:gd name="T55" fmla="*/ 63335 h 173"/>
                <a:gd name="T56" fmla="*/ 205779 w 546"/>
                <a:gd name="T57" fmla="*/ 72383 h 173"/>
                <a:gd name="T58" fmla="*/ 194515 w 546"/>
                <a:gd name="T59" fmla="*/ 75576 h 173"/>
                <a:gd name="T60" fmla="*/ 184551 w 546"/>
                <a:gd name="T61" fmla="*/ 75044 h 173"/>
                <a:gd name="T62" fmla="*/ 178486 w 546"/>
                <a:gd name="T63" fmla="*/ 71318 h 173"/>
                <a:gd name="T64" fmla="*/ 172854 w 546"/>
                <a:gd name="T65" fmla="*/ 69189 h 173"/>
                <a:gd name="T66" fmla="*/ 166789 w 546"/>
                <a:gd name="T67" fmla="*/ 64399 h 173"/>
                <a:gd name="T68" fmla="*/ 162457 w 546"/>
                <a:gd name="T69" fmla="*/ 55351 h 173"/>
                <a:gd name="T70" fmla="*/ 158125 w 546"/>
                <a:gd name="T71" fmla="*/ 48965 h 173"/>
                <a:gd name="T72" fmla="*/ 149027 w 546"/>
                <a:gd name="T73" fmla="*/ 44707 h 173"/>
                <a:gd name="T74" fmla="*/ 140796 w 546"/>
                <a:gd name="T75" fmla="*/ 40449 h 173"/>
                <a:gd name="T76" fmla="*/ 131265 w 546"/>
                <a:gd name="T77" fmla="*/ 46304 h 173"/>
                <a:gd name="T78" fmla="*/ 111770 w 546"/>
                <a:gd name="T79" fmla="*/ 71318 h 173"/>
                <a:gd name="T80" fmla="*/ 102239 w 546"/>
                <a:gd name="T81" fmla="*/ 86753 h 173"/>
                <a:gd name="T82" fmla="*/ 95308 w 546"/>
                <a:gd name="T83" fmla="*/ 91543 h 173"/>
                <a:gd name="T84" fmla="*/ 81445 w 546"/>
                <a:gd name="T85" fmla="*/ 88882 h 173"/>
                <a:gd name="T86" fmla="*/ 71481 w 546"/>
                <a:gd name="T87" fmla="*/ 82495 h 173"/>
                <a:gd name="T88" fmla="*/ 48954 w 546"/>
                <a:gd name="T89" fmla="*/ 55884 h 173"/>
                <a:gd name="T90" fmla="*/ 41156 w 546"/>
                <a:gd name="T91" fmla="*/ 48433 h 173"/>
                <a:gd name="T92" fmla="*/ 25993 w 546"/>
                <a:gd name="T93" fmla="*/ 40449 h 173"/>
                <a:gd name="T94" fmla="*/ 6931 w 546"/>
                <a:gd name="T95" fmla="*/ 30869 h 173"/>
                <a:gd name="T96" fmla="*/ 4765 w 546"/>
                <a:gd name="T97" fmla="*/ 18096 h 173"/>
                <a:gd name="T98" fmla="*/ 12130 w 546"/>
                <a:gd name="T99" fmla="*/ 10112 h 173"/>
                <a:gd name="T100" fmla="*/ 20361 w 546"/>
                <a:gd name="T101" fmla="*/ 638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07" name="Freeform 227">
              <a:extLst>
                <a:ext uri="{FF2B5EF4-FFF2-40B4-BE49-F238E27FC236}">
                  <a16:creationId xmlns:a16="http://schemas.microsoft.com/office/drawing/2014/main" id="{C8785DFE-BE0B-4538-8A73-BF22F0120347}"/>
                </a:ext>
              </a:extLst>
            </p:cNvPr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5627688" y="1477963"/>
              <a:ext cx="449262" cy="361950"/>
            </a:xfrm>
            <a:custGeom>
              <a:avLst/>
              <a:gdLst>
                <a:gd name="T0" fmla="*/ 103976 w 1037"/>
                <a:gd name="T1" fmla="*/ 326280 h 690"/>
                <a:gd name="T2" fmla="*/ 67151 w 1037"/>
                <a:gd name="T3" fmla="*/ 358278 h 690"/>
                <a:gd name="T4" fmla="*/ 13863 w 1037"/>
                <a:gd name="T5" fmla="*/ 343066 h 690"/>
                <a:gd name="T6" fmla="*/ 29027 w 1037"/>
                <a:gd name="T7" fmla="*/ 332574 h 690"/>
                <a:gd name="T8" fmla="*/ 7798 w 1037"/>
                <a:gd name="T9" fmla="*/ 312641 h 690"/>
                <a:gd name="T10" fmla="*/ 19062 w 1037"/>
                <a:gd name="T11" fmla="*/ 312116 h 690"/>
                <a:gd name="T12" fmla="*/ 29027 w 1037"/>
                <a:gd name="T13" fmla="*/ 297428 h 690"/>
                <a:gd name="T14" fmla="*/ 3466 w 1037"/>
                <a:gd name="T15" fmla="*/ 286413 h 690"/>
                <a:gd name="T16" fmla="*/ 32059 w 1037"/>
                <a:gd name="T17" fmla="*/ 274348 h 690"/>
                <a:gd name="T18" fmla="*/ 0 w 1037"/>
                <a:gd name="T19" fmla="*/ 261758 h 690"/>
                <a:gd name="T20" fmla="*/ 8665 w 1037"/>
                <a:gd name="T21" fmla="*/ 239202 h 690"/>
                <a:gd name="T22" fmla="*/ 16030 w 1037"/>
                <a:gd name="T23" fmla="*/ 241825 h 690"/>
                <a:gd name="T24" fmla="*/ 33359 w 1037"/>
                <a:gd name="T25" fmla="*/ 235530 h 690"/>
                <a:gd name="T26" fmla="*/ 39857 w 1037"/>
                <a:gd name="T27" fmla="*/ 222416 h 690"/>
                <a:gd name="T28" fmla="*/ 56320 w 1037"/>
                <a:gd name="T29" fmla="*/ 214547 h 690"/>
                <a:gd name="T30" fmla="*/ 95311 w 1037"/>
                <a:gd name="T31" fmla="*/ 200384 h 690"/>
                <a:gd name="T32" fmla="*/ 98344 w 1037"/>
                <a:gd name="T33" fmla="*/ 177828 h 690"/>
                <a:gd name="T34" fmla="*/ 122605 w 1037"/>
                <a:gd name="T35" fmla="*/ 170484 h 690"/>
                <a:gd name="T36" fmla="*/ 122172 w 1037"/>
                <a:gd name="T37" fmla="*/ 162615 h 690"/>
                <a:gd name="T38" fmla="*/ 129103 w 1037"/>
                <a:gd name="T39" fmla="*/ 149501 h 690"/>
                <a:gd name="T40" fmla="*/ 145133 w 1037"/>
                <a:gd name="T41" fmla="*/ 127469 h 690"/>
                <a:gd name="T42" fmla="*/ 148599 w 1037"/>
                <a:gd name="T43" fmla="*/ 118552 h 690"/>
                <a:gd name="T44" fmla="*/ 168961 w 1037"/>
                <a:gd name="T45" fmla="*/ 104913 h 690"/>
                <a:gd name="T46" fmla="*/ 167661 w 1037"/>
                <a:gd name="T47" fmla="*/ 82357 h 690"/>
                <a:gd name="T48" fmla="*/ 161596 w 1037"/>
                <a:gd name="T49" fmla="*/ 74488 h 690"/>
                <a:gd name="T50" fmla="*/ 144700 w 1037"/>
                <a:gd name="T51" fmla="*/ 80783 h 690"/>
                <a:gd name="T52" fmla="*/ 168961 w 1037"/>
                <a:gd name="T53" fmla="*/ 54030 h 690"/>
                <a:gd name="T54" fmla="*/ 178059 w 1037"/>
                <a:gd name="T55" fmla="*/ 50358 h 690"/>
                <a:gd name="T56" fmla="*/ 200587 w 1037"/>
                <a:gd name="T57" fmla="*/ 59800 h 690"/>
                <a:gd name="T58" fmla="*/ 201886 w 1037"/>
                <a:gd name="T59" fmla="*/ 47735 h 690"/>
                <a:gd name="T60" fmla="*/ 241744 w 1037"/>
                <a:gd name="T61" fmla="*/ 31998 h 690"/>
                <a:gd name="T62" fmla="*/ 256040 w 1037"/>
                <a:gd name="T63" fmla="*/ 33048 h 690"/>
                <a:gd name="T64" fmla="*/ 279435 w 1037"/>
                <a:gd name="T65" fmla="*/ 28851 h 690"/>
                <a:gd name="T66" fmla="*/ 279435 w 1037"/>
                <a:gd name="T67" fmla="*/ 17311 h 690"/>
                <a:gd name="T68" fmla="*/ 302829 w 1037"/>
                <a:gd name="T69" fmla="*/ 6819 h 690"/>
                <a:gd name="T70" fmla="*/ 305429 w 1037"/>
                <a:gd name="T71" fmla="*/ 15212 h 690"/>
                <a:gd name="T72" fmla="*/ 308461 w 1037"/>
                <a:gd name="T73" fmla="*/ 20983 h 690"/>
                <a:gd name="T74" fmla="*/ 328390 w 1037"/>
                <a:gd name="T75" fmla="*/ 6295 h 690"/>
                <a:gd name="T76" fmla="*/ 353951 w 1037"/>
                <a:gd name="T77" fmla="*/ 3147 h 690"/>
                <a:gd name="T78" fmla="*/ 365648 w 1037"/>
                <a:gd name="T79" fmla="*/ 4197 h 690"/>
                <a:gd name="T80" fmla="*/ 373446 w 1037"/>
                <a:gd name="T81" fmla="*/ 5770 h 690"/>
                <a:gd name="T82" fmla="*/ 400307 w 1037"/>
                <a:gd name="T83" fmla="*/ 3147 h 690"/>
                <a:gd name="T84" fmla="*/ 449262 w 1037"/>
                <a:gd name="T85" fmla="*/ 22556 h 690"/>
                <a:gd name="T86" fmla="*/ 435399 w 1037"/>
                <a:gd name="T87" fmla="*/ 41441 h 690"/>
                <a:gd name="T88" fmla="*/ 402906 w 1037"/>
                <a:gd name="T89" fmla="*/ 28851 h 690"/>
                <a:gd name="T90" fmla="*/ 378212 w 1037"/>
                <a:gd name="T91" fmla="*/ 38818 h 690"/>
                <a:gd name="T92" fmla="*/ 367381 w 1037"/>
                <a:gd name="T93" fmla="*/ 60850 h 690"/>
                <a:gd name="T94" fmla="*/ 351351 w 1037"/>
                <a:gd name="T95" fmla="*/ 58227 h 690"/>
                <a:gd name="T96" fmla="*/ 322758 w 1037"/>
                <a:gd name="T97" fmla="*/ 67144 h 690"/>
                <a:gd name="T98" fmla="*/ 300663 w 1037"/>
                <a:gd name="T99" fmla="*/ 48260 h 690"/>
                <a:gd name="T100" fmla="*/ 268604 w 1037"/>
                <a:gd name="T101" fmla="*/ 58751 h 690"/>
                <a:gd name="T102" fmla="*/ 231346 w 1037"/>
                <a:gd name="T103" fmla="*/ 70292 h 690"/>
                <a:gd name="T104" fmla="*/ 210551 w 1037"/>
                <a:gd name="T105" fmla="*/ 110159 h 690"/>
                <a:gd name="T106" fmla="*/ 186290 w 1037"/>
                <a:gd name="T107" fmla="*/ 146354 h 690"/>
                <a:gd name="T108" fmla="*/ 172860 w 1037"/>
                <a:gd name="T109" fmla="*/ 190942 h 690"/>
                <a:gd name="T110" fmla="*/ 144266 w 1037"/>
                <a:gd name="T111" fmla="*/ 222940 h 690"/>
                <a:gd name="T112" fmla="*/ 153798 w 1037"/>
                <a:gd name="T113" fmla="*/ 260709 h 690"/>
                <a:gd name="T114" fmla="*/ 153364 w 1037"/>
                <a:gd name="T115" fmla="*/ 292707 h 690"/>
                <a:gd name="T116" fmla="*/ 143400 w 1037"/>
                <a:gd name="T117" fmla="*/ 322608 h 690"/>
                <a:gd name="T118" fmla="*/ 127804 w 1037"/>
                <a:gd name="T119" fmla="*/ 338345 h 6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08" name="Freeform 228">
              <a:extLst>
                <a:ext uri="{FF2B5EF4-FFF2-40B4-BE49-F238E27FC236}">
                  <a16:creationId xmlns:a16="http://schemas.microsoft.com/office/drawing/2014/main" id="{C2E08BA5-48FA-4F51-A4A2-7D6C4B4B136C}"/>
                </a:ext>
              </a:extLst>
            </p:cNvPr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5967413" y="2319339"/>
              <a:ext cx="49212" cy="90487"/>
            </a:xfrm>
            <a:custGeom>
              <a:avLst/>
              <a:gdLst>
                <a:gd name="T0" fmla="*/ 49212 w 120"/>
                <a:gd name="T1" fmla="*/ 51782 h 173"/>
                <a:gd name="T2" fmla="*/ 37729 w 120"/>
                <a:gd name="T3" fmla="*/ 31383 h 173"/>
                <a:gd name="T4" fmla="*/ 28707 w 120"/>
                <a:gd name="T5" fmla="*/ 14645 h 173"/>
                <a:gd name="T6" fmla="*/ 24606 w 120"/>
                <a:gd name="T7" fmla="*/ 8369 h 173"/>
                <a:gd name="T8" fmla="*/ 21735 w 120"/>
                <a:gd name="T9" fmla="*/ 4184 h 173"/>
                <a:gd name="T10" fmla="*/ 19685 w 120"/>
                <a:gd name="T11" fmla="*/ 2092 h 173"/>
                <a:gd name="T12" fmla="*/ 18455 w 120"/>
                <a:gd name="T13" fmla="*/ 1046 h 173"/>
                <a:gd name="T14" fmla="*/ 17634 w 120"/>
                <a:gd name="T15" fmla="*/ 523 h 173"/>
                <a:gd name="T16" fmla="*/ 15994 w 120"/>
                <a:gd name="T17" fmla="*/ 0 h 173"/>
                <a:gd name="T18" fmla="*/ 13533 w 120"/>
                <a:gd name="T19" fmla="*/ 0 h 173"/>
                <a:gd name="T20" fmla="*/ 11073 w 120"/>
                <a:gd name="T21" fmla="*/ 523 h 173"/>
                <a:gd name="T22" fmla="*/ 9842 w 120"/>
                <a:gd name="T23" fmla="*/ 1569 h 173"/>
                <a:gd name="T24" fmla="*/ 8612 w 120"/>
                <a:gd name="T25" fmla="*/ 2615 h 173"/>
                <a:gd name="T26" fmla="*/ 7792 w 120"/>
                <a:gd name="T27" fmla="*/ 4184 h 173"/>
                <a:gd name="T28" fmla="*/ 6562 w 120"/>
                <a:gd name="T29" fmla="*/ 6277 h 173"/>
                <a:gd name="T30" fmla="*/ 6152 w 120"/>
                <a:gd name="T31" fmla="*/ 7846 h 173"/>
                <a:gd name="T32" fmla="*/ 6152 w 120"/>
                <a:gd name="T33" fmla="*/ 10461 h 173"/>
                <a:gd name="T34" fmla="*/ 5741 w 120"/>
                <a:gd name="T35" fmla="*/ 15691 h 173"/>
                <a:gd name="T36" fmla="*/ 4921 w 120"/>
                <a:gd name="T37" fmla="*/ 21968 h 173"/>
                <a:gd name="T38" fmla="*/ 4101 w 120"/>
                <a:gd name="T39" fmla="*/ 25106 h 173"/>
                <a:gd name="T40" fmla="*/ 3281 w 120"/>
                <a:gd name="T41" fmla="*/ 28244 h 173"/>
                <a:gd name="T42" fmla="*/ 1640 w 120"/>
                <a:gd name="T43" fmla="*/ 31906 h 173"/>
                <a:gd name="T44" fmla="*/ 0 w 120"/>
                <a:gd name="T45" fmla="*/ 35567 h 173"/>
                <a:gd name="T46" fmla="*/ 2051 w 120"/>
                <a:gd name="T47" fmla="*/ 42890 h 173"/>
                <a:gd name="T48" fmla="*/ 4101 w 120"/>
                <a:gd name="T49" fmla="*/ 51782 h 173"/>
                <a:gd name="T50" fmla="*/ 6152 w 120"/>
                <a:gd name="T51" fmla="*/ 60150 h 173"/>
                <a:gd name="T52" fmla="*/ 8202 w 120"/>
                <a:gd name="T53" fmla="*/ 67473 h 173"/>
                <a:gd name="T54" fmla="*/ 9842 w 120"/>
                <a:gd name="T55" fmla="*/ 70088 h 173"/>
                <a:gd name="T56" fmla="*/ 12303 w 120"/>
                <a:gd name="T57" fmla="*/ 72703 h 173"/>
                <a:gd name="T58" fmla="*/ 15174 w 120"/>
                <a:gd name="T59" fmla="*/ 75842 h 173"/>
                <a:gd name="T60" fmla="*/ 18865 w 120"/>
                <a:gd name="T61" fmla="*/ 78980 h 173"/>
                <a:gd name="T62" fmla="*/ 22145 w 120"/>
                <a:gd name="T63" fmla="*/ 82118 h 173"/>
                <a:gd name="T64" fmla="*/ 24606 w 120"/>
                <a:gd name="T65" fmla="*/ 85257 h 173"/>
                <a:gd name="T66" fmla="*/ 25426 w 120"/>
                <a:gd name="T67" fmla="*/ 86303 h 173"/>
                <a:gd name="T68" fmla="*/ 26657 w 120"/>
                <a:gd name="T69" fmla="*/ 87872 h 173"/>
                <a:gd name="T70" fmla="*/ 27067 w 120"/>
                <a:gd name="T71" fmla="*/ 88918 h 173"/>
                <a:gd name="T72" fmla="*/ 27477 w 120"/>
                <a:gd name="T73" fmla="*/ 90487 h 173"/>
                <a:gd name="T74" fmla="*/ 31168 w 120"/>
                <a:gd name="T75" fmla="*/ 87349 h 173"/>
                <a:gd name="T76" fmla="*/ 35269 w 120"/>
                <a:gd name="T77" fmla="*/ 83687 h 173"/>
                <a:gd name="T78" fmla="*/ 38139 w 120"/>
                <a:gd name="T79" fmla="*/ 79503 h 173"/>
                <a:gd name="T80" fmla="*/ 41420 w 120"/>
                <a:gd name="T81" fmla="*/ 74273 h 173"/>
                <a:gd name="T82" fmla="*/ 43471 w 120"/>
                <a:gd name="T83" fmla="*/ 69042 h 173"/>
                <a:gd name="T84" fmla="*/ 45931 w 120"/>
                <a:gd name="T85" fmla="*/ 63289 h 173"/>
                <a:gd name="T86" fmla="*/ 47572 w 120"/>
                <a:gd name="T87" fmla="*/ 57535 h 173"/>
                <a:gd name="T88" fmla="*/ 49212 w 120"/>
                <a:gd name="T89" fmla="*/ 51782 h 17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09" name="Freeform 229">
              <a:extLst>
                <a:ext uri="{FF2B5EF4-FFF2-40B4-BE49-F238E27FC236}">
                  <a16:creationId xmlns:a16="http://schemas.microsoft.com/office/drawing/2014/main" id="{1E1ACAC4-E4E6-4345-8858-FF4D8447F4C8}"/>
                </a:ext>
              </a:extLst>
            </p:cNvPr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5675314" y="2159000"/>
              <a:ext cx="84137" cy="58738"/>
            </a:xfrm>
            <a:custGeom>
              <a:avLst/>
              <a:gdLst>
                <a:gd name="T0" fmla="*/ 84137 w 200"/>
                <a:gd name="T1" fmla="*/ 32965 h 98"/>
                <a:gd name="T2" fmla="*/ 82034 w 200"/>
                <a:gd name="T3" fmla="*/ 33565 h 98"/>
                <a:gd name="T4" fmla="*/ 78247 w 200"/>
                <a:gd name="T5" fmla="*/ 35962 h 98"/>
                <a:gd name="T6" fmla="*/ 74461 w 200"/>
                <a:gd name="T7" fmla="*/ 38959 h 98"/>
                <a:gd name="T8" fmla="*/ 69834 w 200"/>
                <a:gd name="T9" fmla="*/ 43754 h 98"/>
                <a:gd name="T10" fmla="*/ 65206 w 200"/>
                <a:gd name="T11" fmla="*/ 47949 h 98"/>
                <a:gd name="T12" fmla="*/ 60999 w 200"/>
                <a:gd name="T13" fmla="*/ 52145 h 98"/>
                <a:gd name="T14" fmla="*/ 57634 w 200"/>
                <a:gd name="T15" fmla="*/ 55741 h 98"/>
                <a:gd name="T16" fmla="*/ 55951 w 200"/>
                <a:gd name="T17" fmla="*/ 58738 h 98"/>
                <a:gd name="T18" fmla="*/ 53427 w 200"/>
                <a:gd name="T19" fmla="*/ 58738 h 98"/>
                <a:gd name="T20" fmla="*/ 51324 w 200"/>
                <a:gd name="T21" fmla="*/ 58738 h 98"/>
                <a:gd name="T22" fmla="*/ 48799 w 200"/>
                <a:gd name="T23" fmla="*/ 58139 h 98"/>
                <a:gd name="T24" fmla="*/ 46696 w 200"/>
                <a:gd name="T25" fmla="*/ 56940 h 98"/>
                <a:gd name="T26" fmla="*/ 44593 w 200"/>
                <a:gd name="T27" fmla="*/ 55741 h 98"/>
                <a:gd name="T28" fmla="*/ 43331 w 200"/>
                <a:gd name="T29" fmla="*/ 52744 h 98"/>
                <a:gd name="T30" fmla="*/ 42489 w 200"/>
                <a:gd name="T31" fmla="*/ 49148 h 98"/>
                <a:gd name="T32" fmla="*/ 42069 w 200"/>
                <a:gd name="T33" fmla="*/ 44353 h 98"/>
                <a:gd name="T34" fmla="*/ 38282 w 200"/>
                <a:gd name="T35" fmla="*/ 47949 h 98"/>
                <a:gd name="T36" fmla="*/ 34496 w 200"/>
                <a:gd name="T37" fmla="*/ 51546 h 98"/>
                <a:gd name="T38" fmla="*/ 32813 w 200"/>
                <a:gd name="T39" fmla="*/ 53943 h 98"/>
                <a:gd name="T40" fmla="*/ 30289 w 200"/>
                <a:gd name="T41" fmla="*/ 55741 h 98"/>
                <a:gd name="T42" fmla="*/ 28186 w 200"/>
                <a:gd name="T43" fmla="*/ 57539 h 98"/>
                <a:gd name="T44" fmla="*/ 25241 w 200"/>
                <a:gd name="T45" fmla="*/ 58738 h 98"/>
                <a:gd name="T46" fmla="*/ 16407 w 200"/>
                <a:gd name="T47" fmla="*/ 58738 h 98"/>
                <a:gd name="T48" fmla="*/ 14303 w 200"/>
                <a:gd name="T49" fmla="*/ 58738 h 98"/>
                <a:gd name="T50" fmla="*/ 11779 w 200"/>
                <a:gd name="T51" fmla="*/ 56940 h 98"/>
                <a:gd name="T52" fmla="*/ 9255 w 200"/>
                <a:gd name="T53" fmla="*/ 55142 h 98"/>
                <a:gd name="T54" fmla="*/ 6310 w 200"/>
                <a:gd name="T55" fmla="*/ 53344 h 98"/>
                <a:gd name="T56" fmla="*/ 3786 w 200"/>
                <a:gd name="T57" fmla="*/ 50946 h 98"/>
                <a:gd name="T58" fmla="*/ 1683 w 200"/>
                <a:gd name="T59" fmla="*/ 48549 h 98"/>
                <a:gd name="T60" fmla="*/ 421 w 200"/>
                <a:gd name="T61" fmla="*/ 46151 h 98"/>
                <a:gd name="T62" fmla="*/ 0 w 200"/>
                <a:gd name="T63" fmla="*/ 44353 h 98"/>
                <a:gd name="T64" fmla="*/ 2103 w 200"/>
                <a:gd name="T65" fmla="*/ 42555 h 98"/>
                <a:gd name="T66" fmla="*/ 4207 w 200"/>
                <a:gd name="T67" fmla="*/ 40158 h 98"/>
                <a:gd name="T68" fmla="*/ 5890 w 200"/>
                <a:gd name="T69" fmla="*/ 35962 h 98"/>
                <a:gd name="T70" fmla="*/ 8414 w 200"/>
                <a:gd name="T71" fmla="*/ 31766 h 98"/>
                <a:gd name="T72" fmla="*/ 9676 w 200"/>
                <a:gd name="T73" fmla="*/ 26972 h 98"/>
                <a:gd name="T74" fmla="*/ 11358 w 200"/>
                <a:gd name="T75" fmla="*/ 22177 h 98"/>
                <a:gd name="T76" fmla="*/ 12621 w 200"/>
                <a:gd name="T77" fmla="*/ 16782 h 98"/>
                <a:gd name="T78" fmla="*/ 13883 w 200"/>
                <a:gd name="T79" fmla="*/ 11388 h 98"/>
                <a:gd name="T80" fmla="*/ 27765 w 200"/>
                <a:gd name="T81" fmla="*/ 8391 h 98"/>
                <a:gd name="T82" fmla="*/ 43331 w 200"/>
                <a:gd name="T83" fmla="*/ 5394 h 98"/>
                <a:gd name="T84" fmla="*/ 60999 w 200"/>
                <a:gd name="T85" fmla="*/ 2397 h 98"/>
                <a:gd name="T86" fmla="*/ 81192 w 200"/>
                <a:gd name="T87" fmla="*/ 0 h 98"/>
                <a:gd name="T88" fmla="*/ 69834 w 200"/>
                <a:gd name="T89" fmla="*/ 18580 h 98"/>
                <a:gd name="T90" fmla="*/ 69834 w 200"/>
                <a:gd name="T91" fmla="*/ 20378 h 98"/>
                <a:gd name="T92" fmla="*/ 68992 w 200"/>
                <a:gd name="T93" fmla="*/ 22177 h 98"/>
                <a:gd name="T94" fmla="*/ 68151 w 200"/>
                <a:gd name="T95" fmla="*/ 23375 h 98"/>
                <a:gd name="T96" fmla="*/ 67730 w 200"/>
                <a:gd name="T97" fmla="*/ 24574 h 98"/>
                <a:gd name="T98" fmla="*/ 66048 w 200"/>
                <a:gd name="T99" fmla="*/ 26972 h 98"/>
                <a:gd name="T100" fmla="*/ 65627 w 200"/>
                <a:gd name="T101" fmla="*/ 28170 h 98"/>
                <a:gd name="T102" fmla="*/ 65627 w 200"/>
                <a:gd name="T103" fmla="*/ 29369 h 98"/>
                <a:gd name="T104" fmla="*/ 66048 w 200"/>
                <a:gd name="T105" fmla="*/ 29968 h 98"/>
                <a:gd name="T106" fmla="*/ 66889 w 200"/>
                <a:gd name="T107" fmla="*/ 29968 h 98"/>
                <a:gd name="T108" fmla="*/ 68572 w 200"/>
                <a:gd name="T109" fmla="*/ 30568 h 98"/>
                <a:gd name="T110" fmla="*/ 74461 w 200"/>
                <a:gd name="T111" fmla="*/ 31766 h 98"/>
                <a:gd name="T112" fmla="*/ 84137 w 200"/>
                <a:gd name="T113" fmla="*/ 32965 h 9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10" name="Freeform 230">
              <a:extLst>
                <a:ext uri="{FF2B5EF4-FFF2-40B4-BE49-F238E27FC236}">
                  <a16:creationId xmlns:a16="http://schemas.microsoft.com/office/drawing/2014/main" id="{3D88BEF3-EB63-4DD1-9891-7767B22A82F5}"/>
                </a:ext>
              </a:extLst>
            </p:cNvPr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5613400" y="1978026"/>
              <a:ext cx="84138" cy="73025"/>
            </a:xfrm>
            <a:custGeom>
              <a:avLst/>
              <a:gdLst>
                <a:gd name="T0" fmla="*/ 0 w 186"/>
                <a:gd name="T1" fmla="*/ 57597 h 142"/>
                <a:gd name="T2" fmla="*/ 905 w 186"/>
                <a:gd name="T3" fmla="*/ 59654 h 142"/>
                <a:gd name="T4" fmla="*/ 1357 w 186"/>
                <a:gd name="T5" fmla="*/ 55026 h 142"/>
                <a:gd name="T6" fmla="*/ 1357 w 186"/>
                <a:gd name="T7" fmla="*/ 47826 h 142"/>
                <a:gd name="T8" fmla="*/ 4071 w 186"/>
                <a:gd name="T9" fmla="*/ 42169 h 142"/>
                <a:gd name="T10" fmla="*/ 7690 w 186"/>
                <a:gd name="T11" fmla="*/ 35484 h 142"/>
                <a:gd name="T12" fmla="*/ 9047 w 186"/>
                <a:gd name="T13" fmla="*/ 28799 h 142"/>
                <a:gd name="T14" fmla="*/ 10404 w 186"/>
                <a:gd name="T15" fmla="*/ 23656 h 142"/>
                <a:gd name="T16" fmla="*/ 12666 w 186"/>
                <a:gd name="T17" fmla="*/ 19028 h 142"/>
                <a:gd name="T18" fmla="*/ 15832 w 186"/>
                <a:gd name="T19" fmla="*/ 16456 h 142"/>
                <a:gd name="T20" fmla="*/ 18547 w 186"/>
                <a:gd name="T21" fmla="*/ 19542 h 142"/>
                <a:gd name="T22" fmla="*/ 19451 w 186"/>
                <a:gd name="T23" fmla="*/ 25199 h 142"/>
                <a:gd name="T24" fmla="*/ 21261 w 186"/>
                <a:gd name="T25" fmla="*/ 29827 h 142"/>
                <a:gd name="T26" fmla="*/ 24880 w 186"/>
                <a:gd name="T27" fmla="*/ 33427 h 142"/>
                <a:gd name="T28" fmla="*/ 39355 w 186"/>
                <a:gd name="T29" fmla="*/ 34455 h 142"/>
                <a:gd name="T30" fmla="*/ 35736 w 186"/>
                <a:gd name="T31" fmla="*/ 21085 h 142"/>
                <a:gd name="T32" fmla="*/ 31212 w 186"/>
                <a:gd name="T33" fmla="*/ 18513 h 142"/>
                <a:gd name="T34" fmla="*/ 28498 w 186"/>
                <a:gd name="T35" fmla="*/ 15428 h 142"/>
                <a:gd name="T36" fmla="*/ 27594 w 186"/>
                <a:gd name="T37" fmla="*/ 11828 h 142"/>
                <a:gd name="T38" fmla="*/ 31665 w 186"/>
                <a:gd name="T39" fmla="*/ 8742 h 142"/>
                <a:gd name="T40" fmla="*/ 39355 w 186"/>
                <a:gd name="T41" fmla="*/ 7200 h 142"/>
                <a:gd name="T42" fmla="*/ 44331 w 186"/>
                <a:gd name="T43" fmla="*/ 5143 h 142"/>
                <a:gd name="T44" fmla="*/ 50211 w 186"/>
                <a:gd name="T45" fmla="*/ 3086 h 142"/>
                <a:gd name="T46" fmla="*/ 58806 w 186"/>
                <a:gd name="T47" fmla="*/ 1543 h 142"/>
                <a:gd name="T48" fmla="*/ 66496 w 186"/>
                <a:gd name="T49" fmla="*/ 514 h 142"/>
                <a:gd name="T50" fmla="*/ 71924 w 186"/>
                <a:gd name="T51" fmla="*/ 1029 h 142"/>
                <a:gd name="T52" fmla="*/ 79614 w 186"/>
                <a:gd name="T53" fmla="*/ 514 h 142"/>
                <a:gd name="T54" fmla="*/ 82781 w 186"/>
                <a:gd name="T55" fmla="*/ 5143 h 142"/>
                <a:gd name="T56" fmla="*/ 80519 w 186"/>
                <a:gd name="T57" fmla="*/ 13371 h 142"/>
                <a:gd name="T58" fmla="*/ 76448 w 186"/>
                <a:gd name="T59" fmla="*/ 20570 h 142"/>
                <a:gd name="T60" fmla="*/ 71924 w 186"/>
                <a:gd name="T61" fmla="*/ 26227 h 142"/>
                <a:gd name="T62" fmla="*/ 70115 w 186"/>
                <a:gd name="T63" fmla="*/ 32398 h 142"/>
                <a:gd name="T64" fmla="*/ 69210 w 186"/>
                <a:gd name="T65" fmla="*/ 39084 h 142"/>
                <a:gd name="T66" fmla="*/ 54283 w 186"/>
                <a:gd name="T67" fmla="*/ 73025 h 142"/>
                <a:gd name="T68" fmla="*/ 36188 w 186"/>
                <a:gd name="T69" fmla="*/ 62740 h 142"/>
                <a:gd name="T70" fmla="*/ 15832 w 186"/>
                <a:gd name="T71" fmla="*/ 60168 h 142"/>
                <a:gd name="T72" fmla="*/ 3619 w 186"/>
                <a:gd name="T73" fmla="*/ 58111 h 1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11" name="Freeform 231">
              <a:extLst>
                <a:ext uri="{FF2B5EF4-FFF2-40B4-BE49-F238E27FC236}">
                  <a16:creationId xmlns:a16="http://schemas.microsoft.com/office/drawing/2014/main" id="{7A085758-4E29-4199-82A7-6D97A155E176}"/>
                </a:ext>
              </a:extLst>
            </p:cNvPr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5594350" y="2041525"/>
              <a:ext cx="84138" cy="57150"/>
            </a:xfrm>
            <a:custGeom>
              <a:avLst/>
              <a:gdLst>
                <a:gd name="T0" fmla="*/ 84138 w 192"/>
                <a:gd name="T1" fmla="*/ 33201 h 105"/>
                <a:gd name="T2" fmla="*/ 82823 w 192"/>
                <a:gd name="T3" fmla="*/ 33746 h 105"/>
                <a:gd name="T4" fmla="*/ 80632 w 192"/>
                <a:gd name="T5" fmla="*/ 34290 h 105"/>
                <a:gd name="T6" fmla="*/ 78879 w 192"/>
                <a:gd name="T7" fmla="*/ 34834 h 105"/>
                <a:gd name="T8" fmla="*/ 77565 w 192"/>
                <a:gd name="T9" fmla="*/ 36467 h 105"/>
                <a:gd name="T10" fmla="*/ 73621 w 192"/>
                <a:gd name="T11" fmla="*/ 39189 h 105"/>
                <a:gd name="T12" fmla="*/ 70115 w 192"/>
                <a:gd name="T13" fmla="*/ 42999 h 105"/>
                <a:gd name="T14" fmla="*/ 67486 w 192"/>
                <a:gd name="T15" fmla="*/ 46809 h 105"/>
                <a:gd name="T16" fmla="*/ 64418 w 192"/>
                <a:gd name="T17" fmla="*/ 50619 h 105"/>
                <a:gd name="T18" fmla="*/ 62665 w 192"/>
                <a:gd name="T19" fmla="*/ 53884 h 105"/>
                <a:gd name="T20" fmla="*/ 60912 w 192"/>
                <a:gd name="T21" fmla="*/ 57150 h 105"/>
                <a:gd name="T22" fmla="*/ 52586 w 192"/>
                <a:gd name="T23" fmla="*/ 52796 h 105"/>
                <a:gd name="T24" fmla="*/ 44698 w 192"/>
                <a:gd name="T25" fmla="*/ 48441 h 105"/>
                <a:gd name="T26" fmla="*/ 37687 w 192"/>
                <a:gd name="T27" fmla="*/ 43543 h 105"/>
                <a:gd name="T28" fmla="*/ 30237 w 192"/>
                <a:gd name="T29" fmla="*/ 38644 h 105"/>
                <a:gd name="T30" fmla="*/ 23226 w 192"/>
                <a:gd name="T31" fmla="*/ 33201 h 105"/>
                <a:gd name="T32" fmla="*/ 15776 w 192"/>
                <a:gd name="T33" fmla="*/ 28847 h 105"/>
                <a:gd name="T34" fmla="*/ 8326 w 192"/>
                <a:gd name="T35" fmla="*/ 23949 h 105"/>
                <a:gd name="T36" fmla="*/ 0 w 192"/>
                <a:gd name="T37" fmla="*/ 20139 h 105"/>
                <a:gd name="T38" fmla="*/ 0 w 192"/>
                <a:gd name="T39" fmla="*/ 7076 h 105"/>
                <a:gd name="T40" fmla="*/ 3068 w 192"/>
                <a:gd name="T41" fmla="*/ 3810 h 105"/>
                <a:gd name="T42" fmla="*/ 7012 w 192"/>
                <a:gd name="T43" fmla="*/ 2177 h 105"/>
                <a:gd name="T44" fmla="*/ 12708 w 192"/>
                <a:gd name="T45" fmla="*/ 544 h 105"/>
                <a:gd name="T46" fmla="*/ 17529 w 192"/>
                <a:gd name="T47" fmla="*/ 0 h 105"/>
                <a:gd name="T48" fmla="*/ 26293 w 192"/>
                <a:gd name="T49" fmla="*/ 1089 h 105"/>
                <a:gd name="T50" fmla="*/ 40754 w 192"/>
                <a:gd name="T51" fmla="*/ 2721 h 105"/>
                <a:gd name="T52" fmla="*/ 48642 w 192"/>
                <a:gd name="T53" fmla="*/ 3810 h 105"/>
                <a:gd name="T54" fmla="*/ 56092 w 192"/>
                <a:gd name="T55" fmla="*/ 3810 h 105"/>
                <a:gd name="T56" fmla="*/ 62665 w 192"/>
                <a:gd name="T57" fmla="*/ 3810 h 105"/>
                <a:gd name="T58" fmla="*/ 67047 w 192"/>
                <a:gd name="T59" fmla="*/ 3266 h 105"/>
                <a:gd name="T60" fmla="*/ 67924 w 192"/>
                <a:gd name="T61" fmla="*/ 5987 h 105"/>
                <a:gd name="T62" fmla="*/ 69677 w 192"/>
                <a:gd name="T63" fmla="*/ 9253 h 105"/>
                <a:gd name="T64" fmla="*/ 70553 w 192"/>
                <a:gd name="T65" fmla="*/ 10886 h 105"/>
                <a:gd name="T66" fmla="*/ 71868 w 192"/>
                <a:gd name="T67" fmla="*/ 12519 h 105"/>
                <a:gd name="T68" fmla="*/ 72306 w 192"/>
                <a:gd name="T69" fmla="*/ 14696 h 105"/>
                <a:gd name="T70" fmla="*/ 72744 w 192"/>
                <a:gd name="T71" fmla="*/ 16873 h 105"/>
                <a:gd name="T72" fmla="*/ 74497 w 192"/>
                <a:gd name="T73" fmla="*/ 17417 h 105"/>
                <a:gd name="T74" fmla="*/ 77565 w 192"/>
                <a:gd name="T75" fmla="*/ 17961 h 105"/>
                <a:gd name="T76" fmla="*/ 78879 w 192"/>
                <a:gd name="T77" fmla="*/ 18506 h 105"/>
                <a:gd name="T78" fmla="*/ 80194 w 192"/>
                <a:gd name="T79" fmla="*/ 18506 h 105"/>
                <a:gd name="T80" fmla="*/ 82385 w 192"/>
                <a:gd name="T81" fmla="*/ 17961 h 105"/>
                <a:gd name="T82" fmla="*/ 84138 w 192"/>
                <a:gd name="T83" fmla="*/ 16873 h 105"/>
                <a:gd name="T84" fmla="*/ 84138 w 192"/>
                <a:gd name="T85" fmla="*/ 33201 h 10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12" name="Freeform 232">
              <a:extLst>
                <a:ext uri="{FF2B5EF4-FFF2-40B4-BE49-F238E27FC236}">
                  <a16:creationId xmlns:a16="http://schemas.microsoft.com/office/drawing/2014/main" id="{C4D2FB5B-5D5F-49BE-9E59-BF6C15B6EC53}"/>
                </a:ext>
              </a:extLst>
            </p:cNvPr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6354764" y="2595563"/>
              <a:ext cx="33337" cy="131762"/>
            </a:xfrm>
            <a:custGeom>
              <a:avLst/>
              <a:gdLst>
                <a:gd name="T0" fmla="*/ 13752 w 80"/>
                <a:gd name="T1" fmla="*/ 0 h 254"/>
                <a:gd name="T2" fmla="*/ 15418 w 80"/>
                <a:gd name="T3" fmla="*/ 1037 h 254"/>
                <a:gd name="T4" fmla="*/ 16669 w 80"/>
                <a:gd name="T5" fmla="*/ 2075 h 254"/>
                <a:gd name="T6" fmla="*/ 17919 w 80"/>
                <a:gd name="T7" fmla="*/ 3631 h 254"/>
                <a:gd name="T8" fmla="*/ 19169 w 80"/>
                <a:gd name="T9" fmla="*/ 5187 h 254"/>
                <a:gd name="T10" fmla="*/ 21669 w 80"/>
                <a:gd name="T11" fmla="*/ 9337 h 254"/>
                <a:gd name="T12" fmla="*/ 23336 w 80"/>
                <a:gd name="T13" fmla="*/ 12969 h 254"/>
                <a:gd name="T14" fmla="*/ 25836 w 80"/>
                <a:gd name="T15" fmla="*/ 16600 h 254"/>
                <a:gd name="T16" fmla="*/ 27920 w 80"/>
                <a:gd name="T17" fmla="*/ 19712 h 254"/>
                <a:gd name="T18" fmla="*/ 29170 w 80"/>
                <a:gd name="T19" fmla="*/ 20750 h 254"/>
                <a:gd name="T20" fmla="*/ 30420 w 80"/>
                <a:gd name="T21" fmla="*/ 21787 h 254"/>
                <a:gd name="T22" fmla="*/ 31670 w 80"/>
                <a:gd name="T23" fmla="*/ 22306 h 254"/>
                <a:gd name="T24" fmla="*/ 33337 w 80"/>
                <a:gd name="T25" fmla="*/ 22825 h 254"/>
                <a:gd name="T26" fmla="*/ 33337 w 80"/>
                <a:gd name="T27" fmla="*/ 27494 h 254"/>
                <a:gd name="T28" fmla="*/ 33337 w 80"/>
                <a:gd name="T29" fmla="*/ 32162 h 254"/>
                <a:gd name="T30" fmla="*/ 22086 w 80"/>
                <a:gd name="T31" fmla="*/ 131762 h 254"/>
                <a:gd name="T32" fmla="*/ 0 w 80"/>
                <a:gd name="T33" fmla="*/ 48244 h 254"/>
                <a:gd name="T34" fmla="*/ 1667 w 80"/>
                <a:gd name="T35" fmla="*/ 45650 h 254"/>
                <a:gd name="T36" fmla="*/ 4584 w 80"/>
                <a:gd name="T37" fmla="*/ 36831 h 254"/>
                <a:gd name="T38" fmla="*/ 7084 w 80"/>
                <a:gd name="T39" fmla="*/ 29569 h 254"/>
                <a:gd name="T40" fmla="*/ 9168 w 80"/>
                <a:gd name="T41" fmla="*/ 21269 h 254"/>
                <a:gd name="T42" fmla="*/ 11668 w 80"/>
                <a:gd name="T43" fmla="*/ 11931 h 254"/>
                <a:gd name="T44" fmla="*/ 13752 w 80"/>
                <a:gd name="T45" fmla="*/ 0 h 25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3" name="Freeform 233">
              <a:extLst>
                <a:ext uri="{FF2B5EF4-FFF2-40B4-BE49-F238E27FC236}">
                  <a16:creationId xmlns:a16="http://schemas.microsoft.com/office/drawing/2014/main" id="{C66146F0-8C64-4B8B-9CD8-62BD92AD33CB}"/>
                </a:ext>
              </a:extLst>
            </p:cNvPr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6303963" y="2647951"/>
              <a:ext cx="69850" cy="130175"/>
            </a:xfrm>
            <a:custGeom>
              <a:avLst/>
              <a:gdLst>
                <a:gd name="T0" fmla="*/ 47682 w 167"/>
                <a:gd name="T1" fmla="*/ 0 h 259"/>
                <a:gd name="T2" fmla="*/ 69850 w 167"/>
                <a:gd name="T3" fmla="*/ 77904 h 259"/>
                <a:gd name="T4" fmla="*/ 50610 w 167"/>
                <a:gd name="T5" fmla="*/ 130175 h 259"/>
                <a:gd name="T6" fmla="*/ 47264 w 167"/>
                <a:gd name="T7" fmla="*/ 130175 h 259"/>
                <a:gd name="T8" fmla="*/ 44754 w 167"/>
                <a:gd name="T9" fmla="*/ 129170 h 259"/>
                <a:gd name="T10" fmla="*/ 41826 w 167"/>
                <a:gd name="T11" fmla="*/ 127662 h 259"/>
                <a:gd name="T12" fmla="*/ 39735 w 167"/>
                <a:gd name="T13" fmla="*/ 126154 h 259"/>
                <a:gd name="T14" fmla="*/ 37225 w 167"/>
                <a:gd name="T15" fmla="*/ 123139 h 259"/>
                <a:gd name="T16" fmla="*/ 35552 w 167"/>
                <a:gd name="T17" fmla="*/ 120625 h 259"/>
                <a:gd name="T18" fmla="*/ 33461 w 167"/>
                <a:gd name="T19" fmla="*/ 118112 h 259"/>
                <a:gd name="T20" fmla="*/ 31788 w 167"/>
                <a:gd name="T21" fmla="*/ 115097 h 259"/>
                <a:gd name="T22" fmla="*/ 28860 w 167"/>
                <a:gd name="T23" fmla="*/ 109066 h 259"/>
                <a:gd name="T24" fmla="*/ 27187 w 167"/>
                <a:gd name="T25" fmla="*/ 103034 h 259"/>
                <a:gd name="T26" fmla="*/ 25932 w 167"/>
                <a:gd name="T27" fmla="*/ 97506 h 259"/>
                <a:gd name="T28" fmla="*/ 25932 w 167"/>
                <a:gd name="T29" fmla="*/ 92982 h 259"/>
                <a:gd name="T30" fmla="*/ 23004 w 167"/>
                <a:gd name="T31" fmla="*/ 92480 h 259"/>
                <a:gd name="T32" fmla="*/ 21331 w 167"/>
                <a:gd name="T33" fmla="*/ 91977 h 259"/>
                <a:gd name="T34" fmla="*/ 18822 w 167"/>
                <a:gd name="T35" fmla="*/ 91474 h 259"/>
                <a:gd name="T36" fmla="*/ 17567 w 167"/>
                <a:gd name="T37" fmla="*/ 90469 h 259"/>
                <a:gd name="T38" fmla="*/ 16312 w 167"/>
                <a:gd name="T39" fmla="*/ 88961 h 259"/>
                <a:gd name="T40" fmla="*/ 15057 w 167"/>
                <a:gd name="T41" fmla="*/ 87453 h 259"/>
                <a:gd name="T42" fmla="*/ 14221 w 167"/>
                <a:gd name="T43" fmla="*/ 85443 h 259"/>
                <a:gd name="T44" fmla="*/ 13384 w 167"/>
                <a:gd name="T45" fmla="*/ 83935 h 259"/>
                <a:gd name="T46" fmla="*/ 12548 w 167"/>
                <a:gd name="T47" fmla="*/ 79412 h 259"/>
                <a:gd name="T48" fmla="*/ 12130 w 167"/>
                <a:gd name="T49" fmla="*/ 74888 h 259"/>
                <a:gd name="T50" fmla="*/ 11711 w 167"/>
                <a:gd name="T51" fmla="*/ 70365 h 259"/>
                <a:gd name="T52" fmla="*/ 11711 w 167"/>
                <a:gd name="T53" fmla="*/ 64836 h 259"/>
                <a:gd name="T54" fmla="*/ 8784 w 167"/>
                <a:gd name="T55" fmla="*/ 64836 h 259"/>
                <a:gd name="T56" fmla="*/ 6692 w 167"/>
                <a:gd name="T57" fmla="*/ 63831 h 259"/>
                <a:gd name="T58" fmla="*/ 4601 w 167"/>
                <a:gd name="T59" fmla="*/ 62826 h 259"/>
                <a:gd name="T60" fmla="*/ 2928 w 167"/>
                <a:gd name="T61" fmla="*/ 60815 h 259"/>
                <a:gd name="T62" fmla="*/ 2091 w 167"/>
                <a:gd name="T63" fmla="*/ 58805 h 259"/>
                <a:gd name="T64" fmla="*/ 837 w 167"/>
                <a:gd name="T65" fmla="*/ 56292 h 259"/>
                <a:gd name="T66" fmla="*/ 0 w 167"/>
                <a:gd name="T67" fmla="*/ 53779 h 259"/>
                <a:gd name="T68" fmla="*/ 0 w 167"/>
                <a:gd name="T69" fmla="*/ 50763 h 259"/>
                <a:gd name="T70" fmla="*/ 0 w 167"/>
                <a:gd name="T71" fmla="*/ 37695 h 259"/>
                <a:gd name="T72" fmla="*/ 418 w 167"/>
                <a:gd name="T73" fmla="*/ 25130 h 259"/>
                <a:gd name="T74" fmla="*/ 5019 w 167"/>
                <a:gd name="T75" fmla="*/ 26136 h 259"/>
                <a:gd name="T76" fmla="*/ 9202 w 167"/>
                <a:gd name="T77" fmla="*/ 26638 h 259"/>
                <a:gd name="T78" fmla="*/ 13384 w 167"/>
                <a:gd name="T79" fmla="*/ 26638 h 259"/>
                <a:gd name="T80" fmla="*/ 17567 w 167"/>
                <a:gd name="T81" fmla="*/ 26136 h 259"/>
                <a:gd name="T82" fmla="*/ 20913 w 167"/>
                <a:gd name="T83" fmla="*/ 25633 h 259"/>
                <a:gd name="T84" fmla="*/ 24259 w 167"/>
                <a:gd name="T85" fmla="*/ 24628 h 259"/>
                <a:gd name="T86" fmla="*/ 27605 w 167"/>
                <a:gd name="T87" fmla="*/ 23622 h 259"/>
                <a:gd name="T88" fmla="*/ 30533 w 167"/>
                <a:gd name="T89" fmla="*/ 22115 h 259"/>
                <a:gd name="T90" fmla="*/ 33043 w 167"/>
                <a:gd name="T91" fmla="*/ 20104 h 259"/>
                <a:gd name="T92" fmla="*/ 35971 w 167"/>
                <a:gd name="T93" fmla="*/ 18094 h 259"/>
                <a:gd name="T94" fmla="*/ 38062 w 167"/>
                <a:gd name="T95" fmla="*/ 15581 h 259"/>
                <a:gd name="T96" fmla="*/ 40572 w 167"/>
                <a:gd name="T97" fmla="*/ 13068 h 259"/>
                <a:gd name="T98" fmla="*/ 44754 w 167"/>
                <a:gd name="T99" fmla="*/ 6534 h 259"/>
                <a:gd name="T100" fmla="*/ 47682 w 167"/>
                <a:gd name="T101" fmla="*/ 0 h 2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4" name="Freeform 234">
              <a:extLst>
                <a:ext uri="{FF2B5EF4-FFF2-40B4-BE49-F238E27FC236}">
                  <a16:creationId xmlns:a16="http://schemas.microsoft.com/office/drawing/2014/main" id="{9387B031-0B42-4901-A646-E7291163990F}"/>
                </a:ext>
              </a:extLst>
            </p:cNvPr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5305425" y="1901826"/>
              <a:ext cx="96838" cy="144463"/>
            </a:xfrm>
            <a:custGeom>
              <a:avLst/>
              <a:gdLst>
                <a:gd name="T0" fmla="*/ 79622 w 225"/>
                <a:gd name="T1" fmla="*/ 35454 h 273"/>
                <a:gd name="T2" fmla="*/ 74458 w 225"/>
                <a:gd name="T3" fmla="*/ 41275 h 273"/>
                <a:gd name="T4" fmla="*/ 68432 w 225"/>
                <a:gd name="T5" fmla="*/ 43392 h 273"/>
                <a:gd name="T6" fmla="*/ 70154 w 225"/>
                <a:gd name="T7" fmla="*/ 49213 h 273"/>
                <a:gd name="T8" fmla="*/ 74888 w 225"/>
                <a:gd name="T9" fmla="*/ 53446 h 273"/>
                <a:gd name="T10" fmla="*/ 83926 w 225"/>
                <a:gd name="T11" fmla="*/ 55563 h 273"/>
                <a:gd name="T12" fmla="*/ 96838 w 225"/>
                <a:gd name="T13" fmla="*/ 56092 h 273"/>
                <a:gd name="T14" fmla="*/ 96838 w 225"/>
                <a:gd name="T15" fmla="*/ 80434 h 273"/>
                <a:gd name="T16" fmla="*/ 96408 w 225"/>
                <a:gd name="T17" fmla="*/ 93134 h 273"/>
                <a:gd name="T18" fmla="*/ 92534 w 225"/>
                <a:gd name="T19" fmla="*/ 98955 h 273"/>
                <a:gd name="T20" fmla="*/ 84787 w 225"/>
                <a:gd name="T21" fmla="*/ 108480 h 273"/>
                <a:gd name="T22" fmla="*/ 82635 w 225"/>
                <a:gd name="T23" fmla="*/ 113242 h 273"/>
                <a:gd name="T24" fmla="*/ 77040 w 225"/>
                <a:gd name="T25" fmla="*/ 115359 h 273"/>
                <a:gd name="T26" fmla="*/ 70584 w 225"/>
                <a:gd name="T27" fmla="*/ 119063 h 273"/>
                <a:gd name="T28" fmla="*/ 68432 w 225"/>
                <a:gd name="T29" fmla="*/ 124884 h 273"/>
                <a:gd name="T30" fmla="*/ 60255 w 225"/>
                <a:gd name="T31" fmla="*/ 128059 h 273"/>
                <a:gd name="T32" fmla="*/ 55090 w 225"/>
                <a:gd name="T33" fmla="*/ 133350 h 273"/>
                <a:gd name="T34" fmla="*/ 43470 w 225"/>
                <a:gd name="T35" fmla="*/ 134938 h 273"/>
                <a:gd name="T36" fmla="*/ 25823 w 225"/>
                <a:gd name="T37" fmla="*/ 138113 h 273"/>
                <a:gd name="T38" fmla="*/ 8177 w 225"/>
                <a:gd name="T39" fmla="*/ 138113 h 273"/>
                <a:gd name="T40" fmla="*/ 0 w 225"/>
                <a:gd name="T41" fmla="*/ 114830 h 273"/>
                <a:gd name="T42" fmla="*/ 9038 w 225"/>
                <a:gd name="T43" fmla="*/ 112184 h 273"/>
                <a:gd name="T44" fmla="*/ 11190 w 225"/>
                <a:gd name="T45" fmla="*/ 108480 h 273"/>
                <a:gd name="T46" fmla="*/ 25823 w 225"/>
                <a:gd name="T47" fmla="*/ 106892 h 273"/>
                <a:gd name="T48" fmla="*/ 30988 w 225"/>
                <a:gd name="T49" fmla="*/ 102130 h 273"/>
                <a:gd name="T50" fmla="*/ 20659 w 225"/>
                <a:gd name="T51" fmla="*/ 104775 h 273"/>
                <a:gd name="T52" fmla="*/ 17216 w 225"/>
                <a:gd name="T53" fmla="*/ 104246 h 273"/>
                <a:gd name="T54" fmla="*/ 16785 w 225"/>
                <a:gd name="T55" fmla="*/ 99484 h 273"/>
                <a:gd name="T56" fmla="*/ 19798 w 225"/>
                <a:gd name="T57" fmla="*/ 91546 h 273"/>
                <a:gd name="T58" fmla="*/ 16785 w 225"/>
                <a:gd name="T59" fmla="*/ 84667 h 273"/>
                <a:gd name="T60" fmla="*/ 6025 w 225"/>
                <a:gd name="T61" fmla="*/ 79375 h 273"/>
                <a:gd name="T62" fmla="*/ 2582 w 225"/>
                <a:gd name="T63" fmla="*/ 68792 h 273"/>
                <a:gd name="T64" fmla="*/ 9469 w 225"/>
                <a:gd name="T65" fmla="*/ 60854 h 273"/>
                <a:gd name="T66" fmla="*/ 15064 w 225"/>
                <a:gd name="T67" fmla="*/ 53975 h 273"/>
                <a:gd name="T68" fmla="*/ 29267 w 225"/>
                <a:gd name="T69" fmla="*/ 49742 h 273"/>
                <a:gd name="T70" fmla="*/ 38735 w 225"/>
                <a:gd name="T71" fmla="*/ 49742 h 273"/>
                <a:gd name="T72" fmla="*/ 43039 w 225"/>
                <a:gd name="T73" fmla="*/ 46567 h 273"/>
                <a:gd name="T74" fmla="*/ 46482 w 225"/>
                <a:gd name="T75" fmla="*/ 27517 h 273"/>
                <a:gd name="T76" fmla="*/ 51647 w 225"/>
                <a:gd name="T77" fmla="*/ 16404 h 273"/>
                <a:gd name="T78" fmla="*/ 55951 w 225"/>
                <a:gd name="T79" fmla="*/ 10583 h 273"/>
                <a:gd name="T80" fmla="*/ 60685 w 225"/>
                <a:gd name="T81" fmla="*/ 3704 h 273"/>
                <a:gd name="T82" fmla="*/ 66711 w 225"/>
                <a:gd name="T83" fmla="*/ 529 h 273"/>
                <a:gd name="T84" fmla="*/ 77040 w 225"/>
                <a:gd name="T85" fmla="*/ 1588 h 273"/>
                <a:gd name="T86" fmla="*/ 83926 w 225"/>
                <a:gd name="T87" fmla="*/ 20108 h 273"/>
                <a:gd name="T88" fmla="*/ 84357 w 225"/>
                <a:gd name="T89" fmla="*/ 24871 h 273"/>
                <a:gd name="T90" fmla="*/ 81774 w 225"/>
                <a:gd name="T91" fmla="*/ 29633 h 27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15" name="Freeform 235">
              <a:extLst>
                <a:ext uri="{FF2B5EF4-FFF2-40B4-BE49-F238E27FC236}">
                  <a16:creationId xmlns:a16="http://schemas.microsoft.com/office/drawing/2014/main" id="{9FF2DA2D-8396-49C1-812F-D8E1BA48F23C}"/>
                </a:ext>
              </a:extLst>
            </p:cNvPr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5118100" y="2813051"/>
              <a:ext cx="306388" cy="390525"/>
            </a:xfrm>
            <a:custGeom>
              <a:avLst/>
              <a:gdLst>
                <a:gd name="T0" fmla="*/ 124140 w 232"/>
                <a:gd name="T1" fmla="*/ 387376 h 248"/>
                <a:gd name="T2" fmla="*/ 126781 w 232"/>
                <a:gd name="T3" fmla="*/ 382652 h 248"/>
                <a:gd name="T4" fmla="*/ 129423 w 232"/>
                <a:gd name="T5" fmla="*/ 374778 h 248"/>
                <a:gd name="T6" fmla="*/ 132064 w 232"/>
                <a:gd name="T7" fmla="*/ 365330 h 248"/>
                <a:gd name="T8" fmla="*/ 136026 w 232"/>
                <a:gd name="T9" fmla="*/ 363755 h 248"/>
                <a:gd name="T10" fmla="*/ 137346 w 232"/>
                <a:gd name="T11" fmla="*/ 374778 h 248"/>
                <a:gd name="T12" fmla="*/ 139988 w 232"/>
                <a:gd name="T13" fmla="*/ 379502 h 248"/>
                <a:gd name="T14" fmla="*/ 142629 w 232"/>
                <a:gd name="T15" fmla="*/ 381077 h 248"/>
                <a:gd name="T16" fmla="*/ 145270 w 232"/>
                <a:gd name="T17" fmla="*/ 381077 h 248"/>
                <a:gd name="T18" fmla="*/ 149232 w 232"/>
                <a:gd name="T19" fmla="*/ 379502 h 248"/>
                <a:gd name="T20" fmla="*/ 153194 w 232"/>
                <a:gd name="T21" fmla="*/ 374778 h 248"/>
                <a:gd name="T22" fmla="*/ 285258 w 232"/>
                <a:gd name="T23" fmla="*/ 368479 h 248"/>
                <a:gd name="T24" fmla="*/ 281296 w 232"/>
                <a:gd name="T25" fmla="*/ 321238 h 248"/>
                <a:gd name="T26" fmla="*/ 273372 w 232"/>
                <a:gd name="T27" fmla="*/ 217308 h 248"/>
                <a:gd name="T28" fmla="*/ 265448 w 232"/>
                <a:gd name="T29" fmla="*/ 114953 h 248"/>
                <a:gd name="T30" fmla="*/ 261486 w 232"/>
                <a:gd name="T31" fmla="*/ 67712 h 248"/>
                <a:gd name="T32" fmla="*/ 283937 w 232"/>
                <a:gd name="T33" fmla="*/ 69287 h 248"/>
                <a:gd name="T34" fmla="*/ 306388 w 232"/>
                <a:gd name="T35" fmla="*/ 72436 h 248"/>
                <a:gd name="T36" fmla="*/ 212623 w 232"/>
                <a:gd name="T37" fmla="*/ 3149 h 248"/>
                <a:gd name="T38" fmla="*/ 211302 w 232"/>
                <a:gd name="T39" fmla="*/ 12598 h 248"/>
                <a:gd name="T40" fmla="*/ 212623 w 232"/>
                <a:gd name="T41" fmla="*/ 28345 h 248"/>
                <a:gd name="T42" fmla="*/ 129423 w 232"/>
                <a:gd name="T43" fmla="*/ 37793 h 248"/>
                <a:gd name="T44" fmla="*/ 129423 w 232"/>
                <a:gd name="T45" fmla="*/ 116528 h 248"/>
                <a:gd name="T46" fmla="*/ 125461 w 232"/>
                <a:gd name="T47" fmla="*/ 119677 h 248"/>
                <a:gd name="T48" fmla="*/ 114896 w 232"/>
                <a:gd name="T49" fmla="*/ 122826 h 248"/>
                <a:gd name="T50" fmla="*/ 95086 w 232"/>
                <a:gd name="T51" fmla="*/ 129125 h 248"/>
                <a:gd name="T52" fmla="*/ 97727 w 232"/>
                <a:gd name="T53" fmla="*/ 138573 h 248"/>
                <a:gd name="T54" fmla="*/ 103010 w 232"/>
                <a:gd name="T55" fmla="*/ 151171 h 248"/>
                <a:gd name="T56" fmla="*/ 105651 w 232"/>
                <a:gd name="T57" fmla="*/ 165343 h 248"/>
                <a:gd name="T58" fmla="*/ 106972 w 232"/>
                <a:gd name="T59" fmla="*/ 181090 h 248"/>
                <a:gd name="T60" fmla="*/ 11886 w 232"/>
                <a:gd name="T61" fmla="*/ 187389 h 248"/>
                <a:gd name="T62" fmla="*/ 6603 w 232"/>
                <a:gd name="T63" fmla="*/ 204711 h 248"/>
                <a:gd name="T64" fmla="*/ 7924 w 232"/>
                <a:gd name="T65" fmla="*/ 225182 h 248"/>
                <a:gd name="T66" fmla="*/ 10565 w 232"/>
                <a:gd name="T67" fmla="*/ 244078 h 248"/>
                <a:gd name="T68" fmla="*/ 11886 w 232"/>
                <a:gd name="T69" fmla="*/ 264549 h 248"/>
                <a:gd name="T70" fmla="*/ 11886 w 232"/>
                <a:gd name="T71" fmla="*/ 286595 h 248"/>
                <a:gd name="T72" fmla="*/ 10565 w 232"/>
                <a:gd name="T73" fmla="*/ 305491 h 248"/>
                <a:gd name="T74" fmla="*/ 7924 w 232"/>
                <a:gd name="T75" fmla="*/ 324388 h 248"/>
                <a:gd name="T76" fmla="*/ 2641 w 232"/>
                <a:gd name="T77" fmla="*/ 340135 h 248"/>
                <a:gd name="T78" fmla="*/ 2641 w 232"/>
                <a:gd name="T79" fmla="*/ 344859 h 248"/>
                <a:gd name="T80" fmla="*/ 3962 w 232"/>
                <a:gd name="T81" fmla="*/ 346433 h 248"/>
                <a:gd name="T82" fmla="*/ 3962 w 232"/>
                <a:gd name="T83" fmla="*/ 349583 h 248"/>
                <a:gd name="T84" fmla="*/ 9244 w 232"/>
                <a:gd name="T85" fmla="*/ 341709 h 248"/>
                <a:gd name="T86" fmla="*/ 23771 w 232"/>
                <a:gd name="T87" fmla="*/ 335411 h 248"/>
                <a:gd name="T88" fmla="*/ 47543 w 232"/>
                <a:gd name="T89" fmla="*/ 325962 h 248"/>
                <a:gd name="T90" fmla="*/ 59429 w 232"/>
                <a:gd name="T91" fmla="*/ 327537 h 248"/>
                <a:gd name="T92" fmla="*/ 67353 w 232"/>
                <a:gd name="T93" fmla="*/ 333836 h 248"/>
                <a:gd name="T94" fmla="*/ 73956 w 232"/>
                <a:gd name="T95" fmla="*/ 336985 h 248"/>
                <a:gd name="T96" fmla="*/ 81880 w 232"/>
                <a:gd name="T97" fmla="*/ 338560 h 248"/>
                <a:gd name="T98" fmla="*/ 87162 w 232"/>
                <a:gd name="T99" fmla="*/ 344859 h 248"/>
                <a:gd name="T100" fmla="*/ 88483 w 232"/>
                <a:gd name="T101" fmla="*/ 354307 h 248"/>
                <a:gd name="T102" fmla="*/ 92445 w 232"/>
                <a:gd name="T103" fmla="*/ 363755 h 248"/>
                <a:gd name="T104" fmla="*/ 97727 w 232"/>
                <a:gd name="T105" fmla="*/ 370054 h 248"/>
                <a:gd name="T106" fmla="*/ 112254 w 232"/>
                <a:gd name="T107" fmla="*/ 382652 h 2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6" name="Freeform 236">
              <a:extLst>
                <a:ext uri="{FF2B5EF4-FFF2-40B4-BE49-F238E27FC236}">
                  <a16:creationId xmlns:a16="http://schemas.microsoft.com/office/drawing/2014/main" id="{987D597A-C8BD-4497-8241-03641FA4DB93}"/>
                </a:ext>
              </a:extLst>
            </p:cNvPr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5233989" y="2873376"/>
              <a:ext cx="414337" cy="468313"/>
            </a:xfrm>
            <a:custGeom>
              <a:avLst/>
              <a:gdLst>
                <a:gd name="T0" fmla="*/ 39336 w 948"/>
                <a:gd name="T1" fmla="*/ 413248 h 893"/>
                <a:gd name="T2" fmla="*/ 52885 w 948"/>
                <a:gd name="T3" fmla="*/ 413248 h 893"/>
                <a:gd name="T4" fmla="*/ 63811 w 948"/>
                <a:gd name="T5" fmla="*/ 410626 h 893"/>
                <a:gd name="T6" fmla="*/ 81294 w 948"/>
                <a:gd name="T7" fmla="*/ 406955 h 893"/>
                <a:gd name="T8" fmla="*/ 86102 w 948"/>
                <a:gd name="T9" fmla="*/ 426359 h 893"/>
                <a:gd name="T10" fmla="*/ 92658 w 948"/>
                <a:gd name="T11" fmla="*/ 437896 h 893"/>
                <a:gd name="T12" fmla="*/ 98777 w 948"/>
                <a:gd name="T13" fmla="*/ 443665 h 893"/>
                <a:gd name="T14" fmla="*/ 107518 w 948"/>
                <a:gd name="T15" fmla="*/ 445763 h 893"/>
                <a:gd name="T16" fmla="*/ 107518 w 948"/>
                <a:gd name="T17" fmla="*/ 462020 h 893"/>
                <a:gd name="T18" fmla="*/ 142483 w 948"/>
                <a:gd name="T19" fmla="*/ 466215 h 893"/>
                <a:gd name="T20" fmla="*/ 145979 w 948"/>
                <a:gd name="T21" fmla="*/ 459398 h 893"/>
                <a:gd name="T22" fmla="*/ 151661 w 948"/>
                <a:gd name="T23" fmla="*/ 456776 h 893"/>
                <a:gd name="T24" fmla="*/ 152098 w 948"/>
                <a:gd name="T25" fmla="*/ 465691 h 893"/>
                <a:gd name="T26" fmla="*/ 156469 w 948"/>
                <a:gd name="T27" fmla="*/ 468313 h 893"/>
                <a:gd name="T28" fmla="*/ 168270 w 948"/>
                <a:gd name="T29" fmla="*/ 468313 h 893"/>
                <a:gd name="T30" fmla="*/ 175263 w 948"/>
                <a:gd name="T31" fmla="*/ 447860 h 893"/>
                <a:gd name="T32" fmla="*/ 180071 w 948"/>
                <a:gd name="T33" fmla="*/ 413248 h 893"/>
                <a:gd name="T34" fmla="*/ 185315 w 948"/>
                <a:gd name="T35" fmla="*/ 404333 h 893"/>
                <a:gd name="T36" fmla="*/ 197553 w 948"/>
                <a:gd name="T37" fmla="*/ 395418 h 893"/>
                <a:gd name="T38" fmla="*/ 211976 w 948"/>
                <a:gd name="T39" fmla="*/ 389649 h 893"/>
                <a:gd name="T40" fmla="*/ 218969 w 948"/>
                <a:gd name="T41" fmla="*/ 382307 h 893"/>
                <a:gd name="T42" fmla="*/ 225088 w 948"/>
                <a:gd name="T43" fmla="*/ 368148 h 893"/>
                <a:gd name="T44" fmla="*/ 233829 w 948"/>
                <a:gd name="T45" fmla="*/ 350317 h 893"/>
                <a:gd name="T46" fmla="*/ 239074 w 948"/>
                <a:gd name="T47" fmla="*/ 346122 h 893"/>
                <a:gd name="T48" fmla="*/ 250001 w 948"/>
                <a:gd name="T49" fmla="*/ 345597 h 893"/>
                <a:gd name="T50" fmla="*/ 264424 w 948"/>
                <a:gd name="T51" fmla="*/ 337731 h 893"/>
                <a:gd name="T52" fmla="*/ 279284 w 948"/>
                <a:gd name="T53" fmla="*/ 327242 h 893"/>
                <a:gd name="T54" fmla="*/ 294581 w 948"/>
                <a:gd name="T55" fmla="*/ 321474 h 893"/>
                <a:gd name="T56" fmla="*/ 316435 w 948"/>
                <a:gd name="T57" fmla="*/ 319900 h 893"/>
                <a:gd name="T58" fmla="*/ 344407 w 948"/>
                <a:gd name="T59" fmla="*/ 315705 h 893"/>
                <a:gd name="T60" fmla="*/ 356207 w 948"/>
                <a:gd name="T61" fmla="*/ 311509 h 893"/>
                <a:gd name="T62" fmla="*/ 377187 w 948"/>
                <a:gd name="T63" fmla="*/ 309412 h 893"/>
                <a:gd name="T64" fmla="*/ 393795 w 948"/>
                <a:gd name="T65" fmla="*/ 305741 h 893"/>
                <a:gd name="T66" fmla="*/ 399040 w 948"/>
                <a:gd name="T67" fmla="*/ 301021 h 893"/>
                <a:gd name="T68" fmla="*/ 406907 w 948"/>
                <a:gd name="T69" fmla="*/ 285288 h 893"/>
                <a:gd name="T70" fmla="*/ 412152 w 948"/>
                <a:gd name="T71" fmla="*/ 264311 h 893"/>
                <a:gd name="T72" fmla="*/ 414337 w 948"/>
                <a:gd name="T73" fmla="*/ 241761 h 893"/>
                <a:gd name="T74" fmla="*/ 413900 w 948"/>
                <a:gd name="T75" fmla="*/ 220784 h 893"/>
                <a:gd name="T76" fmla="*/ 412152 w 948"/>
                <a:gd name="T77" fmla="*/ 190367 h 893"/>
                <a:gd name="T78" fmla="*/ 402973 w 948"/>
                <a:gd name="T79" fmla="*/ 186696 h 893"/>
                <a:gd name="T80" fmla="*/ 376749 w 948"/>
                <a:gd name="T81" fmla="*/ 168865 h 893"/>
                <a:gd name="T82" fmla="*/ 347029 w 948"/>
                <a:gd name="T83" fmla="*/ 145791 h 893"/>
                <a:gd name="T84" fmla="*/ 322553 w 948"/>
                <a:gd name="T85" fmla="*/ 113276 h 893"/>
                <a:gd name="T86" fmla="*/ 180071 w 948"/>
                <a:gd name="T87" fmla="*/ 6293 h 893"/>
                <a:gd name="T88" fmla="*/ 152098 w 948"/>
                <a:gd name="T89" fmla="*/ 53492 h 893"/>
                <a:gd name="T90" fmla="*/ 165647 w 948"/>
                <a:gd name="T91" fmla="*/ 212393 h 893"/>
                <a:gd name="T92" fmla="*/ 171329 w 948"/>
                <a:gd name="T93" fmla="*/ 296301 h 893"/>
                <a:gd name="T94" fmla="*/ 40647 w 948"/>
                <a:gd name="T95" fmla="*/ 309936 h 893"/>
                <a:gd name="T96" fmla="*/ 34528 w 948"/>
                <a:gd name="T97" fmla="*/ 317803 h 893"/>
                <a:gd name="T98" fmla="*/ 29283 w 948"/>
                <a:gd name="T99" fmla="*/ 319900 h 893"/>
                <a:gd name="T100" fmla="*/ 24913 w 948"/>
                <a:gd name="T101" fmla="*/ 318327 h 893"/>
                <a:gd name="T102" fmla="*/ 21416 w 948"/>
                <a:gd name="T103" fmla="*/ 309936 h 893"/>
                <a:gd name="T104" fmla="*/ 17483 w 948"/>
                <a:gd name="T105" fmla="*/ 304692 h 893"/>
                <a:gd name="T106" fmla="*/ 12675 w 948"/>
                <a:gd name="T107" fmla="*/ 317278 h 893"/>
                <a:gd name="T108" fmla="*/ 6556 w 948"/>
                <a:gd name="T109" fmla="*/ 326718 h 893"/>
                <a:gd name="T110" fmla="*/ 29283 w 948"/>
                <a:gd name="T111" fmla="*/ 384405 h 893"/>
                <a:gd name="T112" fmla="*/ 26661 w 948"/>
                <a:gd name="T113" fmla="*/ 392271 h 893"/>
                <a:gd name="T114" fmla="*/ 27098 w 948"/>
                <a:gd name="T115" fmla="*/ 398564 h 893"/>
                <a:gd name="T116" fmla="*/ 23601 w 948"/>
                <a:gd name="T117" fmla="*/ 413248 h 89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7" name="Freeform 237">
              <a:extLst>
                <a:ext uri="{FF2B5EF4-FFF2-40B4-BE49-F238E27FC236}">
                  <a16:creationId xmlns:a16="http://schemas.microsoft.com/office/drawing/2014/main" id="{C5CB8EFE-D79A-4817-B196-D7CED3F82209}"/>
                </a:ext>
              </a:extLst>
            </p:cNvPr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5332413" y="2479675"/>
              <a:ext cx="493712" cy="579438"/>
            </a:xfrm>
            <a:custGeom>
              <a:avLst/>
              <a:gdLst>
                <a:gd name="T0" fmla="*/ 315023 w 373"/>
                <a:gd name="T1" fmla="*/ 574740 h 370"/>
                <a:gd name="T2" fmla="*/ 322964 w 373"/>
                <a:gd name="T3" fmla="*/ 571608 h 370"/>
                <a:gd name="T4" fmla="*/ 337524 w 373"/>
                <a:gd name="T5" fmla="*/ 576306 h 370"/>
                <a:gd name="T6" fmla="*/ 492388 w 373"/>
                <a:gd name="T7" fmla="*/ 433795 h 370"/>
                <a:gd name="T8" fmla="*/ 488418 w 373"/>
                <a:gd name="T9" fmla="*/ 422833 h 370"/>
                <a:gd name="T10" fmla="*/ 477829 w 373"/>
                <a:gd name="T11" fmla="*/ 413437 h 370"/>
                <a:gd name="T12" fmla="*/ 459298 w 373"/>
                <a:gd name="T13" fmla="*/ 405607 h 370"/>
                <a:gd name="T14" fmla="*/ 448709 w 373"/>
                <a:gd name="T15" fmla="*/ 397776 h 370"/>
                <a:gd name="T16" fmla="*/ 444738 w 373"/>
                <a:gd name="T17" fmla="*/ 386814 h 370"/>
                <a:gd name="T18" fmla="*/ 446062 w 373"/>
                <a:gd name="T19" fmla="*/ 357059 h 370"/>
                <a:gd name="T20" fmla="*/ 446062 w 373"/>
                <a:gd name="T21" fmla="*/ 306946 h 370"/>
                <a:gd name="T22" fmla="*/ 442091 w 373"/>
                <a:gd name="T23" fmla="*/ 263096 h 370"/>
                <a:gd name="T24" fmla="*/ 435473 w 373"/>
                <a:gd name="T25" fmla="*/ 242738 h 370"/>
                <a:gd name="T26" fmla="*/ 427531 w 373"/>
                <a:gd name="T27" fmla="*/ 222379 h 370"/>
                <a:gd name="T28" fmla="*/ 416942 w 373"/>
                <a:gd name="T29" fmla="*/ 170699 h 370"/>
                <a:gd name="T30" fmla="*/ 405029 w 373"/>
                <a:gd name="T31" fmla="*/ 140944 h 370"/>
                <a:gd name="T32" fmla="*/ 393117 w 373"/>
                <a:gd name="T33" fmla="*/ 122152 h 370"/>
                <a:gd name="T34" fmla="*/ 397087 w 373"/>
                <a:gd name="T35" fmla="*/ 98661 h 370"/>
                <a:gd name="T36" fmla="*/ 398411 w 373"/>
                <a:gd name="T37" fmla="*/ 67340 h 370"/>
                <a:gd name="T38" fmla="*/ 399735 w 373"/>
                <a:gd name="T39" fmla="*/ 36019 h 370"/>
                <a:gd name="T40" fmla="*/ 410324 w 373"/>
                <a:gd name="T41" fmla="*/ 10962 h 370"/>
                <a:gd name="T42" fmla="*/ 399735 w 373"/>
                <a:gd name="T43" fmla="*/ 9396 h 370"/>
                <a:gd name="T44" fmla="*/ 367968 w 373"/>
                <a:gd name="T45" fmla="*/ 18793 h 370"/>
                <a:gd name="T46" fmla="*/ 324288 w 373"/>
                <a:gd name="T47" fmla="*/ 18793 h 370"/>
                <a:gd name="T48" fmla="*/ 272667 w 373"/>
                <a:gd name="T49" fmla="*/ 21925 h 370"/>
                <a:gd name="T50" fmla="*/ 222369 w 373"/>
                <a:gd name="T51" fmla="*/ 37585 h 370"/>
                <a:gd name="T52" fmla="*/ 191926 w 373"/>
                <a:gd name="T53" fmla="*/ 50114 h 370"/>
                <a:gd name="T54" fmla="*/ 164129 w 373"/>
                <a:gd name="T55" fmla="*/ 68906 h 370"/>
                <a:gd name="T56" fmla="*/ 162806 w 373"/>
                <a:gd name="T57" fmla="*/ 81435 h 370"/>
                <a:gd name="T58" fmla="*/ 173395 w 373"/>
                <a:gd name="T59" fmla="*/ 139378 h 370"/>
                <a:gd name="T60" fmla="*/ 177366 w 373"/>
                <a:gd name="T61" fmla="*/ 145643 h 370"/>
                <a:gd name="T62" fmla="*/ 186631 w 373"/>
                <a:gd name="T63" fmla="*/ 153473 h 370"/>
                <a:gd name="T64" fmla="*/ 187955 w 373"/>
                <a:gd name="T65" fmla="*/ 159737 h 370"/>
                <a:gd name="T66" fmla="*/ 183984 w 373"/>
                <a:gd name="T67" fmla="*/ 167567 h 370"/>
                <a:gd name="T68" fmla="*/ 169424 w 373"/>
                <a:gd name="T69" fmla="*/ 167567 h 370"/>
                <a:gd name="T70" fmla="*/ 140304 w 373"/>
                <a:gd name="T71" fmla="*/ 176963 h 370"/>
                <a:gd name="T72" fmla="*/ 125744 w 373"/>
                <a:gd name="T73" fmla="*/ 191058 h 370"/>
                <a:gd name="T74" fmla="*/ 119126 w 373"/>
                <a:gd name="T75" fmla="*/ 205152 h 370"/>
                <a:gd name="T76" fmla="*/ 108537 w 373"/>
                <a:gd name="T77" fmla="*/ 214549 h 370"/>
                <a:gd name="T78" fmla="*/ 87359 w 373"/>
                <a:gd name="T79" fmla="*/ 234907 h 370"/>
                <a:gd name="T80" fmla="*/ 67505 w 373"/>
                <a:gd name="T81" fmla="*/ 247436 h 370"/>
                <a:gd name="T82" fmla="*/ 41032 w 373"/>
                <a:gd name="T83" fmla="*/ 250568 h 370"/>
                <a:gd name="T84" fmla="*/ 26472 w 373"/>
                <a:gd name="T85" fmla="*/ 256832 h 370"/>
                <a:gd name="T86" fmla="*/ 10589 w 373"/>
                <a:gd name="T87" fmla="*/ 272492 h 370"/>
                <a:gd name="T88" fmla="*/ 0 w 373"/>
                <a:gd name="T89" fmla="*/ 313210 h 370"/>
                <a:gd name="T90" fmla="*/ 236929 w 373"/>
                <a:gd name="T91" fmla="*/ 518362 h 370"/>
                <a:gd name="T92" fmla="*/ 266049 w 373"/>
                <a:gd name="T93" fmla="*/ 551249 h 370"/>
                <a:gd name="T94" fmla="*/ 303110 w 373"/>
                <a:gd name="T95" fmla="*/ 576306 h 3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8" name="Freeform 238">
              <a:extLst>
                <a:ext uri="{FF2B5EF4-FFF2-40B4-BE49-F238E27FC236}">
                  <a16:creationId xmlns:a16="http://schemas.microsoft.com/office/drawing/2014/main" id="{6BFD8885-D5B0-4396-9039-A56D47A5FC9D}"/>
                </a:ext>
              </a:extLst>
            </p:cNvPr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5768976" y="2614613"/>
              <a:ext cx="384175" cy="436562"/>
            </a:xfrm>
            <a:custGeom>
              <a:avLst/>
              <a:gdLst>
                <a:gd name="T0" fmla="*/ 15770 w 877"/>
                <a:gd name="T1" fmla="*/ 74522 h 826"/>
                <a:gd name="T2" fmla="*/ 20151 w 877"/>
                <a:gd name="T3" fmla="*/ 57609 h 826"/>
                <a:gd name="T4" fmla="*/ 20151 w 877"/>
                <a:gd name="T5" fmla="*/ 36997 h 826"/>
                <a:gd name="T6" fmla="*/ 26721 w 877"/>
                <a:gd name="T7" fmla="*/ 33826 h 826"/>
                <a:gd name="T8" fmla="*/ 38987 w 877"/>
                <a:gd name="T9" fmla="*/ 29069 h 826"/>
                <a:gd name="T10" fmla="*/ 43368 w 877"/>
                <a:gd name="T11" fmla="*/ 10571 h 826"/>
                <a:gd name="T12" fmla="*/ 73593 w 877"/>
                <a:gd name="T13" fmla="*/ 3171 h 826"/>
                <a:gd name="T14" fmla="*/ 106010 w 877"/>
                <a:gd name="T15" fmla="*/ 12685 h 826"/>
                <a:gd name="T16" fmla="*/ 119589 w 877"/>
                <a:gd name="T17" fmla="*/ 22727 h 826"/>
                <a:gd name="T18" fmla="*/ 124846 w 877"/>
                <a:gd name="T19" fmla="*/ 41225 h 826"/>
                <a:gd name="T20" fmla="*/ 129226 w 877"/>
                <a:gd name="T21" fmla="*/ 53381 h 826"/>
                <a:gd name="T22" fmla="*/ 142368 w 877"/>
                <a:gd name="T23" fmla="*/ 58138 h 826"/>
                <a:gd name="T24" fmla="*/ 159014 w 877"/>
                <a:gd name="T25" fmla="*/ 57609 h 826"/>
                <a:gd name="T26" fmla="*/ 184422 w 877"/>
                <a:gd name="T27" fmla="*/ 70294 h 826"/>
                <a:gd name="T28" fmla="*/ 209391 w 877"/>
                <a:gd name="T29" fmla="*/ 85621 h 826"/>
                <a:gd name="T30" fmla="*/ 224723 w 877"/>
                <a:gd name="T31" fmla="*/ 87735 h 826"/>
                <a:gd name="T32" fmla="*/ 235674 w 877"/>
                <a:gd name="T33" fmla="*/ 83507 h 826"/>
                <a:gd name="T34" fmla="*/ 240493 w 877"/>
                <a:gd name="T35" fmla="*/ 66594 h 826"/>
                <a:gd name="T36" fmla="*/ 238302 w 877"/>
                <a:gd name="T37" fmla="*/ 54438 h 826"/>
                <a:gd name="T38" fmla="*/ 232608 w 877"/>
                <a:gd name="T39" fmla="*/ 42811 h 826"/>
                <a:gd name="T40" fmla="*/ 236112 w 877"/>
                <a:gd name="T41" fmla="*/ 25898 h 826"/>
                <a:gd name="T42" fmla="*/ 251444 w 877"/>
                <a:gd name="T43" fmla="*/ 17970 h 826"/>
                <a:gd name="T44" fmla="*/ 270280 w 877"/>
                <a:gd name="T45" fmla="*/ 2114 h 826"/>
                <a:gd name="T46" fmla="*/ 284736 w 877"/>
                <a:gd name="T47" fmla="*/ 0 h 826"/>
                <a:gd name="T48" fmla="*/ 298316 w 877"/>
                <a:gd name="T49" fmla="*/ 3171 h 826"/>
                <a:gd name="T50" fmla="*/ 304449 w 877"/>
                <a:gd name="T51" fmla="*/ 12685 h 826"/>
                <a:gd name="T52" fmla="*/ 309267 w 877"/>
                <a:gd name="T53" fmla="*/ 26426 h 826"/>
                <a:gd name="T54" fmla="*/ 318905 w 877"/>
                <a:gd name="T55" fmla="*/ 33297 h 826"/>
                <a:gd name="T56" fmla="*/ 349569 w 877"/>
                <a:gd name="T57" fmla="*/ 37525 h 826"/>
                <a:gd name="T58" fmla="*/ 363586 w 877"/>
                <a:gd name="T59" fmla="*/ 51267 h 826"/>
                <a:gd name="T60" fmla="*/ 365339 w 877"/>
                <a:gd name="T61" fmla="*/ 61837 h 826"/>
                <a:gd name="T62" fmla="*/ 369281 w 877"/>
                <a:gd name="T63" fmla="*/ 73994 h 826"/>
                <a:gd name="T64" fmla="*/ 366215 w 877"/>
                <a:gd name="T65" fmla="*/ 84036 h 826"/>
                <a:gd name="T66" fmla="*/ 360958 w 877"/>
                <a:gd name="T67" fmla="*/ 89849 h 826"/>
                <a:gd name="T68" fmla="*/ 363148 w 877"/>
                <a:gd name="T69" fmla="*/ 109405 h 826"/>
                <a:gd name="T70" fmla="*/ 375852 w 877"/>
                <a:gd name="T71" fmla="*/ 129489 h 826"/>
                <a:gd name="T72" fmla="*/ 383737 w 877"/>
                <a:gd name="T73" fmla="*/ 363097 h 826"/>
                <a:gd name="T74" fmla="*/ 384175 w 877"/>
                <a:gd name="T75" fmla="*/ 391637 h 826"/>
                <a:gd name="T76" fmla="*/ 381109 w 877"/>
                <a:gd name="T77" fmla="*/ 409607 h 826"/>
                <a:gd name="T78" fmla="*/ 371471 w 877"/>
                <a:gd name="T79" fmla="*/ 413835 h 826"/>
                <a:gd name="T80" fmla="*/ 363586 w 877"/>
                <a:gd name="T81" fmla="*/ 424934 h 826"/>
                <a:gd name="T82" fmla="*/ 160328 w 877"/>
                <a:gd name="T83" fmla="*/ 313416 h 826"/>
                <a:gd name="T84" fmla="*/ 144996 w 877"/>
                <a:gd name="T85" fmla="*/ 320815 h 826"/>
                <a:gd name="T86" fmla="*/ 127912 w 877"/>
                <a:gd name="T87" fmla="*/ 330857 h 826"/>
                <a:gd name="T88" fmla="*/ 115209 w 877"/>
                <a:gd name="T89" fmla="*/ 331385 h 826"/>
                <a:gd name="T90" fmla="*/ 100753 w 877"/>
                <a:gd name="T91" fmla="*/ 321872 h 826"/>
                <a:gd name="T92" fmla="*/ 84545 w 877"/>
                <a:gd name="T93" fmla="*/ 309716 h 826"/>
                <a:gd name="T94" fmla="*/ 66584 w 877"/>
                <a:gd name="T95" fmla="*/ 305488 h 826"/>
                <a:gd name="T96" fmla="*/ 60452 w 877"/>
                <a:gd name="T97" fmla="*/ 304959 h 826"/>
                <a:gd name="T98" fmla="*/ 56947 w 877"/>
                <a:gd name="T99" fmla="*/ 292275 h 826"/>
                <a:gd name="T100" fmla="*/ 47748 w 877"/>
                <a:gd name="T101" fmla="*/ 282761 h 826"/>
                <a:gd name="T102" fmla="*/ 27598 w 877"/>
                <a:gd name="T103" fmla="*/ 273248 h 826"/>
                <a:gd name="T104" fmla="*/ 12266 w 877"/>
                <a:gd name="T105" fmla="*/ 263734 h 826"/>
                <a:gd name="T106" fmla="*/ 7009 w 877"/>
                <a:gd name="T107" fmla="*/ 254749 h 826"/>
                <a:gd name="T108" fmla="*/ 6133 w 877"/>
                <a:gd name="T109" fmla="*/ 232023 h 826"/>
                <a:gd name="T110" fmla="*/ 8323 w 877"/>
                <a:gd name="T111" fmla="*/ 186041 h 826"/>
                <a:gd name="T112" fmla="*/ 7447 w 877"/>
                <a:gd name="T113" fmla="*/ 136360 h 826"/>
                <a:gd name="T114" fmla="*/ 1752 w 877"/>
                <a:gd name="T115" fmla="*/ 106762 h 8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9" name="Freeform 239">
              <a:extLst>
                <a:ext uri="{FF2B5EF4-FFF2-40B4-BE49-F238E27FC236}">
                  <a16:creationId xmlns:a16="http://schemas.microsoft.com/office/drawing/2014/main" id="{8B707453-F72A-4D7B-B3B3-04BF5C7208F7}"/>
                </a:ext>
              </a:extLst>
            </p:cNvPr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5721351" y="2479675"/>
              <a:ext cx="93663" cy="236538"/>
            </a:xfrm>
            <a:custGeom>
              <a:avLst/>
              <a:gdLst>
                <a:gd name="T0" fmla="*/ 46832 w 206"/>
                <a:gd name="T1" fmla="*/ 229260 h 455"/>
                <a:gd name="T2" fmla="*/ 56834 w 206"/>
                <a:gd name="T3" fmla="*/ 218343 h 455"/>
                <a:gd name="T4" fmla="*/ 63654 w 206"/>
                <a:gd name="T5" fmla="*/ 210025 h 455"/>
                <a:gd name="T6" fmla="*/ 66837 w 206"/>
                <a:gd name="T7" fmla="*/ 202747 h 455"/>
                <a:gd name="T8" fmla="*/ 69111 w 206"/>
                <a:gd name="T9" fmla="*/ 193909 h 455"/>
                <a:gd name="T10" fmla="*/ 70020 w 206"/>
                <a:gd name="T11" fmla="*/ 182992 h 455"/>
                <a:gd name="T12" fmla="*/ 69565 w 206"/>
                <a:gd name="T13" fmla="*/ 174154 h 455"/>
                <a:gd name="T14" fmla="*/ 70929 w 206"/>
                <a:gd name="T15" fmla="*/ 172075 h 455"/>
                <a:gd name="T16" fmla="*/ 76385 w 206"/>
                <a:gd name="T17" fmla="*/ 171035 h 455"/>
                <a:gd name="T18" fmla="*/ 84115 w 206"/>
                <a:gd name="T19" fmla="*/ 168956 h 455"/>
                <a:gd name="T20" fmla="*/ 89116 w 206"/>
                <a:gd name="T21" fmla="*/ 165317 h 455"/>
                <a:gd name="T22" fmla="*/ 92299 w 206"/>
                <a:gd name="T23" fmla="*/ 158039 h 455"/>
                <a:gd name="T24" fmla="*/ 93663 w 206"/>
                <a:gd name="T25" fmla="*/ 145562 h 455"/>
                <a:gd name="T26" fmla="*/ 91844 w 206"/>
                <a:gd name="T27" fmla="*/ 137764 h 455"/>
                <a:gd name="T28" fmla="*/ 87752 w 206"/>
                <a:gd name="T29" fmla="*/ 137244 h 455"/>
                <a:gd name="T30" fmla="*/ 80477 w 206"/>
                <a:gd name="T31" fmla="*/ 133085 h 455"/>
                <a:gd name="T32" fmla="*/ 70475 w 206"/>
                <a:gd name="T33" fmla="*/ 125807 h 455"/>
                <a:gd name="T34" fmla="*/ 63654 w 206"/>
                <a:gd name="T35" fmla="*/ 120089 h 455"/>
                <a:gd name="T36" fmla="*/ 59108 w 206"/>
                <a:gd name="T37" fmla="*/ 118529 h 455"/>
                <a:gd name="T38" fmla="*/ 54106 w 206"/>
                <a:gd name="T39" fmla="*/ 115410 h 455"/>
                <a:gd name="T40" fmla="*/ 45922 w 206"/>
                <a:gd name="T41" fmla="*/ 110211 h 455"/>
                <a:gd name="T42" fmla="*/ 43194 w 206"/>
                <a:gd name="T43" fmla="*/ 107092 h 455"/>
                <a:gd name="T44" fmla="*/ 43194 w 206"/>
                <a:gd name="T45" fmla="*/ 103453 h 455"/>
                <a:gd name="T46" fmla="*/ 47286 w 206"/>
                <a:gd name="T47" fmla="*/ 94095 h 455"/>
                <a:gd name="T48" fmla="*/ 54106 w 206"/>
                <a:gd name="T49" fmla="*/ 82138 h 455"/>
                <a:gd name="T50" fmla="*/ 60926 w 206"/>
                <a:gd name="T51" fmla="*/ 72781 h 455"/>
                <a:gd name="T52" fmla="*/ 61836 w 206"/>
                <a:gd name="T53" fmla="*/ 67062 h 455"/>
                <a:gd name="T54" fmla="*/ 57289 w 206"/>
                <a:gd name="T55" fmla="*/ 60304 h 455"/>
                <a:gd name="T56" fmla="*/ 52288 w 206"/>
                <a:gd name="T57" fmla="*/ 54586 h 455"/>
                <a:gd name="T58" fmla="*/ 49105 w 206"/>
                <a:gd name="T59" fmla="*/ 48347 h 455"/>
                <a:gd name="T60" fmla="*/ 48650 w 206"/>
                <a:gd name="T61" fmla="*/ 43669 h 455"/>
                <a:gd name="T62" fmla="*/ 50469 w 206"/>
                <a:gd name="T63" fmla="*/ 40549 h 455"/>
                <a:gd name="T64" fmla="*/ 52742 w 206"/>
                <a:gd name="T65" fmla="*/ 37430 h 455"/>
                <a:gd name="T66" fmla="*/ 55925 w 206"/>
                <a:gd name="T67" fmla="*/ 35871 h 455"/>
                <a:gd name="T68" fmla="*/ 57289 w 206"/>
                <a:gd name="T69" fmla="*/ 19235 h 455"/>
                <a:gd name="T70" fmla="*/ 50014 w 206"/>
                <a:gd name="T71" fmla="*/ 16636 h 455"/>
                <a:gd name="T72" fmla="*/ 39557 w 206"/>
                <a:gd name="T73" fmla="*/ 10917 h 455"/>
                <a:gd name="T74" fmla="*/ 24098 w 206"/>
                <a:gd name="T75" fmla="*/ 0 h 455"/>
                <a:gd name="T76" fmla="*/ 21370 w 206"/>
                <a:gd name="T77" fmla="*/ 5719 h 455"/>
                <a:gd name="T78" fmla="*/ 15459 w 206"/>
                <a:gd name="T79" fmla="*/ 22874 h 455"/>
                <a:gd name="T80" fmla="*/ 12731 w 206"/>
                <a:gd name="T81" fmla="*/ 36390 h 455"/>
                <a:gd name="T82" fmla="*/ 10003 w 206"/>
                <a:gd name="T83" fmla="*/ 51467 h 455"/>
                <a:gd name="T84" fmla="*/ 9093 w 206"/>
                <a:gd name="T85" fmla="*/ 69142 h 455"/>
                <a:gd name="T86" fmla="*/ 9093 w 206"/>
                <a:gd name="T87" fmla="*/ 89417 h 455"/>
                <a:gd name="T88" fmla="*/ 5456 w 206"/>
                <a:gd name="T89" fmla="*/ 97734 h 455"/>
                <a:gd name="T90" fmla="*/ 3637 w 206"/>
                <a:gd name="T91" fmla="*/ 107092 h 455"/>
                <a:gd name="T92" fmla="*/ 0 w 206"/>
                <a:gd name="T93" fmla="*/ 122168 h 455"/>
                <a:gd name="T94" fmla="*/ 10003 w 206"/>
                <a:gd name="T95" fmla="*/ 134645 h 455"/>
                <a:gd name="T96" fmla="*/ 18642 w 206"/>
                <a:gd name="T97" fmla="*/ 146082 h 455"/>
                <a:gd name="T98" fmla="*/ 25007 w 206"/>
                <a:gd name="T99" fmla="*/ 158558 h 455"/>
                <a:gd name="T100" fmla="*/ 30009 w 206"/>
                <a:gd name="T101" fmla="*/ 171035 h 455"/>
                <a:gd name="T102" fmla="*/ 34101 w 206"/>
                <a:gd name="T103" fmla="*/ 184552 h 455"/>
                <a:gd name="T104" fmla="*/ 37283 w 206"/>
                <a:gd name="T105" fmla="*/ 199628 h 455"/>
                <a:gd name="T106" fmla="*/ 42285 w 206"/>
                <a:gd name="T107" fmla="*/ 236538 h 45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0" name="Freeform 240">
              <a:extLst>
                <a:ext uri="{FF2B5EF4-FFF2-40B4-BE49-F238E27FC236}">
                  <a16:creationId xmlns:a16="http://schemas.microsoft.com/office/drawing/2014/main" id="{BC020C15-41A1-4FE3-938E-D7BB4EA4396D}"/>
                </a:ext>
              </a:extLst>
            </p:cNvPr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5103814" y="2790825"/>
              <a:ext cx="231775" cy="215900"/>
            </a:xfrm>
            <a:custGeom>
              <a:avLst/>
              <a:gdLst>
                <a:gd name="T0" fmla="*/ 145866 w 518"/>
                <a:gd name="T1" fmla="*/ 58495 h 406"/>
                <a:gd name="T2" fmla="*/ 145866 w 518"/>
                <a:gd name="T3" fmla="*/ 137729 h 406"/>
                <a:gd name="T4" fmla="*/ 140944 w 518"/>
                <a:gd name="T5" fmla="*/ 140388 h 406"/>
                <a:gd name="T6" fmla="*/ 130206 w 518"/>
                <a:gd name="T7" fmla="*/ 144111 h 406"/>
                <a:gd name="T8" fmla="*/ 110071 w 518"/>
                <a:gd name="T9" fmla="*/ 150492 h 406"/>
                <a:gd name="T10" fmla="*/ 113203 w 518"/>
                <a:gd name="T11" fmla="*/ 160596 h 406"/>
                <a:gd name="T12" fmla="*/ 118572 w 518"/>
                <a:gd name="T13" fmla="*/ 173358 h 406"/>
                <a:gd name="T14" fmla="*/ 120362 w 518"/>
                <a:gd name="T15" fmla="*/ 187716 h 406"/>
                <a:gd name="T16" fmla="*/ 121704 w 518"/>
                <a:gd name="T17" fmla="*/ 203137 h 406"/>
                <a:gd name="T18" fmla="*/ 23267 w 518"/>
                <a:gd name="T19" fmla="*/ 209519 h 406"/>
                <a:gd name="T20" fmla="*/ 9844 w 518"/>
                <a:gd name="T21" fmla="*/ 215900 h 406"/>
                <a:gd name="T22" fmla="*/ 2237 w 518"/>
                <a:gd name="T23" fmla="*/ 214305 h 406"/>
                <a:gd name="T24" fmla="*/ 447 w 518"/>
                <a:gd name="T25" fmla="*/ 211646 h 406"/>
                <a:gd name="T26" fmla="*/ 447 w 518"/>
                <a:gd name="T27" fmla="*/ 204733 h 406"/>
                <a:gd name="T28" fmla="*/ 1790 w 518"/>
                <a:gd name="T29" fmla="*/ 197288 h 406"/>
                <a:gd name="T30" fmla="*/ 4922 w 518"/>
                <a:gd name="T31" fmla="*/ 188248 h 406"/>
                <a:gd name="T32" fmla="*/ 8949 w 518"/>
                <a:gd name="T33" fmla="*/ 181335 h 406"/>
                <a:gd name="T34" fmla="*/ 13423 w 518"/>
                <a:gd name="T35" fmla="*/ 177612 h 406"/>
                <a:gd name="T36" fmla="*/ 17003 w 518"/>
                <a:gd name="T37" fmla="*/ 173358 h 406"/>
                <a:gd name="T38" fmla="*/ 19687 w 518"/>
                <a:gd name="T39" fmla="*/ 168572 h 406"/>
                <a:gd name="T40" fmla="*/ 21925 w 518"/>
                <a:gd name="T41" fmla="*/ 155278 h 406"/>
                <a:gd name="T42" fmla="*/ 25057 w 518"/>
                <a:gd name="T43" fmla="*/ 140920 h 406"/>
                <a:gd name="T44" fmla="*/ 27741 w 518"/>
                <a:gd name="T45" fmla="*/ 136666 h 406"/>
                <a:gd name="T46" fmla="*/ 33111 w 518"/>
                <a:gd name="T47" fmla="*/ 130816 h 406"/>
                <a:gd name="T48" fmla="*/ 41165 w 518"/>
                <a:gd name="T49" fmla="*/ 126562 h 406"/>
                <a:gd name="T50" fmla="*/ 47876 w 518"/>
                <a:gd name="T51" fmla="*/ 122840 h 406"/>
                <a:gd name="T52" fmla="*/ 54588 w 518"/>
                <a:gd name="T53" fmla="*/ 115927 h 406"/>
                <a:gd name="T54" fmla="*/ 60852 w 518"/>
                <a:gd name="T55" fmla="*/ 103696 h 406"/>
                <a:gd name="T56" fmla="*/ 67116 w 518"/>
                <a:gd name="T57" fmla="*/ 82957 h 406"/>
                <a:gd name="T58" fmla="*/ 72486 w 518"/>
                <a:gd name="T59" fmla="*/ 62217 h 406"/>
                <a:gd name="T60" fmla="*/ 76960 w 518"/>
                <a:gd name="T61" fmla="*/ 49987 h 406"/>
                <a:gd name="T62" fmla="*/ 83224 w 518"/>
                <a:gd name="T63" fmla="*/ 38819 h 406"/>
                <a:gd name="T64" fmla="*/ 89936 w 518"/>
                <a:gd name="T65" fmla="*/ 32970 h 406"/>
                <a:gd name="T66" fmla="*/ 95305 w 518"/>
                <a:gd name="T67" fmla="*/ 30311 h 406"/>
                <a:gd name="T68" fmla="*/ 97990 w 518"/>
                <a:gd name="T69" fmla="*/ 23398 h 406"/>
                <a:gd name="T70" fmla="*/ 99780 w 518"/>
                <a:gd name="T71" fmla="*/ 14890 h 406"/>
                <a:gd name="T72" fmla="*/ 102017 w 518"/>
                <a:gd name="T73" fmla="*/ 8508 h 406"/>
                <a:gd name="T74" fmla="*/ 106939 w 518"/>
                <a:gd name="T75" fmla="*/ 4254 h 406"/>
                <a:gd name="T76" fmla="*/ 228643 w 518"/>
                <a:gd name="T77" fmla="*/ 0 h 406"/>
                <a:gd name="T78" fmla="*/ 230433 w 518"/>
                <a:gd name="T79" fmla="*/ 24462 h 406"/>
                <a:gd name="T80" fmla="*/ 231775 w 518"/>
                <a:gd name="T81" fmla="*/ 58495 h 40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1" name="Freeform 241">
              <a:extLst>
                <a:ext uri="{FF2B5EF4-FFF2-40B4-BE49-F238E27FC236}">
                  <a16:creationId xmlns:a16="http://schemas.microsoft.com/office/drawing/2014/main" id="{9A5B1CF2-A3B9-42C6-8FC0-25564AED6E53}"/>
                </a:ext>
              </a:extLst>
            </p:cNvPr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5072063" y="1598613"/>
              <a:ext cx="190500" cy="93662"/>
            </a:xfrm>
            <a:custGeom>
              <a:avLst/>
              <a:gdLst>
                <a:gd name="T0" fmla="*/ 14522 w 446"/>
                <a:gd name="T1" fmla="*/ 32098 h 178"/>
                <a:gd name="T2" fmla="*/ 17512 w 446"/>
                <a:gd name="T3" fmla="*/ 22100 h 178"/>
                <a:gd name="T4" fmla="*/ 29045 w 446"/>
                <a:gd name="T5" fmla="*/ 19469 h 178"/>
                <a:gd name="T6" fmla="*/ 34170 w 446"/>
                <a:gd name="T7" fmla="*/ 9471 h 178"/>
                <a:gd name="T8" fmla="*/ 30753 w 446"/>
                <a:gd name="T9" fmla="*/ 7367 h 178"/>
                <a:gd name="T10" fmla="*/ 25628 w 446"/>
                <a:gd name="T11" fmla="*/ 0 h 178"/>
                <a:gd name="T12" fmla="*/ 36306 w 446"/>
                <a:gd name="T13" fmla="*/ 5262 h 178"/>
                <a:gd name="T14" fmla="*/ 46130 w 446"/>
                <a:gd name="T15" fmla="*/ 20521 h 178"/>
                <a:gd name="T16" fmla="*/ 53391 w 446"/>
                <a:gd name="T17" fmla="*/ 32624 h 178"/>
                <a:gd name="T18" fmla="*/ 59371 w 446"/>
                <a:gd name="T19" fmla="*/ 35255 h 178"/>
                <a:gd name="T20" fmla="*/ 67059 w 446"/>
                <a:gd name="T21" fmla="*/ 33150 h 178"/>
                <a:gd name="T22" fmla="*/ 77311 w 446"/>
                <a:gd name="T23" fmla="*/ 23679 h 178"/>
                <a:gd name="T24" fmla="*/ 87562 w 446"/>
                <a:gd name="T25" fmla="*/ 12102 h 178"/>
                <a:gd name="T26" fmla="*/ 93969 w 446"/>
                <a:gd name="T27" fmla="*/ 16312 h 178"/>
                <a:gd name="T28" fmla="*/ 153340 w 446"/>
                <a:gd name="T29" fmla="*/ 5788 h 178"/>
                <a:gd name="T30" fmla="*/ 160601 w 446"/>
                <a:gd name="T31" fmla="*/ 12102 h 178"/>
                <a:gd name="T32" fmla="*/ 169143 w 446"/>
                <a:gd name="T33" fmla="*/ 11576 h 178"/>
                <a:gd name="T34" fmla="*/ 176405 w 446"/>
                <a:gd name="T35" fmla="*/ 19469 h 178"/>
                <a:gd name="T36" fmla="*/ 177259 w 446"/>
                <a:gd name="T37" fmla="*/ 22626 h 178"/>
                <a:gd name="T38" fmla="*/ 183239 w 446"/>
                <a:gd name="T39" fmla="*/ 28414 h 178"/>
                <a:gd name="T40" fmla="*/ 189219 w 446"/>
                <a:gd name="T41" fmla="*/ 35781 h 178"/>
                <a:gd name="T42" fmla="*/ 190500 w 446"/>
                <a:gd name="T43" fmla="*/ 42095 h 178"/>
                <a:gd name="T44" fmla="*/ 187083 w 446"/>
                <a:gd name="T45" fmla="*/ 50514 h 178"/>
                <a:gd name="T46" fmla="*/ 176405 w 446"/>
                <a:gd name="T47" fmla="*/ 58407 h 178"/>
                <a:gd name="T48" fmla="*/ 169571 w 446"/>
                <a:gd name="T49" fmla="*/ 63143 h 178"/>
                <a:gd name="T50" fmla="*/ 156330 w 446"/>
                <a:gd name="T51" fmla="*/ 64721 h 178"/>
                <a:gd name="T52" fmla="*/ 128139 w 446"/>
                <a:gd name="T53" fmla="*/ 76824 h 178"/>
                <a:gd name="T54" fmla="*/ 99948 w 446"/>
                <a:gd name="T55" fmla="*/ 89979 h 178"/>
                <a:gd name="T56" fmla="*/ 84999 w 446"/>
                <a:gd name="T57" fmla="*/ 93662 h 178"/>
                <a:gd name="T58" fmla="*/ 75602 w 446"/>
                <a:gd name="T59" fmla="*/ 91557 h 178"/>
                <a:gd name="T60" fmla="*/ 73466 w 446"/>
                <a:gd name="T61" fmla="*/ 86295 h 178"/>
                <a:gd name="T62" fmla="*/ 72612 w 446"/>
                <a:gd name="T63" fmla="*/ 84717 h 178"/>
                <a:gd name="T64" fmla="*/ 66632 w 446"/>
                <a:gd name="T65" fmla="*/ 84717 h 178"/>
                <a:gd name="T66" fmla="*/ 59371 w 446"/>
                <a:gd name="T67" fmla="*/ 84191 h 178"/>
                <a:gd name="T68" fmla="*/ 42713 w 446"/>
                <a:gd name="T69" fmla="*/ 77350 h 178"/>
                <a:gd name="T70" fmla="*/ 36306 w 446"/>
                <a:gd name="T71" fmla="*/ 72088 h 178"/>
                <a:gd name="T72" fmla="*/ 34598 w 446"/>
                <a:gd name="T73" fmla="*/ 65774 h 178"/>
                <a:gd name="T74" fmla="*/ 37160 w 446"/>
                <a:gd name="T75" fmla="*/ 58407 h 178"/>
                <a:gd name="T76" fmla="*/ 11533 w 446"/>
                <a:gd name="T77" fmla="*/ 54198 h 178"/>
                <a:gd name="T78" fmla="*/ 3844 w 446"/>
                <a:gd name="T79" fmla="*/ 55250 h 178"/>
                <a:gd name="T80" fmla="*/ 0 w 446"/>
                <a:gd name="T81" fmla="*/ 42095 h 178"/>
                <a:gd name="T82" fmla="*/ 25628 w 446"/>
                <a:gd name="T83" fmla="*/ 45252 h 178"/>
                <a:gd name="T84" fmla="*/ 37160 w 446"/>
                <a:gd name="T85" fmla="*/ 42095 h 178"/>
                <a:gd name="T86" fmla="*/ 9824 w 446"/>
                <a:gd name="T87" fmla="*/ 35781 h 178"/>
                <a:gd name="T88" fmla="*/ 6834 w 446"/>
                <a:gd name="T89" fmla="*/ 28941 h 17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2" name="Freeform 242">
              <a:extLst>
                <a:ext uri="{FF2B5EF4-FFF2-40B4-BE49-F238E27FC236}">
                  <a16:creationId xmlns:a16="http://schemas.microsoft.com/office/drawing/2014/main" id="{35E0FB78-AD01-43B5-96DD-B9B8AED739A7}"/>
                </a:ext>
              </a:extLst>
            </p:cNvPr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5864225" y="1862138"/>
              <a:ext cx="14288" cy="57150"/>
            </a:xfrm>
            <a:custGeom>
              <a:avLst/>
              <a:gdLst>
                <a:gd name="T0" fmla="*/ 0 w 28"/>
                <a:gd name="T1" fmla="*/ 57150 h 73"/>
                <a:gd name="T2" fmla="*/ 1021 w 28"/>
                <a:gd name="T3" fmla="*/ 36795 h 73"/>
                <a:gd name="T4" fmla="*/ 3062 w 28"/>
                <a:gd name="T5" fmla="*/ 21921 h 73"/>
                <a:gd name="T6" fmla="*/ 3572 w 28"/>
                <a:gd name="T7" fmla="*/ 15658 h 73"/>
                <a:gd name="T8" fmla="*/ 3062 w 28"/>
                <a:gd name="T9" fmla="*/ 10177 h 73"/>
                <a:gd name="T10" fmla="*/ 2041 w 28"/>
                <a:gd name="T11" fmla="*/ 5480 h 73"/>
                <a:gd name="T12" fmla="*/ 0 w 28"/>
                <a:gd name="T13" fmla="*/ 0 h 73"/>
                <a:gd name="T14" fmla="*/ 14288 w 28"/>
                <a:gd name="T15" fmla="*/ 0 h 73"/>
                <a:gd name="T16" fmla="*/ 11226 w 28"/>
                <a:gd name="T17" fmla="*/ 12526 h 73"/>
                <a:gd name="T18" fmla="*/ 8675 w 28"/>
                <a:gd name="T19" fmla="*/ 23486 h 73"/>
                <a:gd name="T20" fmla="*/ 6123 w 28"/>
                <a:gd name="T21" fmla="*/ 33664 h 73"/>
                <a:gd name="T22" fmla="*/ 3572 w 28"/>
                <a:gd name="T23" fmla="*/ 43058 h 73"/>
                <a:gd name="T24" fmla="*/ 0 w 28"/>
                <a:gd name="T25" fmla="*/ 57150 h 7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23" name="Freeform 243">
              <a:extLst>
                <a:ext uri="{FF2B5EF4-FFF2-40B4-BE49-F238E27FC236}">
                  <a16:creationId xmlns:a16="http://schemas.microsoft.com/office/drawing/2014/main" id="{04DBB795-42A4-4250-A828-723F4C3F4FAB}"/>
                </a:ext>
              </a:extLst>
            </p:cNvPr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5751513" y="1525589"/>
              <a:ext cx="234950" cy="395287"/>
            </a:xfrm>
            <a:custGeom>
              <a:avLst/>
              <a:gdLst>
                <a:gd name="T0" fmla="*/ 185394 w 531"/>
                <a:gd name="T1" fmla="*/ 106002 h 757"/>
                <a:gd name="T2" fmla="*/ 179642 w 531"/>
                <a:gd name="T3" fmla="*/ 115401 h 757"/>
                <a:gd name="T4" fmla="*/ 178757 w 531"/>
                <a:gd name="T5" fmla="*/ 123756 h 757"/>
                <a:gd name="T6" fmla="*/ 169022 w 531"/>
                <a:gd name="T7" fmla="*/ 143598 h 757"/>
                <a:gd name="T8" fmla="*/ 143802 w 531"/>
                <a:gd name="T9" fmla="*/ 159786 h 757"/>
                <a:gd name="T10" fmla="*/ 111502 w 531"/>
                <a:gd name="T11" fmla="*/ 184850 h 757"/>
                <a:gd name="T12" fmla="*/ 104865 w 531"/>
                <a:gd name="T13" fmla="*/ 192683 h 757"/>
                <a:gd name="T14" fmla="*/ 108404 w 531"/>
                <a:gd name="T15" fmla="*/ 198949 h 757"/>
                <a:gd name="T16" fmla="*/ 106192 w 531"/>
                <a:gd name="T17" fmla="*/ 221402 h 757"/>
                <a:gd name="T18" fmla="*/ 105750 w 531"/>
                <a:gd name="T19" fmla="*/ 234457 h 757"/>
                <a:gd name="T20" fmla="*/ 115926 w 531"/>
                <a:gd name="T21" fmla="*/ 244378 h 757"/>
                <a:gd name="T22" fmla="*/ 141589 w 531"/>
                <a:gd name="T23" fmla="*/ 253255 h 757"/>
                <a:gd name="T24" fmla="*/ 146899 w 531"/>
                <a:gd name="T25" fmla="*/ 263699 h 757"/>
                <a:gd name="T26" fmla="*/ 137165 w 531"/>
                <a:gd name="T27" fmla="*/ 277275 h 757"/>
                <a:gd name="T28" fmla="*/ 120351 w 531"/>
                <a:gd name="T29" fmla="*/ 285630 h 757"/>
                <a:gd name="T30" fmla="*/ 117254 w 531"/>
                <a:gd name="T31" fmla="*/ 292418 h 757"/>
                <a:gd name="T32" fmla="*/ 111502 w 531"/>
                <a:gd name="T33" fmla="*/ 329493 h 757"/>
                <a:gd name="T34" fmla="*/ 105750 w 531"/>
                <a:gd name="T35" fmla="*/ 376489 h 757"/>
                <a:gd name="T36" fmla="*/ 76547 w 531"/>
                <a:gd name="T37" fmla="*/ 379622 h 757"/>
                <a:gd name="T38" fmla="*/ 67255 w 531"/>
                <a:gd name="T39" fmla="*/ 385366 h 757"/>
                <a:gd name="T40" fmla="*/ 67697 w 531"/>
                <a:gd name="T41" fmla="*/ 395287 h 757"/>
                <a:gd name="T42" fmla="*/ 46902 w 531"/>
                <a:gd name="T43" fmla="*/ 395287 h 757"/>
                <a:gd name="T44" fmla="*/ 42034 w 531"/>
                <a:gd name="T45" fmla="*/ 392676 h 757"/>
                <a:gd name="T46" fmla="*/ 31415 w 531"/>
                <a:gd name="T47" fmla="*/ 374922 h 757"/>
                <a:gd name="T48" fmla="*/ 18141 w 531"/>
                <a:gd name="T49" fmla="*/ 334192 h 757"/>
                <a:gd name="T50" fmla="*/ 15044 w 531"/>
                <a:gd name="T51" fmla="*/ 311739 h 757"/>
                <a:gd name="T52" fmla="*/ 6195 w 531"/>
                <a:gd name="T53" fmla="*/ 305995 h 757"/>
                <a:gd name="T54" fmla="*/ 8407 w 531"/>
                <a:gd name="T55" fmla="*/ 292941 h 757"/>
                <a:gd name="T56" fmla="*/ 15929 w 531"/>
                <a:gd name="T57" fmla="*/ 280931 h 757"/>
                <a:gd name="T58" fmla="*/ 23451 w 531"/>
                <a:gd name="T59" fmla="*/ 263177 h 757"/>
                <a:gd name="T60" fmla="*/ 26990 w 531"/>
                <a:gd name="T61" fmla="*/ 245945 h 757"/>
                <a:gd name="T62" fmla="*/ 28318 w 531"/>
                <a:gd name="T63" fmla="*/ 230279 h 757"/>
                <a:gd name="T64" fmla="*/ 25663 w 531"/>
                <a:gd name="T65" fmla="*/ 213048 h 757"/>
                <a:gd name="T66" fmla="*/ 19026 w 531"/>
                <a:gd name="T67" fmla="*/ 196860 h 757"/>
                <a:gd name="T68" fmla="*/ 32743 w 531"/>
                <a:gd name="T69" fmla="*/ 144120 h 757"/>
                <a:gd name="T70" fmla="*/ 45574 w 531"/>
                <a:gd name="T71" fmla="*/ 143598 h 757"/>
                <a:gd name="T72" fmla="*/ 49999 w 531"/>
                <a:gd name="T73" fmla="*/ 122189 h 757"/>
                <a:gd name="T74" fmla="*/ 60618 w 531"/>
                <a:gd name="T75" fmla="*/ 100258 h 757"/>
                <a:gd name="T76" fmla="*/ 79644 w 531"/>
                <a:gd name="T77" fmla="*/ 75715 h 757"/>
                <a:gd name="T78" fmla="*/ 87608 w 531"/>
                <a:gd name="T79" fmla="*/ 57962 h 757"/>
                <a:gd name="T80" fmla="*/ 100882 w 531"/>
                <a:gd name="T81" fmla="*/ 31331 h 757"/>
                <a:gd name="T82" fmla="*/ 110174 w 531"/>
                <a:gd name="T83" fmla="*/ 22454 h 757"/>
                <a:gd name="T84" fmla="*/ 136722 w 531"/>
                <a:gd name="T85" fmla="*/ 15143 h 757"/>
                <a:gd name="T86" fmla="*/ 162828 w 531"/>
                <a:gd name="T87" fmla="*/ 6788 h 757"/>
                <a:gd name="T88" fmla="*/ 177429 w 531"/>
                <a:gd name="T89" fmla="*/ 2611 h 757"/>
                <a:gd name="T90" fmla="*/ 190703 w 531"/>
                <a:gd name="T91" fmla="*/ 16710 h 757"/>
                <a:gd name="T92" fmla="*/ 202207 w 531"/>
                <a:gd name="T93" fmla="*/ 21931 h 757"/>
                <a:gd name="T94" fmla="*/ 226986 w 531"/>
                <a:gd name="T95" fmla="*/ 57962 h 757"/>
                <a:gd name="T96" fmla="*/ 233623 w 531"/>
                <a:gd name="T97" fmla="*/ 78326 h 75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24" name="Freeform 244">
              <a:extLst>
                <a:ext uri="{FF2B5EF4-FFF2-40B4-BE49-F238E27FC236}">
                  <a16:creationId xmlns:a16="http://schemas.microsoft.com/office/drawing/2014/main" id="{CB1210FF-FC78-40F7-AA46-7751AD50F4F4}"/>
                </a:ext>
              </a:extLst>
            </p:cNvPr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5889625" y="1839913"/>
              <a:ext cx="26988" cy="57150"/>
            </a:xfrm>
            <a:custGeom>
              <a:avLst/>
              <a:gdLst>
                <a:gd name="T0" fmla="*/ 0 w 60"/>
                <a:gd name="T1" fmla="*/ 41462 h 51"/>
                <a:gd name="T2" fmla="*/ 2699 w 60"/>
                <a:gd name="T3" fmla="*/ 33618 h 51"/>
                <a:gd name="T4" fmla="*/ 6747 w 60"/>
                <a:gd name="T5" fmla="*/ 21291 h 51"/>
                <a:gd name="T6" fmla="*/ 8996 w 60"/>
                <a:gd name="T7" fmla="*/ 14568 h 51"/>
                <a:gd name="T8" fmla="*/ 12145 w 60"/>
                <a:gd name="T9" fmla="*/ 8965 h 51"/>
                <a:gd name="T10" fmla="*/ 14843 w 60"/>
                <a:gd name="T11" fmla="*/ 4482 h 51"/>
                <a:gd name="T12" fmla="*/ 17992 w 60"/>
                <a:gd name="T13" fmla="*/ 0 h 51"/>
                <a:gd name="T14" fmla="*/ 22490 w 60"/>
                <a:gd name="T15" fmla="*/ 7844 h 51"/>
                <a:gd name="T16" fmla="*/ 26988 w 60"/>
                <a:gd name="T17" fmla="*/ 14568 h 51"/>
                <a:gd name="T18" fmla="*/ 26538 w 60"/>
                <a:gd name="T19" fmla="*/ 22412 h 51"/>
                <a:gd name="T20" fmla="*/ 25189 w 60"/>
                <a:gd name="T21" fmla="*/ 32497 h 51"/>
                <a:gd name="T22" fmla="*/ 24289 w 60"/>
                <a:gd name="T23" fmla="*/ 38100 h 51"/>
                <a:gd name="T24" fmla="*/ 23390 w 60"/>
                <a:gd name="T25" fmla="*/ 42582 h 51"/>
                <a:gd name="T26" fmla="*/ 22040 w 60"/>
                <a:gd name="T27" fmla="*/ 47065 h 51"/>
                <a:gd name="T28" fmla="*/ 20241 w 60"/>
                <a:gd name="T29" fmla="*/ 50426 h 51"/>
                <a:gd name="T30" fmla="*/ 18442 w 60"/>
                <a:gd name="T31" fmla="*/ 53788 h 51"/>
                <a:gd name="T32" fmla="*/ 16643 w 60"/>
                <a:gd name="T33" fmla="*/ 56029 h 51"/>
                <a:gd name="T34" fmla="*/ 13944 w 60"/>
                <a:gd name="T35" fmla="*/ 57150 h 51"/>
                <a:gd name="T36" fmla="*/ 12145 w 60"/>
                <a:gd name="T37" fmla="*/ 57150 h 51"/>
                <a:gd name="T38" fmla="*/ 8996 w 60"/>
                <a:gd name="T39" fmla="*/ 56029 h 51"/>
                <a:gd name="T40" fmla="*/ 6747 w 60"/>
                <a:gd name="T41" fmla="*/ 52668 h 51"/>
                <a:gd name="T42" fmla="*/ 3149 w 60"/>
                <a:gd name="T43" fmla="*/ 48185 h 51"/>
                <a:gd name="T44" fmla="*/ 0 w 60"/>
                <a:gd name="T45" fmla="*/ 41462 h 5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25" name="Freeform 245">
              <a:extLst>
                <a:ext uri="{FF2B5EF4-FFF2-40B4-BE49-F238E27FC236}">
                  <a16:creationId xmlns:a16="http://schemas.microsoft.com/office/drawing/2014/main" id="{8F295D64-84B4-4E75-A8E3-46EB8CBB6B84}"/>
                </a:ext>
              </a:extLst>
            </p:cNvPr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5334001" y="2001838"/>
              <a:ext cx="28575" cy="57150"/>
            </a:xfrm>
            <a:custGeom>
              <a:avLst/>
              <a:gdLst>
                <a:gd name="T0" fmla="*/ 25544 w 66"/>
                <a:gd name="T1" fmla="*/ 53788 h 51"/>
                <a:gd name="T2" fmla="*/ 18184 w 66"/>
                <a:gd name="T3" fmla="*/ 56029 h 51"/>
                <a:gd name="T4" fmla="*/ 9525 w 66"/>
                <a:gd name="T5" fmla="*/ 57150 h 51"/>
                <a:gd name="T6" fmla="*/ 7360 w 66"/>
                <a:gd name="T7" fmla="*/ 56029 h 51"/>
                <a:gd name="T8" fmla="*/ 5628 w 66"/>
                <a:gd name="T9" fmla="*/ 54909 h 51"/>
                <a:gd name="T10" fmla="*/ 4330 w 66"/>
                <a:gd name="T11" fmla="*/ 53788 h 51"/>
                <a:gd name="T12" fmla="*/ 3031 w 66"/>
                <a:gd name="T13" fmla="*/ 51547 h 51"/>
                <a:gd name="T14" fmla="*/ 1299 w 66"/>
                <a:gd name="T15" fmla="*/ 48185 h 51"/>
                <a:gd name="T16" fmla="*/ 433 w 66"/>
                <a:gd name="T17" fmla="*/ 44824 h 51"/>
                <a:gd name="T18" fmla="*/ 0 w 66"/>
                <a:gd name="T19" fmla="*/ 39221 h 51"/>
                <a:gd name="T20" fmla="*/ 0 w 66"/>
                <a:gd name="T21" fmla="*/ 33618 h 51"/>
                <a:gd name="T22" fmla="*/ 1732 w 66"/>
                <a:gd name="T23" fmla="*/ 32497 h 51"/>
                <a:gd name="T24" fmla="*/ 4330 w 66"/>
                <a:gd name="T25" fmla="*/ 30256 h 51"/>
                <a:gd name="T26" fmla="*/ 6061 w 66"/>
                <a:gd name="T27" fmla="*/ 26894 h 51"/>
                <a:gd name="T28" fmla="*/ 8226 w 66"/>
                <a:gd name="T29" fmla="*/ 22412 h 51"/>
                <a:gd name="T30" fmla="*/ 11257 w 66"/>
                <a:gd name="T31" fmla="*/ 11206 h 51"/>
                <a:gd name="T32" fmla="*/ 14288 w 66"/>
                <a:gd name="T33" fmla="*/ 0 h 51"/>
                <a:gd name="T34" fmla="*/ 19916 w 66"/>
                <a:gd name="T35" fmla="*/ 1121 h 51"/>
                <a:gd name="T36" fmla="*/ 22514 w 66"/>
                <a:gd name="T37" fmla="*/ 2241 h 51"/>
                <a:gd name="T38" fmla="*/ 24245 w 66"/>
                <a:gd name="T39" fmla="*/ 3362 h 51"/>
                <a:gd name="T40" fmla="*/ 28575 w 66"/>
                <a:gd name="T41" fmla="*/ 0 h 51"/>
                <a:gd name="T42" fmla="*/ 28142 w 66"/>
                <a:gd name="T43" fmla="*/ 14568 h 51"/>
                <a:gd name="T44" fmla="*/ 27276 w 66"/>
                <a:gd name="T45" fmla="*/ 26894 h 51"/>
                <a:gd name="T46" fmla="*/ 25977 w 66"/>
                <a:gd name="T47" fmla="*/ 40341 h 51"/>
                <a:gd name="T48" fmla="*/ 25544 w 66"/>
                <a:gd name="T49" fmla="*/ 53788 h 5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26" name="Freeform 246">
              <a:extLst>
                <a:ext uri="{FF2B5EF4-FFF2-40B4-BE49-F238E27FC236}">
                  <a16:creationId xmlns:a16="http://schemas.microsoft.com/office/drawing/2014/main" id="{AC39E0FE-F44B-4132-8D17-C23B2AD67351}"/>
                </a:ext>
              </a:extLst>
            </p:cNvPr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6286500" y="2530475"/>
              <a:ext cx="50800" cy="57150"/>
            </a:xfrm>
            <a:custGeom>
              <a:avLst/>
              <a:gdLst>
                <a:gd name="T0" fmla="*/ 0 w 113"/>
                <a:gd name="T1" fmla="*/ 33981 h 74"/>
                <a:gd name="T2" fmla="*/ 8991 w 113"/>
                <a:gd name="T3" fmla="*/ 57150 h 74"/>
                <a:gd name="T4" fmla="*/ 16634 w 113"/>
                <a:gd name="T5" fmla="*/ 53289 h 74"/>
                <a:gd name="T6" fmla="*/ 22927 w 113"/>
                <a:gd name="T7" fmla="*/ 50199 h 74"/>
                <a:gd name="T8" fmla="*/ 28772 w 113"/>
                <a:gd name="T9" fmla="*/ 45566 h 74"/>
                <a:gd name="T10" fmla="*/ 33267 w 113"/>
                <a:gd name="T11" fmla="*/ 40932 h 74"/>
                <a:gd name="T12" fmla="*/ 35065 w 113"/>
                <a:gd name="T13" fmla="*/ 37843 h 74"/>
                <a:gd name="T14" fmla="*/ 37313 w 113"/>
                <a:gd name="T15" fmla="*/ 34753 h 74"/>
                <a:gd name="T16" fmla="*/ 38662 w 113"/>
                <a:gd name="T17" fmla="*/ 31664 h 74"/>
                <a:gd name="T18" fmla="*/ 39561 w 113"/>
                <a:gd name="T19" fmla="*/ 28575 h 74"/>
                <a:gd name="T20" fmla="*/ 40460 w 113"/>
                <a:gd name="T21" fmla="*/ 24714 h 74"/>
                <a:gd name="T22" fmla="*/ 40910 w 113"/>
                <a:gd name="T23" fmla="*/ 20080 h 74"/>
                <a:gd name="T24" fmla="*/ 41809 w 113"/>
                <a:gd name="T25" fmla="*/ 14674 h 74"/>
                <a:gd name="T26" fmla="*/ 42258 w 113"/>
                <a:gd name="T27" fmla="*/ 10040 h 74"/>
                <a:gd name="T28" fmla="*/ 44506 w 113"/>
                <a:gd name="T29" fmla="*/ 9268 h 74"/>
                <a:gd name="T30" fmla="*/ 47653 w 113"/>
                <a:gd name="T31" fmla="*/ 6951 h 74"/>
                <a:gd name="T32" fmla="*/ 48552 w 113"/>
                <a:gd name="T33" fmla="*/ 5406 h 74"/>
                <a:gd name="T34" fmla="*/ 49901 w 113"/>
                <a:gd name="T35" fmla="*/ 3861 h 74"/>
                <a:gd name="T36" fmla="*/ 50350 w 113"/>
                <a:gd name="T37" fmla="*/ 2317 h 74"/>
                <a:gd name="T38" fmla="*/ 50800 w 113"/>
                <a:gd name="T39" fmla="*/ 0 h 74"/>
                <a:gd name="T40" fmla="*/ 44057 w 113"/>
                <a:gd name="T41" fmla="*/ 3089 h 74"/>
                <a:gd name="T42" fmla="*/ 36864 w 113"/>
                <a:gd name="T43" fmla="*/ 6178 h 74"/>
                <a:gd name="T44" fmla="*/ 29221 w 113"/>
                <a:gd name="T45" fmla="*/ 10040 h 74"/>
                <a:gd name="T46" fmla="*/ 22028 w 113"/>
                <a:gd name="T47" fmla="*/ 14674 h 74"/>
                <a:gd name="T48" fmla="*/ 8991 w 113"/>
                <a:gd name="T49" fmla="*/ 25486 h 74"/>
                <a:gd name="T50" fmla="*/ 0 w 113"/>
                <a:gd name="T51" fmla="*/ 33981 h 7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7" name="Freeform 247">
              <a:extLst>
                <a:ext uri="{FF2B5EF4-FFF2-40B4-BE49-F238E27FC236}">
                  <a16:creationId xmlns:a16="http://schemas.microsoft.com/office/drawing/2014/main" id="{ABE9ACA0-9C58-41D7-B287-1DCFC0AE1D83}"/>
                </a:ext>
              </a:extLst>
            </p:cNvPr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5894389" y="3322639"/>
              <a:ext cx="325437" cy="244475"/>
            </a:xfrm>
            <a:custGeom>
              <a:avLst/>
              <a:gdLst>
                <a:gd name="T0" fmla="*/ 42752 w 746"/>
                <a:gd name="T1" fmla="*/ 235613 h 469"/>
                <a:gd name="T2" fmla="*/ 23557 w 746"/>
                <a:gd name="T3" fmla="*/ 229358 h 469"/>
                <a:gd name="T4" fmla="*/ 9161 w 746"/>
                <a:gd name="T5" fmla="*/ 223624 h 469"/>
                <a:gd name="T6" fmla="*/ 2181 w 746"/>
                <a:gd name="T7" fmla="*/ 215284 h 469"/>
                <a:gd name="T8" fmla="*/ 0 w 746"/>
                <a:gd name="T9" fmla="*/ 189221 h 469"/>
                <a:gd name="T10" fmla="*/ 2181 w 746"/>
                <a:gd name="T11" fmla="*/ 161072 h 469"/>
                <a:gd name="T12" fmla="*/ 10034 w 746"/>
                <a:gd name="T13" fmla="*/ 142306 h 469"/>
                <a:gd name="T14" fmla="*/ 24430 w 746"/>
                <a:gd name="T15" fmla="*/ 118849 h 469"/>
                <a:gd name="T16" fmla="*/ 52785 w 746"/>
                <a:gd name="T17" fmla="*/ 106339 h 469"/>
                <a:gd name="T18" fmla="*/ 72416 w 746"/>
                <a:gd name="T19" fmla="*/ 97999 h 469"/>
                <a:gd name="T20" fmla="*/ 102517 w 746"/>
                <a:gd name="T21" fmla="*/ 90179 h 469"/>
                <a:gd name="T22" fmla="*/ 114296 w 746"/>
                <a:gd name="T23" fmla="*/ 79754 h 469"/>
                <a:gd name="T24" fmla="*/ 116477 w 746"/>
                <a:gd name="T25" fmla="*/ 70893 h 469"/>
                <a:gd name="T26" fmla="*/ 127383 w 746"/>
                <a:gd name="T27" fmla="*/ 62552 h 469"/>
                <a:gd name="T28" fmla="*/ 144833 w 746"/>
                <a:gd name="T29" fmla="*/ 59946 h 469"/>
                <a:gd name="T30" fmla="*/ 156611 w 746"/>
                <a:gd name="T31" fmla="*/ 52648 h 469"/>
                <a:gd name="T32" fmla="*/ 169698 w 746"/>
                <a:gd name="T33" fmla="*/ 34925 h 469"/>
                <a:gd name="T34" fmla="*/ 185403 w 746"/>
                <a:gd name="T35" fmla="*/ 11468 h 469"/>
                <a:gd name="T36" fmla="*/ 196309 w 746"/>
                <a:gd name="T37" fmla="*/ 3128 h 469"/>
                <a:gd name="T38" fmla="*/ 212014 w 746"/>
                <a:gd name="T39" fmla="*/ 0 h 469"/>
                <a:gd name="T40" fmla="*/ 221175 w 746"/>
                <a:gd name="T41" fmla="*/ 15117 h 469"/>
                <a:gd name="T42" fmla="*/ 232081 w 746"/>
                <a:gd name="T43" fmla="*/ 27627 h 469"/>
                <a:gd name="T44" fmla="*/ 241242 w 746"/>
                <a:gd name="T45" fmla="*/ 55776 h 469"/>
                <a:gd name="T46" fmla="*/ 252584 w 746"/>
                <a:gd name="T47" fmla="*/ 82882 h 469"/>
                <a:gd name="T48" fmla="*/ 267417 w 746"/>
                <a:gd name="T49" fmla="*/ 89658 h 469"/>
                <a:gd name="T50" fmla="*/ 273960 w 746"/>
                <a:gd name="T51" fmla="*/ 100605 h 469"/>
                <a:gd name="T52" fmla="*/ 283558 w 746"/>
                <a:gd name="T53" fmla="*/ 121456 h 469"/>
                <a:gd name="T54" fmla="*/ 306242 w 746"/>
                <a:gd name="T55" fmla="*/ 145434 h 469"/>
                <a:gd name="T56" fmla="*/ 323256 w 746"/>
                <a:gd name="T57" fmla="*/ 164200 h 469"/>
                <a:gd name="T58" fmla="*/ 310169 w 746"/>
                <a:gd name="T59" fmla="*/ 179838 h 469"/>
                <a:gd name="T60" fmla="*/ 301444 w 746"/>
                <a:gd name="T61" fmla="*/ 178274 h 469"/>
                <a:gd name="T62" fmla="*/ 296209 w 746"/>
                <a:gd name="T63" fmla="*/ 167327 h 469"/>
                <a:gd name="T64" fmla="*/ 283994 w 746"/>
                <a:gd name="T65" fmla="*/ 172019 h 469"/>
                <a:gd name="T66" fmla="*/ 278759 w 746"/>
                <a:gd name="T67" fmla="*/ 183487 h 469"/>
                <a:gd name="T68" fmla="*/ 263491 w 746"/>
                <a:gd name="T69" fmla="*/ 185572 h 469"/>
                <a:gd name="T70" fmla="*/ 241242 w 746"/>
                <a:gd name="T71" fmla="*/ 185572 h 469"/>
                <a:gd name="T72" fmla="*/ 227719 w 746"/>
                <a:gd name="T73" fmla="*/ 190263 h 469"/>
                <a:gd name="T74" fmla="*/ 216376 w 746"/>
                <a:gd name="T75" fmla="*/ 201731 h 469"/>
                <a:gd name="T76" fmla="*/ 212014 w 746"/>
                <a:gd name="T77" fmla="*/ 205380 h 469"/>
                <a:gd name="T78" fmla="*/ 185839 w 746"/>
                <a:gd name="T79" fmla="*/ 208507 h 469"/>
                <a:gd name="T80" fmla="*/ 172752 w 746"/>
                <a:gd name="T81" fmla="*/ 204337 h 469"/>
                <a:gd name="T82" fmla="*/ 152249 w 746"/>
                <a:gd name="T83" fmla="*/ 184529 h 469"/>
                <a:gd name="T84" fmla="*/ 139161 w 746"/>
                <a:gd name="T85" fmla="*/ 179838 h 469"/>
                <a:gd name="T86" fmla="*/ 126947 w 746"/>
                <a:gd name="T87" fmla="*/ 185050 h 469"/>
                <a:gd name="T88" fmla="*/ 116041 w 746"/>
                <a:gd name="T89" fmla="*/ 196518 h 469"/>
                <a:gd name="T90" fmla="*/ 99027 w 746"/>
                <a:gd name="T91" fmla="*/ 227794 h 469"/>
                <a:gd name="T92" fmla="*/ 65436 w 746"/>
                <a:gd name="T93" fmla="*/ 228837 h 469"/>
                <a:gd name="T94" fmla="*/ 58893 w 746"/>
                <a:gd name="T95" fmla="*/ 233528 h 46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8" name="Freeform 248">
              <a:extLst>
                <a:ext uri="{FF2B5EF4-FFF2-40B4-BE49-F238E27FC236}">
                  <a16:creationId xmlns:a16="http://schemas.microsoft.com/office/drawing/2014/main" id="{3F0B2DC6-CFC4-4309-81CB-0B57F3D9F412}"/>
                </a:ext>
              </a:extLst>
            </p:cNvPr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5830888" y="3490913"/>
              <a:ext cx="500062" cy="552450"/>
            </a:xfrm>
            <a:custGeom>
              <a:avLst/>
              <a:gdLst>
                <a:gd name="T0" fmla="*/ 393935 w 1145"/>
                <a:gd name="T1" fmla="*/ 29905 h 1053"/>
                <a:gd name="T2" fmla="*/ 433678 w 1145"/>
                <a:gd name="T3" fmla="*/ 34626 h 1053"/>
                <a:gd name="T4" fmla="*/ 471674 w 1145"/>
                <a:gd name="T5" fmla="*/ 42496 h 1053"/>
                <a:gd name="T6" fmla="*/ 491764 w 1145"/>
                <a:gd name="T7" fmla="*/ 91813 h 1053"/>
                <a:gd name="T8" fmla="*/ 494821 w 1145"/>
                <a:gd name="T9" fmla="*/ 110700 h 1053"/>
                <a:gd name="T10" fmla="*/ 462066 w 1145"/>
                <a:gd name="T11" fmla="*/ 142703 h 1053"/>
                <a:gd name="T12" fmla="*/ 456388 w 1145"/>
                <a:gd name="T13" fmla="*/ 188872 h 1053"/>
                <a:gd name="T14" fmla="*/ 438046 w 1145"/>
                <a:gd name="T15" fmla="*/ 230843 h 1053"/>
                <a:gd name="T16" fmla="*/ 432368 w 1145"/>
                <a:gd name="T17" fmla="*/ 249730 h 1053"/>
                <a:gd name="T18" fmla="*/ 445033 w 1145"/>
                <a:gd name="T19" fmla="*/ 302195 h 1053"/>
                <a:gd name="T20" fmla="*/ 448090 w 1145"/>
                <a:gd name="T21" fmla="*/ 348364 h 1053"/>
                <a:gd name="T22" fmla="*/ 457262 w 1145"/>
                <a:gd name="T23" fmla="*/ 383515 h 1053"/>
                <a:gd name="T24" fmla="*/ 471237 w 1145"/>
                <a:gd name="T25" fmla="*/ 401353 h 1053"/>
                <a:gd name="T26" fmla="*/ 476915 w 1145"/>
                <a:gd name="T27" fmla="*/ 432831 h 1053"/>
                <a:gd name="T28" fmla="*/ 454205 w 1145"/>
                <a:gd name="T29" fmla="*/ 442799 h 1053"/>
                <a:gd name="T30" fmla="*/ 435425 w 1145"/>
                <a:gd name="T31" fmla="*/ 449095 h 1053"/>
                <a:gd name="T32" fmla="*/ 419266 w 1145"/>
                <a:gd name="T33" fmla="*/ 520447 h 1053"/>
                <a:gd name="T34" fmla="*/ 406164 w 1145"/>
                <a:gd name="T35" fmla="*/ 538285 h 1053"/>
                <a:gd name="T36" fmla="*/ 393935 w 1145"/>
                <a:gd name="T37" fmla="*/ 540908 h 1053"/>
                <a:gd name="T38" fmla="*/ 366858 w 1145"/>
                <a:gd name="T39" fmla="*/ 552450 h 1053"/>
                <a:gd name="T40" fmla="*/ 341527 w 1145"/>
                <a:gd name="T41" fmla="*/ 544056 h 1053"/>
                <a:gd name="T42" fmla="*/ 324494 w 1145"/>
                <a:gd name="T43" fmla="*/ 531989 h 1053"/>
                <a:gd name="T44" fmla="*/ 308772 w 1145"/>
                <a:gd name="T45" fmla="*/ 523070 h 1053"/>
                <a:gd name="T46" fmla="*/ 294360 w 1145"/>
                <a:gd name="T47" fmla="*/ 517299 h 1053"/>
                <a:gd name="T48" fmla="*/ 265535 w 1145"/>
                <a:gd name="T49" fmla="*/ 517824 h 1053"/>
                <a:gd name="T50" fmla="*/ 259421 w 1145"/>
                <a:gd name="T51" fmla="*/ 494215 h 1053"/>
                <a:gd name="T52" fmla="*/ 251123 w 1145"/>
                <a:gd name="T53" fmla="*/ 463785 h 1053"/>
                <a:gd name="T54" fmla="*/ 257674 w 1145"/>
                <a:gd name="T55" fmla="*/ 443849 h 1053"/>
                <a:gd name="T56" fmla="*/ 257674 w 1145"/>
                <a:gd name="T57" fmla="*/ 408698 h 1053"/>
                <a:gd name="T58" fmla="*/ 198278 w 1145"/>
                <a:gd name="T59" fmla="*/ 396106 h 1053"/>
                <a:gd name="T60" fmla="*/ 193474 w 1145"/>
                <a:gd name="T61" fmla="*/ 411845 h 1053"/>
                <a:gd name="T62" fmla="*/ 172947 w 1145"/>
                <a:gd name="T63" fmla="*/ 428634 h 1053"/>
                <a:gd name="T64" fmla="*/ 147180 w 1145"/>
                <a:gd name="T65" fmla="*/ 418141 h 1053"/>
                <a:gd name="T66" fmla="*/ 129710 w 1145"/>
                <a:gd name="T67" fmla="*/ 371448 h 1053"/>
                <a:gd name="T68" fmla="*/ 1310 w 1145"/>
                <a:gd name="T69" fmla="*/ 352036 h 1053"/>
                <a:gd name="T70" fmla="*/ 19653 w 1145"/>
                <a:gd name="T71" fmla="*/ 349937 h 1053"/>
                <a:gd name="T72" fmla="*/ 11355 w 1145"/>
                <a:gd name="T73" fmla="*/ 331050 h 1053"/>
                <a:gd name="T74" fmla="*/ 32755 w 1145"/>
                <a:gd name="T75" fmla="*/ 322656 h 1053"/>
                <a:gd name="T76" fmla="*/ 63327 w 1145"/>
                <a:gd name="T77" fmla="*/ 322131 h 1053"/>
                <a:gd name="T78" fmla="*/ 79923 w 1145"/>
                <a:gd name="T79" fmla="*/ 325279 h 1053"/>
                <a:gd name="T80" fmla="*/ 96082 w 1145"/>
                <a:gd name="T81" fmla="*/ 301146 h 1053"/>
                <a:gd name="T82" fmla="*/ 113551 w 1145"/>
                <a:gd name="T83" fmla="*/ 291177 h 1053"/>
                <a:gd name="T84" fmla="*/ 122723 w 1145"/>
                <a:gd name="T85" fmla="*/ 230843 h 1053"/>
                <a:gd name="T86" fmla="*/ 151110 w 1145"/>
                <a:gd name="T87" fmla="*/ 194118 h 1053"/>
                <a:gd name="T88" fmla="*/ 161592 w 1145"/>
                <a:gd name="T89" fmla="*/ 144802 h 1053"/>
                <a:gd name="T90" fmla="*/ 162466 w 1145"/>
                <a:gd name="T91" fmla="*/ 94436 h 1053"/>
                <a:gd name="T92" fmla="*/ 167270 w 1145"/>
                <a:gd name="T93" fmla="*/ 64007 h 1053"/>
                <a:gd name="T94" fmla="*/ 192164 w 1145"/>
                <a:gd name="T95" fmla="*/ 18363 h 1053"/>
                <a:gd name="T96" fmla="*/ 214437 w 1145"/>
                <a:gd name="T97" fmla="*/ 15739 h 1053"/>
                <a:gd name="T98" fmla="*/ 243698 w 1145"/>
                <a:gd name="T99" fmla="*/ 40398 h 1053"/>
                <a:gd name="T100" fmla="*/ 278200 w 1145"/>
                <a:gd name="T101" fmla="*/ 38299 h 1053"/>
                <a:gd name="T102" fmla="*/ 292613 w 1145"/>
                <a:gd name="T103" fmla="*/ 23084 h 1053"/>
                <a:gd name="T104" fmla="*/ 320564 w 1145"/>
                <a:gd name="T105" fmla="*/ 17838 h 1053"/>
                <a:gd name="T106" fmla="*/ 347205 w 1145"/>
                <a:gd name="T107" fmla="*/ 8919 h 1053"/>
                <a:gd name="T108" fmla="*/ 361617 w 1145"/>
                <a:gd name="T109" fmla="*/ 4197 h 1053"/>
                <a:gd name="T110" fmla="*/ 375156 w 1145"/>
                <a:gd name="T111" fmla="*/ 12591 h 105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9" name="Freeform 249">
              <a:extLst>
                <a:ext uri="{FF2B5EF4-FFF2-40B4-BE49-F238E27FC236}">
                  <a16:creationId xmlns:a16="http://schemas.microsoft.com/office/drawing/2014/main" id="{8F48E3D1-70E3-4A95-B05C-92EF527BCFD4}"/>
                </a:ext>
              </a:extLst>
            </p:cNvPr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5767388" y="3590926"/>
              <a:ext cx="55562" cy="55563"/>
            </a:xfrm>
            <a:custGeom>
              <a:avLst/>
              <a:gdLst>
                <a:gd name="T0" fmla="*/ 53340 w 125"/>
                <a:gd name="T1" fmla="*/ 0 h 81"/>
                <a:gd name="T2" fmla="*/ 53784 w 125"/>
                <a:gd name="T3" fmla="*/ 18521 h 81"/>
                <a:gd name="T4" fmla="*/ 55118 w 125"/>
                <a:gd name="T5" fmla="*/ 31554 h 81"/>
                <a:gd name="T6" fmla="*/ 55562 w 125"/>
                <a:gd name="T7" fmla="*/ 36356 h 81"/>
                <a:gd name="T8" fmla="*/ 55562 w 125"/>
                <a:gd name="T9" fmla="*/ 40472 h 81"/>
                <a:gd name="T10" fmla="*/ 55562 w 125"/>
                <a:gd name="T11" fmla="*/ 44588 h 81"/>
                <a:gd name="T12" fmla="*/ 54673 w 125"/>
                <a:gd name="T13" fmla="*/ 47331 h 81"/>
                <a:gd name="T14" fmla="*/ 52895 w 125"/>
                <a:gd name="T15" fmla="*/ 49389 h 81"/>
                <a:gd name="T16" fmla="*/ 49784 w 125"/>
                <a:gd name="T17" fmla="*/ 50761 h 81"/>
                <a:gd name="T18" fmla="*/ 45783 w 125"/>
                <a:gd name="T19" fmla="*/ 52133 h 81"/>
                <a:gd name="T20" fmla="*/ 40449 w 125"/>
                <a:gd name="T21" fmla="*/ 52819 h 81"/>
                <a:gd name="T22" fmla="*/ 25336 w 125"/>
                <a:gd name="T23" fmla="*/ 54191 h 81"/>
                <a:gd name="T24" fmla="*/ 3111 w 125"/>
                <a:gd name="T25" fmla="*/ 55563 h 81"/>
                <a:gd name="T26" fmla="*/ 2222 w 125"/>
                <a:gd name="T27" fmla="*/ 54191 h 81"/>
                <a:gd name="T28" fmla="*/ 1333 w 125"/>
                <a:gd name="T29" fmla="*/ 49389 h 81"/>
                <a:gd name="T30" fmla="*/ 444 w 125"/>
                <a:gd name="T31" fmla="*/ 40472 h 81"/>
                <a:gd name="T32" fmla="*/ 0 w 125"/>
                <a:gd name="T33" fmla="*/ 29496 h 81"/>
                <a:gd name="T34" fmla="*/ 0 w 125"/>
                <a:gd name="T35" fmla="*/ 25381 h 81"/>
                <a:gd name="T36" fmla="*/ 444 w 125"/>
                <a:gd name="T37" fmla="*/ 21265 h 81"/>
                <a:gd name="T38" fmla="*/ 889 w 125"/>
                <a:gd name="T39" fmla="*/ 17149 h 81"/>
                <a:gd name="T40" fmla="*/ 1778 w 125"/>
                <a:gd name="T41" fmla="*/ 13719 h 81"/>
                <a:gd name="T42" fmla="*/ 3556 w 125"/>
                <a:gd name="T43" fmla="*/ 10289 h 81"/>
                <a:gd name="T44" fmla="*/ 4889 w 125"/>
                <a:gd name="T45" fmla="*/ 6860 h 81"/>
                <a:gd name="T46" fmla="*/ 6223 w 125"/>
                <a:gd name="T47" fmla="*/ 3430 h 81"/>
                <a:gd name="T48" fmla="*/ 8890 w 125"/>
                <a:gd name="T49" fmla="*/ 0 h 81"/>
                <a:gd name="T50" fmla="*/ 53340 w 125"/>
                <a:gd name="T51" fmla="*/ 0 h 8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0" name="Freeform 250">
              <a:extLst>
                <a:ext uri="{FF2B5EF4-FFF2-40B4-BE49-F238E27FC236}">
                  <a16:creationId xmlns:a16="http://schemas.microsoft.com/office/drawing/2014/main" id="{93B9A4AF-7A62-4468-9633-9AB080582695}"/>
                </a:ext>
              </a:extLst>
            </p:cNvPr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5749925" y="3590926"/>
              <a:ext cx="152400" cy="201613"/>
            </a:xfrm>
            <a:custGeom>
              <a:avLst/>
              <a:gdLst>
                <a:gd name="T0" fmla="*/ 112475 w 355"/>
                <a:gd name="T1" fmla="*/ 7794 h 388"/>
                <a:gd name="T2" fmla="*/ 110329 w 355"/>
                <a:gd name="T3" fmla="*/ 19226 h 388"/>
                <a:gd name="T4" fmla="*/ 113334 w 355"/>
                <a:gd name="T5" fmla="*/ 26501 h 388"/>
                <a:gd name="T6" fmla="*/ 121491 w 355"/>
                <a:gd name="T7" fmla="*/ 31177 h 388"/>
                <a:gd name="T8" fmla="*/ 136945 w 355"/>
                <a:gd name="T9" fmla="*/ 28579 h 388"/>
                <a:gd name="T10" fmla="*/ 142526 w 355"/>
                <a:gd name="T11" fmla="*/ 29618 h 388"/>
                <a:gd name="T12" fmla="*/ 145961 w 355"/>
                <a:gd name="T13" fmla="*/ 35334 h 388"/>
                <a:gd name="T14" fmla="*/ 148107 w 355"/>
                <a:gd name="T15" fmla="*/ 43129 h 388"/>
                <a:gd name="T16" fmla="*/ 150683 w 355"/>
                <a:gd name="T17" fmla="*/ 48844 h 388"/>
                <a:gd name="T18" fmla="*/ 148107 w 355"/>
                <a:gd name="T19" fmla="*/ 56119 h 388"/>
                <a:gd name="T20" fmla="*/ 137375 w 355"/>
                <a:gd name="T21" fmla="*/ 70668 h 388"/>
                <a:gd name="T22" fmla="*/ 149395 w 355"/>
                <a:gd name="T23" fmla="*/ 90934 h 388"/>
                <a:gd name="T24" fmla="*/ 152400 w 355"/>
                <a:gd name="T25" fmla="*/ 104963 h 388"/>
                <a:gd name="T26" fmla="*/ 151541 w 355"/>
                <a:gd name="T27" fmla="*/ 113797 h 388"/>
                <a:gd name="T28" fmla="*/ 148107 w 355"/>
                <a:gd name="T29" fmla="*/ 131984 h 388"/>
                <a:gd name="T30" fmla="*/ 142955 w 355"/>
                <a:gd name="T31" fmla="*/ 140817 h 388"/>
                <a:gd name="T32" fmla="*/ 133940 w 355"/>
                <a:gd name="T33" fmla="*/ 145494 h 388"/>
                <a:gd name="T34" fmla="*/ 122779 w 355"/>
                <a:gd name="T35" fmla="*/ 146533 h 388"/>
                <a:gd name="T36" fmla="*/ 115910 w 355"/>
                <a:gd name="T37" fmla="*/ 146533 h 388"/>
                <a:gd name="T38" fmla="*/ 108183 w 355"/>
                <a:gd name="T39" fmla="*/ 137700 h 388"/>
                <a:gd name="T40" fmla="*/ 103031 w 355"/>
                <a:gd name="T41" fmla="*/ 134582 h 388"/>
                <a:gd name="T42" fmla="*/ 94874 w 355"/>
                <a:gd name="T43" fmla="*/ 139778 h 388"/>
                <a:gd name="T44" fmla="*/ 88006 w 355"/>
                <a:gd name="T45" fmla="*/ 144974 h 388"/>
                <a:gd name="T46" fmla="*/ 83283 w 355"/>
                <a:gd name="T47" fmla="*/ 148092 h 388"/>
                <a:gd name="T48" fmla="*/ 79420 w 355"/>
                <a:gd name="T49" fmla="*/ 154847 h 388"/>
                <a:gd name="T50" fmla="*/ 80278 w 355"/>
                <a:gd name="T51" fmla="*/ 166798 h 388"/>
                <a:gd name="T52" fmla="*/ 88864 w 355"/>
                <a:gd name="T53" fmla="*/ 186024 h 388"/>
                <a:gd name="T54" fmla="*/ 83713 w 355"/>
                <a:gd name="T55" fmla="*/ 183426 h 388"/>
                <a:gd name="T56" fmla="*/ 75985 w 355"/>
                <a:gd name="T57" fmla="*/ 184466 h 388"/>
                <a:gd name="T58" fmla="*/ 69546 w 355"/>
                <a:gd name="T59" fmla="*/ 189662 h 388"/>
                <a:gd name="T60" fmla="*/ 62677 w 355"/>
                <a:gd name="T61" fmla="*/ 201613 h 388"/>
                <a:gd name="T62" fmla="*/ 52803 w 355"/>
                <a:gd name="T63" fmla="*/ 192260 h 388"/>
                <a:gd name="T64" fmla="*/ 48510 w 355"/>
                <a:gd name="T65" fmla="*/ 186024 h 388"/>
                <a:gd name="T66" fmla="*/ 41212 w 355"/>
                <a:gd name="T67" fmla="*/ 168357 h 388"/>
                <a:gd name="T68" fmla="*/ 21465 w 355"/>
                <a:gd name="T69" fmla="*/ 145494 h 388"/>
                <a:gd name="T70" fmla="*/ 9445 w 355"/>
                <a:gd name="T71" fmla="*/ 131984 h 388"/>
                <a:gd name="T72" fmla="*/ 2146 w 355"/>
                <a:gd name="T73" fmla="*/ 115876 h 388"/>
                <a:gd name="T74" fmla="*/ 429 w 355"/>
                <a:gd name="T75" fmla="*/ 97169 h 388"/>
                <a:gd name="T76" fmla="*/ 4722 w 355"/>
                <a:gd name="T77" fmla="*/ 84179 h 388"/>
                <a:gd name="T78" fmla="*/ 17601 w 355"/>
                <a:gd name="T79" fmla="*/ 69629 h 388"/>
                <a:gd name="T80" fmla="*/ 23182 w 355"/>
                <a:gd name="T81" fmla="*/ 60276 h 388"/>
                <a:gd name="T82" fmla="*/ 24041 w 355"/>
                <a:gd name="T83" fmla="*/ 47286 h 388"/>
                <a:gd name="T84" fmla="*/ 46364 w 355"/>
                <a:gd name="T85" fmla="*/ 43129 h 388"/>
                <a:gd name="T86" fmla="*/ 66970 w 355"/>
                <a:gd name="T87" fmla="*/ 41570 h 388"/>
                <a:gd name="T88" fmla="*/ 73839 w 355"/>
                <a:gd name="T89" fmla="*/ 37932 h 388"/>
                <a:gd name="T90" fmla="*/ 75985 w 355"/>
                <a:gd name="T91" fmla="*/ 32736 h 388"/>
                <a:gd name="T92" fmla="*/ 74697 w 355"/>
                <a:gd name="T93" fmla="*/ 21304 h 388"/>
                <a:gd name="T94" fmla="*/ 71692 w 355"/>
                <a:gd name="T95" fmla="*/ 6235 h 38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1" name="Freeform 251">
              <a:extLst>
                <a:ext uri="{FF2B5EF4-FFF2-40B4-BE49-F238E27FC236}">
                  <a16:creationId xmlns:a16="http://schemas.microsoft.com/office/drawing/2014/main" id="{6FB9B66F-4A2C-4D9C-9427-75258C0E4EEC}"/>
                </a:ext>
              </a:extLst>
            </p:cNvPr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6283325" y="3995738"/>
              <a:ext cx="260350" cy="520700"/>
            </a:xfrm>
            <a:custGeom>
              <a:avLst/>
              <a:gdLst>
                <a:gd name="T0" fmla="*/ 0 w 599"/>
                <a:gd name="T1" fmla="*/ 135812 h 993"/>
                <a:gd name="T2" fmla="*/ 79105 w 599"/>
                <a:gd name="T3" fmla="*/ 117459 h 993"/>
                <a:gd name="T4" fmla="*/ 99967 w 599"/>
                <a:gd name="T5" fmla="*/ 125849 h 993"/>
                <a:gd name="T6" fmla="*/ 112137 w 599"/>
                <a:gd name="T7" fmla="*/ 135288 h 993"/>
                <a:gd name="T8" fmla="*/ 109530 w 599"/>
                <a:gd name="T9" fmla="*/ 155214 h 993"/>
                <a:gd name="T10" fmla="*/ 101706 w 599"/>
                <a:gd name="T11" fmla="*/ 171469 h 993"/>
                <a:gd name="T12" fmla="*/ 108660 w 599"/>
                <a:gd name="T13" fmla="*/ 187200 h 993"/>
                <a:gd name="T14" fmla="*/ 127784 w 599"/>
                <a:gd name="T15" fmla="*/ 191395 h 993"/>
                <a:gd name="T16" fmla="*/ 138651 w 599"/>
                <a:gd name="T17" fmla="*/ 178286 h 993"/>
                <a:gd name="T18" fmla="*/ 146909 w 599"/>
                <a:gd name="T19" fmla="*/ 166225 h 993"/>
                <a:gd name="T20" fmla="*/ 144301 w 599"/>
                <a:gd name="T21" fmla="*/ 136861 h 993"/>
                <a:gd name="T22" fmla="*/ 136477 w 599"/>
                <a:gd name="T23" fmla="*/ 106972 h 993"/>
                <a:gd name="T24" fmla="*/ 117788 w 599"/>
                <a:gd name="T25" fmla="*/ 82326 h 993"/>
                <a:gd name="T26" fmla="*/ 110399 w 599"/>
                <a:gd name="T27" fmla="*/ 65546 h 993"/>
                <a:gd name="T28" fmla="*/ 117353 w 599"/>
                <a:gd name="T29" fmla="*/ 32511 h 993"/>
                <a:gd name="T30" fmla="*/ 139085 w 599"/>
                <a:gd name="T31" fmla="*/ 28840 h 993"/>
                <a:gd name="T32" fmla="*/ 181680 w 599"/>
                <a:gd name="T33" fmla="*/ 31462 h 993"/>
                <a:gd name="T34" fmla="*/ 226448 w 599"/>
                <a:gd name="T35" fmla="*/ 18877 h 993"/>
                <a:gd name="T36" fmla="*/ 259481 w 599"/>
                <a:gd name="T37" fmla="*/ 1573 h 993"/>
                <a:gd name="T38" fmla="*/ 259481 w 599"/>
                <a:gd name="T39" fmla="*/ 15731 h 993"/>
                <a:gd name="T40" fmla="*/ 259481 w 599"/>
                <a:gd name="T41" fmla="*/ 66071 h 993"/>
                <a:gd name="T42" fmla="*/ 257308 w 599"/>
                <a:gd name="T43" fmla="*/ 119556 h 993"/>
                <a:gd name="T44" fmla="*/ 254265 w 599"/>
                <a:gd name="T45" fmla="*/ 144726 h 993"/>
                <a:gd name="T46" fmla="*/ 239053 w 599"/>
                <a:gd name="T47" fmla="*/ 176713 h 993"/>
                <a:gd name="T48" fmla="*/ 203412 w 599"/>
                <a:gd name="T49" fmla="*/ 210797 h 993"/>
                <a:gd name="T50" fmla="*/ 162556 w 599"/>
                <a:gd name="T51" fmla="*/ 223382 h 993"/>
                <a:gd name="T52" fmla="*/ 153428 w 599"/>
                <a:gd name="T53" fmla="*/ 243308 h 993"/>
                <a:gd name="T54" fmla="*/ 127350 w 599"/>
                <a:gd name="T55" fmla="*/ 265856 h 993"/>
                <a:gd name="T56" fmla="*/ 105618 w 599"/>
                <a:gd name="T57" fmla="*/ 287879 h 993"/>
                <a:gd name="T58" fmla="*/ 99533 w 599"/>
                <a:gd name="T59" fmla="*/ 305184 h 993"/>
                <a:gd name="T60" fmla="*/ 103010 w 599"/>
                <a:gd name="T61" fmla="*/ 324585 h 993"/>
                <a:gd name="T62" fmla="*/ 116049 w 599"/>
                <a:gd name="T63" fmla="*/ 342938 h 993"/>
                <a:gd name="T64" fmla="*/ 110399 w 599"/>
                <a:gd name="T65" fmla="*/ 363913 h 993"/>
                <a:gd name="T66" fmla="*/ 115180 w 599"/>
                <a:gd name="T67" fmla="*/ 382266 h 993"/>
                <a:gd name="T68" fmla="*/ 116049 w 599"/>
                <a:gd name="T69" fmla="*/ 414253 h 993"/>
                <a:gd name="T70" fmla="*/ 111268 w 599"/>
                <a:gd name="T71" fmla="*/ 426838 h 993"/>
                <a:gd name="T72" fmla="*/ 83886 w 599"/>
                <a:gd name="T73" fmla="*/ 457776 h 993"/>
                <a:gd name="T74" fmla="*/ 63892 w 599"/>
                <a:gd name="T75" fmla="*/ 465117 h 993"/>
                <a:gd name="T76" fmla="*/ 44333 w 599"/>
                <a:gd name="T77" fmla="*/ 468787 h 993"/>
                <a:gd name="T78" fmla="*/ 37814 w 599"/>
                <a:gd name="T79" fmla="*/ 478750 h 993"/>
                <a:gd name="T80" fmla="*/ 41291 w 599"/>
                <a:gd name="T81" fmla="*/ 492384 h 993"/>
                <a:gd name="T82" fmla="*/ 39552 w 599"/>
                <a:gd name="T83" fmla="*/ 520176 h 993"/>
                <a:gd name="T84" fmla="*/ 32163 w 599"/>
                <a:gd name="T85" fmla="*/ 424740 h 993"/>
                <a:gd name="T86" fmla="*/ 25209 w 599"/>
                <a:gd name="T87" fmla="*/ 401144 h 993"/>
                <a:gd name="T88" fmla="*/ 17820 w 599"/>
                <a:gd name="T89" fmla="*/ 377547 h 993"/>
                <a:gd name="T90" fmla="*/ 46941 w 599"/>
                <a:gd name="T91" fmla="*/ 349231 h 993"/>
                <a:gd name="T92" fmla="*/ 47376 w 599"/>
                <a:gd name="T93" fmla="*/ 321964 h 993"/>
                <a:gd name="T94" fmla="*/ 64762 w 599"/>
                <a:gd name="T95" fmla="*/ 299416 h 993"/>
                <a:gd name="T96" fmla="*/ 75628 w 599"/>
                <a:gd name="T97" fmla="*/ 275819 h 993"/>
                <a:gd name="T98" fmla="*/ 73020 w 599"/>
                <a:gd name="T99" fmla="*/ 231247 h 993"/>
                <a:gd name="T100" fmla="*/ 66065 w 599"/>
                <a:gd name="T101" fmla="*/ 190871 h 993"/>
                <a:gd name="T102" fmla="*/ 35206 w 599"/>
                <a:gd name="T103" fmla="*/ 178810 h 99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2" name="Freeform 252">
              <a:extLst>
                <a:ext uri="{FF2B5EF4-FFF2-40B4-BE49-F238E27FC236}">
                  <a16:creationId xmlns:a16="http://schemas.microsoft.com/office/drawing/2014/main" id="{8FA4C558-0D03-4BF6-B7E1-52FE6D94D609}"/>
                </a:ext>
              </a:extLst>
            </p:cNvPr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6018214" y="4235450"/>
              <a:ext cx="238125" cy="287338"/>
            </a:xfrm>
            <a:custGeom>
              <a:avLst/>
              <a:gdLst>
                <a:gd name="T0" fmla="*/ 13108 w 545"/>
                <a:gd name="T1" fmla="*/ 224008 h 549"/>
                <a:gd name="T2" fmla="*/ 20099 w 545"/>
                <a:gd name="T3" fmla="*/ 237616 h 549"/>
                <a:gd name="T4" fmla="*/ 20099 w 545"/>
                <a:gd name="T5" fmla="*/ 267973 h 549"/>
                <a:gd name="T6" fmla="*/ 20972 w 545"/>
                <a:gd name="T7" fmla="*/ 275824 h 549"/>
                <a:gd name="T8" fmla="*/ 24031 w 545"/>
                <a:gd name="T9" fmla="*/ 281057 h 549"/>
                <a:gd name="T10" fmla="*/ 29711 w 545"/>
                <a:gd name="T11" fmla="*/ 285244 h 549"/>
                <a:gd name="T12" fmla="*/ 43693 w 545"/>
                <a:gd name="T13" fmla="*/ 287338 h 549"/>
                <a:gd name="T14" fmla="*/ 49373 w 545"/>
                <a:gd name="T15" fmla="*/ 285768 h 549"/>
                <a:gd name="T16" fmla="*/ 56800 w 545"/>
                <a:gd name="T17" fmla="*/ 278964 h 549"/>
                <a:gd name="T18" fmla="*/ 62481 w 545"/>
                <a:gd name="T19" fmla="*/ 265356 h 549"/>
                <a:gd name="T20" fmla="*/ 67287 w 545"/>
                <a:gd name="T21" fmla="*/ 249654 h 549"/>
                <a:gd name="T22" fmla="*/ 73841 w 545"/>
                <a:gd name="T23" fmla="*/ 237616 h 549"/>
                <a:gd name="T24" fmla="*/ 79958 w 545"/>
                <a:gd name="T25" fmla="*/ 232906 h 549"/>
                <a:gd name="T26" fmla="*/ 87822 w 545"/>
                <a:gd name="T27" fmla="*/ 232383 h 549"/>
                <a:gd name="T28" fmla="*/ 96998 w 545"/>
                <a:gd name="T29" fmla="*/ 234476 h 549"/>
                <a:gd name="T30" fmla="*/ 110106 w 545"/>
                <a:gd name="T31" fmla="*/ 241280 h 549"/>
                <a:gd name="T32" fmla="*/ 118844 w 545"/>
                <a:gd name="T33" fmla="*/ 244944 h 549"/>
                <a:gd name="T34" fmla="*/ 129767 w 545"/>
                <a:gd name="T35" fmla="*/ 245467 h 549"/>
                <a:gd name="T36" fmla="*/ 139380 w 545"/>
                <a:gd name="T37" fmla="*/ 242850 h 549"/>
                <a:gd name="T38" fmla="*/ 145060 w 545"/>
                <a:gd name="T39" fmla="*/ 237093 h 549"/>
                <a:gd name="T40" fmla="*/ 156857 w 545"/>
                <a:gd name="T41" fmla="*/ 203073 h 549"/>
                <a:gd name="T42" fmla="*/ 166906 w 545"/>
                <a:gd name="T43" fmla="*/ 189989 h 549"/>
                <a:gd name="T44" fmla="*/ 195306 w 545"/>
                <a:gd name="T45" fmla="*/ 164343 h 549"/>
                <a:gd name="T46" fmla="*/ 230260 w 545"/>
                <a:gd name="T47" fmla="*/ 138173 h 549"/>
                <a:gd name="T48" fmla="*/ 230697 w 545"/>
                <a:gd name="T49" fmla="*/ 121425 h 549"/>
                <a:gd name="T50" fmla="*/ 219774 w 545"/>
                <a:gd name="T51" fmla="*/ 114098 h 549"/>
                <a:gd name="T52" fmla="*/ 211909 w 545"/>
                <a:gd name="T53" fmla="*/ 104153 h 549"/>
                <a:gd name="T54" fmla="*/ 200986 w 545"/>
                <a:gd name="T55" fmla="*/ 82171 h 549"/>
                <a:gd name="T56" fmla="*/ 192248 w 545"/>
                <a:gd name="T57" fmla="*/ 69087 h 549"/>
                <a:gd name="T58" fmla="*/ 164721 w 545"/>
                <a:gd name="T59" fmla="*/ 39777 h 549"/>
                <a:gd name="T60" fmla="*/ 156857 w 545"/>
                <a:gd name="T61" fmla="*/ 27739 h 549"/>
                <a:gd name="T62" fmla="*/ 152050 w 545"/>
                <a:gd name="T63" fmla="*/ 12561 h 549"/>
                <a:gd name="T64" fmla="*/ 139380 w 545"/>
                <a:gd name="T65" fmla="*/ 0 h 549"/>
                <a:gd name="T66" fmla="*/ 106610 w 545"/>
                <a:gd name="T67" fmla="*/ 1047 h 549"/>
                <a:gd name="T68" fmla="*/ 76899 w 545"/>
                <a:gd name="T69" fmla="*/ 6804 h 549"/>
                <a:gd name="T70" fmla="*/ 41508 w 545"/>
                <a:gd name="T71" fmla="*/ 11514 h 549"/>
                <a:gd name="T72" fmla="*/ 31022 w 545"/>
                <a:gd name="T73" fmla="*/ 14131 h 549"/>
                <a:gd name="T74" fmla="*/ 29274 w 545"/>
                <a:gd name="T75" fmla="*/ 19889 h 549"/>
                <a:gd name="T76" fmla="*/ 31896 w 545"/>
                <a:gd name="T77" fmla="*/ 29310 h 549"/>
                <a:gd name="T78" fmla="*/ 36702 w 545"/>
                <a:gd name="T79" fmla="*/ 38730 h 549"/>
                <a:gd name="T80" fmla="*/ 37576 w 545"/>
                <a:gd name="T81" fmla="*/ 56002 h 549"/>
                <a:gd name="T82" fmla="*/ 32333 w 545"/>
                <a:gd name="T83" fmla="*/ 89499 h 549"/>
                <a:gd name="T84" fmla="*/ 27089 w 545"/>
                <a:gd name="T85" fmla="*/ 124042 h 549"/>
                <a:gd name="T86" fmla="*/ 20536 w 545"/>
                <a:gd name="T87" fmla="*/ 137650 h 549"/>
                <a:gd name="T88" fmla="*/ 11360 w 545"/>
                <a:gd name="T89" fmla="*/ 144977 h 549"/>
                <a:gd name="T90" fmla="*/ 2185 w 545"/>
                <a:gd name="T91" fmla="*/ 160679 h 549"/>
                <a:gd name="T92" fmla="*/ 437 w 545"/>
                <a:gd name="T93" fmla="*/ 177427 h 549"/>
                <a:gd name="T94" fmla="*/ 3495 w 545"/>
                <a:gd name="T95" fmla="*/ 192082 h 549"/>
                <a:gd name="T96" fmla="*/ 3495 w 545"/>
                <a:gd name="T97" fmla="*/ 204643 h 549"/>
                <a:gd name="T98" fmla="*/ 0 w 545"/>
                <a:gd name="T99" fmla="*/ 213541 h 549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3" name="Freeform 253">
              <a:extLst>
                <a:ext uri="{FF2B5EF4-FFF2-40B4-BE49-F238E27FC236}">
                  <a16:creationId xmlns:a16="http://schemas.microsoft.com/office/drawing/2014/main" id="{2E4B322D-9676-4AEA-B72F-2FACA3B117C9}"/>
                </a:ext>
              </a:extLst>
            </p:cNvPr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6591300" y="4037014"/>
              <a:ext cx="196850" cy="434975"/>
            </a:xfrm>
            <a:custGeom>
              <a:avLst/>
              <a:gdLst>
                <a:gd name="T0" fmla="*/ 48777 w 452"/>
                <a:gd name="T1" fmla="*/ 136452 h 832"/>
                <a:gd name="T2" fmla="*/ 60100 w 452"/>
                <a:gd name="T3" fmla="*/ 129656 h 832"/>
                <a:gd name="T4" fmla="*/ 71859 w 452"/>
                <a:gd name="T5" fmla="*/ 125474 h 832"/>
                <a:gd name="T6" fmla="*/ 83618 w 452"/>
                <a:gd name="T7" fmla="*/ 121291 h 832"/>
                <a:gd name="T8" fmla="*/ 93634 w 452"/>
                <a:gd name="T9" fmla="*/ 113449 h 832"/>
                <a:gd name="T10" fmla="*/ 101038 w 452"/>
                <a:gd name="T11" fmla="*/ 104561 h 832"/>
                <a:gd name="T12" fmla="*/ 101038 w 452"/>
                <a:gd name="T13" fmla="*/ 93582 h 832"/>
                <a:gd name="T14" fmla="*/ 115410 w 452"/>
                <a:gd name="T15" fmla="*/ 93060 h 832"/>
                <a:gd name="T16" fmla="*/ 122813 w 452"/>
                <a:gd name="T17" fmla="*/ 90446 h 832"/>
                <a:gd name="T18" fmla="*/ 129782 w 452"/>
                <a:gd name="T19" fmla="*/ 84695 h 832"/>
                <a:gd name="T20" fmla="*/ 139363 w 452"/>
                <a:gd name="T21" fmla="*/ 69533 h 832"/>
                <a:gd name="T22" fmla="*/ 152428 w 452"/>
                <a:gd name="T23" fmla="*/ 39210 h 832"/>
                <a:gd name="T24" fmla="*/ 164622 w 452"/>
                <a:gd name="T25" fmla="*/ 0 h 832"/>
                <a:gd name="T26" fmla="*/ 167671 w 452"/>
                <a:gd name="T27" fmla="*/ 9933 h 832"/>
                <a:gd name="T28" fmla="*/ 177252 w 452"/>
                <a:gd name="T29" fmla="*/ 24572 h 832"/>
                <a:gd name="T30" fmla="*/ 195108 w 452"/>
                <a:gd name="T31" fmla="*/ 44439 h 832"/>
                <a:gd name="T32" fmla="*/ 191624 w 452"/>
                <a:gd name="T33" fmla="*/ 53849 h 832"/>
                <a:gd name="T34" fmla="*/ 193366 w 452"/>
                <a:gd name="T35" fmla="*/ 72147 h 832"/>
                <a:gd name="T36" fmla="*/ 196850 w 452"/>
                <a:gd name="T37" fmla="*/ 96719 h 832"/>
                <a:gd name="T38" fmla="*/ 195108 w 452"/>
                <a:gd name="T39" fmla="*/ 107698 h 832"/>
                <a:gd name="T40" fmla="*/ 186398 w 452"/>
                <a:gd name="T41" fmla="*/ 122337 h 832"/>
                <a:gd name="T42" fmla="*/ 178123 w 452"/>
                <a:gd name="T43" fmla="*/ 136452 h 832"/>
                <a:gd name="T44" fmla="*/ 176381 w 452"/>
                <a:gd name="T45" fmla="*/ 147954 h 832"/>
                <a:gd name="T46" fmla="*/ 171155 w 452"/>
                <a:gd name="T47" fmla="*/ 161024 h 832"/>
                <a:gd name="T48" fmla="*/ 166800 w 452"/>
                <a:gd name="T49" fmla="*/ 166252 h 832"/>
                <a:gd name="T50" fmla="*/ 164187 w 452"/>
                <a:gd name="T51" fmla="*/ 173572 h 832"/>
                <a:gd name="T52" fmla="*/ 160267 w 452"/>
                <a:gd name="T53" fmla="*/ 190302 h 832"/>
                <a:gd name="T54" fmla="*/ 147202 w 452"/>
                <a:gd name="T55" fmla="*/ 223238 h 832"/>
                <a:gd name="T56" fmla="*/ 139798 w 452"/>
                <a:gd name="T57" fmla="*/ 245719 h 832"/>
                <a:gd name="T58" fmla="*/ 138492 w 452"/>
                <a:gd name="T59" fmla="*/ 261403 h 832"/>
                <a:gd name="T60" fmla="*/ 135008 w 452"/>
                <a:gd name="T61" fmla="*/ 277610 h 832"/>
                <a:gd name="T62" fmla="*/ 122378 w 452"/>
                <a:gd name="T63" fmla="*/ 314730 h 832"/>
                <a:gd name="T64" fmla="*/ 113232 w 452"/>
                <a:gd name="T65" fmla="*/ 333028 h 832"/>
                <a:gd name="T66" fmla="*/ 105393 w 452"/>
                <a:gd name="T67" fmla="*/ 342438 h 832"/>
                <a:gd name="T68" fmla="*/ 101038 w 452"/>
                <a:gd name="T69" fmla="*/ 345052 h 832"/>
                <a:gd name="T70" fmla="*/ 99296 w 452"/>
                <a:gd name="T71" fmla="*/ 373284 h 832"/>
                <a:gd name="T72" fmla="*/ 93634 w 452"/>
                <a:gd name="T73" fmla="*/ 396810 h 832"/>
                <a:gd name="T74" fmla="*/ 83182 w 452"/>
                <a:gd name="T75" fmla="*/ 415631 h 832"/>
                <a:gd name="T76" fmla="*/ 68375 w 452"/>
                <a:gd name="T77" fmla="*/ 428179 h 832"/>
                <a:gd name="T78" fmla="*/ 47906 w 452"/>
                <a:gd name="T79" fmla="*/ 434452 h 832"/>
                <a:gd name="T80" fmla="*/ 34841 w 452"/>
                <a:gd name="T81" fmla="*/ 432361 h 832"/>
                <a:gd name="T82" fmla="*/ 31792 w 452"/>
                <a:gd name="T83" fmla="*/ 427133 h 832"/>
                <a:gd name="T84" fmla="*/ 21775 w 452"/>
                <a:gd name="T85" fmla="*/ 423473 h 832"/>
                <a:gd name="T86" fmla="*/ 11323 w 452"/>
                <a:gd name="T87" fmla="*/ 417200 h 832"/>
                <a:gd name="T88" fmla="*/ 5226 w 452"/>
                <a:gd name="T89" fmla="*/ 406221 h 832"/>
                <a:gd name="T90" fmla="*/ 1307 w 452"/>
                <a:gd name="T91" fmla="*/ 393150 h 832"/>
                <a:gd name="T92" fmla="*/ 0 w 452"/>
                <a:gd name="T93" fmla="*/ 370147 h 832"/>
                <a:gd name="T94" fmla="*/ 1742 w 452"/>
                <a:gd name="T95" fmla="*/ 362828 h 832"/>
                <a:gd name="T96" fmla="*/ 8275 w 452"/>
                <a:gd name="T97" fmla="*/ 354463 h 832"/>
                <a:gd name="T98" fmla="*/ 4791 w 452"/>
                <a:gd name="T99" fmla="*/ 351326 h 832"/>
                <a:gd name="T100" fmla="*/ 0 w 452"/>
                <a:gd name="T101" fmla="*/ 340870 h 832"/>
                <a:gd name="T102" fmla="*/ 2178 w 452"/>
                <a:gd name="T103" fmla="*/ 328322 h 832"/>
                <a:gd name="T104" fmla="*/ 3484 w 452"/>
                <a:gd name="T105" fmla="*/ 318912 h 832"/>
                <a:gd name="T106" fmla="*/ 2178 w 452"/>
                <a:gd name="T107" fmla="*/ 308979 h 832"/>
                <a:gd name="T108" fmla="*/ 7839 w 452"/>
                <a:gd name="T109" fmla="*/ 306887 h 832"/>
                <a:gd name="T110" fmla="*/ 18727 w 452"/>
                <a:gd name="T111" fmla="*/ 296954 h 832"/>
                <a:gd name="T112" fmla="*/ 27437 w 452"/>
                <a:gd name="T113" fmla="*/ 281270 h 832"/>
                <a:gd name="T114" fmla="*/ 33099 w 452"/>
                <a:gd name="T115" fmla="*/ 264540 h 832"/>
                <a:gd name="T116" fmla="*/ 37454 w 452"/>
                <a:gd name="T117" fmla="*/ 241537 h 832"/>
                <a:gd name="T118" fmla="*/ 36147 w 452"/>
                <a:gd name="T119" fmla="*/ 228989 h 832"/>
                <a:gd name="T120" fmla="*/ 30486 w 452"/>
                <a:gd name="T121" fmla="*/ 213305 h 832"/>
                <a:gd name="T122" fmla="*/ 24388 w 452"/>
                <a:gd name="T123" fmla="*/ 199712 h 832"/>
                <a:gd name="T124" fmla="*/ 23082 w 452"/>
                <a:gd name="T125" fmla="*/ 189779 h 83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4" name="Freeform 254">
              <a:extLst>
                <a:ext uri="{FF2B5EF4-FFF2-40B4-BE49-F238E27FC236}">
                  <a16:creationId xmlns:a16="http://schemas.microsoft.com/office/drawing/2014/main" id="{D6A6547A-7F94-4F37-A090-8930BFC0D76A}"/>
                </a:ext>
              </a:extLst>
            </p:cNvPr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6267451" y="3735389"/>
              <a:ext cx="36513" cy="66675"/>
            </a:xfrm>
            <a:custGeom>
              <a:avLst/>
              <a:gdLst>
                <a:gd name="T0" fmla="*/ 36513 w 80"/>
                <a:gd name="T1" fmla="*/ 1058 h 126"/>
                <a:gd name="T2" fmla="*/ 36513 w 80"/>
                <a:gd name="T3" fmla="*/ 53446 h 126"/>
                <a:gd name="T4" fmla="*/ 35600 w 80"/>
                <a:gd name="T5" fmla="*/ 55033 h 126"/>
                <a:gd name="T6" fmla="*/ 34231 w 80"/>
                <a:gd name="T7" fmla="*/ 56621 h 126"/>
                <a:gd name="T8" fmla="*/ 31949 w 80"/>
                <a:gd name="T9" fmla="*/ 57679 h 126"/>
                <a:gd name="T10" fmla="*/ 30580 w 80"/>
                <a:gd name="T11" fmla="*/ 58737 h 126"/>
                <a:gd name="T12" fmla="*/ 26472 w 80"/>
                <a:gd name="T13" fmla="*/ 60325 h 126"/>
                <a:gd name="T14" fmla="*/ 21908 w 80"/>
                <a:gd name="T15" fmla="*/ 61383 h 126"/>
                <a:gd name="T16" fmla="*/ 16431 w 80"/>
                <a:gd name="T17" fmla="*/ 61912 h 126"/>
                <a:gd name="T18" fmla="*/ 11410 w 80"/>
                <a:gd name="T19" fmla="*/ 62971 h 126"/>
                <a:gd name="T20" fmla="*/ 5933 w 80"/>
                <a:gd name="T21" fmla="*/ 65087 h 126"/>
                <a:gd name="T22" fmla="*/ 0 w 80"/>
                <a:gd name="T23" fmla="*/ 66675 h 126"/>
                <a:gd name="T24" fmla="*/ 3195 w 80"/>
                <a:gd name="T25" fmla="*/ 21167 h 126"/>
                <a:gd name="T26" fmla="*/ 10497 w 80"/>
                <a:gd name="T27" fmla="*/ 14287 h 126"/>
                <a:gd name="T28" fmla="*/ 18713 w 80"/>
                <a:gd name="T29" fmla="*/ 6350 h 126"/>
                <a:gd name="T30" fmla="*/ 23277 w 80"/>
                <a:gd name="T31" fmla="*/ 2646 h 126"/>
                <a:gd name="T32" fmla="*/ 27385 w 80"/>
                <a:gd name="T33" fmla="*/ 529 h 126"/>
                <a:gd name="T34" fmla="*/ 29667 w 80"/>
                <a:gd name="T35" fmla="*/ 0 h 126"/>
                <a:gd name="T36" fmla="*/ 31949 w 80"/>
                <a:gd name="T37" fmla="*/ 0 h 126"/>
                <a:gd name="T38" fmla="*/ 34231 w 80"/>
                <a:gd name="T39" fmla="*/ 529 h 126"/>
                <a:gd name="T40" fmla="*/ 36513 w 80"/>
                <a:gd name="T41" fmla="*/ 1058 h 12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5" name="Freeform 255">
              <a:extLst>
                <a:ext uri="{FF2B5EF4-FFF2-40B4-BE49-F238E27FC236}">
                  <a16:creationId xmlns:a16="http://schemas.microsoft.com/office/drawing/2014/main" id="{A2106C3F-AE22-4451-AE49-1B28C5828B04}"/>
                </a:ext>
              </a:extLst>
            </p:cNvPr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6256338" y="3695701"/>
              <a:ext cx="55562" cy="60325"/>
            </a:xfrm>
            <a:custGeom>
              <a:avLst/>
              <a:gdLst>
                <a:gd name="T0" fmla="*/ 50633 w 124"/>
                <a:gd name="T1" fmla="*/ 0 h 117"/>
                <a:gd name="T2" fmla="*/ 51977 w 124"/>
                <a:gd name="T3" fmla="*/ 7734 h 117"/>
                <a:gd name="T4" fmla="*/ 54666 w 124"/>
                <a:gd name="T5" fmla="*/ 18046 h 117"/>
                <a:gd name="T6" fmla="*/ 55562 w 124"/>
                <a:gd name="T7" fmla="*/ 23202 h 117"/>
                <a:gd name="T8" fmla="*/ 55562 w 124"/>
                <a:gd name="T9" fmla="*/ 27842 h 117"/>
                <a:gd name="T10" fmla="*/ 55562 w 124"/>
                <a:gd name="T11" fmla="*/ 30420 h 117"/>
                <a:gd name="T12" fmla="*/ 55114 w 124"/>
                <a:gd name="T13" fmla="*/ 32998 h 117"/>
                <a:gd name="T14" fmla="*/ 54666 w 124"/>
                <a:gd name="T15" fmla="*/ 35576 h 117"/>
                <a:gd name="T16" fmla="*/ 53322 w 124"/>
                <a:gd name="T17" fmla="*/ 37639 h 117"/>
                <a:gd name="T18" fmla="*/ 51081 w 124"/>
                <a:gd name="T19" fmla="*/ 37123 h 117"/>
                <a:gd name="T20" fmla="*/ 48393 w 124"/>
                <a:gd name="T21" fmla="*/ 36607 h 117"/>
                <a:gd name="T22" fmla="*/ 46152 w 124"/>
                <a:gd name="T23" fmla="*/ 37123 h 117"/>
                <a:gd name="T24" fmla="*/ 43016 w 124"/>
                <a:gd name="T25" fmla="*/ 37639 h 117"/>
                <a:gd name="T26" fmla="*/ 37191 w 124"/>
                <a:gd name="T27" fmla="*/ 40217 h 117"/>
                <a:gd name="T28" fmla="*/ 31814 w 124"/>
                <a:gd name="T29" fmla="*/ 43826 h 117"/>
                <a:gd name="T30" fmla="*/ 20612 w 124"/>
                <a:gd name="T31" fmla="*/ 53107 h 117"/>
                <a:gd name="T32" fmla="*/ 11650 w 124"/>
                <a:gd name="T33" fmla="*/ 60325 h 117"/>
                <a:gd name="T34" fmla="*/ 10306 w 124"/>
                <a:gd name="T35" fmla="*/ 57747 h 117"/>
                <a:gd name="T36" fmla="*/ 5825 w 124"/>
                <a:gd name="T37" fmla="*/ 52075 h 117"/>
                <a:gd name="T38" fmla="*/ 1792 w 124"/>
                <a:gd name="T39" fmla="*/ 45888 h 117"/>
                <a:gd name="T40" fmla="*/ 0 w 124"/>
                <a:gd name="T41" fmla="*/ 40732 h 117"/>
                <a:gd name="T42" fmla="*/ 448 w 124"/>
                <a:gd name="T43" fmla="*/ 39185 h 117"/>
                <a:gd name="T44" fmla="*/ 896 w 124"/>
                <a:gd name="T45" fmla="*/ 37123 h 117"/>
                <a:gd name="T46" fmla="*/ 2240 w 124"/>
                <a:gd name="T47" fmla="*/ 34545 h 117"/>
                <a:gd name="T48" fmla="*/ 4033 w 124"/>
                <a:gd name="T49" fmla="*/ 31967 h 117"/>
                <a:gd name="T50" fmla="*/ 7617 w 124"/>
                <a:gd name="T51" fmla="*/ 26811 h 117"/>
                <a:gd name="T52" fmla="*/ 12098 w 124"/>
                <a:gd name="T53" fmla="*/ 21655 h 117"/>
                <a:gd name="T54" fmla="*/ 21508 w 124"/>
                <a:gd name="T55" fmla="*/ 11343 h 117"/>
                <a:gd name="T56" fmla="*/ 26885 w 124"/>
                <a:gd name="T57" fmla="*/ 6187 h 117"/>
                <a:gd name="T58" fmla="*/ 32710 w 124"/>
                <a:gd name="T59" fmla="*/ 6187 h 117"/>
                <a:gd name="T60" fmla="*/ 38535 w 124"/>
                <a:gd name="T61" fmla="*/ 6187 h 117"/>
                <a:gd name="T62" fmla="*/ 44808 w 124"/>
                <a:gd name="T63" fmla="*/ 3094 h 117"/>
                <a:gd name="T64" fmla="*/ 50633 w 124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6" name="Freeform 256">
              <a:extLst>
                <a:ext uri="{FF2B5EF4-FFF2-40B4-BE49-F238E27FC236}">
                  <a16:creationId xmlns:a16="http://schemas.microsoft.com/office/drawing/2014/main" id="{D8A99731-68F6-4160-A87A-41125D417B26}"/>
                </a:ext>
              </a:extLst>
            </p:cNvPr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6565900" y="2395539"/>
              <a:ext cx="503238" cy="473075"/>
            </a:xfrm>
            <a:custGeom>
              <a:avLst/>
              <a:gdLst>
                <a:gd name="T0" fmla="*/ 403983 w 1156"/>
                <a:gd name="T1" fmla="*/ 100397 h 900"/>
                <a:gd name="T2" fmla="*/ 373946 w 1156"/>
                <a:gd name="T3" fmla="*/ 85154 h 900"/>
                <a:gd name="T4" fmla="*/ 336508 w 1156"/>
                <a:gd name="T5" fmla="*/ 58346 h 900"/>
                <a:gd name="T6" fmla="*/ 268597 w 1156"/>
                <a:gd name="T7" fmla="*/ 54666 h 900"/>
                <a:gd name="T8" fmla="*/ 239865 w 1156"/>
                <a:gd name="T9" fmla="*/ 80948 h 900"/>
                <a:gd name="T10" fmla="*/ 219405 w 1156"/>
                <a:gd name="T11" fmla="*/ 94089 h 900"/>
                <a:gd name="T12" fmla="*/ 185449 w 1156"/>
                <a:gd name="T13" fmla="*/ 103551 h 900"/>
                <a:gd name="T14" fmla="*/ 166730 w 1156"/>
                <a:gd name="T15" fmla="*/ 104602 h 900"/>
                <a:gd name="T16" fmla="*/ 154541 w 1156"/>
                <a:gd name="T17" fmla="*/ 90936 h 900"/>
                <a:gd name="T18" fmla="*/ 113185 w 1156"/>
                <a:gd name="T19" fmla="*/ 71487 h 900"/>
                <a:gd name="T20" fmla="*/ 99255 w 1156"/>
                <a:gd name="T21" fmla="*/ 45205 h 900"/>
                <a:gd name="T22" fmla="*/ 95772 w 1156"/>
                <a:gd name="T23" fmla="*/ 12090 h 900"/>
                <a:gd name="T24" fmla="*/ 81841 w 1156"/>
                <a:gd name="T25" fmla="*/ 526 h 900"/>
                <a:gd name="T26" fmla="*/ 67476 w 1156"/>
                <a:gd name="T27" fmla="*/ 11038 h 900"/>
                <a:gd name="T28" fmla="*/ 59204 w 1156"/>
                <a:gd name="T29" fmla="*/ 35218 h 900"/>
                <a:gd name="T30" fmla="*/ 34391 w 1156"/>
                <a:gd name="T31" fmla="*/ 28385 h 900"/>
                <a:gd name="T32" fmla="*/ 1741 w 1156"/>
                <a:gd name="T33" fmla="*/ 8410 h 900"/>
                <a:gd name="T34" fmla="*/ 2177 w 1156"/>
                <a:gd name="T35" fmla="*/ 37846 h 900"/>
                <a:gd name="T36" fmla="*/ 19590 w 1156"/>
                <a:gd name="T37" fmla="*/ 76743 h 900"/>
                <a:gd name="T38" fmla="*/ 31779 w 1156"/>
                <a:gd name="T39" fmla="*/ 107756 h 900"/>
                <a:gd name="T40" fmla="*/ 58769 w 1156"/>
                <a:gd name="T41" fmla="*/ 149281 h 900"/>
                <a:gd name="T42" fmla="*/ 53110 w 1156"/>
                <a:gd name="T43" fmla="*/ 166102 h 900"/>
                <a:gd name="T44" fmla="*/ 57898 w 1156"/>
                <a:gd name="T45" fmla="*/ 194486 h 900"/>
                <a:gd name="T46" fmla="*/ 81841 w 1156"/>
                <a:gd name="T47" fmla="*/ 224973 h 900"/>
                <a:gd name="T48" fmla="*/ 112750 w 1156"/>
                <a:gd name="T49" fmla="*/ 239691 h 900"/>
                <a:gd name="T50" fmla="*/ 112750 w 1156"/>
                <a:gd name="T51" fmla="*/ 275435 h 900"/>
                <a:gd name="T52" fmla="*/ 145835 w 1156"/>
                <a:gd name="T53" fmla="*/ 305396 h 900"/>
                <a:gd name="T54" fmla="*/ 184143 w 1156"/>
                <a:gd name="T55" fmla="*/ 349024 h 900"/>
                <a:gd name="T56" fmla="*/ 205039 w 1156"/>
                <a:gd name="T57" fmla="*/ 378460 h 900"/>
                <a:gd name="T58" fmla="*/ 219405 w 1156"/>
                <a:gd name="T59" fmla="*/ 385293 h 900"/>
                <a:gd name="T60" fmla="*/ 235947 w 1156"/>
                <a:gd name="T61" fmla="*/ 396857 h 900"/>
                <a:gd name="T62" fmla="*/ 260326 w 1156"/>
                <a:gd name="T63" fmla="*/ 413678 h 900"/>
                <a:gd name="T64" fmla="*/ 298199 w 1156"/>
                <a:gd name="T65" fmla="*/ 417883 h 900"/>
                <a:gd name="T66" fmla="*/ 318659 w 1156"/>
                <a:gd name="T67" fmla="*/ 409998 h 900"/>
                <a:gd name="T68" fmla="*/ 339120 w 1156"/>
                <a:gd name="T69" fmla="*/ 401588 h 900"/>
                <a:gd name="T70" fmla="*/ 348697 w 1156"/>
                <a:gd name="T71" fmla="*/ 418409 h 900"/>
                <a:gd name="T72" fmla="*/ 353921 w 1156"/>
                <a:gd name="T73" fmla="*/ 450473 h 900"/>
                <a:gd name="T74" fmla="*/ 380476 w 1156"/>
                <a:gd name="T75" fmla="*/ 459408 h 900"/>
                <a:gd name="T76" fmla="*/ 440116 w 1156"/>
                <a:gd name="T77" fmla="*/ 468870 h 900"/>
                <a:gd name="T78" fmla="*/ 474942 w 1156"/>
                <a:gd name="T79" fmla="*/ 462037 h 900"/>
                <a:gd name="T80" fmla="*/ 478424 w 1156"/>
                <a:gd name="T81" fmla="*/ 436806 h 900"/>
                <a:gd name="T82" fmla="*/ 503238 w 1156"/>
                <a:gd name="T83" fmla="*/ 404742 h 900"/>
                <a:gd name="T84" fmla="*/ 492790 w 1156"/>
                <a:gd name="T85" fmla="*/ 394229 h 900"/>
                <a:gd name="T86" fmla="*/ 477118 w 1156"/>
                <a:gd name="T87" fmla="*/ 372152 h 900"/>
                <a:gd name="T88" fmla="*/ 448822 w 1156"/>
                <a:gd name="T89" fmla="*/ 337986 h 900"/>
                <a:gd name="T90" fmla="*/ 443163 w 1156"/>
                <a:gd name="T91" fmla="*/ 316960 h 900"/>
                <a:gd name="T92" fmla="*/ 454481 w 1156"/>
                <a:gd name="T93" fmla="*/ 293832 h 900"/>
                <a:gd name="T94" fmla="*/ 456223 w 1156"/>
                <a:gd name="T95" fmla="*/ 276486 h 900"/>
                <a:gd name="T96" fmla="*/ 448387 w 1156"/>
                <a:gd name="T97" fmla="*/ 269127 h 900"/>
                <a:gd name="T98" fmla="*/ 427926 w 1156"/>
                <a:gd name="T99" fmla="*/ 266499 h 900"/>
                <a:gd name="T100" fmla="*/ 415302 w 1156"/>
                <a:gd name="T101" fmla="*/ 238114 h 900"/>
                <a:gd name="T102" fmla="*/ 407901 w 1156"/>
                <a:gd name="T103" fmla="*/ 196063 h 900"/>
                <a:gd name="T104" fmla="*/ 402242 w 1156"/>
                <a:gd name="T105" fmla="*/ 187653 h 900"/>
                <a:gd name="T106" fmla="*/ 409207 w 1156"/>
                <a:gd name="T107" fmla="*/ 175563 h 900"/>
                <a:gd name="T108" fmla="*/ 417914 w 1156"/>
                <a:gd name="T109" fmla="*/ 154012 h 9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7" name="Freeform 257">
              <a:extLst>
                <a:ext uri="{FF2B5EF4-FFF2-40B4-BE49-F238E27FC236}">
                  <a16:creationId xmlns:a16="http://schemas.microsoft.com/office/drawing/2014/main" id="{56A1F4D4-B238-4176-847E-8B4E62C10C64}"/>
                </a:ext>
              </a:extLst>
            </p:cNvPr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6589713" y="3052763"/>
              <a:ext cx="247650" cy="228600"/>
            </a:xfrm>
            <a:custGeom>
              <a:avLst/>
              <a:gdLst>
                <a:gd name="T0" fmla="*/ 11277 w 571"/>
                <a:gd name="T1" fmla="*/ 98045 h 443"/>
                <a:gd name="T2" fmla="*/ 16047 w 571"/>
                <a:gd name="T3" fmla="*/ 91337 h 443"/>
                <a:gd name="T4" fmla="*/ 17782 w 571"/>
                <a:gd name="T5" fmla="*/ 84628 h 443"/>
                <a:gd name="T6" fmla="*/ 16915 w 571"/>
                <a:gd name="T7" fmla="*/ 66567 h 443"/>
                <a:gd name="T8" fmla="*/ 19083 w 571"/>
                <a:gd name="T9" fmla="*/ 61923 h 443"/>
                <a:gd name="T10" fmla="*/ 23854 w 571"/>
                <a:gd name="T11" fmla="*/ 57795 h 443"/>
                <a:gd name="T12" fmla="*/ 29492 w 571"/>
                <a:gd name="T13" fmla="*/ 55215 h 443"/>
                <a:gd name="T14" fmla="*/ 34697 w 571"/>
                <a:gd name="T15" fmla="*/ 53667 h 443"/>
                <a:gd name="T16" fmla="*/ 44672 w 571"/>
                <a:gd name="T17" fmla="*/ 54699 h 443"/>
                <a:gd name="T18" fmla="*/ 53780 w 571"/>
                <a:gd name="T19" fmla="*/ 56247 h 443"/>
                <a:gd name="T20" fmla="*/ 68527 w 571"/>
                <a:gd name="T21" fmla="*/ 61923 h 443"/>
                <a:gd name="T22" fmla="*/ 79803 w 571"/>
                <a:gd name="T23" fmla="*/ 69664 h 443"/>
                <a:gd name="T24" fmla="*/ 89345 w 571"/>
                <a:gd name="T25" fmla="*/ 79468 h 443"/>
                <a:gd name="T26" fmla="*/ 110163 w 571"/>
                <a:gd name="T27" fmla="*/ 47474 h 443"/>
                <a:gd name="T28" fmla="*/ 123608 w 571"/>
                <a:gd name="T29" fmla="*/ 25285 h 443"/>
                <a:gd name="T30" fmla="*/ 233337 w 571"/>
                <a:gd name="T31" fmla="*/ 22189 h 443"/>
                <a:gd name="T32" fmla="*/ 241578 w 571"/>
                <a:gd name="T33" fmla="*/ 40250 h 443"/>
                <a:gd name="T34" fmla="*/ 243747 w 571"/>
                <a:gd name="T35" fmla="*/ 50571 h 443"/>
                <a:gd name="T36" fmla="*/ 244614 w 571"/>
                <a:gd name="T37" fmla="*/ 63471 h 443"/>
                <a:gd name="T38" fmla="*/ 246349 w 571"/>
                <a:gd name="T39" fmla="*/ 77920 h 443"/>
                <a:gd name="T40" fmla="*/ 247650 w 571"/>
                <a:gd name="T41" fmla="*/ 91853 h 443"/>
                <a:gd name="T42" fmla="*/ 244614 w 571"/>
                <a:gd name="T43" fmla="*/ 92885 h 443"/>
                <a:gd name="T44" fmla="*/ 243747 w 571"/>
                <a:gd name="T45" fmla="*/ 92369 h 443"/>
                <a:gd name="T46" fmla="*/ 242012 w 571"/>
                <a:gd name="T47" fmla="*/ 94949 h 443"/>
                <a:gd name="T48" fmla="*/ 237675 w 571"/>
                <a:gd name="T49" fmla="*/ 106818 h 443"/>
                <a:gd name="T50" fmla="*/ 231603 w 571"/>
                <a:gd name="T51" fmla="*/ 116106 h 443"/>
                <a:gd name="T52" fmla="*/ 223362 w 571"/>
                <a:gd name="T53" fmla="*/ 123330 h 443"/>
                <a:gd name="T54" fmla="*/ 214254 w 571"/>
                <a:gd name="T55" fmla="*/ 128491 h 443"/>
                <a:gd name="T56" fmla="*/ 175654 w 571"/>
                <a:gd name="T57" fmla="*/ 146036 h 443"/>
                <a:gd name="T58" fmla="*/ 150498 w 571"/>
                <a:gd name="T59" fmla="*/ 158420 h 443"/>
                <a:gd name="T60" fmla="*/ 127945 w 571"/>
                <a:gd name="T61" fmla="*/ 169257 h 443"/>
                <a:gd name="T62" fmla="*/ 106260 w 571"/>
                <a:gd name="T63" fmla="*/ 178029 h 443"/>
                <a:gd name="T64" fmla="*/ 80671 w 571"/>
                <a:gd name="T65" fmla="*/ 187318 h 443"/>
                <a:gd name="T66" fmla="*/ 72430 w 571"/>
                <a:gd name="T67" fmla="*/ 191446 h 443"/>
                <a:gd name="T68" fmla="*/ 64623 w 571"/>
                <a:gd name="T69" fmla="*/ 196606 h 443"/>
                <a:gd name="T70" fmla="*/ 51612 w 571"/>
                <a:gd name="T71" fmla="*/ 207959 h 443"/>
                <a:gd name="T72" fmla="*/ 39902 w 571"/>
                <a:gd name="T73" fmla="*/ 219828 h 443"/>
                <a:gd name="T74" fmla="*/ 29059 w 571"/>
                <a:gd name="T75" fmla="*/ 228600 h 443"/>
                <a:gd name="T76" fmla="*/ 21686 w 571"/>
                <a:gd name="T77" fmla="*/ 195058 h 443"/>
                <a:gd name="T78" fmla="*/ 14313 w 571"/>
                <a:gd name="T79" fmla="*/ 161516 h 443"/>
                <a:gd name="T80" fmla="*/ 6939 w 571"/>
                <a:gd name="T81" fmla="*/ 129523 h 443"/>
                <a:gd name="T82" fmla="*/ 0 w 571"/>
                <a:gd name="T83" fmla="*/ 101141 h 44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8" name="Freeform 258">
              <a:extLst>
                <a:ext uri="{FF2B5EF4-FFF2-40B4-BE49-F238E27FC236}">
                  <a16:creationId xmlns:a16="http://schemas.microsoft.com/office/drawing/2014/main" id="{766ECC4D-39DD-4E72-B7D2-0CEAA584E143}"/>
                </a:ext>
              </a:extLst>
            </p:cNvPr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6784975" y="2827338"/>
              <a:ext cx="120650" cy="120650"/>
            </a:xfrm>
            <a:custGeom>
              <a:avLst/>
              <a:gdLst>
                <a:gd name="T0" fmla="*/ 0 w 286"/>
                <a:gd name="T1" fmla="*/ 58737 h 228"/>
                <a:gd name="T2" fmla="*/ 1687 w 286"/>
                <a:gd name="T3" fmla="*/ 57679 h 228"/>
                <a:gd name="T4" fmla="*/ 2953 w 286"/>
                <a:gd name="T5" fmla="*/ 57679 h 228"/>
                <a:gd name="T6" fmla="*/ 4219 w 286"/>
                <a:gd name="T7" fmla="*/ 58208 h 228"/>
                <a:gd name="T8" fmla="*/ 4640 w 286"/>
                <a:gd name="T9" fmla="*/ 58737 h 228"/>
                <a:gd name="T10" fmla="*/ 5062 w 286"/>
                <a:gd name="T11" fmla="*/ 61912 h 228"/>
                <a:gd name="T12" fmla="*/ 5484 w 286"/>
                <a:gd name="T13" fmla="*/ 65087 h 228"/>
                <a:gd name="T14" fmla="*/ 5906 w 286"/>
                <a:gd name="T15" fmla="*/ 67733 h 228"/>
                <a:gd name="T16" fmla="*/ 6750 w 286"/>
                <a:gd name="T17" fmla="*/ 69321 h 228"/>
                <a:gd name="T18" fmla="*/ 8015 w 286"/>
                <a:gd name="T19" fmla="*/ 70908 h 228"/>
                <a:gd name="T20" fmla="*/ 10124 w 286"/>
                <a:gd name="T21" fmla="*/ 71967 h 228"/>
                <a:gd name="T22" fmla="*/ 12234 w 286"/>
                <a:gd name="T23" fmla="*/ 72496 h 228"/>
                <a:gd name="T24" fmla="*/ 15609 w 286"/>
                <a:gd name="T25" fmla="*/ 73025 h 228"/>
                <a:gd name="T26" fmla="*/ 20249 w 286"/>
                <a:gd name="T27" fmla="*/ 73025 h 228"/>
                <a:gd name="T28" fmla="*/ 25311 w 286"/>
                <a:gd name="T29" fmla="*/ 71967 h 228"/>
                <a:gd name="T30" fmla="*/ 41342 w 286"/>
                <a:gd name="T31" fmla="*/ 68792 h 228"/>
                <a:gd name="T32" fmla="*/ 54419 w 286"/>
                <a:gd name="T33" fmla="*/ 64558 h 228"/>
                <a:gd name="T34" fmla="*/ 60325 w 286"/>
                <a:gd name="T35" fmla="*/ 62442 h 228"/>
                <a:gd name="T36" fmla="*/ 65809 w 286"/>
                <a:gd name="T37" fmla="*/ 60325 h 228"/>
                <a:gd name="T38" fmla="*/ 70449 w 286"/>
                <a:gd name="T39" fmla="*/ 57679 h 228"/>
                <a:gd name="T40" fmla="*/ 75090 w 286"/>
                <a:gd name="T41" fmla="*/ 54504 h 228"/>
                <a:gd name="T42" fmla="*/ 79308 w 286"/>
                <a:gd name="T43" fmla="*/ 50800 h 228"/>
                <a:gd name="T44" fmla="*/ 83527 w 286"/>
                <a:gd name="T45" fmla="*/ 46038 h 228"/>
                <a:gd name="T46" fmla="*/ 87745 w 286"/>
                <a:gd name="T47" fmla="*/ 41275 h 228"/>
                <a:gd name="T48" fmla="*/ 92386 w 286"/>
                <a:gd name="T49" fmla="*/ 34396 h 228"/>
                <a:gd name="T50" fmla="*/ 96604 w 286"/>
                <a:gd name="T51" fmla="*/ 27517 h 228"/>
                <a:gd name="T52" fmla="*/ 101667 w 286"/>
                <a:gd name="T53" fmla="*/ 19579 h 228"/>
                <a:gd name="T54" fmla="*/ 106729 w 286"/>
                <a:gd name="T55" fmla="*/ 10583 h 228"/>
                <a:gd name="T56" fmla="*/ 112213 w 286"/>
                <a:gd name="T57" fmla="*/ 0 h 228"/>
                <a:gd name="T58" fmla="*/ 113900 w 286"/>
                <a:gd name="T59" fmla="*/ 3704 h 228"/>
                <a:gd name="T60" fmla="*/ 115588 w 286"/>
                <a:gd name="T61" fmla="*/ 6879 h 228"/>
                <a:gd name="T62" fmla="*/ 116431 w 286"/>
                <a:gd name="T63" fmla="*/ 10583 h 228"/>
                <a:gd name="T64" fmla="*/ 117697 w 286"/>
                <a:gd name="T65" fmla="*/ 14287 h 228"/>
                <a:gd name="T66" fmla="*/ 118963 w 286"/>
                <a:gd name="T67" fmla="*/ 22225 h 228"/>
                <a:gd name="T68" fmla="*/ 120650 w 286"/>
                <a:gd name="T69" fmla="*/ 32808 h 228"/>
                <a:gd name="T70" fmla="*/ 103776 w 286"/>
                <a:gd name="T71" fmla="*/ 104775 h 228"/>
                <a:gd name="T72" fmla="*/ 95339 w 286"/>
                <a:gd name="T73" fmla="*/ 120650 h 228"/>
                <a:gd name="T74" fmla="*/ 22358 w 286"/>
                <a:gd name="T75" fmla="*/ 111125 h 228"/>
                <a:gd name="T76" fmla="*/ 0 w 286"/>
                <a:gd name="T77" fmla="*/ 58737 h 22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39" name="Freeform 259">
              <a:extLst>
                <a:ext uri="{FF2B5EF4-FFF2-40B4-BE49-F238E27FC236}">
                  <a16:creationId xmlns:a16="http://schemas.microsoft.com/office/drawing/2014/main" id="{347BD61B-AD97-4F3B-981D-F3B197BD888D}"/>
                </a:ext>
              </a:extLst>
            </p:cNvPr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6472238" y="2479676"/>
              <a:ext cx="222250" cy="263525"/>
            </a:xfrm>
            <a:custGeom>
              <a:avLst/>
              <a:gdLst>
                <a:gd name="T0" fmla="*/ 202740 w 524"/>
                <a:gd name="T1" fmla="*/ 193078 h 505"/>
                <a:gd name="T2" fmla="*/ 205284 w 524"/>
                <a:gd name="T3" fmla="*/ 180554 h 505"/>
                <a:gd name="T4" fmla="*/ 204860 w 524"/>
                <a:gd name="T5" fmla="*/ 171683 h 505"/>
                <a:gd name="T6" fmla="*/ 202740 w 524"/>
                <a:gd name="T7" fmla="*/ 157593 h 505"/>
                <a:gd name="T8" fmla="*/ 192984 w 524"/>
                <a:gd name="T9" fmla="*/ 156028 h 505"/>
                <a:gd name="T10" fmla="*/ 182805 w 524"/>
                <a:gd name="T11" fmla="*/ 150288 h 505"/>
                <a:gd name="T12" fmla="*/ 172625 w 524"/>
                <a:gd name="T13" fmla="*/ 142982 h 505"/>
                <a:gd name="T14" fmla="*/ 163719 w 524"/>
                <a:gd name="T15" fmla="*/ 133589 h 505"/>
                <a:gd name="T16" fmla="*/ 155236 w 524"/>
                <a:gd name="T17" fmla="*/ 123674 h 505"/>
                <a:gd name="T18" fmla="*/ 149298 w 524"/>
                <a:gd name="T19" fmla="*/ 112716 h 505"/>
                <a:gd name="T20" fmla="*/ 145056 w 524"/>
                <a:gd name="T21" fmla="*/ 102279 h 505"/>
                <a:gd name="T22" fmla="*/ 143784 w 524"/>
                <a:gd name="T23" fmla="*/ 92886 h 505"/>
                <a:gd name="T24" fmla="*/ 144632 w 524"/>
                <a:gd name="T25" fmla="*/ 84537 h 505"/>
                <a:gd name="T26" fmla="*/ 148025 w 524"/>
                <a:gd name="T27" fmla="*/ 78275 h 505"/>
                <a:gd name="T28" fmla="*/ 154812 w 524"/>
                <a:gd name="T29" fmla="*/ 70969 h 505"/>
                <a:gd name="T30" fmla="*/ 150146 w 524"/>
                <a:gd name="T31" fmla="*/ 67838 h 505"/>
                <a:gd name="T32" fmla="*/ 144632 w 524"/>
                <a:gd name="T33" fmla="*/ 62098 h 505"/>
                <a:gd name="T34" fmla="*/ 133604 w 524"/>
                <a:gd name="T35" fmla="*/ 45399 h 505"/>
                <a:gd name="T36" fmla="*/ 123849 w 524"/>
                <a:gd name="T37" fmla="*/ 26613 h 505"/>
                <a:gd name="T38" fmla="*/ 118335 w 524"/>
                <a:gd name="T39" fmla="*/ 13046 h 505"/>
                <a:gd name="T40" fmla="*/ 110277 w 524"/>
                <a:gd name="T41" fmla="*/ 12524 h 505"/>
                <a:gd name="T42" fmla="*/ 101370 w 524"/>
                <a:gd name="T43" fmla="*/ 9915 h 505"/>
                <a:gd name="T44" fmla="*/ 92887 w 524"/>
                <a:gd name="T45" fmla="*/ 5740 h 505"/>
                <a:gd name="T46" fmla="*/ 83556 w 524"/>
                <a:gd name="T47" fmla="*/ 3131 h 505"/>
                <a:gd name="T48" fmla="*/ 72104 w 524"/>
                <a:gd name="T49" fmla="*/ 1565 h 505"/>
                <a:gd name="T50" fmla="*/ 63197 w 524"/>
                <a:gd name="T51" fmla="*/ 4175 h 505"/>
                <a:gd name="T52" fmla="*/ 48352 w 524"/>
                <a:gd name="T53" fmla="*/ 21395 h 505"/>
                <a:gd name="T54" fmla="*/ 41566 w 524"/>
                <a:gd name="T55" fmla="*/ 29744 h 505"/>
                <a:gd name="T56" fmla="*/ 39445 w 524"/>
                <a:gd name="T57" fmla="*/ 33397 h 505"/>
                <a:gd name="T58" fmla="*/ 39869 w 524"/>
                <a:gd name="T59" fmla="*/ 49052 h 505"/>
                <a:gd name="T60" fmla="*/ 40293 w 524"/>
                <a:gd name="T61" fmla="*/ 73056 h 505"/>
                <a:gd name="T62" fmla="*/ 39869 w 524"/>
                <a:gd name="T63" fmla="*/ 85580 h 505"/>
                <a:gd name="T64" fmla="*/ 36476 w 524"/>
                <a:gd name="T65" fmla="*/ 93930 h 505"/>
                <a:gd name="T66" fmla="*/ 28417 w 524"/>
                <a:gd name="T67" fmla="*/ 102801 h 505"/>
                <a:gd name="T68" fmla="*/ 16966 w 524"/>
                <a:gd name="T69" fmla="*/ 111672 h 505"/>
                <a:gd name="T70" fmla="*/ 5514 w 524"/>
                <a:gd name="T71" fmla="*/ 118978 h 505"/>
                <a:gd name="T72" fmla="*/ 848 w 524"/>
                <a:gd name="T73" fmla="*/ 128371 h 505"/>
                <a:gd name="T74" fmla="*/ 848 w 524"/>
                <a:gd name="T75" fmla="*/ 137764 h 505"/>
                <a:gd name="T76" fmla="*/ 0 w 524"/>
                <a:gd name="T77" fmla="*/ 145069 h 505"/>
                <a:gd name="T78" fmla="*/ 0 w 524"/>
                <a:gd name="T79" fmla="*/ 150809 h 505"/>
                <a:gd name="T80" fmla="*/ 2969 w 524"/>
                <a:gd name="T81" fmla="*/ 157071 h 505"/>
                <a:gd name="T82" fmla="*/ 11028 w 524"/>
                <a:gd name="T83" fmla="*/ 163855 h 505"/>
                <a:gd name="T84" fmla="*/ 26297 w 524"/>
                <a:gd name="T85" fmla="*/ 172726 h 505"/>
                <a:gd name="T86" fmla="*/ 50897 w 524"/>
                <a:gd name="T87" fmla="*/ 185250 h 505"/>
                <a:gd name="T88" fmla="*/ 76345 w 524"/>
                <a:gd name="T89" fmla="*/ 195165 h 505"/>
                <a:gd name="T90" fmla="*/ 90766 w 524"/>
                <a:gd name="T91" fmla="*/ 200905 h 505"/>
                <a:gd name="T92" fmla="*/ 100521 w 524"/>
                <a:gd name="T93" fmla="*/ 208733 h 505"/>
                <a:gd name="T94" fmla="*/ 106884 w 524"/>
                <a:gd name="T95" fmla="*/ 218126 h 505"/>
                <a:gd name="T96" fmla="*/ 111125 w 524"/>
                <a:gd name="T97" fmla="*/ 226997 h 505"/>
                <a:gd name="T98" fmla="*/ 112822 w 524"/>
                <a:gd name="T99" fmla="*/ 235346 h 505"/>
                <a:gd name="T100" fmla="*/ 114518 w 524"/>
                <a:gd name="T101" fmla="*/ 244739 h 505"/>
                <a:gd name="T102" fmla="*/ 117487 w 524"/>
                <a:gd name="T103" fmla="*/ 251001 h 505"/>
                <a:gd name="T104" fmla="*/ 121729 w 524"/>
                <a:gd name="T105" fmla="*/ 255176 h 505"/>
                <a:gd name="T106" fmla="*/ 130211 w 524"/>
                <a:gd name="T107" fmla="*/ 259350 h 505"/>
                <a:gd name="T108" fmla="*/ 139118 w 524"/>
                <a:gd name="T109" fmla="*/ 262481 h 505"/>
                <a:gd name="T110" fmla="*/ 142087 w 524"/>
                <a:gd name="T111" fmla="*/ 260916 h 505"/>
                <a:gd name="T112" fmla="*/ 146753 w 524"/>
                <a:gd name="T113" fmla="*/ 260394 h 505"/>
                <a:gd name="T114" fmla="*/ 155236 w 524"/>
                <a:gd name="T115" fmla="*/ 262481 h 505"/>
                <a:gd name="T116" fmla="*/ 162446 w 524"/>
                <a:gd name="T117" fmla="*/ 263525 h 505"/>
                <a:gd name="T118" fmla="*/ 185350 w 524"/>
                <a:gd name="T119" fmla="*/ 263525 h 505"/>
                <a:gd name="T120" fmla="*/ 197226 w 524"/>
                <a:gd name="T121" fmla="*/ 234302 h 505"/>
                <a:gd name="T122" fmla="*/ 208677 w 524"/>
                <a:gd name="T123" fmla="*/ 228040 h 50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0" name="Freeform 260">
              <a:extLst>
                <a:ext uri="{FF2B5EF4-FFF2-40B4-BE49-F238E27FC236}">
                  <a16:creationId xmlns:a16="http://schemas.microsoft.com/office/drawing/2014/main" id="{55A45D0D-6620-462D-A999-F78334249A2B}"/>
                </a:ext>
              </a:extLst>
            </p:cNvPr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6972300" y="2439988"/>
              <a:ext cx="331788" cy="290512"/>
            </a:xfrm>
            <a:custGeom>
              <a:avLst/>
              <a:gdLst>
                <a:gd name="T0" fmla="*/ 26925 w 764"/>
                <a:gd name="T1" fmla="*/ 102595 h 555"/>
                <a:gd name="T2" fmla="*/ 40388 w 764"/>
                <a:gd name="T3" fmla="*/ 99455 h 555"/>
                <a:gd name="T4" fmla="*/ 55588 w 764"/>
                <a:gd name="T5" fmla="*/ 95267 h 555"/>
                <a:gd name="T6" fmla="*/ 75999 w 764"/>
                <a:gd name="T7" fmla="*/ 79040 h 555"/>
                <a:gd name="T8" fmla="*/ 84250 w 764"/>
                <a:gd name="T9" fmla="*/ 65954 h 555"/>
                <a:gd name="T10" fmla="*/ 86421 w 764"/>
                <a:gd name="T11" fmla="*/ 46063 h 555"/>
                <a:gd name="T12" fmla="*/ 90330 w 764"/>
                <a:gd name="T13" fmla="*/ 36118 h 555"/>
                <a:gd name="T14" fmla="*/ 104227 w 764"/>
                <a:gd name="T15" fmla="*/ 31407 h 555"/>
                <a:gd name="T16" fmla="*/ 127678 w 764"/>
                <a:gd name="T17" fmla="*/ 32454 h 555"/>
                <a:gd name="T18" fmla="*/ 142877 w 764"/>
                <a:gd name="T19" fmla="*/ 37165 h 555"/>
                <a:gd name="T20" fmla="*/ 157208 w 764"/>
                <a:gd name="T21" fmla="*/ 47110 h 555"/>
                <a:gd name="T22" fmla="*/ 167631 w 764"/>
                <a:gd name="T23" fmla="*/ 48680 h 555"/>
                <a:gd name="T24" fmla="*/ 181962 w 764"/>
                <a:gd name="T25" fmla="*/ 43969 h 555"/>
                <a:gd name="T26" fmla="*/ 199768 w 764"/>
                <a:gd name="T27" fmla="*/ 31930 h 555"/>
                <a:gd name="T28" fmla="*/ 208019 w 764"/>
                <a:gd name="T29" fmla="*/ 17274 h 555"/>
                <a:gd name="T30" fmla="*/ 220613 w 764"/>
                <a:gd name="T31" fmla="*/ 2094 h 555"/>
                <a:gd name="T32" fmla="*/ 230167 w 764"/>
                <a:gd name="T33" fmla="*/ 9945 h 555"/>
                <a:gd name="T34" fmla="*/ 238853 w 764"/>
                <a:gd name="T35" fmla="*/ 23555 h 555"/>
                <a:gd name="T36" fmla="*/ 243630 w 764"/>
                <a:gd name="T37" fmla="*/ 45540 h 555"/>
                <a:gd name="T38" fmla="*/ 247538 w 764"/>
                <a:gd name="T39" fmla="*/ 52868 h 555"/>
                <a:gd name="T40" fmla="*/ 255789 w 764"/>
                <a:gd name="T41" fmla="*/ 54438 h 555"/>
                <a:gd name="T42" fmla="*/ 270121 w 764"/>
                <a:gd name="T43" fmla="*/ 38211 h 555"/>
                <a:gd name="T44" fmla="*/ 322668 w 764"/>
                <a:gd name="T45" fmla="*/ 34547 h 555"/>
                <a:gd name="T46" fmla="*/ 329617 w 764"/>
                <a:gd name="T47" fmla="*/ 45540 h 555"/>
                <a:gd name="T48" fmla="*/ 294874 w 764"/>
                <a:gd name="T49" fmla="*/ 52345 h 555"/>
                <a:gd name="T50" fmla="*/ 262738 w 764"/>
                <a:gd name="T51" fmla="*/ 58626 h 555"/>
                <a:gd name="T52" fmla="*/ 249275 w 764"/>
                <a:gd name="T53" fmla="*/ 68048 h 555"/>
                <a:gd name="T54" fmla="*/ 247972 w 764"/>
                <a:gd name="T55" fmla="*/ 76946 h 555"/>
                <a:gd name="T56" fmla="*/ 252749 w 764"/>
                <a:gd name="T57" fmla="*/ 85845 h 555"/>
                <a:gd name="T58" fmla="*/ 261001 w 764"/>
                <a:gd name="T59" fmla="*/ 94220 h 555"/>
                <a:gd name="T60" fmla="*/ 262304 w 764"/>
                <a:gd name="T61" fmla="*/ 102072 h 555"/>
                <a:gd name="T62" fmla="*/ 257961 w 764"/>
                <a:gd name="T63" fmla="*/ 111494 h 555"/>
                <a:gd name="T64" fmla="*/ 249275 w 764"/>
                <a:gd name="T65" fmla="*/ 124056 h 555"/>
                <a:gd name="T66" fmla="*/ 245367 w 764"/>
                <a:gd name="T67" fmla="*/ 133478 h 555"/>
                <a:gd name="T68" fmla="*/ 235378 w 764"/>
                <a:gd name="T69" fmla="*/ 140807 h 555"/>
                <a:gd name="T70" fmla="*/ 225390 w 764"/>
                <a:gd name="T71" fmla="*/ 162268 h 555"/>
                <a:gd name="T72" fmla="*/ 220613 w 764"/>
                <a:gd name="T73" fmla="*/ 190011 h 555"/>
                <a:gd name="T74" fmla="*/ 215836 w 764"/>
                <a:gd name="T75" fmla="*/ 222464 h 555"/>
                <a:gd name="T76" fmla="*/ 207150 w 764"/>
                <a:gd name="T77" fmla="*/ 215659 h 555"/>
                <a:gd name="T78" fmla="*/ 199768 w 764"/>
                <a:gd name="T79" fmla="*/ 213042 h 555"/>
                <a:gd name="T80" fmla="*/ 190648 w 764"/>
                <a:gd name="T81" fmla="*/ 218800 h 555"/>
                <a:gd name="T82" fmla="*/ 178488 w 764"/>
                <a:gd name="T83" fmla="*/ 230316 h 555"/>
                <a:gd name="T84" fmla="*/ 170671 w 764"/>
                <a:gd name="T85" fmla="*/ 232410 h 555"/>
                <a:gd name="T86" fmla="*/ 162854 w 764"/>
                <a:gd name="T87" fmla="*/ 242355 h 555"/>
                <a:gd name="T88" fmla="*/ 158511 w 764"/>
                <a:gd name="T89" fmla="*/ 267480 h 555"/>
                <a:gd name="T90" fmla="*/ 151997 w 764"/>
                <a:gd name="T91" fmla="*/ 274809 h 555"/>
                <a:gd name="T92" fmla="*/ 117255 w 764"/>
                <a:gd name="T93" fmla="*/ 285801 h 555"/>
                <a:gd name="T94" fmla="*/ 84250 w 764"/>
                <a:gd name="T95" fmla="*/ 289989 h 555"/>
                <a:gd name="T96" fmla="*/ 49073 w 764"/>
                <a:gd name="T97" fmla="*/ 283707 h 555"/>
                <a:gd name="T98" fmla="*/ 41256 w 764"/>
                <a:gd name="T99" fmla="*/ 271145 h 555"/>
                <a:gd name="T100" fmla="*/ 49942 w 764"/>
                <a:gd name="T101" fmla="*/ 255441 h 555"/>
                <a:gd name="T102" fmla="*/ 54285 w 764"/>
                <a:gd name="T103" fmla="*/ 241832 h 555"/>
                <a:gd name="T104" fmla="*/ 53416 w 764"/>
                <a:gd name="T105" fmla="*/ 231363 h 555"/>
                <a:gd name="T106" fmla="*/ 48205 w 764"/>
                <a:gd name="T107" fmla="*/ 226652 h 555"/>
                <a:gd name="T108" fmla="*/ 29965 w 764"/>
                <a:gd name="T109" fmla="*/ 225605 h 555"/>
                <a:gd name="T110" fmla="*/ 22582 w 764"/>
                <a:gd name="T111" fmla="*/ 220370 h 555"/>
                <a:gd name="T112" fmla="*/ 14765 w 764"/>
                <a:gd name="T113" fmla="*/ 201003 h 555"/>
                <a:gd name="T114" fmla="*/ 8251 w 764"/>
                <a:gd name="T115" fmla="*/ 161745 h 555"/>
                <a:gd name="T116" fmla="*/ 4343 w 764"/>
                <a:gd name="T117" fmla="*/ 152323 h 555"/>
                <a:gd name="T118" fmla="*/ 0 w 764"/>
                <a:gd name="T119" fmla="*/ 146565 h 555"/>
                <a:gd name="T120" fmla="*/ 869 w 764"/>
                <a:gd name="T121" fmla="*/ 140283 h 555"/>
                <a:gd name="T122" fmla="*/ 9554 w 764"/>
                <a:gd name="T123" fmla="*/ 129814 h 555"/>
                <a:gd name="T124" fmla="*/ 14765 w 764"/>
                <a:gd name="T125" fmla="*/ 115681 h 55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1" name="Freeform 261">
              <a:extLst>
                <a:ext uri="{FF2B5EF4-FFF2-40B4-BE49-F238E27FC236}">
                  <a16:creationId xmlns:a16="http://schemas.microsoft.com/office/drawing/2014/main" id="{3CDF1D19-7967-4285-930A-F89CF5B70C7A}"/>
                </a:ext>
              </a:extLst>
            </p:cNvPr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7004051" y="2489201"/>
              <a:ext cx="365125" cy="423863"/>
            </a:xfrm>
            <a:custGeom>
              <a:avLst/>
              <a:gdLst>
                <a:gd name="T0" fmla="*/ 342277 w 831"/>
                <a:gd name="T1" fmla="*/ 42804 h 812"/>
                <a:gd name="T2" fmla="*/ 310642 w 831"/>
                <a:gd name="T3" fmla="*/ 15138 h 812"/>
                <a:gd name="T4" fmla="*/ 246932 w 831"/>
                <a:gd name="T5" fmla="*/ 5220 h 812"/>
                <a:gd name="T6" fmla="*/ 219251 w 831"/>
                <a:gd name="T7" fmla="*/ 15138 h 812"/>
                <a:gd name="T8" fmla="*/ 213539 w 831"/>
                <a:gd name="T9" fmla="*/ 25578 h 812"/>
                <a:gd name="T10" fmla="*/ 218372 w 831"/>
                <a:gd name="T11" fmla="*/ 37062 h 812"/>
                <a:gd name="T12" fmla="*/ 227160 w 831"/>
                <a:gd name="T13" fmla="*/ 46980 h 812"/>
                <a:gd name="T14" fmla="*/ 226720 w 831"/>
                <a:gd name="T15" fmla="*/ 57942 h 812"/>
                <a:gd name="T16" fmla="*/ 215736 w 831"/>
                <a:gd name="T17" fmla="*/ 73080 h 812"/>
                <a:gd name="T18" fmla="*/ 210903 w 831"/>
                <a:gd name="T19" fmla="*/ 84564 h 812"/>
                <a:gd name="T20" fmla="*/ 197721 w 831"/>
                <a:gd name="T21" fmla="*/ 96048 h 812"/>
                <a:gd name="T22" fmla="*/ 187615 w 831"/>
                <a:gd name="T23" fmla="*/ 126846 h 812"/>
                <a:gd name="T24" fmla="*/ 184540 w 831"/>
                <a:gd name="T25" fmla="*/ 173304 h 812"/>
                <a:gd name="T26" fmla="*/ 172237 w 831"/>
                <a:gd name="T27" fmla="*/ 166518 h 812"/>
                <a:gd name="T28" fmla="*/ 162571 w 831"/>
                <a:gd name="T29" fmla="*/ 164430 h 812"/>
                <a:gd name="T30" fmla="*/ 148511 w 831"/>
                <a:gd name="T31" fmla="*/ 176958 h 812"/>
                <a:gd name="T32" fmla="*/ 137526 w 831"/>
                <a:gd name="T33" fmla="*/ 183222 h 812"/>
                <a:gd name="T34" fmla="*/ 127420 w 831"/>
                <a:gd name="T35" fmla="*/ 193140 h 812"/>
                <a:gd name="T36" fmla="*/ 123026 w 831"/>
                <a:gd name="T37" fmla="*/ 221327 h 812"/>
                <a:gd name="T38" fmla="*/ 103254 w 831"/>
                <a:gd name="T39" fmla="*/ 230723 h 812"/>
                <a:gd name="T40" fmla="*/ 55801 w 831"/>
                <a:gd name="T41" fmla="*/ 241163 h 812"/>
                <a:gd name="T42" fmla="*/ 11424 w 831"/>
                <a:gd name="T43" fmla="*/ 234377 h 812"/>
                <a:gd name="T44" fmla="*/ 22408 w 831"/>
                <a:gd name="T45" fmla="*/ 263609 h 812"/>
                <a:gd name="T46" fmla="*/ 42181 w 831"/>
                <a:gd name="T47" fmla="*/ 281879 h 812"/>
                <a:gd name="T48" fmla="*/ 54044 w 831"/>
                <a:gd name="T49" fmla="*/ 301193 h 812"/>
                <a:gd name="T50" fmla="*/ 62392 w 831"/>
                <a:gd name="T51" fmla="*/ 311111 h 812"/>
                <a:gd name="T52" fmla="*/ 43499 w 831"/>
                <a:gd name="T53" fmla="*/ 337733 h 812"/>
                <a:gd name="T54" fmla="*/ 38226 w 831"/>
                <a:gd name="T55" fmla="*/ 350261 h 812"/>
                <a:gd name="T56" fmla="*/ 47892 w 831"/>
                <a:gd name="T57" fmla="*/ 375839 h 812"/>
                <a:gd name="T58" fmla="*/ 97542 w 831"/>
                <a:gd name="T59" fmla="*/ 370619 h 812"/>
                <a:gd name="T60" fmla="*/ 132693 w 831"/>
                <a:gd name="T61" fmla="*/ 368009 h 812"/>
                <a:gd name="T62" fmla="*/ 144995 w 831"/>
                <a:gd name="T63" fmla="*/ 376361 h 812"/>
                <a:gd name="T64" fmla="*/ 157738 w 831"/>
                <a:gd name="T65" fmla="*/ 394631 h 812"/>
                <a:gd name="T66" fmla="*/ 179267 w 831"/>
                <a:gd name="T67" fmla="*/ 409769 h 812"/>
                <a:gd name="T68" fmla="*/ 197282 w 831"/>
                <a:gd name="T69" fmla="*/ 419165 h 812"/>
                <a:gd name="T70" fmla="*/ 202115 w 831"/>
                <a:gd name="T71" fmla="*/ 412901 h 812"/>
                <a:gd name="T72" fmla="*/ 213978 w 831"/>
                <a:gd name="T73" fmla="*/ 404027 h 812"/>
                <a:gd name="T74" fmla="*/ 243417 w 831"/>
                <a:gd name="T75" fmla="*/ 398807 h 812"/>
                <a:gd name="T76" fmla="*/ 262310 w 831"/>
                <a:gd name="T77" fmla="*/ 391499 h 812"/>
                <a:gd name="T78" fmla="*/ 271537 w 831"/>
                <a:gd name="T79" fmla="*/ 379493 h 812"/>
                <a:gd name="T80" fmla="*/ 256598 w 831"/>
                <a:gd name="T81" fmla="*/ 365399 h 812"/>
                <a:gd name="T82" fmla="*/ 238144 w 831"/>
                <a:gd name="T83" fmla="*/ 334601 h 812"/>
                <a:gd name="T84" fmla="*/ 231114 w 831"/>
                <a:gd name="T85" fmla="*/ 325727 h 812"/>
                <a:gd name="T86" fmla="*/ 231114 w 831"/>
                <a:gd name="T87" fmla="*/ 301715 h 812"/>
                <a:gd name="T88" fmla="*/ 255719 w 831"/>
                <a:gd name="T89" fmla="*/ 293885 h 812"/>
                <a:gd name="T90" fmla="*/ 273295 w 831"/>
                <a:gd name="T91" fmla="*/ 277181 h 812"/>
                <a:gd name="T92" fmla="*/ 302294 w 831"/>
                <a:gd name="T93" fmla="*/ 217673 h 812"/>
                <a:gd name="T94" fmla="*/ 320748 w 831"/>
                <a:gd name="T95" fmla="*/ 192096 h 812"/>
                <a:gd name="T96" fmla="*/ 318551 w 831"/>
                <a:gd name="T97" fmla="*/ 172260 h 812"/>
                <a:gd name="T98" fmla="*/ 320308 w 831"/>
                <a:gd name="T99" fmla="*/ 159210 h 812"/>
                <a:gd name="T100" fmla="*/ 329975 w 831"/>
                <a:gd name="T101" fmla="*/ 150858 h 812"/>
                <a:gd name="T102" fmla="*/ 294385 w 831"/>
                <a:gd name="T103" fmla="*/ 108054 h 812"/>
                <a:gd name="T104" fmla="*/ 333050 w 831"/>
                <a:gd name="T105" fmla="*/ 73080 h 812"/>
                <a:gd name="T106" fmla="*/ 353701 w 831"/>
                <a:gd name="T107" fmla="*/ 64206 h 8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2" name="Freeform 262">
              <a:extLst>
                <a:ext uri="{FF2B5EF4-FFF2-40B4-BE49-F238E27FC236}">
                  <a16:creationId xmlns:a16="http://schemas.microsoft.com/office/drawing/2014/main" id="{875DE20F-3836-4F9C-A97F-6107C16E91E4}"/>
                </a:ext>
              </a:extLst>
            </p:cNvPr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7794626" y="2757489"/>
              <a:ext cx="220663" cy="585787"/>
            </a:xfrm>
            <a:custGeom>
              <a:avLst/>
              <a:gdLst>
                <a:gd name="T0" fmla="*/ 191387 w 505"/>
                <a:gd name="T1" fmla="*/ 557569 h 1121"/>
                <a:gd name="T2" fmla="*/ 193572 w 505"/>
                <a:gd name="T3" fmla="*/ 537189 h 1121"/>
                <a:gd name="T4" fmla="*/ 174346 w 505"/>
                <a:gd name="T5" fmla="*/ 534054 h 1121"/>
                <a:gd name="T6" fmla="*/ 176967 w 505"/>
                <a:gd name="T7" fmla="*/ 500088 h 1121"/>
                <a:gd name="T8" fmla="*/ 183085 w 505"/>
                <a:gd name="T9" fmla="*/ 486501 h 1121"/>
                <a:gd name="T10" fmla="*/ 180463 w 505"/>
                <a:gd name="T11" fmla="*/ 469779 h 1121"/>
                <a:gd name="T12" fmla="*/ 173909 w 505"/>
                <a:gd name="T13" fmla="*/ 466644 h 1121"/>
                <a:gd name="T14" fmla="*/ 166917 w 505"/>
                <a:gd name="T15" fmla="*/ 437903 h 1121"/>
                <a:gd name="T16" fmla="*/ 141574 w 505"/>
                <a:gd name="T17" fmla="*/ 375719 h 1121"/>
                <a:gd name="T18" fmla="*/ 129339 w 505"/>
                <a:gd name="T19" fmla="*/ 367358 h 1121"/>
                <a:gd name="T20" fmla="*/ 123222 w 505"/>
                <a:gd name="T21" fmla="*/ 375196 h 1121"/>
                <a:gd name="T22" fmla="*/ 98752 w 505"/>
                <a:gd name="T23" fmla="*/ 387738 h 1121"/>
                <a:gd name="T24" fmla="*/ 73846 w 505"/>
                <a:gd name="T25" fmla="*/ 384602 h 1121"/>
                <a:gd name="T26" fmla="*/ 58115 w 505"/>
                <a:gd name="T27" fmla="*/ 296290 h 1121"/>
                <a:gd name="T28" fmla="*/ 44133 w 505"/>
                <a:gd name="T29" fmla="*/ 271730 h 1121"/>
                <a:gd name="T30" fmla="*/ 22285 w 505"/>
                <a:gd name="T31" fmla="*/ 262324 h 1121"/>
                <a:gd name="T32" fmla="*/ 3496 w 505"/>
                <a:gd name="T33" fmla="*/ 246125 h 1121"/>
                <a:gd name="T34" fmla="*/ 10050 w 505"/>
                <a:gd name="T35" fmla="*/ 232538 h 1121"/>
                <a:gd name="T36" fmla="*/ 25343 w 505"/>
                <a:gd name="T37" fmla="*/ 188643 h 1121"/>
                <a:gd name="T38" fmla="*/ 29276 w 505"/>
                <a:gd name="T39" fmla="*/ 144748 h 1121"/>
                <a:gd name="T40" fmla="*/ 34957 w 505"/>
                <a:gd name="T41" fmla="*/ 138478 h 1121"/>
                <a:gd name="T42" fmla="*/ 49376 w 505"/>
                <a:gd name="T43" fmla="*/ 134820 h 1121"/>
                <a:gd name="T44" fmla="*/ 58552 w 505"/>
                <a:gd name="T45" fmla="*/ 116008 h 1121"/>
                <a:gd name="T46" fmla="*/ 61174 w 505"/>
                <a:gd name="T47" fmla="*/ 61139 h 1121"/>
                <a:gd name="T48" fmla="*/ 69476 w 505"/>
                <a:gd name="T49" fmla="*/ 51211 h 1121"/>
                <a:gd name="T50" fmla="*/ 93072 w 505"/>
                <a:gd name="T51" fmla="*/ 38669 h 1121"/>
                <a:gd name="T52" fmla="*/ 102248 w 505"/>
                <a:gd name="T53" fmla="*/ 10974 h 1121"/>
                <a:gd name="T54" fmla="*/ 121037 w 505"/>
                <a:gd name="T55" fmla="*/ 16199 h 1121"/>
                <a:gd name="T56" fmla="*/ 136330 w 505"/>
                <a:gd name="T57" fmla="*/ 25605 h 1121"/>
                <a:gd name="T58" fmla="*/ 147254 w 505"/>
                <a:gd name="T59" fmla="*/ 63752 h 1121"/>
                <a:gd name="T60" fmla="*/ 146380 w 505"/>
                <a:gd name="T61" fmla="*/ 87267 h 1121"/>
                <a:gd name="T62" fmla="*/ 131087 w 505"/>
                <a:gd name="T63" fmla="*/ 112872 h 1121"/>
                <a:gd name="T64" fmla="*/ 128028 w 505"/>
                <a:gd name="T65" fmla="*/ 128027 h 1121"/>
                <a:gd name="T66" fmla="*/ 135020 w 505"/>
                <a:gd name="T67" fmla="*/ 136388 h 1121"/>
                <a:gd name="T68" fmla="*/ 151187 w 505"/>
                <a:gd name="T69" fmla="*/ 141091 h 1121"/>
                <a:gd name="T70" fmla="*/ 162111 w 505"/>
                <a:gd name="T71" fmla="*/ 152064 h 1121"/>
                <a:gd name="T72" fmla="*/ 173909 w 505"/>
                <a:gd name="T73" fmla="*/ 180282 h 1121"/>
                <a:gd name="T74" fmla="*/ 187891 w 505"/>
                <a:gd name="T75" fmla="*/ 209023 h 1121"/>
                <a:gd name="T76" fmla="*/ 202748 w 505"/>
                <a:gd name="T77" fmla="*/ 218429 h 1121"/>
                <a:gd name="T78" fmla="*/ 220663 w 505"/>
                <a:gd name="T79" fmla="*/ 218429 h 1121"/>
                <a:gd name="T80" fmla="*/ 207991 w 505"/>
                <a:gd name="T81" fmla="*/ 258143 h 1121"/>
                <a:gd name="T82" fmla="*/ 186580 w 505"/>
                <a:gd name="T83" fmla="*/ 266504 h 1121"/>
                <a:gd name="T84" fmla="*/ 167354 w 505"/>
                <a:gd name="T85" fmla="*/ 275910 h 1121"/>
                <a:gd name="T86" fmla="*/ 157304 w 505"/>
                <a:gd name="T87" fmla="*/ 298903 h 1121"/>
                <a:gd name="T88" fmla="*/ 161674 w 505"/>
                <a:gd name="T89" fmla="*/ 332869 h 1121"/>
                <a:gd name="T90" fmla="*/ 175656 w 505"/>
                <a:gd name="T91" fmla="*/ 356907 h 1121"/>
                <a:gd name="T92" fmla="*/ 187891 w 505"/>
                <a:gd name="T93" fmla="*/ 384080 h 1121"/>
                <a:gd name="T94" fmla="*/ 187017 w 505"/>
                <a:gd name="T95" fmla="*/ 405505 h 1121"/>
                <a:gd name="T96" fmla="*/ 183085 w 505"/>
                <a:gd name="T97" fmla="*/ 418569 h 1121"/>
                <a:gd name="T98" fmla="*/ 190076 w 505"/>
                <a:gd name="T99" fmla="*/ 444696 h 1121"/>
                <a:gd name="T100" fmla="*/ 211050 w 505"/>
                <a:gd name="T101" fmla="*/ 504268 h 1121"/>
                <a:gd name="T102" fmla="*/ 200126 w 505"/>
                <a:gd name="T103" fmla="*/ 565407 h 112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43" name="Freeform 263">
              <a:extLst>
                <a:ext uri="{FF2B5EF4-FFF2-40B4-BE49-F238E27FC236}">
                  <a16:creationId xmlns:a16="http://schemas.microsoft.com/office/drawing/2014/main" id="{683B7718-2FAC-4615-8E80-00FC4E807AFE}"/>
                </a:ext>
              </a:extLst>
            </p:cNvPr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5118101" y="3267075"/>
              <a:ext cx="80963" cy="58738"/>
            </a:xfrm>
            <a:custGeom>
              <a:avLst/>
              <a:gdLst>
                <a:gd name="T0" fmla="*/ 80963 w 180"/>
                <a:gd name="T1" fmla="*/ 3671 h 112"/>
                <a:gd name="T2" fmla="*/ 76915 w 180"/>
                <a:gd name="T3" fmla="*/ 12587 h 112"/>
                <a:gd name="T4" fmla="*/ 73316 w 180"/>
                <a:gd name="T5" fmla="*/ 20453 h 112"/>
                <a:gd name="T6" fmla="*/ 68369 w 180"/>
                <a:gd name="T7" fmla="*/ 27796 h 112"/>
                <a:gd name="T8" fmla="*/ 63421 w 180"/>
                <a:gd name="T9" fmla="*/ 34613 h 112"/>
                <a:gd name="T10" fmla="*/ 58023 w 180"/>
                <a:gd name="T11" fmla="*/ 41956 h 112"/>
                <a:gd name="T12" fmla="*/ 51726 w 180"/>
                <a:gd name="T13" fmla="*/ 48249 h 112"/>
                <a:gd name="T14" fmla="*/ 45429 w 180"/>
                <a:gd name="T15" fmla="*/ 53494 h 112"/>
                <a:gd name="T16" fmla="*/ 39132 w 180"/>
                <a:gd name="T17" fmla="*/ 58738 h 112"/>
                <a:gd name="T18" fmla="*/ 36883 w 180"/>
                <a:gd name="T19" fmla="*/ 56116 h 112"/>
                <a:gd name="T20" fmla="*/ 35534 w 180"/>
                <a:gd name="T21" fmla="*/ 52969 h 112"/>
                <a:gd name="T22" fmla="*/ 34184 w 180"/>
                <a:gd name="T23" fmla="*/ 49822 h 112"/>
                <a:gd name="T24" fmla="*/ 33285 w 180"/>
                <a:gd name="T25" fmla="*/ 46151 h 112"/>
                <a:gd name="T26" fmla="*/ 31486 w 180"/>
                <a:gd name="T27" fmla="*/ 42480 h 112"/>
                <a:gd name="T28" fmla="*/ 30586 w 180"/>
                <a:gd name="T29" fmla="*/ 38809 h 112"/>
                <a:gd name="T30" fmla="*/ 29237 w 180"/>
                <a:gd name="T31" fmla="*/ 36187 h 112"/>
                <a:gd name="T32" fmla="*/ 26988 w 180"/>
                <a:gd name="T33" fmla="*/ 33040 h 112"/>
                <a:gd name="T34" fmla="*/ 20241 w 180"/>
                <a:gd name="T35" fmla="*/ 25173 h 112"/>
                <a:gd name="T36" fmla="*/ 16193 w 180"/>
                <a:gd name="T37" fmla="*/ 19929 h 112"/>
                <a:gd name="T38" fmla="*/ 13494 w 180"/>
                <a:gd name="T39" fmla="*/ 17307 h 112"/>
                <a:gd name="T40" fmla="*/ 11245 w 180"/>
                <a:gd name="T41" fmla="*/ 16258 h 112"/>
                <a:gd name="T42" fmla="*/ 8096 w 180"/>
                <a:gd name="T43" fmla="*/ 15733 h 112"/>
                <a:gd name="T44" fmla="*/ 0 w 180"/>
                <a:gd name="T45" fmla="*/ 13636 h 112"/>
                <a:gd name="T46" fmla="*/ 11695 w 180"/>
                <a:gd name="T47" fmla="*/ 7342 h 112"/>
                <a:gd name="T48" fmla="*/ 18442 w 180"/>
                <a:gd name="T49" fmla="*/ 4720 h 112"/>
                <a:gd name="T50" fmla="*/ 25188 w 180"/>
                <a:gd name="T51" fmla="*/ 2622 h 112"/>
                <a:gd name="T52" fmla="*/ 33285 w 180"/>
                <a:gd name="T53" fmla="*/ 1573 h 112"/>
                <a:gd name="T54" fmla="*/ 41831 w 180"/>
                <a:gd name="T55" fmla="*/ 524 h 112"/>
                <a:gd name="T56" fmla="*/ 51277 w 180"/>
                <a:gd name="T57" fmla="*/ 0 h 112"/>
                <a:gd name="T58" fmla="*/ 60722 w 180"/>
                <a:gd name="T59" fmla="*/ 524 h 112"/>
                <a:gd name="T60" fmla="*/ 70618 w 180"/>
                <a:gd name="T61" fmla="*/ 1573 h 112"/>
                <a:gd name="T62" fmla="*/ 80963 w 180"/>
                <a:gd name="T63" fmla="*/ 3671 h 11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4" name="Freeform 264">
              <a:extLst>
                <a:ext uri="{FF2B5EF4-FFF2-40B4-BE49-F238E27FC236}">
                  <a16:creationId xmlns:a16="http://schemas.microsoft.com/office/drawing/2014/main" id="{83548C15-3B4B-470E-9514-1DBFA40DC841}"/>
                </a:ext>
              </a:extLst>
            </p:cNvPr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5202238" y="3349626"/>
              <a:ext cx="74612" cy="100013"/>
            </a:xfrm>
            <a:custGeom>
              <a:avLst/>
              <a:gdLst>
                <a:gd name="T0" fmla="*/ 0 w 173"/>
                <a:gd name="T1" fmla="*/ 35421 h 192"/>
                <a:gd name="T2" fmla="*/ 11645 w 173"/>
                <a:gd name="T3" fmla="*/ 21878 h 192"/>
                <a:gd name="T4" fmla="*/ 21995 w 173"/>
                <a:gd name="T5" fmla="*/ 10939 h 192"/>
                <a:gd name="T6" fmla="*/ 24152 w 173"/>
                <a:gd name="T7" fmla="*/ 8334 h 192"/>
                <a:gd name="T8" fmla="*/ 27171 w 173"/>
                <a:gd name="T9" fmla="*/ 6251 h 192"/>
                <a:gd name="T10" fmla="*/ 30190 w 173"/>
                <a:gd name="T11" fmla="*/ 4167 h 192"/>
                <a:gd name="T12" fmla="*/ 32778 w 173"/>
                <a:gd name="T13" fmla="*/ 3125 h 192"/>
                <a:gd name="T14" fmla="*/ 35797 w 173"/>
                <a:gd name="T15" fmla="*/ 1563 h 192"/>
                <a:gd name="T16" fmla="*/ 38815 w 173"/>
                <a:gd name="T17" fmla="*/ 1042 h 192"/>
                <a:gd name="T18" fmla="*/ 42266 w 173"/>
                <a:gd name="T19" fmla="*/ 521 h 192"/>
                <a:gd name="T20" fmla="*/ 46147 w 173"/>
                <a:gd name="T21" fmla="*/ 0 h 192"/>
                <a:gd name="T22" fmla="*/ 50029 w 173"/>
                <a:gd name="T23" fmla="*/ 521 h 192"/>
                <a:gd name="T24" fmla="*/ 53479 w 173"/>
                <a:gd name="T25" fmla="*/ 1042 h 192"/>
                <a:gd name="T26" fmla="*/ 56929 w 173"/>
                <a:gd name="T27" fmla="*/ 2605 h 192"/>
                <a:gd name="T28" fmla="*/ 59948 w 173"/>
                <a:gd name="T29" fmla="*/ 4167 h 192"/>
                <a:gd name="T30" fmla="*/ 62536 w 173"/>
                <a:gd name="T31" fmla="*/ 6772 h 192"/>
                <a:gd name="T32" fmla="*/ 65124 w 173"/>
                <a:gd name="T33" fmla="*/ 9897 h 192"/>
                <a:gd name="T34" fmla="*/ 66849 w 173"/>
                <a:gd name="T35" fmla="*/ 12502 h 192"/>
                <a:gd name="T36" fmla="*/ 69005 w 173"/>
                <a:gd name="T37" fmla="*/ 15627 h 192"/>
                <a:gd name="T38" fmla="*/ 70299 w 173"/>
                <a:gd name="T39" fmla="*/ 19273 h 192"/>
                <a:gd name="T40" fmla="*/ 71593 w 173"/>
                <a:gd name="T41" fmla="*/ 22399 h 192"/>
                <a:gd name="T42" fmla="*/ 72456 w 173"/>
                <a:gd name="T43" fmla="*/ 26045 h 192"/>
                <a:gd name="T44" fmla="*/ 72887 w 173"/>
                <a:gd name="T45" fmla="*/ 29691 h 192"/>
                <a:gd name="T46" fmla="*/ 74181 w 173"/>
                <a:gd name="T47" fmla="*/ 37505 h 192"/>
                <a:gd name="T48" fmla="*/ 74612 w 173"/>
                <a:gd name="T49" fmla="*/ 45318 h 192"/>
                <a:gd name="T50" fmla="*/ 67711 w 173"/>
                <a:gd name="T51" fmla="*/ 59383 h 192"/>
                <a:gd name="T52" fmla="*/ 62967 w 173"/>
                <a:gd name="T53" fmla="*/ 71363 h 192"/>
                <a:gd name="T54" fmla="*/ 59948 w 173"/>
                <a:gd name="T55" fmla="*/ 77093 h 192"/>
                <a:gd name="T56" fmla="*/ 56067 w 173"/>
                <a:gd name="T57" fmla="*/ 83344 h 192"/>
                <a:gd name="T58" fmla="*/ 50460 w 173"/>
                <a:gd name="T59" fmla="*/ 90637 h 192"/>
                <a:gd name="T60" fmla="*/ 42697 w 173"/>
                <a:gd name="T61" fmla="*/ 100013 h 192"/>
                <a:gd name="T62" fmla="*/ 37090 w 173"/>
                <a:gd name="T63" fmla="*/ 95325 h 192"/>
                <a:gd name="T64" fmla="*/ 31915 w 173"/>
                <a:gd name="T65" fmla="*/ 91679 h 192"/>
                <a:gd name="T66" fmla="*/ 27171 w 173"/>
                <a:gd name="T67" fmla="*/ 88032 h 192"/>
                <a:gd name="T68" fmla="*/ 23289 w 173"/>
                <a:gd name="T69" fmla="*/ 84907 h 192"/>
                <a:gd name="T70" fmla="*/ 19839 w 173"/>
                <a:gd name="T71" fmla="*/ 81261 h 192"/>
                <a:gd name="T72" fmla="*/ 17251 w 173"/>
                <a:gd name="T73" fmla="*/ 78135 h 192"/>
                <a:gd name="T74" fmla="*/ 14664 w 173"/>
                <a:gd name="T75" fmla="*/ 75010 h 192"/>
                <a:gd name="T76" fmla="*/ 12938 w 173"/>
                <a:gd name="T77" fmla="*/ 71363 h 192"/>
                <a:gd name="T78" fmla="*/ 9488 w 173"/>
                <a:gd name="T79" fmla="*/ 64071 h 192"/>
                <a:gd name="T80" fmla="*/ 6901 w 173"/>
                <a:gd name="T81" fmla="*/ 55736 h 192"/>
                <a:gd name="T82" fmla="*/ 3882 w 173"/>
                <a:gd name="T83" fmla="*/ 46881 h 192"/>
                <a:gd name="T84" fmla="*/ 0 w 173"/>
                <a:gd name="T85" fmla="*/ 35421 h 19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5" name="Freeform 265">
              <a:extLst>
                <a:ext uri="{FF2B5EF4-FFF2-40B4-BE49-F238E27FC236}">
                  <a16:creationId xmlns:a16="http://schemas.microsoft.com/office/drawing/2014/main" id="{78A0D2E5-8927-4129-B918-1A744D4036D0}"/>
                </a:ext>
              </a:extLst>
            </p:cNvPr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5245101" y="3400426"/>
              <a:ext cx="104775" cy="131763"/>
            </a:xfrm>
            <a:custGeom>
              <a:avLst/>
              <a:gdLst>
                <a:gd name="T0" fmla="*/ 33276 w 233"/>
                <a:gd name="T1" fmla="*/ 0 h 252"/>
                <a:gd name="T2" fmla="*/ 37323 w 233"/>
                <a:gd name="T3" fmla="*/ 1046 h 252"/>
                <a:gd name="T4" fmla="*/ 40021 w 233"/>
                <a:gd name="T5" fmla="*/ 1569 h 252"/>
                <a:gd name="T6" fmla="*/ 42719 w 233"/>
                <a:gd name="T7" fmla="*/ 1569 h 252"/>
                <a:gd name="T8" fmla="*/ 44518 w 233"/>
                <a:gd name="T9" fmla="*/ 1046 h 252"/>
                <a:gd name="T10" fmla="*/ 47666 w 233"/>
                <a:gd name="T11" fmla="*/ 523 h 252"/>
                <a:gd name="T12" fmla="*/ 50814 w 233"/>
                <a:gd name="T13" fmla="*/ 0 h 252"/>
                <a:gd name="T14" fmla="*/ 56210 w 233"/>
                <a:gd name="T15" fmla="*/ 8889 h 252"/>
                <a:gd name="T16" fmla="*/ 62955 w 233"/>
                <a:gd name="T17" fmla="*/ 19346 h 252"/>
                <a:gd name="T18" fmla="*/ 64754 w 233"/>
                <a:gd name="T19" fmla="*/ 21961 h 252"/>
                <a:gd name="T20" fmla="*/ 66552 w 233"/>
                <a:gd name="T21" fmla="*/ 24052 h 252"/>
                <a:gd name="T22" fmla="*/ 68801 w 233"/>
                <a:gd name="T23" fmla="*/ 25621 h 252"/>
                <a:gd name="T24" fmla="*/ 70599 w 233"/>
                <a:gd name="T25" fmla="*/ 27189 h 252"/>
                <a:gd name="T26" fmla="*/ 73298 w 233"/>
                <a:gd name="T27" fmla="*/ 28235 h 252"/>
                <a:gd name="T28" fmla="*/ 75546 w 233"/>
                <a:gd name="T29" fmla="*/ 29281 h 252"/>
                <a:gd name="T30" fmla="*/ 78244 w 233"/>
                <a:gd name="T31" fmla="*/ 29281 h 252"/>
                <a:gd name="T32" fmla="*/ 80942 w 233"/>
                <a:gd name="T33" fmla="*/ 29281 h 252"/>
                <a:gd name="T34" fmla="*/ 80942 w 233"/>
                <a:gd name="T35" fmla="*/ 41830 h 252"/>
                <a:gd name="T36" fmla="*/ 86788 w 233"/>
                <a:gd name="T37" fmla="*/ 53856 h 252"/>
                <a:gd name="T38" fmla="*/ 95332 w 233"/>
                <a:gd name="T39" fmla="*/ 66927 h 252"/>
                <a:gd name="T40" fmla="*/ 96681 w 233"/>
                <a:gd name="T41" fmla="*/ 70587 h 252"/>
                <a:gd name="T42" fmla="*/ 98929 w 233"/>
                <a:gd name="T43" fmla="*/ 74247 h 252"/>
                <a:gd name="T44" fmla="*/ 100278 w 233"/>
                <a:gd name="T45" fmla="*/ 78953 h 252"/>
                <a:gd name="T46" fmla="*/ 101627 w 233"/>
                <a:gd name="T47" fmla="*/ 83659 h 252"/>
                <a:gd name="T48" fmla="*/ 103426 w 233"/>
                <a:gd name="T49" fmla="*/ 88888 h 252"/>
                <a:gd name="T50" fmla="*/ 104325 w 233"/>
                <a:gd name="T51" fmla="*/ 94116 h 252"/>
                <a:gd name="T52" fmla="*/ 104775 w 233"/>
                <a:gd name="T53" fmla="*/ 99868 h 252"/>
                <a:gd name="T54" fmla="*/ 104775 w 233"/>
                <a:gd name="T55" fmla="*/ 106665 h 252"/>
                <a:gd name="T56" fmla="*/ 104325 w 233"/>
                <a:gd name="T57" fmla="*/ 112940 h 252"/>
                <a:gd name="T58" fmla="*/ 103426 w 233"/>
                <a:gd name="T59" fmla="*/ 119214 h 252"/>
                <a:gd name="T60" fmla="*/ 102077 w 233"/>
                <a:gd name="T61" fmla="*/ 125489 h 252"/>
                <a:gd name="T62" fmla="*/ 101627 w 233"/>
                <a:gd name="T63" fmla="*/ 131763 h 252"/>
                <a:gd name="T64" fmla="*/ 99829 w 233"/>
                <a:gd name="T65" fmla="*/ 131763 h 252"/>
                <a:gd name="T66" fmla="*/ 96681 w 233"/>
                <a:gd name="T67" fmla="*/ 130717 h 252"/>
                <a:gd name="T68" fmla="*/ 93533 w 233"/>
                <a:gd name="T69" fmla="*/ 128626 h 252"/>
                <a:gd name="T70" fmla="*/ 89036 w 233"/>
                <a:gd name="T71" fmla="*/ 126011 h 252"/>
                <a:gd name="T72" fmla="*/ 79143 w 233"/>
                <a:gd name="T73" fmla="*/ 118168 h 252"/>
                <a:gd name="T74" fmla="*/ 67901 w 233"/>
                <a:gd name="T75" fmla="*/ 108757 h 252"/>
                <a:gd name="T76" fmla="*/ 56210 w 233"/>
                <a:gd name="T77" fmla="*/ 97254 h 252"/>
                <a:gd name="T78" fmla="*/ 44968 w 233"/>
                <a:gd name="T79" fmla="*/ 86273 h 252"/>
                <a:gd name="T80" fmla="*/ 35075 w 233"/>
                <a:gd name="T81" fmla="*/ 75816 h 252"/>
                <a:gd name="T82" fmla="*/ 27430 w 233"/>
                <a:gd name="T83" fmla="*/ 67450 h 252"/>
                <a:gd name="T84" fmla="*/ 24732 w 233"/>
                <a:gd name="T85" fmla="*/ 65359 h 252"/>
                <a:gd name="T86" fmla="*/ 21585 w 233"/>
                <a:gd name="T87" fmla="*/ 62744 h 252"/>
                <a:gd name="T88" fmla="*/ 18437 w 233"/>
                <a:gd name="T89" fmla="*/ 60653 h 252"/>
                <a:gd name="T90" fmla="*/ 14839 w 233"/>
                <a:gd name="T91" fmla="*/ 58561 h 252"/>
                <a:gd name="T92" fmla="*/ 7645 w 233"/>
                <a:gd name="T93" fmla="*/ 54378 h 252"/>
                <a:gd name="T94" fmla="*/ 0 w 233"/>
                <a:gd name="T95" fmla="*/ 51764 h 252"/>
                <a:gd name="T96" fmla="*/ 17987 w 233"/>
                <a:gd name="T97" fmla="*/ 32941 h 252"/>
                <a:gd name="T98" fmla="*/ 26531 w 233"/>
                <a:gd name="T99" fmla="*/ 22483 h 252"/>
                <a:gd name="T100" fmla="*/ 29229 w 233"/>
                <a:gd name="T101" fmla="*/ 17255 h 252"/>
                <a:gd name="T102" fmla="*/ 31028 w 233"/>
                <a:gd name="T103" fmla="*/ 13072 h 252"/>
                <a:gd name="T104" fmla="*/ 32377 w 233"/>
                <a:gd name="T105" fmla="*/ 7320 h 252"/>
                <a:gd name="T106" fmla="*/ 33276 w 233"/>
                <a:gd name="T107" fmla="*/ 0 h 2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6" name="Freeform 266">
              <a:extLst>
                <a:ext uri="{FF2B5EF4-FFF2-40B4-BE49-F238E27FC236}">
                  <a16:creationId xmlns:a16="http://schemas.microsoft.com/office/drawing/2014/main" id="{CC732A9A-3519-4EC6-8911-E33EEB99AA87}"/>
                </a:ext>
              </a:extLst>
            </p:cNvPr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5459414" y="3319463"/>
              <a:ext cx="104775" cy="201612"/>
            </a:xfrm>
            <a:custGeom>
              <a:avLst/>
              <a:gdLst>
                <a:gd name="T0" fmla="*/ 5537 w 246"/>
                <a:gd name="T1" fmla="*/ 199490 h 380"/>
                <a:gd name="T2" fmla="*/ 5963 w 246"/>
                <a:gd name="T3" fmla="*/ 194715 h 380"/>
                <a:gd name="T4" fmla="*/ 6389 w 246"/>
                <a:gd name="T5" fmla="*/ 190470 h 380"/>
                <a:gd name="T6" fmla="*/ 7666 w 246"/>
                <a:gd name="T7" fmla="*/ 186226 h 380"/>
                <a:gd name="T8" fmla="*/ 8518 w 246"/>
                <a:gd name="T9" fmla="*/ 182512 h 380"/>
                <a:gd name="T10" fmla="*/ 10648 w 246"/>
                <a:gd name="T11" fmla="*/ 176676 h 380"/>
                <a:gd name="T12" fmla="*/ 11074 w 246"/>
                <a:gd name="T13" fmla="*/ 173492 h 380"/>
                <a:gd name="T14" fmla="*/ 10648 w 246"/>
                <a:gd name="T15" fmla="*/ 170309 h 380"/>
                <a:gd name="T16" fmla="*/ 9796 w 246"/>
                <a:gd name="T17" fmla="*/ 166595 h 380"/>
                <a:gd name="T18" fmla="*/ 8092 w 246"/>
                <a:gd name="T19" fmla="*/ 161820 h 380"/>
                <a:gd name="T20" fmla="*/ 5537 w 246"/>
                <a:gd name="T21" fmla="*/ 156515 h 380"/>
                <a:gd name="T22" fmla="*/ 3833 w 246"/>
                <a:gd name="T23" fmla="*/ 151209 h 380"/>
                <a:gd name="T24" fmla="*/ 1704 w 246"/>
                <a:gd name="T25" fmla="*/ 145903 h 380"/>
                <a:gd name="T26" fmla="*/ 426 w 246"/>
                <a:gd name="T27" fmla="*/ 141659 h 380"/>
                <a:gd name="T28" fmla="*/ 0 w 246"/>
                <a:gd name="T29" fmla="*/ 137414 h 380"/>
                <a:gd name="T30" fmla="*/ 426 w 246"/>
                <a:gd name="T31" fmla="*/ 133170 h 380"/>
                <a:gd name="T32" fmla="*/ 852 w 246"/>
                <a:gd name="T33" fmla="*/ 128926 h 380"/>
                <a:gd name="T34" fmla="*/ 1278 w 246"/>
                <a:gd name="T35" fmla="*/ 125212 h 380"/>
                <a:gd name="T36" fmla="*/ 2555 w 246"/>
                <a:gd name="T37" fmla="*/ 122028 h 380"/>
                <a:gd name="T38" fmla="*/ 4685 w 246"/>
                <a:gd name="T39" fmla="*/ 115662 h 380"/>
                <a:gd name="T40" fmla="*/ 8092 w 246"/>
                <a:gd name="T41" fmla="*/ 109825 h 380"/>
                <a:gd name="T42" fmla="*/ 11074 w 246"/>
                <a:gd name="T43" fmla="*/ 104520 h 380"/>
                <a:gd name="T44" fmla="*/ 14481 w 246"/>
                <a:gd name="T45" fmla="*/ 98153 h 380"/>
                <a:gd name="T46" fmla="*/ 17463 w 246"/>
                <a:gd name="T47" fmla="*/ 91787 h 380"/>
                <a:gd name="T48" fmla="*/ 20018 w 246"/>
                <a:gd name="T49" fmla="*/ 84889 h 380"/>
                <a:gd name="T50" fmla="*/ 11074 w 246"/>
                <a:gd name="T51" fmla="*/ 38731 h 380"/>
                <a:gd name="T52" fmla="*/ 11074 w 246"/>
                <a:gd name="T53" fmla="*/ 26528 h 380"/>
                <a:gd name="T54" fmla="*/ 10222 w 246"/>
                <a:gd name="T55" fmla="*/ 17508 h 380"/>
                <a:gd name="T56" fmla="*/ 10222 w 246"/>
                <a:gd name="T57" fmla="*/ 13264 h 380"/>
                <a:gd name="T58" fmla="*/ 10222 w 246"/>
                <a:gd name="T59" fmla="*/ 8489 h 380"/>
                <a:gd name="T60" fmla="*/ 10648 w 246"/>
                <a:gd name="T61" fmla="*/ 4244 h 380"/>
                <a:gd name="T62" fmla="*/ 11074 w 246"/>
                <a:gd name="T63" fmla="*/ 0 h 380"/>
                <a:gd name="T64" fmla="*/ 76665 w 246"/>
                <a:gd name="T65" fmla="*/ 0 h 380"/>
                <a:gd name="T66" fmla="*/ 93701 w 246"/>
                <a:gd name="T67" fmla="*/ 68442 h 380"/>
                <a:gd name="T68" fmla="*/ 93701 w 246"/>
                <a:gd name="T69" fmla="*/ 111417 h 380"/>
                <a:gd name="T70" fmla="*/ 93701 w 246"/>
                <a:gd name="T71" fmla="*/ 116723 h 380"/>
                <a:gd name="T72" fmla="*/ 94127 w 246"/>
                <a:gd name="T73" fmla="*/ 122028 h 380"/>
                <a:gd name="T74" fmla="*/ 94979 w 246"/>
                <a:gd name="T75" fmla="*/ 127334 h 380"/>
                <a:gd name="T76" fmla="*/ 95831 w 246"/>
                <a:gd name="T77" fmla="*/ 132639 h 380"/>
                <a:gd name="T78" fmla="*/ 97109 w 246"/>
                <a:gd name="T79" fmla="*/ 137414 h 380"/>
                <a:gd name="T80" fmla="*/ 99664 w 246"/>
                <a:gd name="T81" fmla="*/ 142190 h 380"/>
                <a:gd name="T82" fmla="*/ 101794 w 246"/>
                <a:gd name="T83" fmla="*/ 147495 h 380"/>
                <a:gd name="T84" fmla="*/ 104775 w 246"/>
                <a:gd name="T85" fmla="*/ 153331 h 380"/>
                <a:gd name="T86" fmla="*/ 95405 w 246"/>
                <a:gd name="T87" fmla="*/ 156515 h 380"/>
                <a:gd name="T88" fmla="*/ 86035 w 246"/>
                <a:gd name="T89" fmla="*/ 160228 h 380"/>
                <a:gd name="T90" fmla="*/ 77091 w 246"/>
                <a:gd name="T91" fmla="*/ 164473 h 380"/>
                <a:gd name="T92" fmla="*/ 68146 w 246"/>
                <a:gd name="T93" fmla="*/ 169248 h 380"/>
                <a:gd name="T94" fmla="*/ 60054 w 246"/>
                <a:gd name="T95" fmla="*/ 174023 h 380"/>
                <a:gd name="T96" fmla="*/ 51110 w 246"/>
                <a:gd name="T97" fmla="*/ 179329 h 380"/>
                <a:gd name="T98" fmla="*/ 42591 w 246"/>
                <a:gd name="T99" fmla="*/ 184104 h 380"/>
                <a:gd name="T100" fmla="*/ 34073 w 246"/>
                <a:gd name="T101" fmla="*/ 189940 h 380"/>
                <a:gd name="T102" fmla="*/ 31944 w 246"/>
                <a:gd name="T103" fmla="*/ 192593 h 380"/>
                <a:gd name="T104" fmla="*/ 29388 w 246"/>
                <a:gd name="T105" fmla="*/ 194715 h 380"/>
                <a:gd name="T106" fmla="*/ 26407 w 246"/>
                <a:gd name="T107" fmla="*/ 197368 h 380"/>
                <a:gd name="T108" fmla="*/ 22999 w 246"/>
                <a:gd name="T109" fmla="*/ 199490 h 380"/>
                <a:gd name="T110" fmla="*/ 19592 w 246"/>
                <a:gd name="T111" fmla="*/ 201081 h 380"/>
                <a:gd name="T112" fmla="*/ 15333 w 246"/>
                <a:gd name="T113" fmla="*/ 201612 h 380"/>
                <a:gd name="T114" fmla="*/ 13203 w 246"/>
                <a:gd name="T115" fmla="*/ 201612 h 380"/>
                <a:gd name="T116" fmla="*/ 10648 w 246"/>
                <a:gd name="T117" fmla="*/ 201081 h 380"/>
                <a:gd name="T118" fmla="*/ 8518 w 246"/>
                <a:gd name="T119" fmla="*/ 200551 h 380"/>
                <a:gd name="T120" fmla="*/ 5537 w 246"/>
                <a:gd name="T121" fmla="*/ 199490 h 38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7" name="Freeform 267">
              <a:extLst>
                <a:ext uri="{FF2B5EF4-FFF2-40B4-BE49-F238E27FC236}">
                  <a16:creationId xmlns:a16="http://schemas.microsoft.com/office/drawing/2014/main" id="{A80701DE-87B9-4124-9550-F3E0DF9DDEA7}"/>
                </a:ext>
              </a:extLst>
            </p:cNvPr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5111751" y="3235325"/>
              <a:ext cx="87313" cy="58738"/>
            </a:xfrm>
            <a:custGeom>
              <a:avLst/>
              <a:gdLst>
                <a:gd name="T0" fmla="*/ 3167 w 193"/>
                <a:gd name="T1" fmla="*/ 30915 h 38"/>
                <a:gd name="T2" fmla="*/ 17191 w 193"/>
                <a:gd name="T3" fmla="*/ 17003 h 38"/>
                <a:gd name="T4" fmla="*/ 30311 w 193"/>
                <a:gd name="T5" fmla="*/ 7729 h 38"/>
                <a:gd name="T6" fmla="*/ 36192 w 193"/>
                <a:gd name="T7" fmla="*/ 4637 h 38"/>
                <a:gd name="T8" fmla="*/ 42526 w 193"/>
                <a:gd name="T9" fmla="*/ 3091 h 38"/>
                <a:gd name="T10" fmla="*/ 49764 w 193"/>
                <a:gd name="T11" fmla="*/ 1546 h 38"/>
                <a:gd name="T12" fmla="*/ 57002 w 193"/>
                <a:gd name="T13" fmla="*/ 0 h 38"/>
                <a:gd name="T14" fmla="*/ 62431 w 193"/>
                <a:gd name="T15" fmla="*/ 1546 h 38"/>
                <a:gd name="T16" fmla="*/ 67407 w 193"/>
                <a:gd name="T17" fmla="*/ 1546 h 38"/>
                <a:gd name="T18" fmla="*/ 72384 w 193"/>
                <a:gd name="T19" fmla="*/ 3091 h 38"/>
                <a:gd name="T20" fmla="*/ 76455 w 193"/>
                <a:gd name="T21" fmla="*/ 6183 h 38"/>
                <a:gd name="T22" fmla="*/ 80527 w 193"/>
                <a:gd name="T23" fmla="*/ 9274 h 38"/>
                <a:gd name="T24" fmla="*/ 83241 w 193"/>
                <a:gd name="T25" fmla="*/ 17003 h 38"/>
                <a:gd name="T26" fmla="*/ 84599 w 193"/>
                <a:gd name="T27" fmla="*/ 20095 h 38"/>
                <a:gd name="T28" fmla="*/ 85503 w 193"/>
                <a:gd name="T29" fmla="*/ 27823 h 38"/>
                <a:gd name="T30" fmla="*/ 86408 w 193"/>
                <a:gd name="T31" fmla="*/ 32460 h 38"/>
                <a:gd name="T32" fmla="*/ 87313 w 193"/>
                <a:gd name="T33" fmla="*/ 40189 h 38"/>
                <a:gd name="T34" fmla="*/ 82789 w 193"/>
                <a:gd name="T35" fmla="*/ 41735 h 38"/>
                <a:gd name="T36" fmla="*/ 78265 w 193"/>
                <a:gd name="T37" fmla="*/ 43281 h 38"/>
                <a:gd name="T38" fmla="*/ 74646 w 193"/>
                <a:gd name="T39" fmla="*/ 43281 h 38"/>
                <a:gd name="T40" fmla="*/ 70574 w 193"/>
                <a:gd name="T41" fmla="*/ 43281 h 38"/>
                <a:gd name="T42" fmla="*/ 62431 w 193"/>
                <a:gd name="T43" fmla="*/ 41735 h 38"/>
                <a:gd name="T44" fmla="*/ 54288 w 193"/>
                <a:gd name="T45" fmla="*/ 40189 h 38"/>
                <a:gd name="T46" fmla="*/ 46597 w 193"/>
                <a:gd name="T47" fmla="*/ 40189 h 38"/>
                <a:gd name="T48" fmla="*/ 40264 w 193"/>
                <a:gd name="T49" fmla="*/ 43281 h 38"/>
                <a:gd name="T50" fmla="*/ 34382 w 193"/>
                <a:gd name="T51" fmla="*/ 46372 h 38"/>
                <a:gd name="T52" fmla="*/ 28501 w 193"/>
                <a:gd name="T53" fmla="*/ 49464 h 38"/>
                <a:gd name="T54" fmla="*/ 22168 w 193"/>
                <a:gd name="T55" fmla="*/ 52555 h 38"/>
                <a:gd name="T56" fmla="*/ 15834 w 193"/>
                <a:gd name="T57" fmla="*/ 55647 h 38"/>
                <a:gd name="T58" fmla="*/ 8596 w 193"/>
                <a:gd name="T59" fmla="*/ 57192 h 38"/>
                <a:gd name="T60" fmla="*/ 0 w 193"/>
                <a:gd name="T61" fmla="*/ 58738 h 38"/>
                <a:gd name="T62" fmla="*/ 0 w 193"/>
                <a:gd name="T63" fmla="*/ 51009 h 38"/>
                <a:gd name="T64" fmla="*/ 452 w 193"/>
                <a:gd name="T65" fmla="*/ 44826 h 38"/>
                <a:gd name="T66" fmla="*/ 1357 w 193"/>
                <a:gd name="T67" fmla="*/ 37098 h 38"/>
                <a:gd name="T68" fmla="*/ 3167 w 193"/>
                <a:gd name="T69" fmla="*/ 30915 h 3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8" name="Freeform 268">
              <a:extLst>
                <a:ext uri="{FF2B5EF4-FFF2-40B4-BE49-F238E27FC236}">
                  <a16:creationId xmlns:a16="http://schemas.microsoft.com/office/drawing/2014/main" id="{2A5A5FD9-DFB8-4D2D-A811-3AF03276D562}"/>
                </a:ext>
              </a:extLst>
            </p:cNvPr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5537201" y="3313114"/>
              <a:ext cx="42863" cy="155575"/>
            </a:xfrm>
            <a:custGeom>
              <a:avLst/>
              <a:gdLst>
                <a:gd name="T0" fmla="*/ 22947 w 99"/>
                <a:gd name="T1" fmla="*/ 6202 h 301"/>
                <a:gd name="T2" fmla="*/ 25545 w 99"/>
                <a:gd name="T3" fmla="*/ 6202 h 301"/>
                <a:gd name="T4" fmla="*/ 25545 w 99"/>
                <a:gd name="T5" fmla="*/ 9820 h 301"/>
                <a:gd name="T6" fmla="*/ 26843 w 99"/>
                <a:gd name="T7" fmla="*/ 13438 h 301"/>
                <a:gd name="T8" fmla="*/ 27276 w 99"/>
                <a:gd name="T9" fmla="*/ 17056 h 301"/>
                <a:gd name="T10" fmla="*/ 28575 w 99"/>
                <a:gd name="T11" fmla="*/ 21708 h 301"/>
                <a:gd name="T12" fmla="*/ 31173 w 99"/>
                <a:gd name="T13" fmla="*/ 29978 h 301"/>
                <a:gd name="T14" fmla="*/ 34204 w 99"/>
                <a:gd name="T15" fmla="*/ 38765 h 301"/>
                <a:gd name="T16" fmla="*/ 37667 w 99"/>
                <a:gd name="T17" fmla="*/ 48068 h 301"/>
                <a:gd name="T18" fmla="*/ 40265 w 99"/>
                <a:gd name="T19" fmla="*/ 57372 h 301"/>
                <a:gd name="T20" fmla="*/ 41564 w 99"/>
                <a:gd name="T21" fmla="*/ 62023 h 301"/>
                <a:gd name="T22" fmla="*/ 42430 w 99"/>
                <a:gd name="T23" fmla="*/ 66675 h 301"/>
                <a:gd name="T24" fmla="*/ 42863 w 99"/>
                <a:gd name="T25" fmla="*/ 71327 h 301"/>
                <a:gd name="T26" fmla="*/ 42863 w 99"/>
                <a:gd name="T27" fmla="*/ 76495 h 301"/>
                <a:gd name="T28" fmla="*/ 42863 w 99"/>
                <a:gd name="T29" fmla="*/ 149373 h 301"/>
                <a:gd name="T30" fmla="*/ 38533 w 99"/>
                <a:gd name="T31" fmla="*/ 149890 h 301"/>
                <a:gd name="T32" fmla="*/ 34637 w 99"/>
                <a:gd name="T33" fmla="*/ 151440 h 301"/>
                <a:gd name="T34" fmla="*/ 31606 w 99"/>
                <a:gd name="T35" fmla="*/ 153508 h 301"/>
                <a:gd name="T36" fmla="*/ 28575 w 99"/>
                <a:gd name="T37" fmla="*/ 155575 h 301"/>
                <a:gd name="T38" fmla="*/ 25545 w 99"/>
                <a:gd name="T39" fmla="*/ 149890 h 301"/>
                <a:gd name="T40" fmla="*/ 23380 w 99"/>
                <a:gd name="T41" fmla="*/ 144721 h 301"/>
                <a:gd name="T42" fmla="*/ 20782 w 99"/>
                <a:gd name="T43" fmla="*/ 140069 h 301"/>
                <a:gd name="T44" fmla="*/ 19483 w 99"/>
                <a:gd name="T45" fmla="*/ 135417 h 301"/>
                <a:gd name="T46" fmla="*/ 18617 w 99"/>
                <a:gd name="T47" fmla="*/ 130249 h 301"/>
                <a:gd name="T48" fmla="*/ 17751 w 99"/>
                <a:gd name="T49" fmla="*/ 125080 h 301"/>
                <a:gd name="T50" fmla="*/ 17318 w 99"/>
                <a:gd name="T51" fmla="*/ 119912 h 301"/>
                <a:gd name="T52" fmla="*/ 17318 w 99"/>
                <a:gd name="T53" fmla="*/ 114743 h 301"/>
                <a:gd name="T54" fmla="*/ 17318 w 99"/>
                <a:gd name="T55" fmla="*/ 72877 h 301"/>
                <a:gd name="T56" fmla="*/ 0 w 99"/>
                <a:gd name="T57" fmla="*/ 3101 h 301"/>
                <a:gd name="T58" fmla="*/ 2165 w 99"/>
                <a:gd name="T59" fmla="*/ 1034 h 301"/>
                <a:gd name="T60" fmla="*/ 4330 w 99"/>
                <a:gd name="T61" fmla="*/ 0 h 301"/>
                <a:gd name="T62" fmla="*/ 6061 w 99"/>
                <a:gd name="T63" fmla="*/ 0 h 301"/>
                <a:gd name="T64" fmla="*/ 8659 w 99"/>
                <a:gd name="T65" fmla="*/ 0 h 301"/>
                <a:gd name="T66" fmla="*/ 11257 w 99"/>
                <a:gd name="T67" fmla="*/ 0 h 301"/>
                <a:gd name="T68" fmla="*/ 13855 w 99"/>
                <a:gd name="T69" fmla="*/ 1034 h 301"/>
                <a:gd name="T70" fmla="*/ 16020 w 99"/>
                <a:gd name="T71" fmla="*/ 2067 h 301"/>
                <a:gd name="T72" fmla="*/ 17751 w 99"/>
                <a:gd name="T73" fmla="*/ 3101 h 301"/>
                <a:gd name="T74" fmla="*/ 20349 w 99"/>
                <a:gd name="T75" fmla="*/ 5169 h 301"/>
                <a:gd name="T76" fmla="*/ 22947 w 99"/>
                <a:gd name="T77" fmla="*/ 6202 h 30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9" name="Freeform 269">
              <a:extLst>
                <a:ext uri="{FF2B5EF4-FFF2-40B4-BE49-F238E27FC236}">
                  <a16:creationId xmlns:a16="http://schemas.microsoft.com/office/drawing/2014/main" id="{B582142C-ABCB-4E62-B23F-97347CF46319}"/>
                </a:ext>
              </a:extLst>
            </p:cNvPr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5562600" y="3275013"/>
              <a:ext cx="76200" cy="188912"/>
            </a:xfrm>
            <a:custGeom>
              <a:avLst/>
              <a:gdLst>
                <a:gd name="T0" fmla="*/ 0 w 173"/>
                <a:gd name="T1" fmla="*/ 42333 h 357"/>
                <a:gd name="T2" fmla="*/ 3964 w 173"/>
                <a:gd name="T3" fmla="*/ 38100 h 357"/>
                <a:gd name="T4" fmla="*/ 7488 w 173"/>
                <a:gd name="T5" fmla="*/ 34396 h 357"/>
                <a:gd name="T6" fmla="*/ 11012 w 173"/>
                <a:gd name="T7" fmla="*/ 31750 h 357"/>
                <a:gd name="T8" fmla="*/ 14535 w 173"/>
                <a:gd name="T9" fmla="*/ 29633 h 357"/>
                <a:gd name="T10" fmla="*/ 17618 w 173"/>
                <a:gd name="T11" fmla="*/ 26458 h 357"/>
                <a:gd name="T12" fmla="*/ 29511 w 173"/>
                <a:gd name="T13" fmla="*/ 26458 h 357"/>
                <a:gd name="T14" fmla="*/ 41403 w 173"/>
                <a:gd name="T15" fmla="*/ 0 h 357"/>
                <a:gd name="T16" fmla="*/ 44487 w 173"/>
                <a:gd name="T17" fmla="*/ 1587 h 357"/>
                <a:gd name="T18" fmla="*/ 47570 w 173"/>
                <a:gd name="T19" fmla="*/ 3704 h 357"/>
                <a:gd name="T20" fmla="*/ 51094 w 173"/>
                <a:gd name="T21" fmla="*/ 6350 h 357"/>
                <a:gd name="T22" fmla="*/ 54177 w 173"/>
                <a:gd name="T23" fmla="*/ 9525 h 357"/>
                <a:gd name="T24" fmla="*/ 57701 w 173"/>
                <a:gd name="T25" fmla="*/ 11642 h 357"/>
                <a:gd name="T26" fmla="*/ 61224 w 173"/>
                <a:gd name="T27" fmla="*/ 14287 h 357"/>
                <a:gd name="T28" fmla="*/ 63867 w 173"/>
                <a:gd name="T29" fmla="*/ 15346 h 357"/>
                <a:gd name="T30" fmla="*/ 67391 w 173"/>
                <a:gd name="T31" fmla="*/ 15875 h 357"/>
                <a:gd name="T32" fmla="*/ 71795 w 173"/>
                <a:gd name="T33" fmla="*/ 20637 h 357"/>
                <a:gd name="T34" fmla="*/ 76200 w 173"/>
                <a:gd name="T35" fmla="*/ 26458 h 357"/>
                <a:gd name="T36" fmla="*/ 76200 w 173"/>
                <a:gd name="T37" fmla="*/ 32279 h 357"/>
                <a:gd name="T38" fmla="*/ 76200 w 173"/>
                <a:gd name="T39" fmla="*/ 36512 h 357"/>
                <a:gd name="T40" fmla="*/ 76200 w 173"/>
                <a:gd name="T41" fmla="*/ 42333 h 357"/>
                <a:gd name="T42" fmla="*/ 76200 w 173"/>
                <a:gd name="T43" fmla="*/ 51858 h 357"/>
                <a:gd name="T44" fmla="*/ 76200 w 173"/>
                <a:gd name="T45" fmla="*/ 57679 h 357"/>
                <a:gd name="T46" fmla="*/ 75319 w 173"/>
                <a:gd name="T47" fmla="*/ 62442 h 357"/>
                <a:gd name="T48" fmla="*/ 73557 w 173"/>
                <a:gd name="T49" fmla="*/ 67204 h 357"/>
                <a:gd name="T50" fmla="*/ 71795 w 173"/>
                <a:gd name="T51" fmla="*/ 71437 h 357"/>
                <a:gd name="T52" fmla="*/ 66950 w 173"/>
                <a:gd name="T53" fmla="*/ 79904 h 357"/>
                <a:gd name="T54" fmla="*/ 61665 w 173"/>
                <a:gd name="T55" fmla="*/ 88371 h 357"/>
                <a:gd name="T56" fmla="*/ 56379 w 173"/>
                <a:gd name="T57" fmla="*/ 96837 h 357"/>
                <a:gd name="T58" fmla="*/ 51534 w 173"/>
                <a:gd name="T59" fmla="*/ 105833 h 357"/>
                <a:gd name="T60" fmla="*/ 49332 w 173"/>
                <a:gd name="T61" fmla="*/ 110596 h 357"/>
                <a:gd name="T62" fmla="*/ 48010 w 173"/>
                <a:gd name="T63" fmla="*/ 115887 h 357"/>
                <a:gd name="T64" fmla="*/ 47570 w 173"/>
                <a:gd name="T65" fmla="*/ 121179 h 357"/>
                <a:gd name="T66" fmla="*/ 47129 w 173"/>
                <a:gd name="T67" fmla="*/ 127000 h 357"/>
                <a:gd name="T68" fmla="*/ 47570 w 173"/>
                <a:gd name="T69" fmla="*/ 144462 h 357"/>
                <a:gd name="T70" fmla="*/ 48010 w 173"/>
                <a:gd name="T71" fmla="*/ 155045 h 357"/>
                <a:gd name="T72" fmla="*/ 48451 w 173"/>
                <a:gd name="T73" fmla="*/ 159808 h 357"/>
                <a:gd name="T74" fmla="*/ 48010 w 173"/>
                <a:gd name="T75" fmla="*/ 165629 h 357"/>
                <a:gd name="T76" fmla="*/ 48010 w 173"/>
                <a:gd name="T77" fmla="*/ 173037 h 357"/>
                <a:gd name="T78" fmla="*/ 47129 w 173"/>
                <a:gd name="T79" fmla="*/ 182562 h 357"/>
                <a:gd name="T80" fmla="*/ 42725 w 173"/>
                <a:gd name="T81" fmla="*/ 183091 h 357"/>
                <a:gd name="T82" fmla="*/ 38761 w 173"/>
                <a:gd name="T83" fmla="*/ 183620 h 357"/>
                <a:gd name="T84" fmla="*/ 34797 w 173"/>
                <a:gd name="T85" fmla="*/ 184679 h 357"/>
                <a:gd name="T86" fmla="*/ 31273 w 173"/>
                <a:gd name="T87" fmla="*/ 185737 h 357"/>
                <a:gd name="T88" fmla="*/ 27749 w 173"/>
                <a:gd name="T89" fmla="*/ 186795 h 357"/>
                <a:gd name="T90" fmla="*/ 24225 w 173"/>
                <a:gd name="T91" fmla="*/ 187854 h 357"/>
                <a:gd name="T92" fmla="*/ 21142 w 173"/>
                <a:gd name="T93" fmla="*/ 188912 h 357"/>
                <a:gd name="T94" fmla="*/ 17618 w 173"/>
                <a:gd name="T95" fmla="*/ 188912 h 357"/>
                <a:gd name="T96" fmla="*/ 17618 w 173"/>
                <a:gd name="T97" fmla="*/ 114300 h 357"/>
                <a:gd name="T98" fmla="*/ 17618 w 173"/>
                <a:gd name="T99" fmla="*/ 109008 h 357"/>
                <a:gd name="T100" fmla="*/ 17178 w 173"/>
                <a:gd name="T101" fmla="*/ 104246 h 357"/>
                <a:gd name="T102" fmla="*/ 16297 w 173"/>
                <a:gd name="T103" fmla="*/ 99483 h 357"/>
                <a:gd name="T104" fmla="*/ 14976 w 173"/>
                <a:gd name="T105" fmla="*/ 94721 h 357"/>
                <a:gd name="T106" fmla="*/ 12333 w 173"/>
                <a:gd name="T107" fmla="*/ 85196 h 357"/>
                <a:gd name="T108" fmla="*/ 8809 w 173"/>
                <a:gd name="T109" fmla="*/ 75671 h 357"/>
                <a:gd name="T110" fmla="*/ 5726 w 173"/>
                <a:gd name="T111" fmla="*/ 66675 h 357"/>
                <a:gd name="T112" fmla="*/ 3083 w 173"/>
                <a:gd name="T113" fmla="*/ 58208 h 357"/>
                <a:gd name="T114" fmla="*/ 1762 w 173"/>
                <a:gd name="T115" fmla="*/ 53446 h 357"/>
                <a:gd name="T116" fmla="*/ 1321 w 173"/>
                <a:gd name="T117" fmla="*/ 49742 h 357"/>
                <a:gd name="T118" fmla="*/ 0 w 173"/>
                <a:gd name="T119" fmla="*/ 46037 h 357"/>
                <a:gd name="T120" fmla="*/ 0 w 173"/>
                <a:gd name="T121" fmla="*/ 42333 h 35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0" name="Freeform 270">
              <a:extLst>
                <a:ext uri="{FF2B5EF4-FFF2-40B4-BE49-F238E27FC236}">
                  <a16:creationId xmlns:a16="http://schemas.microsoft.com/office/drawing/2014/main" id="{C3EBA038-CBBA-4633-8D70-A0A56F747E7D}"/>
                </a:ext>
              </a:extLst>
            </p:cNvPr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6291263" y="4479926"/>
              <a:ext cx="25400" cy="60325"/>
            </a:xfrm>
            <a:custGeom>
              <a:avLst/>
              <a:gdLst>
                <a:gd name="T0" fmla="*/ 5080 w 50"/>
                <a:gd name="T1" fmla="*/ 0 h 74"/>
                <a:gd name="T2" fmla="*/ 3048 w 50"/>
                <a:gd name="T3" fmla="*/ 11413 h 74"/>
                <a:gd name="T4" fmla="*/ 1016 w 50"/>
                <a:gd name="T5" fmla="*/ 21195 h 74"/>
                <a:gd name="T6" fmla="*/ 0 w 50"/>
                <a:gd name="T7" fmla="*/ 29347 h 74"/>
                <a:gd name="T8" fmla="*/ 0 w 50"/>
                <a:gd name="T9" fmla="*/ 35054 h 74"/>
                <a:gd name="T10" fmla="*/ 0 w 50"/>
                <a:gd name="T11" fmla="*/ 40760 h 74"/>
                <a:gd name="T12" fmla="*/ 1016 w 50"/>
                <a:gd name="T13" fmla="*/ 45651 h 74"/>
                <a:gd name="T14" fmla="*/ 3048 w 50"/>
                <a:gd name="T15" fmla="*/ 49727 h 74"/>
                <a:gd name="T16" fmla="*/ 5080 w 50"/>
                <a:gd name="T17" fmla="*/ 55434 h 74"/>
                <a:gd name="T18" fmla="*/ 25400 w 50"/>
                <a:gd name="T19" fmla="*/ 60325 h 74"/>
                <a:gd name="T20" fmla="*/ 25400 w 50"/>
                <a:gd name="T21" fmla="*/ 41575 h 74"/>
                <a:gd name="T22" fmla="*/ 25400 w 50"/>
                <a:gd name="T23" fmla="*/ 27717 h 74"/>
                <a:gd name="T24" fmla="*/ 25400 w 50"/>
                <a:gd name="T25" fmla="*/ 15489 h 74"/>
                <a:gd name="T26" fmla="*/ 25400 w 50"/>
                <a:gd name="T27" fmla="*/ 0 h 74"/>
                <a:gd name="T28" fmla="*/ 19304 w 50"/>
                <a:gd name="T29" fmla="*/ 0 h 74"/>
                <a:gd name="T30" fmla="*/ 12700 w 50"/>
                <a:gd name="T31" fmla="*/ 0 h 74"/>
                <a:gd name="T32" fmla="*/ 7112 w 50"/>
                <a:gd name="T33" fmla="*/ 0 h 74"/>
                <a:gd name="T34" fmla="*/ 5080 w 50"/>
                <a:gd name="T35" fmla="*/ 0 h 7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1" name="Freeform 271">
              <a:extLst>
                <a:ext uri="{FF2B5EF4-FFF2-40B4-BE49-F238E27FC236}">
                  <a16:creationId xmlns:a16="http://schemas.microsoft.com/office/drawing/2014/main" id="{E1433481-1151-406B-AFCE-967667596D44}"/>
                </a:ext>
              </a:extLst>
            </p:cNvPr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6186488" y="4576763"/>
              <a:ext cx="61912" cy="57150"/>
            </a:xfrm>
            <a:custGeom>
              <a:avLst/>
              <a:gdLst>
                <a:gd name="T0" fmla="*/ 1376 w 135"/>
                <a:gd name="T1" fmla="*/ 32074 h 98"/>
                <a:gd name="T2" fmla="*/ 5045 w 135"/>
                <a:gd name="T3" fmla="*/ 31491 h 98"/>
                <a:gd name="T4" fmla="*/ 8255 w 135"/>
                <a:gd name="T5" fmla="*/ 30908 h 98"/>
                <a:gd name="T6" fmla="*/ 11007 w 135"/>
                <a:gd name="T7" fmla="*/ 29158 h 98"/>
                <a:gd name="T8" fmla="*/ 14217 w 135"/>
                <a:gd name="T9" fmla="*/ 27409 h 98"/>
                <a:gd name="T10" fmla="*/ 19262 w 135"/>
                <a:gd name="T11" fmla="*/ 22160 h 98"/>
                <a:gd name="T12" fmla="*/ 23848 w 135"/>
                <a:gd name="T13" fmla="*/ 16329 h 98"/>
                <a:gd name="T14" fmla="*/ 27975 w 135"/>
                <a:gd name="T15" fmla="*/ 10497 h 98"/>
                <a:gd name="T16" fmla="*/ 32561 w 135"/>
                <a:gd name="T17" fmla="*/ 4665 h 98"/>
                <a:gd name="T18" fmla="*/ 34854 w 135"/>
                <a:gd name="T19" fmla="*/ 2916 h 98"/>
                <a:gd name="T20" fmla="*/ 37606 w 135"/>
                <a:gd name="T21" fmla="*/ 1166 h 98"/>
                <a:gd name="T22" fmla="*/ 40357 w 135"/>
                <a:gd name="T23" fmla="*/ 0 h 98"/>
                <a:gd name="T24" fmla="*/ 44026 w 135"/>
                <a:gd name="T25" fmla="*/ 0 h 98"/>
                <a:gd name="T26" fmla="*/ 46778 w 135"/>
                <a:gd name="T27" fmla="*/ 0 h 98"/>
                <a:gd name="T28" fmla="*/ 50447 w 135"/>
                <a:gd name="T29" fmla="*/ 1749 h 98"/>
                <a:gd name="T30" fmla="*/ 53657 w 135"/>
                <a:gd name="T31" fmla="*/ 3499 h 98"/>
                <a:gd name="T32" fmla="*/ 56409 w 135"/>
                <a:gd name="T33" fmla="*/ 6415 h 98"/>
                <a:gd name="T34" fmla="*/ 58702 w 135"/>
                <a:gd name="T35" fmla="*/ 9331 h 98"/>
                <a:gd name="T36" fmla="*/ 60536 w 135"/>
                <a:gd name="T37" fmla="*/ 13996 h 98"/>
                <a:gd name="T38" fmla="*/ 61453 w 135"/>
                <a:gd name="T39" fmla="*/ 17495 h 98"/>
                <a:gd name="T40" fmla="*/ 61912 w 135"/>
                <a:gd name="T41" fmla="*/ 21577 h 98"/>
                <a:gd name="T42" fmla="*/ 61453 w 135"/>
                <a:gd name="T43" fmla="*/ 23327 h 98"/>
                <a:gd name="T44" fmla="*/ 60536 w 135"/>
                <a:gd name="T45" fmla="*/ 25076 h 98"/>
                <a:gd name="T46" fmla="*/ 59160 w 135"/>
                <a:gd name="T47" fmla="*/ 27409 h 98"/>
                <a:gd name="T48" fmla="*/ 56867 w 135"/>
                <a:gd name="T49" fmla="*/ 29741 h 98"/>
                <a:gd name="T50" fmla="*/ 51823 w 135"/>
                <a:gd name="T51" fmla="*/ 35573 h 98"/>
                <a:gd name="T52" fmla="*/ 45861 w 135"/>
                <a:gd name="T53" fmla="*/ 41988 h 98"/>
                <a:gd name="T54" fmla="*/ 39899 w 135"/>
                <a:gd name="T55" fmla="*/ 47819 h 98"/>
                <a:gd name="T56" fmla="*/ 33937 w 135"/>
                <a:gd name="T57" fmla="*/ 53068 h 98"/>
                <a:gd name="T58" fmla="*/ 28892 w 135"/>
                <a:gd name="T59" fmla="*/ 55984 h 98"/>
                <a:gd name="T60" fmla="*/ 25223 w 135"/>
                <a:gd name="T61" fmla="*/ 57150 h 98"/>
                <a:gd name="T62" fmla="*/ 23389 w 135"/>
                <a:gd name="T63" fmla="*/ 56567 h 98"/>
                <a:gd name="T64" fmla="*/ 19720 w 135"/>
                <a:gd name="T65" fmla="*/ 53651 h 98"/>
                <a:gd name="T66" fmla="*/ 14675 w 135"/>
                <a:gd name="T67" fmla="*/ 49569 h 98"/>
                <a:gd name="T68" fmla="*/ 9631 w 135"/>
                <a:gd name="T69" fmla="*/ 44904 h 98"/>
                <a:gd name="T70" fmla="*/ 5045 w 135"/>
                <a:gd name="T71" fmla="*/ 39655 h 98"/>
                <a:gd name="T72" fmla="*/ 2293 w 135"/>
                <a:gd name="T73" fmla="*/ 36156 h 98"/>
                <a:gd name="T74" fmla="*/ 459 w 135"/>
                <a:gd name="T75" fmla="*/ 34407 h 98"/>
                <a:gd name="T76" fmla="*/ 0 w 135"/>
                <a:gd name="T77" fmla="*/ 33240 h 98"/>
                <a:gd name="T78" fmla="*/ 0 w 135"/>
                <a:gd name="T79" fmla="*/ 32657 h 98"/>
                <a:gd name="T80" fmla="*/ 1376 w 135"/>
                <a:gd name="T81" fmla="*/ 32074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2" name="Freeform 272">
              <a:extLst>
                <a:ext uri="{FF2B5EF4-FFF2-40B4-BE49-F238E27FC236}">
                  <a16:creationId xmlns:a16="http://schemas.microsoft.com/office/drawing/2014/main" id="{625D1683-BFCB-4B9B-AF89-B36C4DD0DB04}"/>
                </a:ext>
              </a:extLst>
            </p:cNvPr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8404225" y="2290763"/>
              <a:ext cx="120650" cy="171450"/>
            </a:xfrm>
            <a:custGeom>
              <a:avLst/>
              <a:gdLst>
                <a:gd name="T0" fmla="*/ 108857 w 266"/>
                <a:gd name="T1" fmla="*/ 4733 h 326"/>
                <a:gd name="T2" fmla="*/ 108857 w 266"/>
                <a:gd name="T3" fmla="*/ 14726 h 326"/>
                <a:gd name="T4" fmla="*/ 112939 w 266"/>
                <a:gd name="T5" fmla="*/ 22089 h 326"/>
                <a:gd name="T6" fmla="*/ 111125 w 266"/>
                <a:gd name="T7" fmla="*/ 28926 h 326"/>
                <a:gd name="T8" fmla="*/ 102054 w 266"/>
                <a:gd name="T9" fmla="*/ 26296 h 326"/>
                <a:gd name="T10" fmla="*/ 95250 w 266"/>
                <a:gd name="T11" fmla="*/ 26822 h 326"/>
                <a:gd name="T12" fmla="*/ 88446 w 266"/>
                <a:gd name="T13" fmla="*/ 34185 h 326"/>
                <a:gd name="T14" fmla="*/ 87539 w 266"/>
                <a:gd name="T15" fmla="*/ 41022 h 326"/>
                <a:gd name="T16" fmla="*/ 89807 w 266"/>
                <a:gd name="T17" fmla="*/ 46807 h 326"/>
                <a:gd name="T18" fmla="*/ 97518 w 266"/>
                <a:gd name="T19" fmla="*/ 57851 h 326"/>
                <a:gd name="T20" fmla="*/ 101600 w 266"/>
                <a:gd name="T21" fmla="*/ 64162 h 326"/>
                <a:gd name="T22" fmla="*/ 102054 w 266"/>
                <a:gd name="T23" fmla="*/ 69947 h 326"/>
                <a:gd name="T24" fmla="*/ 100693 w 266"/>
                <a:gd name="T25" fmla="*/ 75207 h 326"/>
                <a:gd name="T26" fmla="*/ 93889 w 266"/>
                <a:gd name="T27" fmla="*/ 80992 h 326"/>
                <a:gd name="T28" fmla="*/ 90714 w 266"/>
                <a:gd name="T29" fmla="*/ 84147 h 326"/>
                <a:gd name="T30" fmla="*/ 82096 w 266"/>
                <a:gd name="T31" fmla="*/ 87303 h 326"/>
                <a:gd name="T32" fmla="*/ 74386 w 266"/>
                <a:gd name="T33" fmla="*/ 93614 h 326"/>
                <a:gd name="T34" fmla="*/ 72571 w 266"/>
                <a:gd name="T35" fmla="*/ 100451 h 326"/>
                <a:gd name="T36" fmla="*/ 78468 w 266"/>
                <a:gd name="T37" fmla="*/ 108865 h 326"/>
                <a:gd name="T38" fmla="*/ 85725 w 266"/>
                <a:gd name="T39" fmla="*/ 113073 h 326"/>
                <a:gd name="T40" fmla="*/ 97064 w 266"/>
                <a:gd name="T41" fmla="*/ 119384 h 326"/>
                <a:gd name="T42" fmla="*/ 111125 w 266"/>
                <a:gd name="T43" fmla="*/ 136213 h 326"/>
                <a:gd name="T44" fmla="*/ 113846 w 266"/>
                <a:gd name="T45" fmla="*/ 149887 h 326"/>
                <a:gd name="T46" fmla="*/ 99786 w 266"/>
                <a:gd name="T47" fmla="*/ 153043 h 326"/>
                <a:gd name="T48" fmla="*/ 93889 w 266"/>
                <a:gd name="T49" fmla="*/ 156724 h 326"/>
                <a:gd name="T50" fmla="*/ 89807 w 266"/>
                <a:gd name="T51" fmla="*/ 164087 h 326"/>
                <a:gd name="T52" fmla="*/ 85725 w 266"/>
                <a:gd name="T53" fmla="*/ 171450 h 326"/>
                <a:gd name="T54" fmla="*/ 77107 w 266"/>
                <a:gd name="T55" fmla="*/ 168820 h 326"/>
                <a:gd name="T56" fmla="*/ 75746 w 266"/>
                <a:gd name="T57" fmla="*/ 166191 h 326"/>
                <a:gd name="T58" fmla="*/ 69850 w 266"/>
                <a:gd name="T59" fmla="*/ 163035 h 326"/>
                <a:gd name="T60" fmla="*/ 63046 w 266"/>
                <a:gd name="T61" fmla="*/ 158302 h 326"/>
                <a:gd name="T62" fmla="*/ 57150 w 266"/>
                <a:gd name="T63" fmla="*/ 155146 h 326"/>
                <a:gd name="T64" fmla="*/ 44450 w 266"/>
                <a:gd name="T65" fmla="*/ 152517 h 326"/>
                <a:gd name="T66" fmla="*/ 28575 w 266"/>
                <a:gd name="T67" fmla="*/ 145680 h 326"/>
                <a:gd name="T68" fmla="*/ 24493 w 266"/>
                <a:gd name="T69" fmla="*/ 140947 h 326"/>
                <a:gd name="T70" fmla="*/ 24946 w 266"/>
                <a:gd name="T71" fmla="*/ 134636 h 326"/>
                <a:gd name="T72" fmla="*/ 31750 w 266"/>
                <a:gd name="T73" fmla="*/ 128325 h 326"/>
                <a:gd name="T74" fmla="*/ 26761 w 266"/>
                <a:gd name="T75" fmla="*/ 116228 h 326"/>
                <a:gd name="T76" fmla="*/ 15421 w 266"/>
                <a:gd name="T77" fmla="*/ 102029 h 326"/>
                <a:gd name="T78" fmla="*/ 5896 w 266"/>
                <a:gd name="T79" fmla="*/ 95717 h 326"/>
                <a:gd name="T80" fmla="*/ 1814 w 266"/>
                <a:gd name="T81" fmla="*/ 89932 h 326"/>
                <a:gd name="T82" fmla="*/ 8618 w 266"/>
                <a:gd name="T83" fmla="*/ 79940 h 326"/>
                <a:gd name="T84" fmla="*/ 24493 w 266"/>
                <a:gd name="T85" fmla="*/ 65214 h 326"/>
                <a:gd name="T86" fmla="*/ 33111 w 266"/>
                <a:gd name="T87" fmla="*/ 55222 h 326"/>
                <a:gd name="T88" fmla="*/ 39914 w 266"/>
                <a:gd name="T89" fmla="*/ 48385 h 326"/>
                <a:gd name="T90" fmla="*/ 49893 w 266"/>
                <a:gd name="T91" fmla="*/ 46281 h 326"/>
                <a:gd name="T92" fmla="*/ 65314 w 266"/>
                <a:gd name="T93" fmla="*/ 36814 h 326"/>
                <a:gd name="T94" fmla="*/ 76200 w 266"/>
                <a:gd name="T95" fmla="*/ 24192 h 326"/>
                <a:gd name="T96" fmla="*/ 86632 w 266"/>
                <a:gd name="T97" fmla="*/ 11044 h 326"/>
                <a:gd name="T98" fmla="*/ 99786 w 266"/>
                <a:gd name="T99" fmla="*/ 2104 h 326"/>
                <a:gd name="T100" fmla="*/ 107950 w 266"/>
                <a:gd name="T101" fmla="*/ 0 h 32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3" name="Freeform 273">
              <a:extLst>
                <a:ext uri="{FF2B5EF4-FFF2-40B4-BE49-F238E27FC236}">
                  <a16:creationId xmlns:a16="http://schemas.microsoft.com/office/drawing/2014/main" id="{24B96CD5-5390-4DE2-8A40-82CA3AEFF3CB}"/>
                </a:ext>
              </a:extLst>
            </p:cNvPr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7475539" y="2705101"/>
              <a:ext cx="206375" cy="123825"/>
            </a:xfrm>
            <a:custGeom>
              <a:avLst/>
              <a:gdLst>
                <a:gd name="T0" fmla="*/ 37682 w 471"/>
                <a:gd name="T1" fmla="*/ 0 h 237"/>
                <a:gd name="T2" fmla="*/ 40311 w 471"/>
                <a:gd name="T3" fmla="*/ 3657 h 237"/>
                <a:gd name="T4" fmla="*/ 44693 w 471"/>
                <a:gd name="T5" fmla="*/ 6792 h 237"/>
                <a:gd name="T6" fmla="*/ 54770 w 471"/>
                <a:gd name="T7" fmla="*/ 12017 h 237"/>
                <a:gd name="T8" fmla="*/ 69668 w 471"/>
                <a:gd name="T9" fmla="*/ 19331 h 237"/>
                <a:gd name="T10" fmla="*/ 97710 w 471"/>
                <a:gd name="T11" fmla="*/ 40230 h 237"/>
                <a:gd name="T12" fmla="*/ 110855 w 471"/>
                <a:gd name="T13" fmla="*/ 50679 h 237"/>
                <a:gd name="T14" fmla="*/ 124000 w 471"/>
                <a:gd name="T15" fmla="*/ 59039 h 237"/>
                <a:gd name="T16" fmla="*/ 138460 w 471"/>
                <a:gd name="T17" fmla="*/ 66353 h 237"/>
                <a:gd name="T18" fmla="*/ 155548 w 471"/>
                <a:gd name="T19" fmla="*/ 72623 h 237"/>
                <a:gd name="T20" fmla="*/ 174827 w 471"/>
                <a:gd name="T21" fmla="*/ 76280 h 237"/>
                <a:gd name="T22" fmla="*/ 197612 w 471"/>
                <a:gd name="T23" fmla="*/ 77325 h 237"/>
                <a:gd name="T24" fmla="*/ 198050 w 471"/>
                <a:gd name="T25" fmla="*/ 97702 h 237"/>
                <a:gd name="T26" fmla="*/ 201117 w 471"/>
                <a:gd name="T27" fmla="*/ 110241 h 237"/>
                <a:gd name="T28" fmla="*/ 204622 w 471"/>
                <a:gd name="T29" fmla="*/ 118600 h 237"/>
                <a:gd name="T30" fmla="*/ 204622 w 471"/>
                <a:gd name="T31" fmla="*/ 123303 h 237"/>
                <a:gd name="T32" fmla="*/ 197612 w 471"/>
                <a:gd name="T33" fmla="*/ 123303 h 237"/>
                <a:gd name="T34" fmla="*/ 182276 w 471"/>
                <a:gd name="T35" fmla="*/ 120690 h 237"/>
                <a:gd name="T36" fmla="*/ 158615 w 471"/>
                <a:gd name="T37" fmla="*/ 114421 h 237"/>
                <a:gd name="T38" fmla="*/ 138021 w 471"/>
                <a:gd name="T39" fmla="*/ 108151 h 237"/>
                <a:gd name="T40" fmla="*/ 128820 w 471"/>
                <a:gd name="T41" fmla="*/ 106061 h 237"/>
                <a:gd name="T42" fmla="*/ 125753 w 471"/>
                <a:gd name="T43" fmla="*/ 103971 h 237"/>
                <a:gd name="T44" fmla="*/ 121371 w 471"/>
                <a:gd name="T45" fmla="*/ 99269 h 237"/>
                <a:gd name="T46" fmla="*/ 116990 w 471"/>
                <a:gd name="T47" fmla="*/ 92999 h 237"/>
                <a:gd name="T48" fmla="*/ 111732 w 471"/>
                <a:gd name="T49" fmla="*/ 86730 h 237"/>
                <a:gd name="T50" fmla="*/ 105159 w 471"/>
                <a:gd name="T51" fmla="*/ 83072 h 237"/>
                <a:gd name="T52" fmla="*/ 99463 w 471"/>
                <a:gd name="T53" fmla="*/ 83072 h 237"/>
                <a:gd name="T54" fmla="*/ 89824 w 471"/>
                <a:gd name="T55" fmla="*/ 85162 h 237"/>
                <a:gd name="T56" fmla="*/ 80184 w 471"/>
                <a:gd name="T57" fmla="*/ 87252 h 237"/>
                <a:gd name="T58" fmla="*/ 74050 w 471"/>
                <a:gd name="T59" fmla="*/ 87775 h 237"/>
                <a:gd name="T60" fmla="*/ 69230 w 471"/>
                <a:gd name="T61" fmla="*/ 85685 h 237"/>
                <a:gd name="T62" fmla="*/ 64848 w 471"/>
                <a:gd name="T63" fmla="*/ 80983 h 237"/>
                <a:gd name="T64" fmla="*/ 60905 w 471"/>
                <a:gd name="T65" fmla="*/ 77325 h 237"/>
                <a:gd name="T66" fmla="*/ 53456 w 471"/>
                <a:gd name="T67" fmla="*/ 75758 h 237"/>
                <a:gd name="T68" fmla="*/ 40311 w 471"/>
                <a:gd name="T69" fmla="*/ 70533 h 237"/>
                <a:gd name="T70" fmla="*/ 21032 w 471"/>
                <a:gd name="T71" fmla="*/ 61129 h 237"/>
                <a:gd name="T72" fmla="*/ 5258 w 471"/>
                <a:gd name="T73" fmla="*/ 50157 h 237"/>
                <a:gd name="T74" fmla="*/ 3067 w 471"/>
                <a:gd name="T75" fmla="*/ 0 h 2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4" name="Freeform 274">
              <a:extLst>
                <a:ext uri="{FF2B5EF4-FFF2-40B4-BE49-F238E27FC236}">
                  <a16:creationId xmlns:a16="http://schemas.microsoft.com/office/drawing/2014/main" id="{158C773C-4937-42E2-9DE4-F3CF459E69DE}"/>
                </a:ext>
              </a:extLst>
            </p:cNvPr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7691439" y="2760664"/>
              <a:ext cx="73025" cy="65087"/>
            </a:xfrm>
            <a:custGeom>
              <a:avLst/>
              <a:gdLst>
                <a:gd name="T0" fmla="*/ 73025 w 167"/>
                <a:gd name="T1" fmla="*/ 22754 h 123"/>
                <a:gd name="T2" fmla="*/ 71713 w 167"/>
                <a:gd name="T3" fmla="*/ 28575 h 123"/>
                <a:gd name="T4" fmla="*/ 70401 w 167"/>
                <a:gd name="T5" fmla="*/ 34925 h 123"/>
                <a:gd name="T6" fmla="*/ 67778 w 167"/>
                <a:gd name="T7" fmla="*/ 41804 h 123"/>
                <a:gd name="T8" fmla="*/ 65591 w 167"/>
                <a:gd name="T9" fmla="*/ 49212 h 123"/>
                <a:gd name="T10" fmla="*/ 63842 w 167"/>
                <a:gd name="T11" fmla="*/ 52387 h 123"/>
                <a:gd name="T12" fmla="*/ 62093 w 167"/>
                <a:gd name="T13" fmla="*/ 55562 h 123"/>
                <a:gd name="T14" fmla="*/ 60344 w 167"/>
                <a:gd name="T15" fmla="*/ 58208 h 123"/>
                <a:gd name="T16" fmla="*/ 57720 w 167"/>
                <a:gd name="T17" fmla="*/ 60325 h 123"/>
                <a:gd name="T18" fmla="*/ 55534 w 167"/>
                <a:gd name="T19" fmla="*/ 62441 h 123"/>
                <a:gd name="T20" fmla="*/ 52910 w 167"/>
                <a:gd name="T21" fmla="*/ 64029 h 123"/>
                <a:gd name="T22" fmla="*/ 50287 w 167"/>
                <a:gd name="T23" fmla="*/ 64558 h 123"/>
                <a:gd name="T24" fmla="*/ 46788 w 167"/>
                <a:gd name="T25" fmla="*/ 65087 h 123"/>
                <a:gd name="T26" fmla="*/ 43728 w 167"/>
                <a:gd name="T27" fmla="*/ 64558 h 123"/>
                <a:gd name="T28" fmla="*/ 40229 w 167"/>
                <a:gd name="T29" fmla="*/ 62970 h 123"/>
                <a:gd name="T30" fmla="*/ 38043 w 167"/>
                <a:gd name="T31" fmla="*/ 61383 h 123"/>
                <a:gd name="T32" fmla="*/ 36731 w 167"/>
                <a:gd name="T33" fmla="*/ 59795 h 123"/>
                <a:gd name="T34" fmla="*/ 35857 w 167"/>
                <a:gd name="T35" fmla="*/ 57679 h 123"/>
                <a:gd name="T36" fmla="*/ 35419 w 167"/>
                <a:gd name="T37" fmla="*/ 55562 h 123"/>
                <a:gd name="T38" fmla="*/ 31047 w 167"/>
                <a:gd name="T39" fmla="*/ 55033 h 123"/>
                <a:gd name="T40" fmla="*/ 26674 w 167"/>
                <a:gd name="T41" fmla="*/ 54504 h 123"/>
                <a:gd name="T42" fmla="*/ 22301 w 167"/>
                <a:gd name="T43" fmla="*/ 53445 h 123"/>
                <a:gd name="T44" fmla="*/ 17928 w 167"/>
                <a:gd name="T45" fmla="*/ 51858 h 123"/>
                <a:gd name="T46" fmla="*/ 9183 w 167"/>
                <a:gd name="T47" fmla="*/ 48683 h 123"/>
                <a:gd name="T48" fmla="*/ 0 w 167"/>
                <a:gd name="T49" fmla="*/ 45508 h 123"/>
                <a:gd name="T50" fmla="*/ 875 w 167"/>
                <a:gd name="T51" fmla="*/ 40746 h 123"/>
                <a:gd name="T52" fmla="*/ 2186 w 167"/>
                <a:gd name="T53" fmla="*/ 35454 h 123"/>
                <a:gd name="T54" fmla="*/ 3935 w 167"/>
                <a:gd name="T55" fmla="*/ 29633 h 123"/>
                <a:gd name="T56" fmla="*/ 6559 w 167"/>
                <a:gd name="T57" fmla="*/ 22754 h 123"/>
                <a:gd name="T58" fmla="*/ 8746 w 167"/>
                <a:gd name="T59" fmla="*/ 22754 h 123"/>
                <a:gd name="T60" fmla="*/ 11369 w 167"/>
                <a:gd name="T61" fmla="*/ 22225 h 123"/>
                <a:gd name="T62" fmla="*/ 13118 w 167"/>
                <a:gd name="T63" fmla="*/ 21696 h 123"/>
                <a:gd name="T64" fmla="*/ 14430 w 167"/>
                <a:gd name="T65" fmla="*/ 20108 h 123"/>
                <a:gd name="T66" fmla="*/ 17491 w 167"/>
                <a:gd name="T67" fmla="*/ 17462 h 123"/>
                <a:gd name="T68" fmla="*/ 19677 w 167"/>
                <a:gd name="T69" fmla="*/ 13758 h 123"/>
                <a:gd name="T70" fmla="*/ 22738 w 167"/>
                <a:gd name="T71" fmla="*/ 6350 h 123"/>
                <a:gd name="T72" fmla="*/ 26674 w 167"/>
                <a:gd name="T73" fmla="*/ 0 h 123"/>
                <a:gd name="T74" fmla="*/ 27986 w 167"/>
                <a:gd name="T75" fmla="*/ 2117 h 123"/>
                <a:gd name="T76" fmla="*/ 29297 w 167"/>
                <a:gd name="T77" fmla="*/ 3704 h 123"/>
                <a:gd name="T78" fmla="*/ 31921 w 167"/>
                <a:gd name="T79" fmla="*/ 5821 h 123"/>
                <a:gd name="T80" fmla="*/ 34107 w 167"/>
                <a:gd name="T81" fmla="*/ 7408 h 123"/>
                <a:gd name="T82" fmla="*/ 40229 w 167"/>
                <a:gd name="T83" fmla="*/ 11112 h 123"/>
                <a:gd name="T84" fmla="*/ 46788 w 167"/>
                <a:gd name="T85" fmla="*/ 14817 h 123"/>
                <a:gd name="T86" fmla="*/ 53348 w 167"/>
                <a:gd name="T87" fmla="*/ 18521 h 123"/>
                <a:gd name="T88" fmla="*/ 60781 w 167"/>
                <a:gd name="T89" fmla="*/ 20637 h 123"/>
                <a:gd name="T90" fmla="*/ 66903 w 167"/>
                <a:gd name="T91" fmla="*/ 22225 h 123"/>
                <a:gd name="T92" fmla="*/ 73025 w 167"/>
                <a:gd name="T93" fmla="*/ 22754 h 12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5" name="Freeform 275">
              <a:extLst>
                <a:ext uri="{FF2B5EF4-FFF2-40B4-BE49-F238E27FC236}">
                  <a16:creationId xmlns:a16="http://schemas.microsoft.com/office/drawing/2014/main" id="{53B52F3D-A9CD-4ADE-AF5B-809467ABFE8B}"/>
                </a:ext>
              </a:extLst>
            </p:cNvPr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7681913" y="2832100"/>
              <a:ext cx="133350" cy="166688"/>
            </a:xfrm>
            <a:custGeom>
              <a:avLst/>
              <a:gdLst>
                <a:gd name="T0" fmla="*/ 112868 w 306"/>
                <a:gd name="T1" fmla="*/ 83084 h 321"/>
                <a:gd name="T2" fmla="*/ 109818 w 306"/>
                <a:gd name="T3" fmla="*/ 89835 h 321"/>
                <a:gd name="T4" fmla="*/ 105896 w 306"/>
                <a:gd name="T5" fmla="*/ 94508 h 321"/>
                <a:gd name="T6" fmla="*/ 101538 w 306"/>
                <a:gd name="T7" fmla="*/ 96586 h 321"/>
                <a:gd name="T8" fmla="*/ 97180 w 306"/>
                <a:gd name="T9" fmla="*/ 95547 h 321"/>
                <a:gd name="T10" fmla="*/ 93258 w 306"/>
                <a:gd name="T11" fmla="*/ 92431 h 321"/>
                <a:gd name="T12" fmla="*/ 91079 w 306"/>
                <a:gd name="T13" fmla="*/ 87758 h 321"/>
                <a:gd name="T14" fmla="*/ 89772 w 306"/>
                <a:gd name="T15" fmla="*/ 83084 h 321"/>
                <a:gd name="T16" fmla="*/ 91079 w 306"/>
                <a:gd name="T17" fmla="*/ 76853 h 321"/>
                <a:gd name="T18" fmla="*/ 92822 w 306"/>
                <a:gd name="T19" fmla="*/ 70622 h 321"/>
                <a:gd name="T20" fmla="*/ 100230 w 306"/>
                <a:gd name="T21" fmla="*/ 59198 h 321"/>
                <a:gd name="T22" fmla="*/ 107203 w 306"/>
                <a:gd name="T23" fmla="*/ 48293 h 321"/>
                <a:gd name="T24" fmla="*/ 108946 w 306"/>
                <a:gd name="T25" fmla="*/ 42581 h 321"/>
                <a:gd name="T26" fmla="*/ 110253 w 306"/>
                <a:gd name="T27" fmla="*/ 35830 h 321"/>
                <a:gd name="T28" fmla="*/ 56216 w 306"/>
                <a:gd name="T29" fmla="*/ 35311 h 321"/>
                <a:gd name="T30" fmla="*/ 51858 w 306"/>
                <a:gd name="T31" fmla="*/ 30637 h 321"/>
                <a:gd name="T32" fmla="*/ 48808 w 306"/>
                <a:gd name="T33" fmla="*/ 23367 h 321"/>
                <a:gd name="T34" fmla="*/ 47065 w 306"/>
                <a:gd name="T35" fmla="*/ 14540 h 321"/>
                <a:gd name="T36" fmla="*/ 44014 w 306"/>
                <a:gd name="T37" fmla="*/ 9866 h 321"/>
                <a:gd name="T38" fmla="*/ 39221 w 306"/>
                <a:gd name="T39" fmla="*/ 8828 h 321"/>
                <a:gd name="T40" fmla="*/ 34863 w 306"/>
                <a:gd name="T41" fmla="*/ 6231 h 321"/>
                <a:gd name="T42" fmla="*/ 32684 w 306"/>
                <a:gd name="T43" fmla="*/ 2077 h 321"/>
                <a:gd name="T44" fmla="*/ 28326 w 306"/>
                <a:gd name="T45" fmla="*/ 0 h 321"/>
                <a:gd name="T46" fmla="*/ 21353 w 306"/>
                <a:gd name="T47" fmla="*/ 0 h 321"/>
                <a:gd name="T48" fmla="*/ 14817 w 306"/>
                <a:gd name="T49" fmla="*/ 519 h 321"/>
                <a:gd name="T50" fmla="*/ 9587 w 306"/>
                <a:gd name="T51" fmla="*/ 2596 h 321"/>
                <a:gd name="T52" fmla="*/ 4358 w 306"/>
                <a:gd name="T53" fmla="*/ 7270 h 321"/>
                <a:gd name="T54" fmla="*/ 436 w 306"/>
                <a:gd name="T55" fmla="*/ 12982 h 321"/>
                <a:gd name="T56" fmla="*/ 872 w 306"/>
                <a:gd name="T57" fmla="*/ 18175 h 321"/>
                <a:gd name="T58" fmla="*/ 6537 w 306"/>
                <a:gd name="T59" fmla="*/ 23887 h 321"/>
                <a:gd name="T60" fmla="*/ 15252 w 306"/>
                <a:gd name="T61" fmla="*/ 30118 h 321"/>
                <a:gd name="T62" fmla="*/ 23532 w 306"/>
                <a:gd name="T63" fmla="*/ 34792 h 321"/>
                <a:gd name="T64" fmla="*/ 20482 w 306"/>
                <a:gd name="T65" fmla="*/ 41023 h 321"/>
                <a:gd name="T66" fmla="*/ 10895 w 306"/>
                <a:gd name="T67" fmla="*/ 50370 h 321"/>
                <a:gd name="T68" fmla="*/ 7408 w 306"/>
                <a:gd name="T69" fmla="*/ 55563 h 321"/>
                <a:gd name="T70" fmla="*/ 6101 w 306"/>
                <a:gd name="T71" fmla="*/ 59198 h 321"/>
                <a:gd name="T72" fmla="*/ 6101 w 306"/>
                <a:gd name="T73" fmla="*/ 63352 h 321"/>
                <a:gd name="T74" fmla="*/ 7844 w 306"/>
                <a:gd name="T75" fmla="*/ 66987 h 321"/>
                <a:gd name="T76" fmla="*/ 12202 w 306"/>
                <a:gd name="T77" fmla="*/ 73218 h 321"/>
                <a:gd name="T78" fmla="*/ 20482 w 306"/>
                <a:gd name="T79" fmla="*/ 81007 h 321"/>
                <a:gd name="T80" fmla="*/ 27890 w 306"/>
                <a:gd name="T81" fmla="*/ 85161 h 321"/>
                <a:gd name="T82" fmla="*/ 32684 w 306"/>
                <a:gd name="T83" fmla="*/ 86200 h 321"/>
                <a:gd name="T84" fmla="*/ 46629 w 306"/>
                <a:gd name="T85" fmla="*/ 140724 h 321"/>
                <a:gd name="T86" fmla="*/ 47065 w 306"/>
                <a:gd name="T87" fmla="*/ 136570 h 321"/>
                <a:gd name="T88" fmla="*/ 48808 w 306"/>
                <a:gd name="T89" fmla="*/ 132935 h 321"/>
                <a:gd name="T90" fmla="*/ 55345 w 306"/>
                <a:gd name="T91" fmla="*/ 127742 h 321"/>
                <a:gd name="T92" fmla="*/ 64496 w 306"/>
                <a:gd name="T93" fmla="*/ 124627 h 321"/>
                <a:gd name="T94" fmla="*/ 75826 w 306"/>
                <a:gd name="T95" fmla="*/ 122030 h 321"/>
                <a:gd name="T96" fmla="*/ 75826 w 306"/>
                <a:gd name="T97" fmla="*/ 109048 h 321"/>
                <a:gd name="T98" fmla="*/ 79749 w 306"/>
                <a:gd name="T99" fmla="*/ 110087 h 321"/>
                <a:gd name="T100" fmla="*/ 84106 w 306"/>
                <a:gd name="T101" fmla="*/ 110087 h 321"/>
                <a:gd name="T102" fmla="*/ 92822 w 306"/>
                <a:gd name="T103" fmla="*/ 109048 h 321"/>
                <a:gd name="T104" fmla="*/ 101102 w 306"/>
                <a:gd name="T105" fmla="*/ 135531 h 321"/>
                <a:gd name="T106" fmla="*/ 112868 w 306"/>
                <a:gd name="T107" fmla="*/ 166688 h 321"/>
                <a:gd name="T108" fmla="*/ 118533 w 306"/>
                <a:gd name="T109" fmla="*/ 161495 h 321"/>
                <a:gd name="T110" fmla="*/ 122891 w 306"/>
                <a:gd name="T111" fmla="*/ 156822 h 321"/>
                <a:gd name="T112" fmla="*/ 128556 w 306"/>
                <a:gd name="T113" fmla="*/ 145398 h 321"/>
                <a:gd name="T114" fmla="*/ 133350 w 306"/>
                <a:gd name="T115" fmla="*/ 122030 h 3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6" name="Freeform 276">
              <a:extLst>
                <a:ext uri="{FF2B5EF4-FFF2-40B4-BE49-F238E27FC236}">
                  <a16:creationId xmlns:a16="http://schemas.microsoft.com/office/drawing/2014/main" id="{B30C77FB-B136-4292-933B-55C77C40C928}"/>
                </a:ext>
              </a:extLst>
            </p:cNvPr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7999413" y="2947989"/>
              <a:ext cx="201612" cy="269875"/>
            </a:xfrm>
            <a:custGeom>
              <a:avLst/>
              <a:gdLst>
                <a:gd name="T0" fmla="*/ 40237 w 471"/>
                <a:gd name="T1" fmla="*/ 6252 h 518"/>
                <a:gd name="T2" fmla="*/ 28679 w 471"/>
                <a:gd name="T3" fmla="*/ 16672 h 518"/>
                <a:gd name="T4" fmla="*/ 17122 w 471"/>
                <a:gd name="T5" fmla="*/ 25529 h 518"/>
                <a:gd name="T6" fmla="*/ 11557 w 471"/>
                <a:gd name="T7" fmla="*/ 42722 h 518"/>
                <a:gd name="T8" fmla="*/ 3424 w 471"/>
                <a:gd name="T9" fmla="*/ 61477 h 518"/>
                <a:gd name="T10" fmla="*/ 2996 w 471"/>
                <a:gd name="T11" fmla="*/ 70855 h 518"/>
                <a:gd name="T12" fmla="*/ 12842 w 471"/>
                <a:gd name="T13" fmla="*/ 79712 h 518"/>
                <a:gd name="T14" fmla="*/ 21403 w 471"/>
                <a:gd name="T15" fmla="*/ 87527 h 518"/>
                <a:gd name="T16" fmla="*/ 26539 w 471"/>
                <a:gd name="T17" fmla="*/ 89611 h 518"/>
                <a:gd name="T18" fmla="*/ 32104 w 471"/>
                <a:gd name="T19" fmla="*/ 109930 h 518"/>
                <a:gd name="T20" fmla="*/ 35956 w 471"/>
                <a:gd name="T21" fmla="*/ 141710 h 518"/>
                <a:gd name="T22" fmla="*/ 40237 w 471"/>
                <a:gd name="T23" fmla="*/ 155777 h 518"/>
                <a:gd name="T24" fmla="*/ 44517 w 471"/>
                <a:gd name="T25" fmla="*/ 157340 h 518"/>
                <a:gd name="T26" fmla="*/ 47942 w 471"/>
                <a:gd name="T27" fmla="*/ 154735 h 518"/>
                <a:gd name="T28" fmla="*/ 54791 w 471"/>
                <a:gd name="T29" fmla="*/ 139626 h 518"/>
                <a:gd name="T30" fmla="*/ 62067 w 471"/>
                <a:gd name="T31" fmla="*/ 136500 h 518"/>
                <a:gd name="T32" fmla="*/ 68488 w 471"/>
                <a:gd name="T33" fmla="*/ 141710 h 518"/>
                <a:gd name="T34" fmla="*/ 74053 w 471"/>
                <a:gd name="T35" fmla="*/ 144315 h 518"/>
                <a:gd name="T36" fmla="*/ 78333 w 471"/>
                <a:gd name="T37" fmla="*/ 142752 h 518"/>
                <a:gd name="T38" fmla="*/ 82186 w 471"/>
                <a:gd name="T39" fmla="*/ 134938 h 518"/>
                <a:gd name="T40" fmla="*/ 86894 w 471"/>
                <a:gd name="T41" fmla="*/ 127123 h 518"/>
                <a:gd name="T42" fmla="*/ 90747 w 471"/>
                <a:gd name="T43" fmla="*/ 125560 h 518"/>
                <a:gd name="T44" fmla="*/ 103160 w 471"/>
                <a:gd name="T45" fmla="*/ 128686 h 518"/>
                <a:gd name="T46" fmla="*/ 110865 w 471"/>
                <a:gd name="T47" fmla="*/ 141189 h 518"/>
                <a:gd name="T48" fmla="*/ 131840 w 471"/>
                <a:gd name="T49" fmla="*/ 175054 h 518"/>
                <a:gd name="T50" fmla="*/ 145965 w 471"/>
                <a:gd name="T51" fmla="*/ 199020 h 518"/>
                <a:gd name="T52" fmla="*/ 153242 w 471"/>
                <a:gd name="T53" fmla="*/ 218297 h 518"/>
                <a:gd name="T54" fmla="*/ 156667 w 471"/>
                <a:gd name="T55" fmla="*/ 238094 h 518"/>
                <a:gd name="T56" fmla="*/ 153670 w 471"/>
                <a:gd name="T57" fmla="*/ 244867 h 518"/>
                <a:gd name="T58" fmla="*/ 145109 w 471"/>
                <a:gd name="T59" fmla="*/ 253724 h 518"/>
                <a:gd name="T60" fmla="*/ 155382 w 471"/>
                <a:gd name="T61" fmla="*/ 258413 h 518"/>
                <a:gd name="T62" fmla="*/ 167796 w 471"/>
                <a:gd name="T63" fmla="*/ 269875 h 518"/>
                <a:gd name="T64" fmla="*/ 171648 w 471"/>
                <a:gd name="T65" fmla="*/ 259976 h 518"/>
                <a:gd name="T66" fmla="*/ 176785 w 471"/>
                <a:gd name="T67" fmla="*/ 254766 h 518"/>
                <a:gd name="T68" fmla="*/ 190055 w 471"/>
                <a:gd name="T69" fmla="*/ 251640 h 518"/>
                <a:gd name="T70" fmla="*/ 200328 w 471"/>
                <a:gd name="T71" fmla="*/ 228195 h 518"/>
                <a:gd name="T72" fmla="*/ 192195 w 471"/>
                <a:gd name="T73" fmla="*/ 201625 h 518"/>
                <a:gd name="T74" fmla="*/ 180209 w 471"/>
                <a:gd name="T75" fmla="*/ 180785 h 518"/>
                <a:gd name="T76" fmla="*/ 147678 w 471"/>
                <a:gd name="T77" fmla="*/ 144315 h 518"/>
                <a:gd name="T78" fmla="*/ 119426 w 471"/>
                <a:gd name="T79" fmla="*/ 113577 h 518"/>
                <a:gd name="T80" fmla="*/ 95883 w 471"/>
                <a:gd name="T81" fmla="*/ 84401 h 518"/>
                <a:gd name="T82" fmla="*/ 76621 w 471"/>
                <a:gd name="T83" fmla="*/ 54704 h 518"/>
                <a:gd name="T84" fmla="*/ 54362 w 471"/>
                <a:gd name="T85" fmla="*/ 20840 h 518"/>
                <a:gd name="T86" fmla="*/ 49226 w 471"/>
                <a:gd name="T87" fmla="*/ 7294 h 51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7" name="Freeform 277">
              <a:extLst>
                <a:ext uri="{FF2B5EF4-FFF2-40B4-BE49-F238E27FC236}">
                  <a16:creationId xmlns:a16="http://schemas.microsoft.com/office/drawing/2014/main" id="{4BF25F86-C4B4-4C0D-98A5-6B4EA68A7DDF}"/>
                </a:ext>
              </a:extLst>
            </p:cNvPr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8081963" y="3198814"/>
              <a:ext cx="133350" cy="130175"/>
            </a:xfrm>
            <a:custGeom>
              <a:avLst/>
              <a:gdLst>
                <a:gd name="T0" fmla="*/ 69178 w 293"/>
                <a:gd name="T1" fmla="*/ 10054 h 246"/>
                <a:gd name="T2" fmla="*/ 81466 w 293"/>
                <a:gd name="T3" fmla="*/ 15875 h 246"/>
                <a:gd name="T4" fmla="*/ 89203 w 293"/>
                <a:gd name="T5" fmla="*/ 15875 h 246"/>
                <a:gd name="T6" fmla="*/ 91934 w 293"/>
                <a:gd name="T7" fmla="*/ 9525 h 246"/>
                <a:gd name="T8" fmla="*/ 95575 w 293"/>
                <a:gd name="T9" fmla="*/ 5292 h 246"/>
                <a:gd name="T10" fmla="*/ 99671 w 293"/>
                <a:gd name="T11" fmla="*/ 3175 h 246"/>
                <a:gd name="T12" fmla="*/ 111504 w 293"/>
                <a:gd name="T13" fmla="*/ 1058 h 246"/>
                <a:gd name="T14" fmla="*/ 133350 w 293"/>
                <a:gd name="T15" fmla="*/ 42333 h 246"/>
                <a:gd name="T16" fmla="*/ 121062 w 293"/>
                <a:gd name="T17" fmla="*/ 56621 h 246"/>
                <a:gd name="T18" fmla="*/ 107863 w 293"/>
                <a:gd name="T19" fmla="*/ 74613 h 246"/>
                <a:gd name="T20" fmla="*/ 102402 w 293"/>
                <a:gd name="T21" fmla="*/ 84138 h 246"/>
                <a:gd name="T22" fmla="*/ 97851 w 293"/>
                <a:gd name="T23" fmla="*/ 94192 h 246"/>
                <a:gd name="T24" fmla="*/ 95120 w 293"/>
                <a:gd name="T25" fmla="*/ 104246 h 246"/>
                <a:gd name="T26" fmla="*/ 93755 w 293"/>
                <a:gd name="T27" fmla="*/ 114300 h 246"/>
                <a:gd name="T28" fmla="*/ 89203 w 293"/>
                <a:gd name="T29" fmla="*/ 114829 h 246"/>
                <a:gd name="T30" fmla="*/ 84652 w 293"/>
                <a:gd name="T31" fmla="*/ 116417 h 246"/>
                <a:gd name="T32" fmla="*/ 77370 w 293"/>
                <a:gd name="T33" fmla="*/ 121179 h 246"/>
                <a:gd name="T34" fmla="*/ 70088 w 293"/>
                <a:gd name="T35" fmla="*/ 126471 h 246"/>
                <a:gd name="T36" fmla="*/ 60531 w 293"/>
                <a:gd name="T37" fmla="*/ 130175 h 246"/>
                <a:gd name="T38" fmla="*/ 46422 w 293"/>
                <a:gd name="T39" fmla="*/ 127000 h 246"/>
                <a:gd name="T40" fmla="*/ 32313 w 293"/>
                <a:gd name="T41" fmla="*/ 122767 h 246"/>
                <a:gd name="T42" fmla="*/ 26852 w 293"/>
                <a:gd name="T43" fmla="*/ 119592 h 246"/>
                <a:gd name="T44" fmla="*/ 22301 w 293"/>
                <a:gd name="T45" fmla="*/ 116417 h 246"/>
                <a:gd name="T46" fmla="*/ 19570 w 293"/>
                <a:gd name="T47" fmla="*/ 112183 h 246"/>
                <a:gd name="T48" fmla="*/ 18660 w 293"/>
                <a:gd name="T49" fmla="*/ 107950 h 246"/>
                <a:gd name="T50" fmla="*/ 21391 w 293"/>
                <a:gd name="T51" fmla="*/ 94192 h 246"/>
                <a:gd name="T52" fmla="*/ 20480 w 293"/>
                <a:gd name="T53" fmla="*/ 85725 h 246"/>
                <a:gd name="T54" fmla="*/ 18205 w 293"/>
                <a:gd name="T55" fmla="*/ 77788 h 246"/>
                <a:gd name="T56" fmla="*/ 10923 w 293"/>
                <a:gd name="T57" fmla="*/ 62971 h 246"/>
                <a:gd name="T58" fmla="*/ 3641 w 293"/>
                <a:gd name="T59" fmla="*/ 48154 h 246"/>
                <a:gd name="T60" fmla="*/ 910 w 293"/>
                <a:gd name="T61" fmla="*/ 39158 h 246"/>
                <a:gd name="T62" fmla="*/ 0 w 293"/>
                <a:gd name="T63" fmla="*/ 29104 h 246"/>
                <a:gd name="T64" fmla="*/ 910 w 293"/>
                <a:gd name="T65" fmla="*/ 23813 h 246"/>
                <a:gd name="T66" fmla="*/ 3641 w 293"/>
                <a:gd name="T67" fmla="*/ 19050 h 246"/>
                <a:gd name="T68" fmla="*/ 7737 w 293"/>
                <a:gd name="T69" fmla="*/ 15346 h 246"/>
                <a:gd name="T70" fmla="*/ 11833 w 293"/>
                <a:gd name="T71" fmla="*/ 11642 h 246"/>
                <a:gd name="T72" fmla="*/ 21846 w 293"/>
                <a:gd name="T73" fmla="*/ 7408 h 246"/>
                <a:gd name="T74" fmla="*/ 30493 w 293"/>
                <a:gd name="T75" fmla="*/ 6350 h 246"/>
                <a:gd name="T76" fmla="*/ 43691 w 293"/>
                <a:gd name="T77" fmla="*/ 6350 h 246"/>
                <a:gd name="T78" fmla="*/ 60531 w 293"/>
                <a:gd name="T79" fmla="*/ 6350 h 2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8" name="Freeform 278">
              <a:extLst>
                <a:ext uri="{FF2B5EF4-FFF2-40B4-BE49-F238E27FC236}">
                  <a16:creationId xmlns:a16="http://schemas.microsoft.com/office/drawing/2014/main" id="{8C8CDD23-A5DE-495D-ACA7-C78C52861209}"/>
                </a:ext>
              </a:extLst>
            </p:cNvPr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8483601" y="2435226"/>
              <a:ext cx="85725" cy="130175"/>
            </a:xfrm>
            <a:custGeom>
              <a:avLst/>
              <a:gdLst>
                <a:gd name="T0" fmla="*/ 7715 w 200"/>
                <a:gd name="T1" fmla="*/ 21696 h 246"/>
                <a:gd name="T2" fmla="*/ 12002 w 200"/>
                <a:gd name="T3" fmla="*/ 13758 h 246"/>
                <a:gd name="T4" fmla="*/ 16288 w 200"/>
                <a:gd name="T5" fmla="*/ 8467 h 246"/>
                <a:gd name="T6" fmla="*/ 21431 w 200"/>
                <a:gd name="T7" fmla="*/ 4763 h 246"/>
                <a:gd name="T8" fmla="*/ 31290 w 200"/>
                <a:gd name="T9" fmla="*/ 529 h 246"/>
                <a:gd name="T10" fmla="*/ 37719 w 200"/>
                <a:gd name="T11" fmla="*/ 6350 h 246"/>
                <a:gd name="T12" fmla="*/ 46292 w 200"/>
                <a:gd name="T13" fmla="*/ 17992 h 246"/>
                <a:gd name="T14" fmla="*/ 53578 w 200"/>
                <a:gd name="T15" fmla="*/ 26458 h 246"/>
                <a:gd name="T16" fmla="*/ 59579 w 200"/>
                <a:gd name="T17" fmla="*/ 30692 h 246"/>
                <a:gd name="T18" fmla="*/ 65151 w 200"/>
                <a:gd name="T19" fmla="*/ 33867 h 246"/>
                <a:gd name="T20" fmla="*/ 71152 w 200"/>
                <a:gd name="T21" fmla="*/ 35454 h 246"/>
                <a:gd name="T22" fmla="*/ 78867 w 200"/>
                <a:gd name="T23" fmla="*/ 50800 h 246"/>
                <a:gd name="T24" fmla="*/ 83582 w 200"/>
                <a:gd name="T25" fmla="*/ 72496 h 246"/>
                <a:gd name="T26" fmla="*/ 85296 w 200"/>
                <a:gd name="T27" fmla="*/ 87313 h 246"/>
                <a:gd name="T28" fmla="*/ 85725 w 200"/>
                <a:gd name="T29" fmla="*/ 97896 h 246"/>
                <a:gd name="T30" fmla="*/ 84868 w 200"/>
                <a:gd name="T31" fmla="*/ 104246 h 246"/>
                <a:gd name="T32" fmla="*/ 83582 w 200"/>
                <a:gd name="T33" fmla="*/ 109537 h 246"/>
                <a:gd name="T34" fmla="*/ 81010 w 200"/>
                <a:gd name="T35" fmla="*/ 113242 h 246"/>
                <a:gd name="T36" fmla="*/ 76724 w 200"/>
                <a:gd name="T37" fmla="*/ 116417 h 246"/>
                <a:gd name="T38" fmla="*/ 70295 w 200"/>
                <a:gd name="T39" fmla="*/ 118533 h 246"/>
                <a:gd name="T40" fmla="*/ 60008 w 200"/>
                <a:gd name="T41" fmla="*/ 118533 h 246"/>
                <a:gd name="T42" fmla="*/ 50578 w 200"/>
                <a:gd name="T43" fmla="*/ 121179 h 246"/>
                <a:gd name="T44" fmla="*/ 47577 w 200"/>
                <a:gd name="T45" fmla="*/ 124354 h 246"/>
                <a:gd name="T46" fmla="*/ 46292 w 200"/>
                <a:gd name="T47" fmla="*/ 128058 h 246"/>
                <a:gd name="T48" fmla="*/ 42005 w 200"/>
                <a:gd name="T49" fmla="*/ 129646 h 246"/>
                <a:gd name="T50" fmla="*/ 36433 w 200"/>
                <a:gd name="T51" fmla="*/ 127000 h 246"/>
                <a:gd name="T52" fmla="*/ 33004 w 200"/>
                <a:gd name="T53" fmla="*/ 121708 h 246"/>
                <a:gd name="T54" fmla="*/ 31290 w 200"/>
                <a:gd name="T55" fmla="*/ 114300 h 246"/>
                <a:gd name="T56" fmla="*/ 30861 w 200"/>
                <a:gd name="T57" fmla="*/ 101600 h 246"/>
                <a:gd name="T58" fmla="*/ 30432 w 200"/>
                <a:gd name="T59" fmla="*/ 88900 h 246"/>
                <a:gd name="T60" fmla="*/ 29575 w 200"/>
                <a:gd name="T61" fmla="*/ 81492 h 246"/>
                <a:gd name="T62" fmla="*/ 27432 w 200"/>
                <a:gd name="T63" fmla="*/ 75142 h 246"/>
                <a:gd name="T64" fmla="*/ 24003 w 200"/>
                <a:gd name="T65" fmla="*/ 70908 h 246"/>
                <a:gd name="T66" fmla="*/ 17145 w 200"/>
                <a:gd name="T67" fmla="*/ 66146 h 246"/>
                <a:gd name="T68" fmla="*/ 7715 w 200"/>
                <a:gd name="T69" fmla="*/ 60854 h 246"/>
                <a:gd name="T70" fmla="*/ 2572 w 200"/>
                <a:gd name="T71" fmla="*/ 56092 h 246"/>
                <a:gd name="T72" fmla="*/ 429 w 200"/>
                <a:gd name="T73" fmla="*/ 51858 h 246"/>
                <a:gd name="T74" fmla="*/ 429 w 200"/>
                <a:gd name="T75" fmla="*/ 46038 h 246"/>
                <a:gd name="T76" fmla="*/ 2143 w 200"/>
                <a:gd name="T77" fmla="*/ 41275 h 246"/>
                <a:gd name="T78" fmla="*/ 4286 w 200"/>
                <a:gd name="T79" fmla="*/ 35983 h 246"/>
                <a:gd name="T80" fmla="*/ 5572 w 200"/>
                <a:gd name="T81" fmla="*/ 29633 h 24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9" name="Freeform 279">
              <a:extLst>
                <a:ext uri="{FF2B5EF4-FFF2-40B4-BE49-F238E27FC236}">
                  <a16:creationId xmlns:a16="http://schemas.microsoft.com/office/drawing/2014/main" id="{75964834-4CDC-4C59-BE89-B2CBDA0D8B1A}"/>
                </a:ext>
              </a:extLst>
            </p:cNvPr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9051926" y="3732213"/>
              <a:ext cx="231775" cy="254000"/>
            </a:xfrm>
            <a:custGeom>
              <a:avLst/>
              <a:gdLst>
                <a:gd name="T0" fmla="*/ 39204 w 538"/>
                <a:gd name="T1" fmla="*/ 10953 h 487"/>
                <a:gd name="T2" fmla="*/ 68929 w 538"/>
                <a:gd name="T3" fmla="*/ 24513 h 487"/>
                <a:gd name="T4" fmla="*/ 87023 w 538"/>
                <a:gd name="T5" fmla="*/ 36509 h 487"/>
                <a:gd name="T6" fmla="*/ 108995 w 538"/>
                <a:gd name="T7" fmla="*/ 57372 h 487"/>
                <a:gd name="T8" fmla="*/ 129243 w 538"/>
                <a:gd name="T9" fmla="*/ 70932 h 487"/>
                <a:gd name="T10" fmla="*/ 128812 w 538"/>
                <a:gd name="T11" fmla="*/ 83971 h 487"/>
                <a:gd name="T12" fmla="*/ 149491 w 538"/>
                <a:gd name="T13" fmla="*/ 106920 h 487"/>
                <a:gd name="T14" fmla="*/ 169308 w 538"/>
                <a:gd name="T15" fmla="*/ 129347 h 487"/>
                <a:gd name="T16" fmla="*/ 163276 w 538"/>
                <a:gd name="T17" fmla="*/ 130390 h 487"/>
                <a:gd name="T18" fmla="*/ 160261 w 538"/>
                <a:gd name="T19" fmla="*/ 133520 h 487"/>
                <a:gd name="T20" fmla="*/ 160261 w 538"/>
                <a:gd name="T21" fmla="*/ 144994 h 487"/>
                <a:gd name="T22" fmla="*/ 162415 w 538"/>
                <a:gd name="T23" fmla="*/ 156990 h 487"/>
                <a:gd name="T24" fmla="*/ 167585 w 538"/>
                <a:gd name="T25" fmla="*/ 169507 h 487"/>
                <a:gd name="T26" fmla="*/ 175339 w 538"/>
                <a:gd name="T27" fmla="*/ 181503 h 487"/>
                <a:gd name="T28" fmla="*/ 184386 w 538"/>
                <a:gd name="T29" fmla="*/ 190891 h 487"/>
                <a:gd name="T30" fmla="*/ 194295 w 538"/>
                <a:gd name="T31" fmla="*/ 196107 h 487"/>
                <a:gd name="T32" fmla="*/ 198603 w 538"/>
                <a:gd name="T33" fmla="*/ 203409 h 487"/>
                <a:gd name="T34" fmla="*/ 203342 w 538"/>
                <a:gd name="T35" fmla="*/ 211754 h 487"/>
                <a:gd name="T36" fmla="*/ 210665 w 538"/>
                <a:gd name="T37" fmla="*/ 217491 h 487"/>
                <a:gd name="T38" fmla="*/ 221005 w 538"/>
                <a:gd name="T39" fmla="*/ 225314 h 487"/>
                <a:gd name="T40" fmla="*/ 223159 w 538"/>
                <a:gd name="T41" fmla="*/ 231573 h 487"/>
                <a:gd name="T42" fmla="*/ 226174 w 538"/>
                <a:gd name="T43" fmla="*/ 234702 h 487"/>
                <a:gd name="T44" fmla="*/ 231775 w 538"/>
                <a:gd name="T45" fmla="*/ 237832 h 487"/>
                <a:gd name="T46" fmla="*/ 230052 w 538"/>
                <a:gd name="T47" fmla="*/ 246177 h 487"/>
                <a:gd name="T48" fmla="*/ 223590 w 538"/>
                <a:gd name="T49" fmla="*/ 252435 h 487"/>
                <a:gd name="T50" fmla="*/ 211096 w 538"/>
                <a:gd name="T51" fmla="*/ 254000 h 487"/>
                <a:gd name="T52" fmla="*/ 193002 w 538"/>
                <a:gd name="T53" fmla="*/ 250349 h 487"/>
                <a:gd name="T54" fmla="*/ 178355 w 538"/>
                <a:gd name="T55" fmla="*/ 243047 h 487"/>
                <a:gd name="T56" fmla="*/ 166292 w 538"/>
                <a:gd name="T57" fmla="*/ 232616 h 487"/>
                <a:gd name="T58" fmla="*/ 152937 w 538"/>
                <a:gd name="T59" fmla="*/ 216448 h 487"/>
                <a:gd name="T60" fmla="*/ 134412 w 538"/>
                <a:gd name="T61" fmla="*/ 190370 h 487"/>
                <a:gd name="T62" fmla="*/ 118042 w 538"/>
                <a:gd name="T63" fmla="*/ 172115 h 487"/>
                <a:gd name="T64" fmla="*/ 105979 w 538"/>
                <a:gd name="T65" fmla="*/ 164813 h 487"/>
                <a:gd name="T66" fmla="*/ 91331 w 538"/>
                <a:gd name="T67" fmla="*/ 161162 h 487"/>
                <a:gd name="T68" fmla="*/ 77546 w 538"/>
                <a:gd name="T69" fmla="*/ 161684 h 487"/>
                <a:gd name="T70" fmla="*/ 65914 w 538"/>
                <a:gd name="T71" fmla="*/ 165335 h 487"/>
                <a:gd name="T72" fmla="*/ 48681 w 538"/>
                <a:gd name="T73" fmla="*/ 179938 h 487"/>
                <a:gd name="T74" fmla="*/ 58590 w 538"/>
                <a:gd name="T75" fmla="*/ 188283 h 487"/>
                <a:gd name="T76" fmla="*/ 60313 w 538"/>
                <a:gd name="T77" fmla="*/ 192977 h 487"/>
                <a:gd name="T78" fmla="*/ 53420 w 538"/>
                <a:gd name="T79" fmla="*/ 209146 h 487"/>
                <a:gd name="T80" fmla="*/ 48681 w 538"/>
                <a:gd name="T81" fmla="*/ 215926 h 487"/>
                <a:gd name="T82" fmla="*/ 20248 w 538"/>
                <a:gd name="T83" fmla="*/ 210189 h 487"/>
                <a:gd name="T84" fmla="*/ 8616 w 538"/>
                <a:gd name="T85" fmla="*/ 135084 h 487"/>
                <a:gd name="T86" fmla="*/ 8616 w 538"/>
                <a:gd name="T87" fmla="*/ 0 h 48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60" name="Freeform 280">
              <a:extLst>
                <a:ext uri="{FF2B5EF4-FFF2-40B4-BE49-F238E27FC236}">
                  <a16:creationId xmlns:a16="http://schemas.microsoft.com/office/drawing/2014/main" id="{CDC4E3D1-2072-47CF-9822-FB6884196E5C}"/>
                </a:ext>
              </a:extLst>
            </p:cNvPr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9244013" y="3716339"/>
              <a:ext cx="106362" cy="128587"/>
            </a:xfrm>
            <a:custGeom>
              <a:avLst/>
              <a:gdLst>
                <a:gd name="T0" fmla="*/ 57175 w 253"/>
                <a:gd name="T1" fmla="*/ 523 h 246"/>
                <a:gd name="T2" fmla="*/ 66003 w 253"/>
                <a:gd name="T3" fmla="*/ 4182 h 246"/>
                <a:gd name="T4" fmla="*/ 75252 w 253"/>
                <a:gd name="T5" fmla="*/ 10977 h 246"/>
                <a:gd name="T6" fmla="*/ 83660 w 253"/>
                <a:gd name="T7" fmla="*/ 19340 h 246"/>
                <a:gd name="T8" fmla="*/ 91648 w 253"/>
                <a:gd name="T9" fmla="*/ 29795 h 246"/>
                <a:gd name="T10" fmla="*/ 98374 w 253"/>
                <a:gd name="T11" fmla="*/ 39726 h 246"/>
                <a:gd name="T12" fmla="*/ 102999 w 253"/>
                <a:gd name="T13" fmla="*/ 49135 h 246"/>
                <a:gd name="T14" fmla="*/ 105942 w 253"/>
                <a:gd name="T15" fmla="*/ 58021 h 246"/>
                <a:gd name="T16" fmla="*/ 105942 w 253"/>
                <a:gd name="T17" fmla="*/ 66907 h 246"/>
                <a:gd name="T18" fmla="*/ 102158 w 253"/>
                <a:gd name="T19" fmla="*/ 78929 h 246"/>
                <a:gd name="T20" fmla="*/ 96272 w 253"/>
                <a:gd name="T21" fmla="*/ 90952 h 246"/>
                <a:gd name="T22" fmla="*/ 87864 w 253"/>
                <a:gd name="T23" fmla="*/ 101929 h 246"/>
                <a:gd name="T24" fmla="*/ 77354 w 253"/>
                <a:gd name="T25" fmla="*/ 111860 h 246"/>
                <a:gd name="T26" fmla="*/ 66003 w 253"/>
                <a:gd name="T27" fmla="*/ 119701 h 246"/>
                <a:gd name="T28" fmla="*/ 54232 w 253"/>
                <a:gd name="T29" fmla="*/ 125451 h 246"/>
                <a:gd name="T30" fmla="*/ 42040 w 253"/>
                <a:gd name="T31" fmla="*/ 128064 h 246"/>
                <a:gd name="T32" fmla="*/ 31110 w 253"/>
                <a:gd name="T33" fmla="*/ 128064 h 246"/>
                <a:gd name="T34" fmla="*/ 22281 w 253"/>
                <a:gd name="T35" fmla="*/ 125451 h 246"/>
                <a:gd name="T36" fmla="*/ 13873 w 253"/>
                <a:gd name="T37" fmla="*/ 122314 h 246"/>
                <a:gd name="T38" fmla="*/ 4624 w 253"/>
                <a:gd name="T39" fmla="*/ 119701 h 246"/>
                <a:gd name="T40" fmla="*/ 1261 w 253"/>
                <a:gd name="T41" fmla="*/ 114474 h 246"/>
                <a:gd name="T42" fmla="*/ 4204 w 253"/>
                <a:gd name="T43" fmla="*/ 107156 h 246"/>
                <a:gd name="T44" fmla="*/ 9249 w 253"/>
                <a:gd name="T45" fmla="*/ 102451 h 246"/>
                <a:gd name="T46" fmla="*/ 15555 w 253"/>
                <a:gd name="T47" fmla="*/ 99838 h 246"/>
                <a:gd name="T48" fmla="*/ 21020 w 253"/>
                <a:gd name="T49" fmla="*/ 102974 h 246"/>
                <a:gd name="T50" fmla="*/ 25224 w 253"/>
                <a:gd name="T51" fmla="*/ 108201 h 246"/>
                <a:gd name="T52" fmla="*/ 28587 w 253"/>
                <a:gd name="T53" fmla="*/ 105065 h 246"/>
                <a:gd name="T54" fmla="*/ 31530 w 253"/>
                <a:gd name="T55" fmla="*/ 99315 h 246"/>
                <a:gd name="T56" fmla="*/ 35314 w 253"/>
                <a:gd name="T57" fmla="*/ 94088 h 246"/>
                <a:gd name="T58" fmla="*/ 38257 w 253"/>
                <a:gd name="T59" fmla="*/ 94611 h 246"/>
                <a:gd name="T60" fmla="*/ 41200 w 253"/>
                <a:gd name="T61" fmla="*/ 93565 h 246"/>
                <a:gd name="T62" fmla="*/ 44563 w 253"/>
                <a:gd name="T63" fmla="*/ 93043 h 246"/>
                <a:gd name="T64" fmla="*/ 50448 w 253"/>
                <a:gd name="T65" fmla="*/ 90952 h 246"/>
                <a:gd name="T66" fmla="*/ 62640 w 253"/>
                <a:gd name="T67" fmla="*/ 85725 h 246"/>
                <a:gd name="T68" fmla="*/ 75252 w 253"/>
                <a:gd name="T69" fmla="*/ 76839 h 246"/>
                <a:gd name="T70" fmla="*/ 82819 w 253"/>
                <a:gd name="T71" fmla="*/ 70566 h 246"/>
                <a:gd name="T72" fmla="*/ 88285 w 253"/>
                <a:gd name="T73" fmla="*/ 64294 h 246"/>
                <a:gd name="T74" fmla="*/ 91648 w 253"/>
                <a:gd name="T75" fmla="*/ 58021 h 246"/>
                <a:gd name="T76" fmla="*/ 92068 w 253"/>
                <a:gd name="T77" fmla="*/ 51226 h 246"/>
                <a:gd name="T78" fmla="*/ 89966 w 253"/>
                <a:gd name="T79" fmla="*/ 45999 h 246"/>
                <a:gd name="T80" fmla="*/ 88285 w 253"/>
                <a:gd name="T81" fmla="*/ 41817 h 246"/>
                <a:gd name="T82" fmla="*/ 87023 w 253"/>
                <a:gd name="T83" fmla="*/ 37635 h 246"/>
                <a:gd name="T84" fmla="*/ 84501 w 253"/>
                <a:gd name="T85" fmla="*/ 35022 h 246"/>
                <a:gd name="T86" fmla="*/ 80297 w 253"/>
                <a:gd name="T87" fmla="*/ 33976 h 246"/>
                <a:gd name="T88" fmla="*/ 77354 w 253"/>
                <a:gd name="T89" fmla="*/ 31885 h 246"/>
                <a:gd name="T90" fmla="*/ 75673 w 253"/>
                <a:gd name="T91" fmla="*/ 28226 h 246"/>
                <a:gd name="T92" fmla="*/ 58856 w 253"/>
                <a:gd name="T93" fmla="*/ 25613 h 246"/>
                <a:gd name="T94" fmla="*/ 57175 w 253"/>
                <a:gd name="T95" fmla="*/ 22999 h 246"/>
                <a:gd name="T96" fmla="*/ 57175 w 253"/>
                <a:gd name="T97" fmla="*/ 18818 h 246"/>
                <a:gd name="T98" fmla="*/ 58856 w 253"/>
                <a:gd name="T99" fmla="*/ 9409 h 246"/>
                <a:gd name="T100" fmla="*/ 46244 w 253"/>
                <a:gd name="T101" fmla="*/ 5750 h 246"/>
                <a:gd name="T102" fmla="*/ 40779 w 253"/>
                <a:gd name="T103" fmla="*/ 6273 h 246"/>
                <a:gd name="T104" fmla="*/ 36155 w 253"/>
                <a:gd name="T105" fmla="*/ 9409 h 246"/>
                <a:gd name="T106" fmla="*/ 43722 w 253"/>
                <a:gd name="T107" fmla="*/ 2614 h 246"/>
                <a:gd name="T108" fmla="*/ 47506 w 253"/>
                <a:gd name="T109" fmla="*/ 523 h 246"/>
                <a:gd name="T110" fmla="*/ 53391 w 253"/>
                <a:gd name="T111" fmla="*/ 0 h 24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61" name="Freeform 281">
              <a:extLst>
                <a:ext uri="{FF2B5EF4-FFF2-40B4-BE49-F238E27FC236}">
                  <a16:creationId xmlns:a16="http://schemas.microsoft.com/office/drawing/2014/main" id="{0143345E-A212-48D9-BA5B-8F548C9A69C3}"/>
                </a:ext>
              </a:extLst>
            </p:cNvPr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7519988" y="3349626"/>
              <a:ext cx="63500" cy="119063"/>
            </a:xfrm>
            <a:custGeom>
              <a:avLst/>
              <a:gdLst>
                <a:gd name="T0" fmla="*/ 18465 w 141"/>
                <a:gd name="T1" fmla="*/ 119063 h 228"/>
                <a:gd name="T2" fmla="*/ 16213 w 141"/>
                <a:gd name="T3" fmla="*/ 114885 h 228"/>
                <a:gd name="T4" fmla="*/ 13060 w 141"/>
                <a:gd name="T5" fmla="*/ 108619 h 228"/>
                <a:gd name="T6" fmla="*/ 9908 w 141"/>
                <a:gd name="T7" fmla="*/ 101308 h 228"/>
                <a:gd name="T8" fmla="*/ 7206 w 141"/>
                <a:gd name="T9" fmla="*/ 92953 h 228"/>
                <a:gd name="T10" fmla="*/ 4504 w 141"/>
                <a:gd name="T11" fmla="*/ 85120 h 228"/>
                <a:gd name="T12" fmla="*/ 2252 w 141"/>
                <a:gd name="T13" fmla="*/ 77287 h 228"/>
                <a:gd name="T14" fmla="*/ 901 w 141"/>
                <a:gd name="T15" fmla="*/ 70498 h 228"/>
                <a:gd name="T16" fmla="*/ 0 w 141"/>
                <a:gd name="T17" fmla="*/ 64231 h 228"/>
                <a:gd name="T18" fmla="*/ 901 w 141"/>
                <a:gd name="T19" fmla="*/ 54309 h 228"/>
                <a:gd name="T20" fmla="*/ 1801 w 141"/>
                <a:gd name="T21" fmla="*/ 45432 h 228"/>
                <a:gd name="T22" fmla="*/ 2702 w 141"/>
                <a:gd name="T23" fmla="*/ 36554 h 228"/>
                <a:gd name="T24" fmla="*/ 4053 w 141"/>
                <a:gd name="T25" fmla="*/ 28721 h 228"/>
                <a:gd name="T26" fmla="*/ 8106 w 141"/>
                <a:gd name="T27" fmla="*/ 14622 h 228"/>
                <a:gd name="T28" fmla="*/ 12610 w 141"/>
                <a:gd name="T29" fmla="*/ 0 h 228"/>
                <a:gd name="T30" fmla="*/ 20266 w 141"/>
                <a:gd name="T31" fmla="*/ 8355 h 228"/>
                <a:gd name="T32" fmla="*/ 27922 w 141"/>
                <a:gd name="T33" fmla="*/ 14622 h 228"/>
                <a:gd name="T34" fmla="*/ 34227 w 141"/>
                <a:gd name="T35" fmla="*/ 19322 h 228"/>
                <a:gd name="T36" fmla="*/ 40082 w 141"/>
                <a:gd name="T37" fmla="*/ 25066 h 228"/>
                <a:gd name="T38" fmla="*/ 42784 w 141"/>
                <a:gd name="T39" fmla="*/ 28721 h 228"/>
                <a:gd name="T40" fmla="*/ 45486 w 141"/>
                <a:gd name="T41" fmla="*/ 32899 h 228"/>
                <a:gd name="T42" fmla="*/ 48188 w 141"/>
                <a:gd name="T43" fmla="*/ 38643 h 228"/>
                <a:gd name="T44" fmla="*/ 51340 w 141"/>
                <a:gd name="T45" fmla="*/ 44910 h 228"/>
                <a:gd name="T46" fmla="*/ 54043 w 141"/>
                <a:gd name="T47" fmla="*/ 52221 h 228"/>
                <a:gd name="T48" fmla="*/ 57195 w 141"/>
                <a:gd name="T49" fmla="*/ 61098 h 228"/>
                <a:gd name="T50" fmla="*/ 59897 w 141"/>
                <a:gd name="T51" fmla="*/ 72064 h 228"/>
                <a:gd name="T52" fmla="*/ 63500 w 141"/>
                <a:gd name="T53" fmla="*/ 84075 h 228"/>
                <a:gd name="T54" fmla="*/ 63050 w 141"/>
                <a:gd name="T55" fmla="*/ 88253 h 228"/>
                <a:gd name="T56" fmla="*/ 62149 w 141"/>
                <a:gd name="T57" fmla="*/ 92430 h 228"/>
                <a:gd name="T58" fmla="*/ 60798 w 141"/>
                <a:gd name="T59" fmla="*/ 97130 h 228"/>
                <a:gd name="T60" fmla="*/ 58996 w 141"/>
                <a:gd name="T61" fmla="*/ 100264 h 228"/>
                <a:gd name="T62" fmla="*/ 57195 w 141"/>
                <a:gd name="T63" fmla="*/ 103919 h 228"/>
                <a:gd name="T64" fmla="*/ 54493 w 141"/>
                <a:gd name="T65" fmla="*/ 106530 h 228"/>
                <a:gd name="T66" fmla="*/ 51791 w 141"/>
                <a:gd name="T67" fmla="*/ 109141 h 228"/>
                <a:gd name="T68" fmla="*/ 48638 w 141"/>
                <a:gd name="T69" fmla="*/ 111230 h 228"/>
                <a:gd name="T70" fmla="*/ 45035 w 141"/>
                <a:gd name="T71" fmla="*/ 113319 h 228"/>
                <a:gd name="T72" fmla="*/ 41883 w 141"/>
                <a:gd name="T73" fmla="*/ 114885 h 228"/>
                <a:gd name="T74" fmla="*/ 38280 w 141"/>
                <a:gd name="T75" fmla="*/ 116452 h 228"/>
                <a:gd name="T76" fmla="*/ 34227 w 141"/>
                <a:gd name="T77" fmla="*/ 117496 h 228"/>
                <a:gd name="T78" fmla="*/ 26571 w 141"/>
                <a:gd name="T79" fmla="*/ 118541 h 228"/>
                <a:gd name="T80" fmla="*/ 18465 w 141"/>
                <a:gd name="T81" fmla="*/ 119063 h 22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762" name="Group 282">
              <a:extLst>
                <a:ext uri="{FF2B5EF4-FFF2-40B4-BE49-F238E27FC236}">
                  <a16:creationId xmlns:a16="http://schemas.microsoft.com/office/drawing/2014/main" id="{83327940-6720-4705-8969-0152CE2ABA75}"/>
                </a:ext>
              </a:extLst>
            </p:cNvPr>
            <p:cNvGrpSpPr>
              <a:grpSpLocks/>
            </p:cNvGrpSpPr>
            <p:nvPr>
              <p:custDataLst>
                <p:tags r:id="rId209"/>
              </p:custDataLst>
            </p:nvPr>
          </p:nvGrpSpPr>
          <p:grpSpPr bwMode="auto">
            <a:xfrm>
              <a:off x="8459788" y="3060700"/>
              <a:ext cx="233362" cy="439738"/>
              <a:chOff x="5062" y="2295"/>
              <a:chExt cx="177" cy="279"/>
            </a:xfrm>
          </p:grpSpPr>
          <p:sp>
            <p:nvSpPr>
              <p:cNvPr id="1007" name="Freeform 283">
                <a:extLst>
                  <a:ext uri="{FF2B5EF4-FFF2-40B4-BE49-F238E27FC236}">
                    <a16:creationId xmlns:a16="http://schemas.microsoft.com/office/drawing/2014/main" id="{AD5DBCC7-9431-4B6E-BF1E-FC6ED8D90A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12 w 60"/>
                  <a:gd name="T1" fmla="*/ 37 h 110"/>
                  <a:gd name="T2" fmla="*/ 13 w 60"/>
                  <a:gd name="T3" fmla="*/ 37 h 110"/>
                  <a:gd name="T4" fmla="*/ 15 w 60"/>
                  <a:gd name="T5" fmla="*/ 36 h 110"/>
                  <a:gd name="T6" fmla="*/ 16 w 60"/>
                  <a:gd name="T7" fmla="*/ 34 h 110"/>
                  <a:gd name="T8" fmla="*/ 16 w 60"/>
                  <a:gd name="T9" fmla="*/ 32 h 110"/>
                  <a:gd name="T10" fmla="*/ 17 w 60"/>
                  <a:gd name="T11" fmla="*/ 30 h 110"/>
                  <a:gd name="T12" fmla="*/ 18 w 60"/>
                  <a:gd name="T13" fmla="*/ 28 h 110"/>
                  <a:gd name="T14" fmla="*/ 19 w 60"/>
                  <a:gd name="T15" fmla="*/ 26 h 110"/>
                  <a:gd name="T16" fmla="*/ 19 w 60"/>
                  <a:gd name="T17" fmla="*/ 25 h 110"/>
                  <a:gd name="T18" fmla="*/ 19 w 60"/>
                  <a:gd name="T19" fmla="*/ 20 h 110"/>
                  <a:gd name="T20" fmla="*/ 18 w 60"/>
                  <a:gd name="T21" fmla="*/ 16 h 110"/>
                  <a:gd name="T22" fmla="*/ 18 w 60"/>
                  <a:gd name="T23" fmla="*/ 13 h 110"/>
                  <a:gd name="T24" fmla="*/ 17 w 60"/>
                  <a:gd name="T25" fmla="*/ 10 h 110"/>
                  <a:gd name="T26" fmla="*/ 16 w 60"/>
                  <a:gd name="T27" fmla="*/ 7 h 110"/>
                  <a:gd name="T28" fmla="*/ 15 w 60"/>
                  <a:gd name="T29" fmla="*/ 4 h 110"/>
                  <a:gd name="T30" fmla="*/ 14 w 60"/>
                  <a:gd name="T31" fmla="*/ 2 h 110"/>
                  <a:gd name="T32" fmla="*/ 12 w 60"/>
                  <a:gd name="T33" fmla="*/ 0 h 110"/>
                  <a:gd name="T34" fmla="*/ 11 w 60"/>
                  <a:gd name="T35" fmla="*/ 1 h 110"/>
                  <a:gd name="T36" fmla="*/ 10 w 60"/>
                  <a:gd name="T37" fmla="*/ 3 h 110"/>
                  <a:gd name="T38" fmla="*/ 9 w 60"/>
                  <a:gd name="T39" fmla="*/ 4 h 110"/>
                  <a:gd name="T40" fmla="*/ 8 w 60"/>
                  <a:gd name="T41" fmla="*/ 6 h 110"/>
                  <a:gd name="T42" fmla="*/ 6 w 60"/>
                  <a:gd name="T43" fmla="*/ 10 h 110"/>
                  <a:gd name="T44" fmla="*/ 5 w 60"/>
                  <a:gd name="T45" fmla="*/ 13 h 110"/>
                  <a:gd name="T46" fmla="*/ 3 w 60"/>
                  <a:gd name="T47" fmla="*/ 17 h 110"/>
                  <a:gd name="T48" fmla="*/ 2 w 60"/>
                  <a:gd name="T49" fmla="*/ 21 h 110"/>
                  <a:gd name="T50" fmla="*/ 2 w 60"/>
                  <a:gd name="T51" fmla="*/ 22 h 110"/>
                  <a:gd name="T52" fmla="*/ 1 w 60"/>
                  <a:gd name="T53" fmla="*/ 23 h 110"/>
                  <a:gd name="T54" fmla="*/ 1 w 60"/>
                  <a:gd name="T55" fmla="*/ 24 h 110"/>
                  <a:gd name="T56" fmla="*/ 0 w 60"/>
                  <a:gd name="T57" fmla="*/ 25 h 110"/>
                  <a:gd name="T58" fmla="*/ 0 w 60"/>
                  <a:gd name="T59" fmla="*/ 26 h 110"/>
                  <a:gd name="T60" fmla="*/ 1 w 60"/>
                  <a:gd name="T61" fmla="*/ 28 h 110"/>
                  <a:gd name="T62" fmla="*/ 2 w 60"/>
                  <a:gd name="T63" fmla="*/ 30 h 110"/>
                  <a:gd name="T64" fmla="*/ 4 w 60"/>
                  <a:gd name="T65" fmla="*/ 32 h 110"/>
                  <a:gd name="T66" fmla="*/ 6 w 60"/>
                  <a:gd name="T67" fmla="*/ 34 h 110"/>
                  <a:gd name="T68" fmla="*/ 8 w 60"/>
                  <a:gd name="T69" fmla="*/ 36 h 110"/>
                  <a:gd name="T70" fmla="*/ 10 w 60"/>
                  <a:gd name="T71" fmla="*/ 37 h 110"/>
                  <a:gd name="T72" fmla="*/ 12 w 60"/>
                  <a:gd name="T73" fmla="*/ 37 h 11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08" name="Freeform 284">
                <a:extLst>
                  <a:ext uri="{FF2B5EF4-FFF2-40B4-BE49-F238E27FC236}">
                    <a16:creationId xmlns:a16="http://schemas.microsoft.com/office/drawing/2014/main" id="{85F93337-5A2E-4939-8481-7C86B474D3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4 h 75"/>
                  <a:gd name="T2" fmla="*/ 3 w 72"/>
                  <a:gd name="T3" fmla="*/ 6 h 75"/>
                  <a:gd name="T4" fmla="*/ 5 w 72"/>
                  <a:gd name="T5" fmla="*/ 8 h 75"/>
                  <a:gd name="T6" fmla="*/ 8 w 72"/>
                  <a:gd name="T7" fmla="*/ 11 h 75"/>
                  <a:gd name="T8" fmla="*/ 10 w 72"/>
                  <a:gd name="T9" fmla="*/ 13 h 75"/>
                  <a:gd name="T10" fmla="*/ 12 w 72"/>
                  <a:gd name="T11" fmla="*/ 16 h 75"/>
                  <a:gd name="T12" fmla="*/ 14 w 72"/>
                  <a:gd name="T13" fmla="*/ 19 h 75"/>
                  <a:gd name="T14" fmla="*/ 15 w 72"/>
                  <a:gd name="T15" fmla="*/ 22 h 75"/>
                  <a:gd name="T16" fmla="*/ 15 w 72"/>
                  <a:gd name="T17" fmla="*/ 25 h 75"/>
                  <a:gd name="T18" fmla="*/ 24 w 72"/>
                  <a:gd name="T19" fmla="*/ 25 h 75"/>
                  <a:gd name="T20" fmla="*/ 22 w 72"/>
                  <a:gd name="T21" fmla="*/ 17 h 75"/>
                  <a:gd name="T22" fmla="*/ 20 w 72"/>
                  <a:gd name="T23" fmla="*/ 11 h 75"/>
                  <a:gd name="T24" fmla="*/ 20 w 72"/>
                  <a:gd name="T25" fmla="*/ 9 h 75"/>
                  <a:gd name="T26" fmla="*/ 21 w 72"/>
                  <a:gd name="T27" fmla="*/ 6 h 75"/>
                  <a:gd name="T28" fmla="*/ 22 w 72"/>
                  <a:gd name="T29" fmla="*/ 4 h 75"/>
                  <a:gd name="T30" fmla="*/ 24 w 72"/>
                  <a:gd name="T31" fmla="*/ 0 h 75"/>
                  <a:gd name="T32" fmla="*/ 17 w 72"/>
                  <a:gd name="T33" fmla="*/ 0 h 75"/>
                  <a:gd name="T34" fmla="*/ 11 w 72"/>
                  <a:gd name="T35" fmla="*/ 0 h 75"/>
                  <a:gd name="T36" fmla="*/ 7 w 72"/>
                  <a:gd name="T37" fmla="*/ 0 h 75"/>
                  <a:gd name="T38" fmla="*/ 4 w 72"/>
                  <a:gd name="T39" fmla="*/ 1 h 75"/>
                  <a:gd name="T40" fmla="*/ 3 w 72"/>
                  <a:gd name="T41" fmla="*/ 2 h 75"/>
                  <a:gd name="T42" fmla="*/ 2 w 72"/>
                  <a:gd name="T43" fmla="*/ 2 h 75"/>
                  <a:gd name="T44" fmla="*/ 1 w 72"/>
                  <a:gd name="T45" fmla="*/ 3 h 75"/>
                  <a:gd name="T46" fmla="*/ 0 w 72"/>
                  <a:gd name="T47" fmla="*/ 4 h 7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09" name="Freeform 285">
                <a:extLst>
                  <a:ext uri="{FF2B5EF4-FFF2-40B4-BE49-F238E27FC236}">
                    <a16:creationId xmlns:a16="http://schemas.microsoft.com/office/drawing/2014/main" id="{9744D0BD-19B2-4243-9C52-987EC3165B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5 w 15"/>
                  <a:gd name="T1" fmla="*/ 16 h 49"/>
                  <a:gd name="T2" fmla="*/ 5 w 15"/>
                  <a:gd name="T3" fmla="*/ 11 h 49"/>
                  <a:gd name="T4" fmla="*/ 5 w 15"/>
                  <a:gd name="T5" fmla="*/ 6 h 49"/>
                  <a:gd name="T6" fmla="*/ 5 w 15"/>
                  <a:gd name="T7" fmla="*/ 4 h 49"/>
                  <a:gd name="T8" fmla="*/ 4 w 15"/>
                  <a:gd name="T9" fmla="*/ 2 h 49"/>
                  <a:gd name="T10" fmla="*/ 4 w 15"/>
                  <a:gd name="T11" fmla="*/ 1 h 49"/>
                  <a:gd name="T12" fmla="*/ 3 w 15"/>
                  <a:gd name="T13" fmla="*/ 0 h 49"/>
                  <a:gd name="T14" fmla="*/ 1 w 15"/>
                  <a:gd name="T15" fmla="*/ 2 h 49"/>
                  <a:gd name="T16" fmla="*/ 1 w 15"/>
                  <a:gd name="T17" fmla="*/ 5 h 49"/>
                  <a:gd name="T18" fmla="*/ 0 w 15"/>
                  <a:gd name="T19" fmla="*/ 8 h 49"/>
                  <a:gd name="T20" fmla="*/ 0 w 15"/>
                  <a:gd name="T21" fmla="*/ 10 h 49"/>
                  <a:gd name="T22" fmla="*/ 0 w 15"/>
                  <a:gd name="T23" fmla="*/ 12 h 49"/>
                  <a:gd name="T24" fmla="*/ 1 w 15"/>
                  <a:gd name="T25" fmla="*/ 14 h 49"/>
                  <a:gd name="T26" fmla="*/ 2 w 15"/>
                  <a:gd name="T27" fmla="*/ 14 h 49"/>
                  <a:gd name="T28" fmla="*/ 3 w 15"/>
                  <a:gd name="T29" fmla="*/ 15 h 49"/>
                  <a:gd name="T30" fmla="*/ 4 w 15"/>
                  <a:gd name="T31" fmla="*/ 16 h 49"/>
                  <a:gd name="T32" fmla="*/ 5 w 15"/>
                  <a:gd name="T33" fmla="*/ 16 h 4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10" name="Freeform 286">
                <a:extLst>
                  <a:ext uri="{FF2B5EF4-FFF2-40B4-BE49-F238E27FC236}">
                    <a16:creationId xmlns:a16="http://schemas.microsoft.com/office/drawing/2014/main" id="{03976816-8E11-4DBF-9D79-747D185D1C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6 w 47"/>
                  <a:gd name="T1" fmla="*/ 2 h 40"/>
                  <a:gd name="T2" fmla="*/ 0 w 47"/>
                  <a:gd name="T3" fmla="*/ 12 h 40"/>
                  <a:gd name="T4" fmla="*/ 2 w 47"/>
                  <a:gd name="T5" fmla="*/ 13 h 40"/>
                  <a:gd name="T6" fmla="*/ 4 w 47"/>
                  <a:gd name="T7" fmla="*/ 13 h 40"/>
                  <a:gd name="T8" fmla="*/ 6 w 47"/>
                  <a:gd name="T9" fmla="*/ 13 h 40"/>
                  <a:gd name="T10" fmla="*/ 8 w 47"/>
                  <a:gd name="T11" fmla="*/ 12 h 40"/>
                  <a:gd name="T12" fmla="*/ 10 w 47"/>
                  <a:gd name="T13" fmla="*/ 12 h 40"/>
                  <a:gd name="T14" fmla="*/ 12 w 47"/>
                  <a:gd name="T15" fmla="*/ 11 h 40"/>
                  <a:gd name="T16" fmla="*/ 14 w 47"/>
                  <a:gd name="T17" fmla="*/ 10 h 40"/>
                  <a:gd name="T18" fmla="*/ 15 w 47"/>
                  <a:gd name="T19" fmla="*/ 8 h 40"/>
                  <a:gd name="T20" fmla="*/ 15 w 47"/>
                  <a:gd name="T21" fmla="*/ 0 h 40"/>
                  <a:gd name="T22" fmla="*/ 13 w 47"/>
                  <a:gd name="T23" fmla="*/ 0 h 40"/>
                  <a:gd name="T24" fmla="*/ 11 w 47"/>
                  <a:gd name="T25" fmla="*/ 0 h 40"/>
                  <a:gd name="T26" fmla="*/ 8 w 47"/>
                  <a:gd name="T27" fmla="*/ 1 h 40"/>
                  <a:gd name="T28" fmla="*/ 6 w 47"/>
                  <a:gd name="T29" fmla="*/ 2 h 4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11" name="Freeform 287">
                <a:extLst>
                  <a:ext uri="{FF2B5EF4-FFF2-40B4-BE49-F238E27FC236}">
                    <a16:creationId xmlns:a16="http://schemas.microsoft.com/office/drawing/2014/main" id="{0F3E1599-9FF0-4F51-A303-9012F80D1E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1 w 39"/>
                  <a:gd name="T3" fmla="*/ 3 h 31"/>
                  <a:gd name="T4" fmla="*/ 2 w 39"/>
                  <a:gd name="T5" fmla="*/ 4 h 31"/>
                  <a:gd name="T6" fmla="*/ 4 w 39"/>
                  <a:gd name="T7" fmla="*/ 6 h 31"/>
                  <a:gd name="T8" fmla="*/ 6 w 39"/>
                  <a:gd name="T9" fmla="*/ 7 h 31"/>
                  <a:gd name="T10" fmla="*/ 8 w 39"/>
                  <a:gd name="T11" fmla="*/ 8 h 31"/>
                  <a:gd name="T12" fmla="*/ 9 w 39"/>
                  <a:gd name="T13" fmla="*/ 9 h 31"/>
                  <a:gd name="T14" fmla="*/ 11 w 39"/>
                  <a:gd name="T15" fmla="*/ 10 h 31"/>
                  <a:gd name="T16" fmla="*/ 13 w 39"/>
                  <a:gd name="T17" fmla="*/ 10 h 31"/>
                  <a:gd name="T18" fmla="*/ 11 w 39"/>
                  <a:gd name="T19" fmla="*/ 7 h 31"/>
                  <a:gd name="T20" fmla="*/ 8 w 39"/>
                  <a:gd name="T21" fmla="*/ 5 h 31"/>
                  <a:gd name="T22" fmla="*/ 5 w 39"/>
                  <a:gd name="T23" fmla="*/ 2 h 31"/>
                  <a:gd name="T24" fmla="*/ 2 w 39"/>
                  <a:gd name="T25" fmla="*/ 0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12" name="Freeform 288">
                <a:extLst>
                  <a:ext uri="{FF2B5EF4-FFF2-40B4-BE49-F238E27FC236}">
                    <a16:creationId xmlns:a16="http://schemas.microsoft.com/office/drawing/2014/main" id="{A43D5BFB-A8AD-4A4C-BB5F-63A0E78921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10 w 34"/>
                  <a:gd name="T3" fmla="*/ 6 h 19"/>
                  <a:gd name="T4" fmla="*/ 10 w 34"/>
                  <a:gd name="T5" fmla="*/ 0 h 19"/>
                  <a:gd name="T6" fmla="*/ 7 w 34"/>
                  <a:gd name="T7" fmla="*/ 0 h 19"/>
                  <a:gd name="T8" fmla="*/ 4 w 34"/>
                  <a:gd name="T9" fmla="*/ 0 h 19"/>
                  <a:gd name="T10" fmla="*/ 2 w 34"/>
                  <a:gd name="T11" fmla="*/ 0 h 19"/>
                  <a:gd name="T12" fmla="*/ 0 w 34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13" name="Freeform 289">
                <a:extLst>
                  <a:ext uri="{FF2B5EF4-FFF2-40B4-BE49-F238E27FC236}">
                    <a16:creationId xmlns:a16="http://schemas.microsoft.com/office/drawing/2014/main" id="{D10D66BF-EAB5-4472-BB2C-4A399EFAD3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6 w 19"/>
                  <a:gd name="T3" fmla="*/ 4 h 12"/>
                  <a:gd name="T4" fmla="*/ 4 w 19"/>
                  <a:gd name="T5" fmla="*/ 2 h 12"/>
                  <a:gd name="T6" fmla="*/ 2 w 19"/>
                  <a:gd name="T7" fmla="*/ 2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14" name="Freeform 290">
                <a:extLst>
                  <a:ext uri="{FF2B5EF4-FFF2-40B4-BE49-F238E27FC236}">
                    <a16:creationId xmlns:a16="http://schemas.microsoft.com/office/drawing/2014/main" id="{8AEEEA94-9D4D-4ED9-90AA-C60CEAA2C7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38 w 126"/>
                  <a:gd name="T1" fmla="*/ 0 h 166"/>
                  <a:gd name="T2" fmla="*/ 39 w 126"/>
                  <a:gd name="T3" fmla="*/ 2 h 166"/>
                  <a:gd name="T4" fmla="*/ 40 w 126"/>
                  <a:gd name="T5" fmla="*/ 3 h 166"/>
                  <a:gd name="T6" fmla="*/ 41 w 126"/>
                  <a:gd name="T7" fmla="*/ 4 h 166"/>
                  <a:gd name="T8" fmla="*/ 42 w 126"/>
                  <a:gd name="T9" fmla="*/ 6 h 166"/>
                  <a:gd name="T10" fmla="*/ 42 w 126"/>
                  <a:gd name="T11" fmla="*/ 7 h 166"/>
                  <a:gd name="T12" fmla="*/ 42 w 126"/>
                  <a:gd name="T13" fmla="*/ 8 h 166"/>
                  <a:gd name="T14" fmla="*/ 41 w 126"/>
                  <a:gd name="T15" fmla="*/ 11 h 166"/>
                  <a:gd name="T16" fmla="*/ 39 w 126"/>
                  <a:gd name="T17" fmla="*/ 14 h 166"/>
                  <a:gd name="T18" fmla="*/ 38 w 126"/>
                  <a:gd name="T19" fmla="*/ 17 h 166"/>
                  <a:gd name="T20" fmla="*/ 35 w 126"/>
                  <a:gd name="T21" fmla="*/ 20 h 166"/>
                  <a:gd name="T22" fmla="*/ 30 w 126"/>
                  <a:gd name="T23" fmla="*/ 28 h 166"/>
                  <a:gd name="T24" fmla="*/ 24 w 126"/>
                  <a:gd name="T25" fmla="*/ 34 h 166"/>
                  <a:gd name="T26" fmla="*/ 18 w 126"/>
                  <a:gd name="T27" fmla="*/ 42 h 166"/>
                  <a:gd name="T28" fmla="*/ 11 w 126"/>
                  <a:gd name="T29" fmla="*/ 48 h 166"/>
                  <a:gd name="T30" fmla="*/ 8 w 126"/>
                  <a:gd name="T31" fmla="*/ 50 h 166"/>
                  <a:gd name="T32" fmla="*/ 5 w 126"/>
                  <a:gd name="T33" fmla="*/ 52 h 166"/>
                  <a:gd name="T34" fmla="*/ 2 w 126"/>
                  <a:gd name="T35" fmla="*/ 54 h 166"/>
                  <a:gd name="T36" fmla="*/ 0 w 126"/>
                  <a:gd name="T37" fmla="*/ 55 h 166"/>
                  <a:gd name="T38" fmla="*/ 0 w 126"/>
                  <a:gd name="T39" fmla="*/ 53 h 166"/>
                  <a:gd name="T40" fmla="*/ 0 w 126"/>
                  <a:gd name="T41" fmla="*/ 51 h 166"/>
                  <a:gd name="T42" fmla="*/ 0 w 126"/>
                  <a:gd name="T43" fmla="*/ 48 h 166"/>
                  <a:gd name="T44" fmla="*/ 0 w 126"/>
                  <a:gd name="T45" fmla="*/ 45 h 166"/>
                  <a:gd name="T46" fmla="*/ 1 w 126"/>
                  <a:gd name="T47" fmla="*/ 43 h 166"/>
                  <a:gd name="T48" fmla="*/ 2 w 126"/>
                  <a:gd name="T49" fmla="*/ 42 h 166"/>
                  <a:gd name="T50" fmla="*/ 4 w 126"/>
                  <a:gd name="T51" fmla="*/ 41 h 166"/>
                  <a:gd name="T52" fmla="*/ 5 w 126"/>
                  <a:gd name="T53" fmla="*/ 40 h 166"/>
                  <a:gd name="T54" fmla="*/ 9 w 126"/>
                  <a:gd name="T55" fmla="*/ 38 h 166"/>
                  <a:gd name="T56" fmla="*/ 11 w 126"/>
                  <a:gd name="T57" fmla="*/ 36 h 166"/>
                  <a:gd name="T58" fmla="*/ 13 w 126"/>
                  <a:gd name="T59" fmla="*/ 34 h 166"/>
                  <a:gd name="T60" fmla="*/ 16 w 126"/>
                  <a:gd name="T61" fmla="*/ 32 h 166"/>
                  <a:gd name="T62" fmla="*/ 18 w 126"/>
                  <a:gd name="T63" fmla="*/ 29 h 166"/>
                  <a:gd name="T64" fmla="*/ 19 w 126"/>
                  <a:gd name="T65" fmla="*/ 27 h 166"/>
                  <a:gd name="T66" fmla="*/ 22 w 126"/>
                  <a:gd name="T67" fmla="*/ 22 h 166"/>
                  <a:gd name="T68" fmla="*/ 24 w 126"/>
                  <a:gd name="T69" fmla="*/ 17 h 166"/>
                  <a:gd name="T70" fmla="*/ 26 w 126"/>
                  <a:gd name="T71" fmla="*/ 12 h 166"/>
                  <a:gd name="T72" fmla="*/ 29 w 126"/>
                  <a:gd name="T73" fmla="*/ 8 h 166"/>
                  <a:gd name="T74" fmla="*/ 31 w 126"/>
                  <a:gd name="T75" fmla="*/ 5 h 166"/>
                  <a:gd name="T76" fmla="*/ 32 w 126"/>
                  <a:gd name="T77" fmla="*/ 4 h 166"/>
                  <a:gd name="T78" fmla="*/ 35 w 126"/>
                  <a:gd name="T79" fmla="*/ 2 h 166"/>
                  <a:gd name="T80" fmla="*/ 38 w 126"/>
                  <a:gd name="T81" fmla="*/ 0 h 16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15" name="Freeform 291">
                <a:extLst>
                  <a:ext uri="{FF2B5EF4-FFF2-40B4-BE49-F238E27FC236}">
                    <a16:creationId xmlns:a16="http://schemas.microsoft.com/office/drawing/2014/main" id="{1788D7E4-55F8-474A-AB59-9FFDDAE7CD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3 w 259"/>
                  <a:gd name="T1" fmla="*/ 60 h 259"/>
                  <a:gd name="T2" fmla="*/ 0 w 259"/>
                  <a:gd name="T3" fmla="*/ 54 h 259"/>
                  <a:gd name="T4" fmla="*/ 0 w 259"/>
                  <a:gd name="T5" fmla="*/ 47 h 259"/>
                  <a:gd name="T6" fmla="*/ 2 w 259"/>
                  <a:gd name="T7" fmla="*/ 43 h 259"/>
                  <a:gd name="T8" fmla="*/ 6 w 259"/>
                  <a:gd name="T9" fmla="*/ 42 h 259"/>
                  <a:gd name="T10" fmla="*/ 11 w 259"/>
                  <a:gd name="T11" fmla="*/ 39 h 259"/>
                  <a:gd name="T12" fmla="*/ 16 w 259"/>
                  <a:gd name="T13" fmla="*/ 33 h 259"/>
                  <a:gd name="T14" fmla="*/ 20 w 259"/>
                  <a:gd name="T15" fmla="*/ 30 h 259"/>
                  <a:gd name="T16" fmla="*/ 22 w 259"/>
                  <a:gd name="T17" fmla="*/ 29 h 259"/>
                  <a:gd name="T18" fmla="*/ 27 w 259"/>
                  <a:gd name="T19" fmla="*/ 29 h 259"/>
                  <a:gd name="T20" fmla="*/ 31 w 259"/>
                  <a:gd name="T21" fmla="*/ 31 h 259"/>
                  <a:gd name="T22" fmla="*/ 33 w 259"/>
                  <a:gd name="T23" fmla="*/ 35 h 259"/>
                  <a:gd name="T24" fmla="*/ 35 w 259"/>
                  <a:gd name="T25" fmla="*/ 37 h 259"/>
                  <a:gd name="T26" fmla="*/ 39 w 259"/>
                  <a:gd name="T27" fmla="*/ 37 h 259"/>
                  <a:gd name="T28" fmla="*/ 44 w 259"/>
                  <a:gd name="T29" fmla="*/ 35 h 259"/>
                  <a:gd name="T30" fmla="*/ 49 w 259"/>
                  <a:gd name="T31" fmla="*/ 31 h 259"/>
                  <a:gd name="T32" fmla="*/ 53 w 259"/>
                  <a:gd name="T33" fmla="*/ 26 h 259"/>
                  <a:gd name="T34" fmla="*/ 57 w 259"/>
                  <a:gd name="T35" fmla="*/ 17 h 259"/>
                  <a:gd name="T36" fmla="*/ 62 w 259"/>
                  <a:gd name="T37" fmla="*/ 5 h 259"/>
                  <a:gd name="T38" fmla="*/ 64 w 259"/>
                  <a:gd name="T39" fmla="*/ 1 h 259"/>
                  <a:gd name="T40" fmla="*/ 66 w 259"/>
                  <a:gd name="T41" fmla="*/ 4 h 259"/>
                  <a:gd name="T42" fmla="*/ 70 w 259"/>
                  <a:gd name="T43" fmla="*/ 6 h 259"/>
                  <a:gd name="T44" fmla="*/ 72 w 259"/>
                  <a:gd name="T45" fmla="*/ 11 h 259"/>
                  <a:gd name="T46" fmla="*/ 72 w 259"/>
                  <a:gd name="T47" fmla="*/ 17 h 259"/>
                  <a:gd name="T48" fmla="*/ 74 w 259"/>
                  <a:gd name="T49" fmla="*/ 20 h 259"/>
                  <a:gd name="T50" fmla="*/ 77 w 259"/>
                  <a:gd name="T51" fmla="*/ 23 h 259"/>
                  <a:gd name="T52" fmla="*/ 77 w 259"/>
                  <a:gd name="T53" fmla="*/ 29 h 259"/>
                  <a:gd name="T54" fmla="*/ 77 w 259"/>
                  <a:gd name="T55" fmla="*/ 35 h 259"/>
                  <a:gd name="T56" fmla="*/ 78 w 259"/>
                  <a:gd name="T57" fmla="*/ 37 h 259"/>
                  <a:gd name="T58" fmla="*/ 80 w 259"/>
                  <a:gd name="T59" fmla="*/ 40 h 259"/>
                  <a:gd name="T60" fmla="*/ 82 w 259"/>
                  <a:gd name="T61" fmla="*/ 45 h 259"/>
                  <a:gd name="T62" fmla="*/ 83 w 259"/>
                  <a:gd name="T63" fmla="*/ 53 h 259"/>
                  <a:gd name="T64" fmla="*/ 80 w 259"/>
                  <a:gd name="T65" fmla="*/ 78 h 259"/>
                  <a:gd name="T66" fmla="*/ 78 w 259"/>
                  <a:gd name="T67" fmla="*/ 74 h 259"/>
                  <a:gd name="T68" fmla="*/ 78 w 259"/>
                  <a:gd name="T69" fmla="*/ 69 h 259"/>
                  <a:gd name="T70" fmla="*/ 78 w 259"/>
                  <a:gd name="T71" fmla="*/ 64 h 259"/>
                  <a:gd name="T72" fmla="*/ 73 w 259"/>
                  <a:gd name="T73" fmla="*/ 62 h 259"/>
                  <a:gd name="T74" fmla="*/ 68 w 259"/>
                  <a:gd name="T75" fmla="*/ 59 h 259"/>
                  <a:gd name="T76" fmla="*/ 64 w 259"/>
                  <a:gd name="T77" fmla="*/ 66 h 259"/>
                  <a:gd name="T78" fmla="*/ 62 w 259"/>
                  <a:gd name="T79" fmla="*/ 73 h 259"/>
                  <a:gd name="T80" fmla="*/ 61 w 259"/>
                  <a:gd name="T81" fmla="*/ 86 h 259"/>
                  <a:gd name="T82" fmla="*/ 41 w 259"/>
                  <a:gd name="T83" fmla="*/ 80 h 259"/>
                  <a:gd name="T84" fmla="*/ 36 w 259"/>
                  <a:gd name="T85" fmla="*/ 73 h 259"/>
                  <a:gd name="T86" fmla="*/ 32 w 259"/>
                  <a:gd name="T87" fmla="*/ 69 h 259"/>
                  <a:gd name="T88" fmla="*/ 32 w 259"/>
                  <a:gd name="T89" fmla="*/ 65 h 259"/>
                  <a:gd name="T90" fmla="*/ 34 w 259"/>
                  <a:gd name="T91" fmla="*/ 62 h 259"/>
                  <a:gd name="T92" fmla="*/ 37 w 259"/>
                  <a:gd name="T93" fmla="*/ 60 h 259"/>
                  <a:gd name="T94" fmla="*/ 38 w 259"/>
                  <a:gd name="T95" fmla="*/ 57 h 259"/>
                  <a:gd name="T96" fmla="*/ 31 w 259"/>
                  <a:gd name="T97" fmla="*/ 51 h 259"/>
                  <a:gd name="T98" fmla="*/ 9 w 259"/>
                  <a:gd name="T99" fmla="*/ 51 h 259"/>
                  <a:gd name="T100" fmla="*/ 7 w 259"/>
                  <a:gd name="T101" fmla="*/ 54 h 259"/>
                  <a:gd name="T102" fmla="*/ 5 w 259"/>
                  <a:gd name="T103" fmla="*/ 58 h 259"/>
                  <a:gd name="T104" fmla="*/ 4 w 259"/>
                  <a:gd name="T105" fmla="*/ 62 h 25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16" name="Freeform 292">
                <a:extLst>
                  <a:ext uri="{FF2B5EF4-FFF2-40B4-BE49-F238E27FC236}">
                    <a16:creationId xmlns:a16="http://schemas.microsoft.com/office/drawing/2014/main" id="{B1C8B616-8CF6-46E6-9F0F-06CC535EB4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23 w 72"/>
                  <a:gd name="T1" fmla="*/ 14 h 92"/>
                  <a:gd name="T2" fmla="*/ 23 w 72"/>
                  <a:gd name="T3" fmla="*/ 31 h 92"/>
                  <a:gd name="T4" fmla="*/ 21 w 72"/>
                  <a:gd name="T5" fmla="*/ 29 h 92"/>
                  <a:gd name="T6" fmla="*/ 19 w 72"/>
                  <a:gd name="T7" fmla="*/ 27 h 92"/>
                  <a:gd name="T8" fmla="*/ 16 w 72"/>
                  <a:gd name="T9" fmla="*/ 25 h 92"/>
                  <a:gd name="T10" fmla="*/ 15 w 72"/>
                  <a:gd name="T11" fmla="*/ 23 h 92"/>
                  <a:gd name="T12" fmla="*/ 12 w 72"/>
                  <a:gd name="T13" fmla="*/ 20 h 92"/>
                  <a:gd name="T14" fmla="*/ 10 w 72"/>
                  <a:gd name="T15" fmla="*/ 16 h 92"/>
                  <a:gd name="T16" fmla="*/ 8 w 72"/>
                  <a:gd name="T17" fmla="*/ 11 h 92"/>
                  <a:gd name="T18" fmla="*/ 6 w 72"/>
                  <a:gd name="T19" fmla="*/ 8 h 92"/>
                  <a:gd name="T20" fmla="*/ 4 w 72"/>
                  <a:gd name="T21" fmla="*/ 4 h 92"/>
                  <a:gd name="T22" fmla="*/ 0 w 72"/>
                  <a:gd name="T23" fmla="*/ 0 h 92"/>
                  <a:gd name="T24" fmla="*/ 8 w 72"/>
                  <a:gd name="T25" fmla="*/ 4 h 92"/>
                  <a:gd name="T26" fmla="*/ 14 w 72"/>
                  <a:gd name="T27" fmla="*/ 7 h 92"/>
                  <a:gd name="T28" fmla="*/ 16 w 72"/>
                  <a:gd name="T29" fmla="*/ 9 h 92"/>
                  <a:gd name="T30" fmla="*/ 19 w 72"/>
                  <a:gd name="T31" fmla="*/ 10 h 92"/>
                  <a:gd name="T32" fmla="*/ 21 w 72"/>
                  <a:gd name="T33" fmla="*/ 12 h 92"/>
                  <a:gd name="T34" fmla="*/ 23 w 72"/>
                  <a:gd name="T35" fmla="*/ 14 h 9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17" name="Freeform 293">
                <a:extLst>
                  <a:ext uri="{FF2B5EF4-FFF2-40B4-BE49-F238E27FC236}">
                    <a16:creationId xmlns:a16="http://schemas.microsoft.com/office/drawing/2014/main" id="{73B0AF31-DC40-4592-9BF4-74AF71E2A2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2 w 46"/>
                  <a:gd name="T1" fmla="*/ 2 h 62"/>
                  <a:gd name="T2" fmla="*/ 7 w 46"/>
                  <a:gd name="T3" fmla="*/ 2 h 62"/>
                  <a:gd name="T4" fmla="*/ 11 w 46"/>
                  <a:gd name="T5" fmla="*/ 1 h 62"/>
                  <a:gd name="T6" fmla="*/ 14 w 46"/>
                  <a:gd name="T7" fmla="*/ 0 h 62"/>
                  <a:gd name="T8" fmla="*/ 16 w 46"/>
                  <a:gd name="T9" fmla="*/ 0 h 62"/>
                  <a:gd name="T10" fmla="*/ 16 w 46"/>
                  <a:gd name="T11" fmla="*/ 3 h 62"/>
                  <a:gd name="T12" fmla="*/ 16 w 46"/>
                  <a:gd name="T13" fmla="*/ 6 h 62"/>
                  <a:gd name="T14" fmla="*/ 16 w 46"/>
                  <a:gd name="T15" fmla="*/ 9 h 62"/>
                  <a:gd name="T16" fmla="*/ 16 w 46"/>
                  <a:gd name="T17" fmla="*/ 13 h 62"/>
                  <a:gd name="T18" fmla="*/ 16 w 46"/>
                  <a:gd name="T19" fmla="*/ 16 h 62"/>
                  <a:gd name="T20" fmla="*/ 14 w 46"/>
                  <a:gd name="T21" fmla="*/ 18 h 62"/>
                  <a:gd name="T22" fmla="*/ 14 w 46"/>
                  <a:gd name="T23" fmla="*/ 19 h 62"/>
                  <a:gd name="T24" fmla="*/ 13 w 46"/>
                  <a:gd name="T25" fmla="*/ 20 h 62"/>
                  <a:gd name="T26" fmla="*/ 12 w 46"/>
                  <a:gd name="T27" fmla="*/ 21 h 62"/>
                  <a:gd name="T28" fmla="*/ 11 w 46"/>
                  <a:gd name="T29" fmla="*/ 21 h 62"/>
                  <a:gd name="T30" fmla="*/ 9 w 46"/>
                  <a:gd name="T31" fmla="*/ 21 h 62"/>
                  <a:gd name="T32" fmla="*/ 8 w 46"/>
                  <a:gd name="T33" fmla="*/ 20 h 62"/>
                  <a:gd name="T34" fmla="*/ 6 w 46"/>
                  <a:gd name="T35" fmla="*/ 20 h 62"/>
                  <a:gd name="T36" fmla="*/ 5 w 46"/>
                  <a:gd name="T37" fmla="*/ 19 h 62"/>
                  <a:gd name="T38" fmla="*/ 4 w 46"/>
                  <a:gd name="T39" fmla="*/ 18 h 62"/>
                  <a:gd name="T40" fmla="*/ 2 w 46"/>
                  <a:gd name="T41" fmla="*/ 17 h 62"/>
                  <a:gd name="T42" fmla="*/ 2 w 46"/>
                  <a:gd name="T43" fmla="*/ 16 h 62"/>
                  <a:gd name="T44" fmla="*/ 1 w 46"/>
                  <a:gd name="T45" fmla="*/ 15 h 62"/>
                  <a:gd name="T46" fmla="*/ 0 w 46"/>
                  <a:gd name="T47" fmla="*/ 12 h 62"/>
                  <a:gd name="T48" fmla="*/ 0 w 46"/>
                  <a:gd name="T49" fmla="*/ 8 h 62"/>
                  <a:gd name="T50" fmla="*/ 0 w 46"/>
                  <a:gd name="T51" fmla="*/ 5 h 62"/>
                  <a:gd name="T52" fmla="*/ 0 w 46"/>
                  <a:gd name="T53" fmla="*/ 2 h 62"/>
                  <a:gd name="T54" fmla="*/ 2 w 46"/>
                  <a:gd name="T55" fmla="*/ 2 h 62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18" name="Freeform 294">
                <a:extLst>
                  <a:ext uri="{FF2B5EF4-FFF2-40B4-BE49-F238E27FC236}">
                    <a16:creationId xmlns:a16="http://schemas.microsoft.com/office/drawing/2014/main" id="{BFC9C936-1C6E-4165-BE39-D18DB3A0B1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19 w 152"/>
                  <a:gd name="T1" fmla="*/ 0 h 296"/>
                  <a:gd name="T2" fmla="*/ 22 w 152"/>
                  <a:gd name="T3" fmla="*/ 3 h 296"/>
                  <a:gd name="T4" fmla="*/ 25 w 152"/>
                  <a:gd name="T5" fmla="*/ 6 h 296"/>
                  <a:gd name="T6" fmla="*/ 29 w 152"/>
                  <a:gd name="T7" fmla="*/ 8 h 296"/>
                  <a:gd name="T8" fmla="*/ 33 w 152"/>
                  <a:gd name="T9" fmla="*/ 8 h 296"/>
                  <a:gd name="T10" fmla="*/ 36 w 152"/>
                  <a:gd name="T11" fmla="*/ 7 h 296"/>
                  <a:gd name="T12" fmla="*/ 39 w 152"/>
                  <a:gd name="T13" fmla="*/ 4 h 296"/>
                  <a:gd name="T14" fmla="*/ 40 w 152"/>
                  <a:gd name="T15" fmla="*/ 12 h 296"/>
                  <a:gd name="T16" fmla="*/ 43 w 152"/>
                  <a:gd name="T17" fmla="*/ 21 h 296"/>
                  <a:gd name="T18" fmla="*/ 46 w 152"/>
                  <a:gd name="T19" fmla="*/ 28 h 296"/>
                  <a:gd name="T20" fmla="*/ 48 w 152"/>
                  <a:gd name="T21" fmla="*/ 31 h 296"/>
                  <a:gd name="T22" fmla="*/ 50 w 152"/>
                  <a:gd name="T23" fmla="*/ 33 h 296"/>
                  <a:gd name="T24" fmla="*/ 47 w 152"/>
                  <a:gd name="T25" fmla="*/ 40 h 296"/>
                  <a:gd name="T26" fmla="*/ 42 w 152"/>
                  <a:gd name="T27" fmla="*/ 46 h 296"/>
                  <a:gd name="T28" fmla="*/ 38 w 152"/>
                  <a:gd name="T29" fmla="*/ 52 h 296"/>
                  <a:gd name="T30" fmla="*/ 37 w 152"/>
                  <a:gd name="T31" fmla="*/ 57 h 296"/>
                  <a:gd name="T32" fmla="*/ 38 w 152"/>
                  <a:gd name="T33" fmla="*/ 65 h 296"/>
                  <a:gd name="T34" fmla="*/ 38 w 152"/>
                  <a:gd name="T35" fmla="*/ 68 h 296"/>
                  <a:gd name="T36" fmla="*/ 37 w 152"/>
                  <a:gd name="T37" fmla="*/ 72 h 296"/>
                  <a:gd name="T38" fmla="*/ 41 w 152"/>
                  <a:gd name="T39" fmla="*/ 72 h 296"/>
                  <a:gd name="T40" fmla="*/ 48 w 152"/>
                  <a:gd name="T41" fmla="*/ 72 h 296"/>
                  <a:gd name="T42" fmla="*/ 45 w 152"/>
                  <a:gd name="T43" fmla="*/ 83 h 296"/>
                  <a:gd name="T44" fmla="*/ 45 w 152"/>
                  <a:gd name="T45" fmla="*/ 88 h 296"/>
                  <a:gd name="T46" fmla="*/ 48 w 152"/>
                  <a:gd name="T47" fmla="*/ 94 h 296"/>
                  <a:gd name="T48" fmla="*/ 41 w 152"/>
                  <a:gd name="T49" fmla="*/ 96 h 296"/>
                  <a:gd name="T50" fmla="*/ 35 w 152"/>
                  <a:gd name="T51" fmla="*/ 98 h 296"/>
                  <a:gd name="T52" fmla="*/ 28 w 152"/>
                  <a:gd name="T53" fmla="*/ 97 h 296"/>
                  <a:gd name="T54" fmla="*/ 24 w 152"/>
                  <a:gd name="T55" fmla="*/ 95 h 296"/>
                  <a:gd name="T56" fmla="*/ 22 w 152"/>
                  <a:gd name="T57" fmla="*/ 93 h 296"/>
                  <a:gd name="T58" fmla="*/ 22 w 152"/>
                  <a:gd name="T59" fmla="*/ 90 h 296"/>
                  <a:gd name="T60" fmla="*/ 28 w 152"/>
                  <a:gd name="T61" fmla="*/ 84 h 296"/>
                  <a:gd name="T62" fmla="*/ 23 w 152"/>
                  <a:gd name="T63" fmla="*/ 82 h 296"/>
                  <a:gd name="T64" fmla="*/ 17 w 152"/>
                  <a:gd name="T65" fmla="*/ 80 h 296"/>
                  <a:gd name="T66" fmla="*/ 13 w 152"/>
                  <a:gd name="T67" fmla="*/ 76 h 296"/>
                  <a:gd name="T68" fmla="*/ 8 w 152"/>
                  <a:gd name="T69" fmla="*/ 73 h 296"/>
                  <a:gd name="T70" fmla="*/ 5 w 152"/>
                  <a:gd name="T71" fmla="*/ 68 h 296"/>
                  <a:gd name="T72" fmla="*/ 2 w 152"/>
                  <a:gd name="T73" fmla="*/ 63 h 296"/>
                  <a:gd name="T74" fmla="*/ 0 w 152"/>
                  <a:gd name="T75" fmla="*/ 57 h 296"/>
                  <a:gd name="T76" fmla="*/ 0 w 152"/>
                  <a:gd name="T77" fmla="*/ 51 h 296"/>
                  <a:gd name="T78" fmla="*/ 0 w 152"/>
                  <a:gd name="T79" fmla="*/ 43 h 296"/>
                  <a:gd name="T80" fmla="*/ 9 w 152"/>
                  <a:gd name="T81" fmla="*/ 35 h 296"/>
                  <a:gd name="T82" fmla="*/ 11 w 152"/>
                  <a:gd name="T83" fmla="*/ 15 h 296"/>
                  <a:gd name="T84" fmla="*/ 10 w 152"/>
                  <a:gd name="T85" fmla="*/ 6 h 296"/>
                  <a:gd name="T86" fmla="*/ 9 w 152"/>
                  <a:gd name="T87" fmla="*/ 1 h 29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19" name="Freeform 295">
                <a:extLst>
                  <a:ext uri="{FF2B5EF4-FFF2-40B4-BE49-F238E27FC236}">
                    <a16:creationId xmlns:a16="http://schemas.microsoft.com/office/drawing/2014/main" id="{16C7B436-3061-4A69-AF7D-7BEC57B87B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8 w 26"/>
                  <a:gd name="T1" fmla="*/ 13 h 38"/>
                  <a:gd name="T2" fmla="*/ 8 w 26"/>
                  <a:gd name="T3" fmla="*/ 0 h 38"/>
                  <a:gd name="T4" fmla="*/ 6 w 26"/>
                  <a:gd name="T5" fmla="*/ 0 h 38"/>
                  <a:gd name="T6" fmla="*/ 4 w 26"/>
                  <a:gd name="T7" fmla="*/ 1 h 38"/>
                  <a:gd name="T8" fmla="*/ 2 w 26"/>
                  <a:gd name="T9" fmla="*/ 3 h 38"/>
                  <a:gd name="T10" fmla="*/ 0 w 26"/>
                  <a:gd name="T11" fmla="*/ 4 h 38"/>
                  <a:gd name="T12" fmla="*/ 6 w 26"/>
                  <a:gd name="T13" fmla="*/ 10 h 38"/>
                  <a:gd name="T14" fmla="*/ 8 w 26"/>
                  <a:gd name="T15" fmla="*/ 13 h 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0" name="Freeform 296">
                <a:extLst>
                  <a:ext uri="{FF2B5EF4-FFF2-40B4-BE49-F238E27FC236}">
                    <a16:creationId xmlns:a16="http://schemas.microsoft.com/office/drawing/2014/main" id="{947E0114-C0EA-4AC5-9256-8A46F417D0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6 h 31"/>
                  <a:gd name="T2" fmla="*/ 2 w 34"/>
                  <a:gd name="T3" fmla="*/ 7 h 31"/>
                  <a:gd name="T4" fmla="*/ 5 w 34"/>
                  <a:gd name="T5" fmla="*/ 8 h 31"/>
                  <a:gd name="T6" fmla="*/ 8 w 34"/>
                  <a:gd name="T7" fmla="*/ 10 h 31"/>
                  <a:gd name="T8" fmla="*/ 10 w 34"/>
                  <a:gd name="T9" fmla="*/ 10 h 31"/>
                  <a:gd name="T10" fmla="*/ 10 w 34"/>
                  <a:gd name="T11" fmla="*/ 8 h 31"/>
                  <a:gd name="T12" fmla="*/ 9 w 34"/>
                  <a:gd name="T13" fmla="*/ 5 h 31"/>
                  <a:gd name="T14" fmla="*/ 8 w 34"/>
                  <a:gd name="T15" fmla="*/ 2 h 31"/>
                  <a:gd name="T16" fmla="*/ 6 w 34"/>
                  <a:gd name="T17" fmla="*/ 0 h 31"/>
                  <a:gd name="T18" fmla="*/ 5 w 34"/>
                  <a:gd name="T19" fmla="*/ 2 h 31"/>
                  <a:gd name="T20" fmla="*/ 3 w 34"/>
                  <a:gd name="T21" fmla="*/ 4 h 31"/>
                  <a:gd name="T22" fmla="*/ 2 w 34"/>
                  <a:gd name="T23" fmla="*/ 5 h 31"/>
                  <a:gd name="T24" fmla="*/ 2 w 34"/>
                  <a:gd name="T25" fmla="*/ 5 h 31"/>
                  <a:gd name="T26" fmla="*/ 1 w 34"/>
                  <a:gd name="T27" fmla="*/ 6 h 31"/>
                  <a:gd name="T28" fmla="*/ 0 w 34"/>
                  <a:gd name="T29" fmla="*/ 6 h 3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1" name="Freeform 297">
                <a:extLst>
                  <a:ext uri="{FF2B5EF4-FFF2-40B4-BE49-F238E27FC236}">
                    <a16:creationId xmlns:a16="http://schemas.microsoft.com/office/drawing/2014/main" id="{CCB1F9D5-D2CF-4860-B1F0-390D38F426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2 h 37"/>
                  <a:gd name="T2" fmla="*/ 0 w 20"/>
                  <a:gd name="T3" fmla="*/ 12 h 37"/>
                  <a:gd name="T4" fmla="*/ 2 w 20"/>
                  <a:gd name="T5" fmla="*/ 11 h 37"/>
                  <a:gd name="T6" fmla="*/ 6 w 20"/>
                  <a:gd name="T7" fmla="*/ 10 h 37"/>
                  <a:gd name="T8" fmla="*/ 6 w 20"/>
                  <a:gd name="T9" fmla="*/ 0 h 37"/>
                  <a:gd name="T10" fmla="*/ 0 w 20"/>
                  <a:gd name="T11" fmla="*/ 2 h 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2" name="Line 298">
                <a:extLst>
                  <a:ext uri="{FF2B5EF4-FFF2-40B4-BE49-F238E27FC236}">
                    <a16:creationId xmlns:a16="http://schemas.microsoft.com/office/drawing/2014/main" id="{7F80D6CF-487D-4CA2-B72B-07F07DABD9D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3" name="Freeform 299">
                <a:extLst>
                  <a:ext uri="{FF2B5EF4-FFF2-40B4-BE49-F238E27FC236}">
                    <a16:creationId xmlns:a16="http://schemas.microsoft.com/office/drawing/2014/main" id="{4300ADCB-C0F0-4690-AEB3-58F1700D0D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6 h 18"/>
                  <a:gd name="T2" fmla="*/ 0 w 13"/>
                  <a:gd name="T3" fmla="*/ 4 h 18"/>
                  <a:gd name="T4" fmla="*/ 1 w 13"/>
                  <a:gd name="T5" fmla="*/ 3 h 18"/>
                  <a:gd name="T6" fmla="*/ 2 w 13"/>
                  <a:gd name="T7" fmla="*/ 1 h 18"/>
                  <a:gd name="T8" fmla="*/ 4 w 13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4" name="Line 300">
                <a:extLst>
                  <a:ext uri="{FF2B5EF4-FFF2-40B4-BE49-F238E27FC236}">
                    <a16:creationId xmlns:a16="http://schemas.microsoft.com/office/drawing/2014/main" id="{53E25617-FCD5-4B39-A344-71664D8C427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5" name="Freeform 301">
                <a:extLst>
                  <a:ext uri="{FF2B5EF4-FFF2-40B4-BE49-F238E27FC236}">
                    <a16:creationId xmlns:a16="http://schemas.microsoft.com/office/drawing/2014/main" id="{C0535693-2F94-444C-B8C3-BAD8D850E1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7 w 27"/>
                  <a:gd name="T3" fmla="*/ 10 h 31"/>
                  <a:gd name="T4" fmla="*/ 9 w 27"/>
                  <a:gd name="T5" fmla="*/ 4 h 3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6" name="Freeform 302">
                <a:extLst>
                  <a:ext uri="{FF2B5EF4-FFF2-40B4-BE49-F238E27FC236}">
                    <a16:creationId xmlns:a16="http://schemas.microsoft.com/office/drawing/2014/main" id="{A0738CE7-DFF0-4AE2-B35D-8114707572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6 w 20"/>
                  <a:gd name="T1" fmla="*/ 0 h 1"/>
                  <a:gd name="T2" fmla="*/ 3 w 20"/>
                  <a:gd name="T3" fmla="*/ 0 h 1"/>
                  <a:gd name="T4" fmla="*/ 0 w 20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7" name="Freeform 303">
                <a:extLst>
                  <a:ext uri="{FF2B5EF4-FFF2-40B4-BE49-F238E27FC236}">
                    <a16:creationId xmlns:a16="http://schemas.microsoft.com/office/drawing/2014/main" id="{6E00BCEE-7874-4677-8E38-23B453F63E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5 h 13"/>
                  <a:gd name="T2" fmla="*/ 2 w 34"/>
                  <a:gd name="T3" fmla="*/ 5 h 13"/>
                  <a:gd name="T4" fmla="*/ 4 w 34"/>
                  <a:gd name="T5" fmla="*/ 4 h 13"/>
                  <a:gd name="T6" fmla="*/ 6 w 34"/>
                  <a:gd name="T7" fmla="*/ 4 h 13"/>
                  <a:gd name="T8" fmla="*/ 7 w 34"/>
                  <a:gd name="T9" fmla="*/ 3 h 13"/>
                  <a:gd name="T10" fmla="*/ 10 w 34"/>
                  <a:gd name="T11" fmla="*/ 1 h 13"/>
                  <a:gd name="T12" fmla="*/ 12 w 34"/>
                  <a:gd name="T13" fmla="*/ 0 h 13"/>
                  <a:gd name="T14" fmla="*/ 9 w 34"/>
                  <a:gd name="T15" fmla="*/ 0 h 13"/>
                  <a:gd name="T16" fmla="*/ 5 w 34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8" name="Freeform 304">
                <a:extLst>
                  <a:ext uri="{FF2B5EF4-FFF2-40B4-BE49-F238E27FC236}">
                    <a16:creationId xmlns:a16="http://schemas.microsoft.com/office/drawing/2014/main" id="{5AC9C745-68F6-482C-88E7-3D656C2E80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12 w 34"/>
                  <a:gd name="T1" fmla="*/ 6 h 18"/>
                  <a:gd name="T2" fmla="*/ 12 w 34"/>
                  <a:gd name="T3" fmla="*/ 0 h 18"/>
                  <a:gd name="T4" fmla="*/ 10 w 34"/>
                  <a:gd name="T5" fmla="*/ 0 h 18"/>
                  <a:gd name="T6" fmla="*/ 7 w 34"/>
                  <a:gd name="T7" fmla="*/ 0 h 18"/>
                  <a:gd name="T8" fmla="*/ 4 w 34"/>
                  <a:gd name="T9" fmla="*/ 0 h 18"/>
                  <a:gd name="T10" fmla="*/ 0 w 34"/>
                  <a:gd name="T11" fmla="*/ 0 h 18"/>
                  <a:gd name="T12" fmla="*/ 12 w 34"/>
                  <a:gd name="T13" fmla="*/ 6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9" name="Freeform 305">
                <a:extLst>
                  <a:ext uri="{FF2B5EF4-FFF2-40B4-BE49-F238E27FC236}">
                    <a16:creationId xmlns:a16="http://schemas.microsoft.com/office/drawing/2014/main" id="{EEE2F5DF-7FDE-4727-ABEA-D4547350EF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18 w 59"/>
                  <a:gd name="T1" fmla="*/ 8 h 25"/>
                  <a:gd name="T2" fmla="*/ 19 w 59"/>
                  <a:gd name="T3" fmla="*/ 4 h 25"/>
                  <a:gd name="T4" fmla="*/ 20 w 59"/>
                  <a:gd name="T5" fmla="*/ 0 h 25"/>
                  <a:gd name="T6" fmla="*/ 15 w 59"/>
                  <a:gd name="T7" fmla="*/ 0 h 25"/>
                  <a:gd name="T8" fmla="*/ 9 w 59"/>
                  <a:gd name="T9" fmla="*/ 0 h 25"/>
                  <a:gd name="T10" fmla="*/ 6 w 59"/>
                  <a:gd name="T11" fmla="*/ 0 h 25"/>
                  <a:gd name="T12" fmla="*/ 4 w 59"/>
                  <a:gd name="T13" fmla="*/ 1 h 25"/>
                  <a:gd name="T14" fmla="*/ 2 w 59"/>
                  <a:gd name="T15" fmla="*/ 1 h 25"/>
                  <a:gd name="T16" fmla="*/ 0 w 59"/>
                  <a:gd name="T17" fmla="*/ 2 h 25"/>
                  <a:gd name="T18" fmla="*/ 4 w 59"/>
                  <a:gd name="T19" fmla="*/ 4 h 25"/>
                  <a:gd name="T20" fmla="*/ 9 w 59"/>
                  <a:gd name="T21" fmla="*/ 6 h 25"/>
                  <a:gd name="T22" fmla="*/ 11 w 59"/>
                  <a:gd name="T23" fmla="*/ 7 h 25"/>
                  <a:gd name="T24" fmla="*/ 13 w 59"/>
                  <a:gd name="T25" fmla="*/ 8 h 25"/>
                  <a:gd name="T26" fmla="*/ 16 w 59"/>
                  <a:gd name="T27" fmla="*/ 8 h 25"/>
                  <a:gd name="T28" fmla="*/ 18 w 59"/>
                  <a:gd name="T29" fmla="*/ 8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30" name="Line 306">
                <a:extLst>
                  <a:ext uri="{FF2B5EF4-FFF2-40B4-BE49-F238E27FC236}">
                    <a16:creationId xmlns:a16="http://schemas.microsoft.com/office/drawing/2014/main" id="{9147D2FA-DBF7-47DB-999F-29BF30CCFE5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763" name="Freeform 307">
              <a:extLst>
                <a:ext uri="{FF2B5EF4-FFF2-40B4-BE49-F238E27FC236}">
                  <a16:creationId xmlns:a16="http://schemas.microsoft.com/office/drawing/2014/main" id="{3596E1A7-6E01-4A19-B7C2-2A9D64C4B915}"/>
                </a:ext>
              </a:extLst>
            </p:cNvPr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8804275" y="3879851"/>
              <a:ext cx="14288" cy="55563"/>
            </a:xfrm>
            <a:custGeom>
              <a:avLst/>
              <a:gdLst>
                <a:gd name="T0" fmla="*/ 0 w 33"/>
                <a:gd name="T1" fmla="*/ 55563 h 43"/>
                <a:gd name="T2" fmla="*/ 433 w 33"/>
                <a:gd name="T3" fmla="*/ 43934 h 43"/>
                <a:gd name="T4" fmla="*/ 866 w 33"/>
                <a:gd name="T5" fmla="*/ 34888 h 43"/>
                <a:gd name="T6" fmla="*/ 2165 w 33"/>
                <a:gd name="T7" fmla="*/ 27135 h 43"/>
                <a:gd name="T8" fmla="*/ 3897 w 33"/>
                <a:gd name="T9" fmla="*/ 19382 h 43"/>
                <a:gd name="T10" fmla="*/ 6062 w 33"/>
                <a:gd name="T11" fmla="*/ 11629 h 43"/>
                <a:gd name="T12" fmla="*/ 8659 w 33"/>
                <a:gd name="T13" fmla="*/ 6461 h 43"/>
                <a:gd name="T14" fmla="*/ 11257 w 33"/>
                <a:gd name="T15" fmla="*/ 2584 h 43"/>
                <a:gd name="T16" fmla="*/ 14288 w 33"/>
                <a:gd name="T17" fmla="*/ 0 h 43"/>
                <a:gd name="T18" fmla="*/ 14288 w 33"/>
                <a:gd name="T19" fmla="*/ 32304 h 43"/>
                <a:gd name="T20" fmla="*/ 9958 w 33"/>
                <a:gd name="T21" fmla="*/ 34888 h 43"/>
                <a:gd name="T22" fmla="*/ 7793 w 33"/>
                <a:gd name="T23" fmla="*/ 37473 h 43"/>
                <a:gd name="T24" fmla="*/ 6928 w 33"/>
                <a:gd name="T25" fmla="*/ 41349 h 43"/>
                <a:gd name="T26" fmla="*/ 6928 w 33"/>
                <a:gd name="T27" fmla="*/ 43934 h 43"/>
                <a:gd name="T28" fmla="*/ 6928 w 33"/>
                <a:gd name="T29" fmla="*/ 46518 h 43"/>
                <a:gd name="T30" fmla="*/ 6062 w 33"/>
                <a:gd name="T31" fmla="*/ 49102 h 43"/>
                <a:gd name="T32" fmla="*/ 4330 w 33"/>
                <a:gd name="T33" fmla="*/ 52979 h 43"/>
                <a:gd name="T34" fmla="*/ 0 w 33"/>
                <a:gd name="T35" fmla="*/ 55563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64" name="Freeform 308">
              <a:extLst>
                <a:ext uri="{FF2B5EF4-FFF2-40B4-BE49-F238E27FC236}">
                  <a16:creationId xmlns:a16="http://schemas.microsoft.com/office/drawing/2014/main" id="{AEBEBCDE-14B0-40BC-8EC4-392CF075974E}"/>
                </a:ext>
              </a:extLst>
            </p:cNvPr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8880476" y="3819525"/>
              <a:ext cx="22225" cy="58738"/>
            </a:xfrm>
            <a:custGeom>
              <a:avLst/>
              <a:gdLst>
                <a:gd name="T0" fmla="*/ 0 w 54"/>
                <a:gd name="T1" fmla="*/ 35115 h 92"/>
                <a:gd name="T2" fmla="*/ 412 w 54"/>
                <a:gd name="T3" fmla="*/ 32561 h 92"/>
                <a:gd name="T4" fmla="*/ 823 w 54"/>
                <a:gd name="T5" fmla="*/ 29369 h 92"/>
                <a:gd name="T6" fmla="*/ 1235 w 54"/>
                <a:gd name="T7" fmla="*/ 26815 h 92"/>
                <a:gd name="T8" fmla="*/ 2469 w 54"/>
                <a:gd name="T9" fmla="*/ 23623 h 92"/>
                <a:gd name="T10" fmla="*/ 4527 w 54"/>
                <a:gd name="T11" fmla="*/ 18515 h 92"/>
                <a:gd name="T12" fmla="*/ 7408 w 54"/>
                <a:gd name="T13" fmla="*/ 13408 h 92"/>
                <a:gd name="T14" fmla="*/ 12759 w 54"/>
                <a:gd name="T15" fmla="*/ 4469 h 92"/>
                <a:gd name="T16" fmla="*/ 16875 w 54"/>
                <a:gd name="T17" fmla="*/ 0 h 92"/>
                <a:gd name="T18" fmla="*/ 22225 w 54"/>
                <a:gd name="T19" fmla="*/ 7661 h 92"/>
                <a:gd name="T20" fmla="*/ 20990 w 54"/>
                <a:gd name="T21" fmla="*/ 13408 h 92"/>
                <a:gd name="T22" fmla="*/ 19344 w 54"/>
                <a:gd name="T23" fmla="*/ 18515 h 92"/>
                <a:gd name="T24" fmla="*/ 18109 w 54"/>
                <a:gd name="T25" fmla="*/ 22346 h 92"/>
                <a:gd name="T26" fmla="*/ 16875 w 54"/>
                <a:gd name="T27" fmla="*/ 26177 h 92"/>
                <a:gd name="T28" fmla="*/ 13582 w 54"/>
                <a:gd name="T29" fmla="*/ 31284 h 92"/>
                <a:gd name="T30" fmla="*/ 11524 w 54"/>
                <a:gd name="T31" fmla="*/ 35115 h 92"/>
                <a:gd name="T32" fmla="*/ 10701 w 54"/>
                <a:gd name="T33" fmla="*/ 40861 h 92"/>
                <a:gd name="T34" fmla="*/ 10701 w 54"/>
                <a:gd name="T35" fmla="*/ 47246 h 92"/>
                <a:gd name="T36" fmla="*/ 9878 w 54"/>
                <a:gd name="T37" fmla="*/ 52992 h 92"/>
                <a:gd name="T38" fmla="*/ 8231 w 54"/>
                <a:gd name="T39" fmla="*/ 58738 h 92"/>
                <a:gd name="T40" fmla="*/ 5762 w 54"/>
                <a:gd name="T41" fmla="*/ 52992 h 92"/>
                <a:gd name="T42" fmla="*/ 3293 w 54"/>
                <a:gd name="T43" fmla="*/ 47246 h 92"/>
                <a:gd name="T44" fmla="*/ 2058 w 54"/>
                <a:gd name="T45" fmla="*/ 44692 h 92"/>
                <a:gd name="T46" fmla="*/ 823 w 54"/>
                <a:gd name="T47" fmla="*/ 40861 h 92"/>
                <a:gd name="T48" fmla="*/ 412 w 54"/>
                <a:gd name="T49" fmla="*/ 38307 h 92"/>
                <a:gd name="T50" fmla="*/ 0 w 54"/>
                <a:gd name="T51" fmla="*/ 35115 h 9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65" name="Freeform 309">
              <a:extLst>
                <a:ext uri="{FF2B5EF4-FFF2-40B4-BE49-F238E27FC236}">
                  <a16:creationId xmlns:a16="http://schemas.microsoft.com/office/drawing/2014/main" id="{097B2385-08B5-4163-8621-243A6C634507}"/>
                </a:ext>
              </a:extLst>
            </p:cNvPr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8928101" y="3698875"/>
              <a:ext cx="23813" cy="57150"/>
            </a:xfrm>
            <a:custGeom>
              <a:avLst/>
              <a:gdLst>
                <a:gd name="T0" fmla="*/ 0 w 60"/>
                <a:gd name="T1" fmla="*/ 0 h 18"/>
                <a:gd name="T2" fmla="*/ 7541 w 60"/>
                <a:gd name="T3" fmla="*/ 12700 h 18"/>
                <a:gd name="T4" fmla="*/ 14685 w 60"/>
                <a:gd name="T5" fmla="*/ 28575 h 18"/>
                <a:gd name="T6" fmla="*/ 17860 w 60"/>
                <a:gd name="T7" fmla="*/ 34925 h 18"/>
                <a:gd name="T8" fmla="*/ 20241 w 60"/>
                <a:gd name="T9" fmla="*/ 41275 h 18"/>
                <a:gd name="T10" fmla="*/ 22225 w 60"/>
                <a:gd name="T11" fmla="*/ 50800 h 18"/>
                <a:gd name="T12" fmla="*/ 23813 w 60"/>
                <a:gd name="T13" fmla="*/ 57150 h 18"/>
                <a:gd name="T14" fmla="*/ 15082 w 60"/>
                <a:gd name="T15" fmla="*/ 57150 h 18"/>
                <a:gd name="T16" fmla="*/ 9128 w 60"/>
                <a:gd name="T17" fmla="*/ 57150 h 18"/>
                <a:gd name="T18" fmla="*/ 3969 w 60"/>
                <a:gd name="T19" fmla="*/ 57150 h 18"/>
                <a:gd name="T20" fmla="*/ 0 w 60"/>
                <a:gd name="T21" fmla="*/ 57150 h 18"/>
                <a:gd name="T22" fmla="*/ 0 w 6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66" name="Freeform 310">
              <a:extLst>
                <a:ext uri="{FF2B5EF4-FFF2-40B4-BE49-F238E27FC236}">
                  <a16:creationId xmlns:a16="http://schemas.microsoft.com/office/drawing/2014/main" id="{6465DBCF-E959-412D-AB08-4953844343F5}"/>
                </a:ext>
              </a:extLst>
            </p:cNvPr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8912225" y="3668713"/>
              <a:ext cx="25400" cy="57150"/>
            </a:xfrm>
            <a:custGeom>
              <a:avLst/>
              <a:gdLst>
                <a:gd name="T0" fmla="*/ 0 w 66"/>
                <a:gd name="T1" fmla="*/ 57150 h 18"/>
                <a:gd name="T2" fmla="*/ 25400 w 66"/>
                <a:gd name="T3" fmla="*/ 57150 h 18"/>
                <a:gd name="T4" fmla="*/ 20012 w 66"/>
                <a:gd name="T5" fmla="*/ 41275 h 18"/>
                <a:gd name="T6" fmla="*/ 15394 w 66"/>
                <a:gd name="T7" fmla="*/ 22225 h 18"/>
                <a:gd name="T8" fmla="*/ 13470 w 66"/>
                <a:gd name="T9" fmla="*/ 12700 h 18"/>
                <a:gd name="T10" fmla="*/ 11161 w 66"/>
                <a:gd name="T11" fmla="*/ 6350 h 18"/>
                <a:gd name="T12" fmla="*/ 9621 w 66"/>
                <a:gd name="T13" fmla="*/ 3175 h 18"/>
                <a:gd name="T14" fmla="*/ 7312 w 66"/>
                <a:gd name="T15" fmla="*/ 0 h 18"/>
                <a:gd name="T16" fmla="*/ 0 w 66"/>
                <a:gd name="T17" fmla="*/ 57150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67" name="Freeform 311">
              <a:extLst>
                <a:ext uri="{FF2B5EF4-FFF2-40B4-BE49-F238E27FC236}">
                  <a16:creationId xmlns:a16="http://schemas.microsoft.com/office/drawing/2014/main" id="{82548191-D7B7-42CA-8DE0-D9DB20DA9787}"/>
                </a:ext>
              </a:extLst>
            </p:cNvPr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8737600" y="3565525"/>
              <a:ext cx="7938" cy="57150"/>
            </a:xfrm>
            <a:custGeom>
              <a:avLst/>
              <a:gdLst>
                <a:gd name="T0" fmla="*/ 0 w 17"/>
                <a:gd name="T1" fmla="*/ 48986 h 42"/>
                <a:gd name="T2" fmla="*/ 6070 w 17"/>
                <a:gd name="T3" fmla="*/ 57150 h 42"/>
                <a:gd name="T4" fmla="*/ 6537 w 17"/>
                <a:gd name="T5" fmla="*/ 44904 h 42"/>
                <a:gd name="T6" fmla="*/ 7471 w 17"/>
                <a:gd name="T7" fmla="*/ 31296 h 42"/>
                <a:gd name="T8" fmla="*/ 7938 w 17"/>
                <a:gd name="T9" fmla="*/ 24493 h 42"/>
                <a:gd name="T10" fmla="*/ 7471 w 17"/>
                <a:gd name="T11" fmla="*/ 16329 h 42"/>
                <a:gd name="T12" fmla="*/ 7471 w 17"/>
                <a:gd name="T13" fmla="*/ 8164 h 42"/>
                <a:gd name="T14" fmla="*/ 6070 w 17"/>
                <a:gd name="T15" fmla="*/ 0 h 42"/>
                <a:gd name="T16" fmla="*/ 0 w 17"/>
                <a:gd name="T17" fmla="*/ 48986 h 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68" name="Freeform 312">
              <a:extLst>
                <a:ext uri="{FF2B5EF4-FFF2-40B4-BE49-F238E27FC236}">
                  <a16:creationId xmlns:a16="http://schemas.microsoft.com/office/drawing/2014/main" id="{733ECC72-42D5-4EC5-AFF6-C467B3919DEC}"/>
                </a:ext>
              </a:extLst>
            </p:cNvPr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8664576" y="3700464"/>
              <a:ext cx="30163" cy="58737"/>
            </a:xfrm>
            <a:custGeom>
              <a:avLst/>
              <a:gdLst>
                <a:gd name="T0" fmla="*/ 2514 w 72"/>
                <a:gd name="T1" fmla="*/ 58737 h 29"/>
                <a:gd name="T2" fmla="*/ 6284 w 72"/>
                <a:gd name="T3" fmla="*/ 52661 h 29"/>
                <a:gd name="T4" fmla="*/ 10054 w 72"/>
                <a:gd name="T5" fmla="*/ 48610 h 29"/>
                <a:gd name="T6" fmla="*/ 13406 w 72"/>
                <a:gd name="T7" fmla="*/ 48610 h 29"/>
                <a:gd name="T8" fmla="*/ 16338 w 72"/>
                <a:gd name="T9" fmla="*/ 48610 h 29"/>
                <a:gd name="T10" fmla="*/ 23041 w 72"/>
                <a:gd name="T11" fmla="*/ 54686 h 29"/>
                <a:gd name="T12" fmla="*/ 30163 w 72"/>
                <a:gd name="T13" fmla="*/ 58737 h 29"/>
                <a:gd name="T14" fmla="*/ 30163 w 72"/>
                <a:gd name="T15" fmla="*/ 8102 h 29"/>
                <a:gd name="T16" fmla="*/ 24298 w 72"/>
                <a:gd name="T17" fmla="*/ 2025 h 29"/>
                <a:gd name="T18" fmla="*/ 19690 w 72"/>
                <a:gd name="T19" fmla="*/ 0 h 29"/>
                <a:gd name="T20" fmla="*/ 16338 w 72"/>
                <a:gd name="T21" fmla="*/ 0 h 29"/>
                <a:gd name="T22" fmla="*/ 14244 w 72"/>
                <a:gd name="T23" fmla="*/ 4051 h 29"/>
                <a:gd name="T24" fmla="*/ 11311 w 72"/>
                <a:gd name="T25" fmla="*/ 6076 h 29"/>
                <a:gd name="T26" fmla="*/ 8798 w 72"/>
                <a:gd name="T27" fmla="*/ 10127 h 29"/>
                <a:gd name="T28" fmla="*/ 5027 w 72"/>
                <a:gd name="T29" fmla="*/ 10127 h 29"/>
                <a:gd name="T30" fmla="*/ 0 w 72"/>
                <a:gd name="T31" fmla="*/ 8102 h 29"/>
                <a:gd name="T32" fmla="*/ 1257 w 72"/>
                <a:gd name="T33" fmla="*/ 32407 h 29"/>
                <a:gd name="T34" fmla="*/ 2514 w 72"/>
                <a:gd name="T35" fmla="*/ 58737 h 2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69" name="Freeform 313">
              <a:extLst>
                <a:ext uri="{FF2B5EF4-FFF2-40B4-BE49-F238E27FC236}">
                  <a16:creationId xmlns:a16="http://schemas.microsoft.com/office/drawing/2014/main" id="{3A9EE1C5-F1A9-41D6-9CA9-587F9BB33696}"/>
                </a:ext>
              </a:extLst>
            </p:cNvPr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8672513" y="3886201"/>
              <a:ext cx="19050" cy="55563"/>
            </a:xfrm>
            <a:custGeom>
              <a:avLst/>
              <a:gdLst>
                <a:gd name="T0" fmla="*/ 0 w 46"/>
                <a:gd name="T1" fmla="*/ 0 h 37"/>
                <a:gd name="T2" fmla="*/ 3727 w 46"/>
                <a:gd name="T3" fmla="*/ 13515 h 37"/>
                <a:gd name="T4" fmla="*/ 8283 w 46"/>
                <a:gd name="T5" fmla="*/ 22526 h 37"/>
                <a:gd name="T6" fmla="*/ 12838 w 46"/>
                <a:gd name="T7" fmla="*/ 30034 h 37"/>
                <a:gd name="T8" fmla="*/ 19050 w 46"/>
                <a:gd name="T9" fmla="*/ 37543 h 37"/>
                <a:gd name="T10" fmla="*/ 15323 w 46"/>
                <a:gd name="T11" fmla="*/ 43549 h 37"/>
                <a:gd name="T12" fmla="*/ 12010 w 46"/>
                <a:gd name="T13" fmla="*/ 49556 h 37"/>
                <a:gd name="T14" fmla="*/ 8697 w 46"/>
                <a:gd name="T15" fmla="*/ 54061 h 37"/>
                <a:gd name="T16" fmla="*/ 5384 w 46"/>
                <a:gd name="T17" fmla="*/ 55563 h 37"/>
                <a:gd name="T18" fmla="*/ 3727 w 46"/>
                <a:gd name="T19" fmla="*/ 54061 h 37"/>
                <a:gd name="T20" fmla="*/ 2899 w 46"/>
                <a:gd name="T21" fmla="*/ 49556 h 37"/>
                <a:gd name="T22" fmla="*/ 2071 w 46"/>
                <a:gd name="T23" fmla="*/ 43549 h 37"/>
                <a:gd name="T24" fmla="*/ 1242 w 46"/>
                <a:gd name="T25" fmla="*/ 34539 h 37"/>
                <a:gd name="T26" fmla="*/ 414 w 46"/>
                <a:gd name="T27" fmla="*/ 18020 h 37"/>
                <a:gd name="T28" fmla="*/ 0 w 46"/>
                <a:gd name="T29" fmla="*/ 0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70" name="Freeform 314">
              <a:extLst>
                <a:ext uri="{FF2B5EF4-FFF2-40B4-BE49-F238E27FC236}">
                  <a16:creationId xmlns:a16="http://schemas.microsoft.com/office/drawing/2014/main" id="{AFF1EDA0-8243-48B2-A4C3-098A28FC5615}"/>
                </a:ext>
              </a:extLst>
            </p:cNvPr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8785226" y="3705225"/>
              <a:ext cx="11113" cy="57150"/>
            </a:xfrm>
            <a:custGeom>
              <a:avLst/>
              <a:gdLst>
                <a:gd name="T0" fmla="*/ 0 w 26"/>
                <a:gd name="T1" fmla="*/ 0 h 19"/>
                <a:gd name="T2" fmla="*/ 11113 w 26"/>
                <a:gd name="T3" fmla="*/ 57150 h 19"/>
                <a:gd name="T4" fmla="*/ 11113 w 26"/>
                <a:gd name="T5" fmla="*/ 27071 h 19"/>
                <a:gd name="T6" fmla="*/ 11113 w 26"/>
                <a:gd name="T7" fmla="*/ 0 h 19"/>
                <a:gd name="T8" fmla="*/ 6411 w 26"/>
                <a:gd name="T9" fmla="*/ 0 h 19"/>
                <a:gd name="T10" fmla="*/ 0 w 26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71" name="Freeform 315">
              <a:extLst>
                <a:ext uri="{FF2B5EF4-FFF2-40B4-BE49-F238E27FC236}">
                  <a16:creationId xmlns:a16="http://schemas.microsoft.com/office/drawing/2014/main" id="{7899B228-3815-466A-9A2C-BF54FD389766}"/>
                </a:ext>
              </a:extLst>
            </p:cNvPr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8645525" y="3700464"/>
              <a:ext cx="19050" cy="58737"/>
            </a:xfrm>
            <a:custGeom>
              <a:avLst/>
              <a:gdLst>
                <a:gd name="T0" fmla="*/ 886 w 43"/>
                <a:gd name="T1" fmla="*/ 0 h 31"/>
                <a:gd name="T2" fmla="*/ 443 w 43"/>
                <a:gd name="T3" fmla="*/ 22737 h 31"/>
                <a:gd name="T4" fmla="*/ 0 w 43"/>
                <a:gd name="T5" fmla="*/ 43579 h 31"/>
                <a:gd name="T6" fmla="*/ 0 w 43"/>
                <a:gd name="T7" fmla="*/ 49263 h 31"/>
                <a:gd name="T8" fmla="*/ 0 w 43"/>
                <a:gd name="T9" fmla="*/ 54948 h 31"/>
                <a:gd name="T10" fmla="*/ 0 w 43"/>
                <a:gd name="T11" fmla="*/ 58737 h 31"/>
                <a:gd name="T12" fmla="*/ 886 w 43"/>
                <a:gd name="T13" fmla="*/ 58737 h 31"/>
                <a:gd name="T14" fmla="*/ 5759 w 43"/>
                <a:gd name="T15" fmla="*/ 41684 h 31"/>
                <a:gd name="T16" fmla="*/ 11076 w 43"/>
                <a:gd name="T17" fmla="*/ 24632 h 31"/>
                <a:gd name="T18" fmla="*/ 15506 w 43"/>
                <a:gd name="T19" fmla="*/ 9474 h 31"/>
                <a:gd name="T20" fmla="*/ 19050 w 43"/>
                <a:gd name="T21" fmla="*/ 0 h 31"/>
                <a:gd name="T22" fmla="*/ 886 w 43"/>
                <a:gd name="T23" fmla="*/ 0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72" name="Freeform 316">
              <a:extLst>
                <a:ext uri="{FF2B5EF4-FFF2-40B4-BE49-F238E27FC236}">
                  <a16:creationId xmlns:a16="http://schemas.microsoft.com/office/drawing/2014/main" id="{77522EFB-FA4B-4F75-AC6C-2445EEC1F08F}"/>
                </a:ext>
              </a:extLst>
            </p:cNvPr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8689976" y="3748088"/>
              <a:ext cx="30163" cy="57150"/>
            </a:xfrm>
            <a:custGeom>
              <a:avLst/>
              <a:gdLst>
                <a:gd name="T0" fmla="*/ 1699 w 71"/>
                <a:gd name="T1" fmla="*/ 13996 h 49"/>
                <a:gd name="T2" fmla="*/ 1699 w 71"/>
                <a:gd name="T3" fmla="*/ 20994 h 49"/>
                <a:gd name="T4" fmla="*/ 2124 w 71"/>
                <a:gd name="T5" fmla="*/ 29158 h 49"/>
                <a:gd name="T6" fmla="*/ 2974 w 71"/>
                <a:gd name="T7" fmla="*/ 36156 h 49"/>
                <a:gd name="T8" fmla="*/ 3823 w 71"/>
                <a:gd name="T9" fmla="*/ 43154 h 49"/>
                <a:gd name="T10" fmla="*/ 5948 w 71"/>
                <a:gd name="T11" fmla="*/ 47819 h 49"/>
                <a:gd name="T12" fmla="*/ 7647 w 71"/>
                <a:gd name="T13" fmla="*/ 53651 h 49"/>
                <a:gd name="T14" fmla="*/ 9771 w 71"/>
                <a:gd name="T15" fmla="*/ 55984 h 49"/>
                <a:gd name="T16" fmla="*/ 12745 w 71"/>
                <a:gd name="T17" fmla="*/ 57150 h 49"/>
                <a:gd name="T18" fmla="*/ 14869 w 71"/>
                <a:gd name="T19" fmla="*/ 55984 h 49"/>
                <a:gd name="T20" fmla="*/ 16993 w 71"/>
                <a:gd name="T21" fmla="*/ 53651 h 49"/>
                <a:gd name="T22" fmla="*/ 19117 w 71"/>
                <a:gd name="T23" fmla="*/ 48986 h 49"/>
                <a:gd name="T24" fmla="*/ 21242 w 71"/>
                <a:gd name="T25" fmla="*/ 43154 h 49"/>
                <a:gd name="T26" fmla="*/ 25490 w 71"/>
                <a:gd name="T27" fmla="*/ 32657 h 49"/>
                <a:gd name="T28" fmla="*/ 30163 w 71"/>
                <a:gd name="T29" fmla="*/ 20994 h 49"/>
                <a:gd name="T30" fmla="*/ 25915 w 71"/>
                <a:gd name="T31" fmla="*/ 13996 h 49"/>
                <a:gd name="T32" fmla="*/ 22091 w 71"/>
                <a:gd name="T33" fmla="*/ 10497 h 49"/>
                <a:gd name="T34" fmla="*/ 18693 w 71"/>
                <a:gd name="T35" fmla="*/ 8164 h 49"/>
                <a:gd name="T36" fmla="*/ 15719 w 71"/>
                <a:gd name="T37" fmla="*/ 6998 h 49"/>
                <a:gd name="T38" fmla="*/ 12320 w 71"/>
                <a:gd name="T39" fmla="*/ 6998 h 49"/>
                <a:gd name="T40" fmla="*/ 8921 w 71"/>
                <a:gd name="T41" fmla="*/ 5832 h 49"/>
                <a:gd name="T42" fmla="*/ 5948 w 71"/>
                <a:gd name="T43" fmla="*/ 3499 h 49"/>
                <a:gd name="T44" fmla="*/ 1699 w 71"/>
                <a:gd name="T45" fmla="*/ 0 h 49"/>
                <a:gd name="T46" fmla="*/ 1274 w 71"/>
                <a:gd name="T47" fmla="*/ 1166 h 49"/>
                <a:gd name="T48" fmla="*/ 425 w 71"/>
                <a:gd name="T49" fmla="*/ 6998 h 49"/>
                <a:gd name="T50" fmla="*/ 0 w 71"/>
                <a:gd name="T51" fmla="*/ 9331 h 49"/>
                <a:gd name="T52" fmla="*/ 0 w 71"/>
                <a:gd name="T53" fmla="*/ 11663 h 49"/>
                <a:gd name="T54" fmla="*/ 425 w 71"/>
                <a:gd name="T55" fmla="*/ 12830 h 49"/>
                <a:gd name="T56" fmla="*/ 1699 w 71"/>
                <a:gd name="T57" fmla="*/ 13996 h 4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73" name="Freeform 317">
              <a:extLst>
                <a:ext uri="{FF2B5EF4-FFF2-40B4-BE49-F238E27FC236}">
                  <a16:creationId xmlns:a16="http://schemas.microsoft.com/office/drawing/2014/main" id="{C850547F-0A10-4D39-8C01-DF383D2C75C6}"/>
                </a:ext>
              </a:extLst>
            </p:cNvPr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8491539" y="3951289"/>
              <a:ext cx="46037" cy="58737"/>
            </a:xfrm>
            <a:custGeom>
              <a:avLst/>
              <a:gdLst>
                <a:gd name="T0" fmla="*/ 18908 w 112"/>
                <a:gd name="T1" fmla="*/ 4518 h 26"/>
                <a:gd name="T2" fmla="*/ 23019 w 112"/>
                <a:gd name="T3" fmla="*/ 4518 h 26"/>
                <a:gd name="T4" fmla="*/ 27129 w 112"/>
                <a:gd name="T5" fmla="*/ 6777 h 26"/>
                <a:gd name="T6" fmla="*/ 30417 w 112"/>
                <a:gd name="T7" fmla="*/ 9036 h 26"/>
                <a:gd name="T8" fmla="*/ 34528 w 112"/>
                <a:gd name="T9" fmla="*/ 13555 h 26"/>
                <a:gd name="T10" fmla="*/ 37816 w 112"/>
                <a:gd name="T11" fmla="*/ 20332 h 26"/>
                <a:gd name="T12" fmla="*/ 41104 w 112"/>
                <a:gd name="T13" fmla="*/ 27109 h 26"/>
                <a:gd name="T14" fmla="*/ 43571 w 112"/>
                <a:gd name="T15" fmla="*/ 36146 h 26"/>
                <a:gd name="T16" fmla="*/ 46037 w 112"/>
                <a:gd name="T17" fmla="*/ 45182 h 26"/>
                <a:gd name="T18" fmla="*/ 45215 w 112"/>
                <a:gd name="T19" fmla="*/ 49701 h 26"/>
                <a:gd name="T20" fmla="*/ 43160 w 112"/>
                <a:gd name="T21" fmla="*/ 51960 h 26"/>
                <a:gd name="T22" fmla="*/ 41516 w 112"/>
                <a:gd name="T23" fmla="*/ 56478 h 26"/>
                <a:gd name="T24" fmla="*/ 39049 w 112"/>
                <a:gd name="T25" fmla="*/ 56478 h 26"/>
                <a:gd name="T26" fmla="*/ 35761 w 112"/>
                <a:gd name="T27" fmla="*/ 58737 h 26"/>
                <a:gd name="T28" fmla="*/ 32473 w 112"/>
                <a:gd name="T29" fmla="*/ 58737 h 26"/>
                <a:gd name="T30" fmla="*/ 27129 w 112"/>
                <a:gd name="T31" fmla="*/ 54219 h 26"/>
                <a:gd name="T32" fmla="*/ 16853 w 112"/>
                <a:gd name="T33" fmla="*/ 42923 h 26"/>
                <a:gd name="T34" fmla="*/ 6577 w 112"/>
                <a:gd name="T35" fmla="*/ 29369 h 26"/>
                <a:gd name="T36" fmla="*/ 0 w 112"/>
                <a:gd name="T37" fmla="*/ 18073 h 26"/>
                <a:gd name="T38" fmla="*/ 2055 w 112"/>
                <a:gd name="T39" fmla="*/ 9036 h 26"/>
                <a:gd name="T40" fmla="*/ 4521 w 112"/>
                <a:gd name="T41" fmla="*/ 4518 h 26"/>
                <a:gd name="T42" fmla="*/ 7399 w 112"/>
                <a:gd name="T43" fmla="*/ 2259 h 26"/>
                <a:gd name="T44" fmla="*/ 10276 w 112"/>
                <a:gd name="T45" fmla="*/ 0 h 26"/>
                <a:gd name="T46" fmla="*/ 15209 w 112"/>
                <a:gd name="T47" fmla="*/ 2259 h 26"/>
                <a:gd name="T48" fmla="*/ 18908 w 112"/>
                <a:gd name="T49" fmla="*/ 4518 h 2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74" name="Freeform 318">
              <a:extLst>
                <a:ext uri="{FF2B5EF4-FFF2-40B4-BE49-F238E27FC236}">
                  <a16:creationId xmlns:a16="http://schemas.microsoft.com/office/drawing/2014/main" id="{7D7F7C90-80F3-4A14-9470-452B1BCA9DFD}"/>
                </a:ext>
              </a:extLst>
            </p:cNvPr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8589964" y="3989389"/>
              <a:ext cx="14287" cy="58737"/>
            </a:xfrm>
            <a:custGeom>
              <a:avLst/>
              <a:gdLst>
                <a:gd name="T0" fmla="*/ 0 w 41"/>
                <a:gd name="T1" fmla="*/ 0 h 25"/>
                <a:gd name="T2" fmla="*/ 14287 w 41"/>
                <a:gd name="T3" fmla="*/ 0 h 25"/>
                <a:gd name="T4" fmla="*/ 9757 w 41"/>
                <a:gd name="T5" fmla="*/ 18796 h 25"/>
                <a:gd name="T6" fmla="*/ 6272 w 41"/>
                <a:gd name="T7" fmla="*/ 35242 h 25"/>
                <a:gd name="T8" fmla="*/ 3136 w 41"/>
                <a:gd name="T9" fmla="*/ 46990 h 25"/>
                <a:gd name="T10" fmla="*/ 0 w 41"/>
                <a:gd name="T11" fmla="*/ 58737 h 25"/>
                <a:gd name="T12" fmla="*/ 0 w 41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75" name="Freeform 319">
              <a:extLst>
                <a:ext uri="{FF2B5EF4-FFF2-40B4-BE49-F238E27FC236}">
                  <a16:creationId xmlns:a16="http://schemas.microsoft.com/office/drawing/2014/main" id="{840BCF9C-FC69-497A-A8CC-EAD40D77E2C0}"/>
                </a:ext>
              </a:extLst>
            </p:cNvPr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8423276" y="3921126"/>
              <a:ext cx="36513" cy="55563"/>
            </a:xfrm>
            <a:custGeom>
              <a:avLst/>
              <a:gdLst>
                <a:gd name="T0" fmla="*/ 0 w 81"/>
                <a:gd name="T1" fmla="*/ 55563 h 31"/>
                <a:gd name="T2" fmla="*/ 0 w 81"/>
                <a:gd name="T3" fmla="*/ 39432 h 31"/>
                <a:gd name="T4" fmla="*/ 0 w 81"/>
                <a:gd name="T5" fmla="*/ 23301 h 31"/>
                <a:gd name="T6" fmla="*/ 0 w 81"/>
                <a:gd name="T7" fmla="*/ 17924 h 31"/>
                <a:gd name="T8" fmla="*/ 902 w 81"/>
                <a:gd name="T9" fmla="*/ 14339 h 31"/>
                <a:gd name="T10" fmla="*/ 1352 w 81"/>
                <a:gd name="T11" fmla="*/ 10754 h 31"/>
                <a:gd name="T12" fmla="*/ 1803 w 81"/>
                <a:gd name="T13" fmla="*/ 7169 h 31"/>
                <a:gd name="T14" fmla="*/ 3606 w 81"/>
                <a:gd name="T15" fmla="*/ 3585 h 31"/>
                <a:gd name="T16" fmla="*/ 6311 w 81"/>
                <a:gd name="T17" fmla="*/ 0 h 31"/>
                <a:gd name="T18" fmla="*/ 11720 w 81"/>
                <a:gd name="T19" fmla="*/ 1792 h 31"/>
                <a:gd name="T20" fmla="*/ 18482 w 81"/>
                <a:gd name="T21" fmla="*/ 1792 h 31"/>
                <a:gd name="T22" fmla="*/ 25244 w 81"/>
                <a:gd name="T23" fmla="*/ 1792 h 31"/>
                <a:gd name="T24" fmla="*/ 29301 w 81"/>
                <a:gd name="T25" fmla="*/ 1792 h 31"/>
                <a:gd name="T26" fmla="*/ 32907 w 81"/>
                <a:gd name="T27" fmla="*/ 1792 h 31"/>
                <a:gd name="T28" fmla="*/ 36513 w 81"/>
                <a:gd name="T29" fmla="*/ 1792 h 31"/>
                <a:gd name="T30" fmla="*/ 32907 w 81"/>
                <a:gd name="T31" fmla="*/ 10754 h 31"/>
                <a:gd name="T32" fmla="*/ 30202 w 81"/>
                <a:gd name="T33" fmla="*/ 17924 h 31"/>
                <a:gd name="T34" fmla="*/ 28850 w 81"/>
                <a:gd name="T35" fmla="*/ 25093 h 31"/>
                <a:gd name="T36" fmla="*/ 27948 w 81"/>
                <a:gd name="T37" fmla="*/ 32262 h 31"/>
                <a:gd name="T38" fmla="*/ 26596 w 81"/>
                <a:gd name="T39" fmla="*/ 37639 h 31"/>
                <a:gd name="T40" fmla="*/ 24342 w 81"/>
                <a:gd name="T41" fmla="*/ 41224 h 31"/>
                <a:gd name="T42" fmla="*/ 21187 w 81"/>
                <a:gd name="T43" fmla="*/ 44809 h 31"/>
                <a:gd name="T44" fmla="*/ 15326 w 81"/>
                <a:gd name="T45" fmla="*/ 44809 h 31"/>
                <a:gd name="T46" fmla="*/ 0 w 81"/>
                <a:gd name="T47" fmla="*/ 55563 h 3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76" name="Freeform 320">
              <a:extLst>
                <a:ext uri="{FF2B5EF4-FFF2-40B4-BE49-F238E27FC236}">
                  <a16:creationId xmlns:a16="http://schemas.microsoft.com/office/drawing/2014/main" id="{EAB8AD91-AD6D-419C-AE27-B63E043B5549}"/>
                </a:ext>
              </a:extLst>
            </p:cNvPr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8467725" y="3906838"/>
              <a:ext cx="39688" cy="55562"/>
            </a:xfrm>
            <a:custGeom>
              <a:avLst/>
              <a:gdLst>
                <a:gd name="T0" fmla="*/ 892 w 89"/>
                <a:gd name="T1" fmla="*/ 55562 h 49"/>
                <a:gd name="T2" fmla="*/ 39688 w 89"/>
                <a:gd name="T3" fmla="*/ 55562 h 49"/>
                <a:gd name="T4" fmla="*/ 34783 w 89"/>
                <a:gd name="T5" fmla="*/ 46491 h 49"/>
                <a:gd name="T6" fmla="*/ 30323 w 89"/>
                <a:gd name="T7" fmla="*/ 39687 h 49"/>
                <a:gd name="T8" fmla="*/ 25418 w 89"/>
                <a:gd name="T9" fmla="*/ 34018 h 49"/>
                <a:gd name="T10" fmla="*/ 20513 w 89"/>
                <a:gd name="T11" fmla="*/ 28348 h 49"/>
                <a:gd name="T12" fmla="*/ 16054 w 89"/>
                <a:gd name="T13" fmla="*/ 23812 h 49"/>
                <a:gd name="T14" fmla="*/ 11594 w 89"/>
                <a:gd name="T15" fmla="*/ 15875 h 49"/>
                <a:gd name="T16" fmla="*/ 7135 w 89"/>
                <a:gd name="T17" fmla="*/ 9071 h 49"/>
                <a:gd name="T18" fmla="*/ 4013 w 89"/>
                <a:gd name="T19" fmla="*/ 0 h 49"/>
                <a:gd name="T20" fmla="*/ 1784 w 89"/>
                <a:gd name="T21" fmla="*/ 11339 h 49"/>
                <a:gd name="T22" fmla="*/ 446 w 89"/>
                <a:gd name="T23" fmla="*/ 26080 h 49"/>
                <a:gd name="T24" fmla="*/ 0 w 89"/>
                <a:gd name="T25" fmla="*/ 32884 h 49"/>
                <a:gd name="T26" fmla="*/ 0 w 89"/>
                <a:gd name="T27" fmla="*/ 40821 h 49"/>
                <a:gd name="T28" fmla="*/ 0 w 89"/>
                <a:gd name="T29" fmla="*/ 48758 h 49"/>
                <a:gd name="T30" fmla="*/ 892 w 89"/>
                <a:gd name="T31" fmla="*/ 55562 h 4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77" name="Freeform 321">
              <a:extLst>
                <a:ext uri="{FF2B5EF4-FFF2-40B4-BE49-F238E27FC236}">
                  <a16:creationId xmlns:a16="http://schemas.microsoft.com/office/drawing/2014/main" id="{D4C2001A-BC7C-429B-875B-AC71BE36BE06}"/>
                </a:ext>
              </a:extLst>
            </p:cNvPr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8520113" y="3916364"/>
              <a:ext cx="36512" cy="58737"/>
            </a:xfrm>
            <a:custGeom>
              <a:avLst/>
              <a:gdLst>
                <a:gd name="T0" fmla="*/ 0 w 86"/>
                <a:gd name="T1" fmla="*/ 26815 h 46"/>
                <a:gd name="T2" fmla="*/ 5944 w 86"/>
                <a:gd name="T3" fmla="*/ 33199 h 46"/>
                <a:gd name="T4" fmla="*/ 10614 w 86"/>
                <a:gd name="T5" fmla="*/ 37030 h 46"/>
                <a:gd name="T6" fmla="*/ 12737 w 86"/>
                <a:gd name="T7" fmla="*/ 38307 h 46"/>
                <a:gd name="T8" fmla="*/ 15284 w 86"/>
                <a:gd name="T9" fmla="*/ 38307 h 46"/>
                <a:gd name="T10" fmla="*/ 17407 w 86"/>
                <a:gd name="T11" fmla="*/ 37030 h 46"/>
                <a:gd name="T12" fmla="*/ 19530 w 86"/>
                <a:gd name="T13" fmla="*/ 34476 h 46"/>
                <a:gd name="T14" fmla="*/ 19530 w 86"/>
                <a:gd name="T15" fmla="*/ 45968 h 46"/>
                <a:gd name="T16" fmla="*/ 19530 w 86"/>
                <a:gd name="T17" fmla="*/ 58737 h 46"/>
                <a:gd name="T18" fmla="*/ 23775 w 86"/>
                <a:gd name="T19" fmla="*/ 57460 h 46"/>
                <a:gd name="T20" fmla="*/ 28445 w 86"/>
                <a:gd name="T21" fmla="*/ 54906 h 46"/>
                <a:gd name="T22" fmla="*/ 32691 w 86"/>
                <a:gd name="T23" fmla="*/ 51076 h 46"/>
                <a:gd name="T24" fmla="*/ 36512 w 86"/>
                <a:gd name="T25" fmla="*/ 51076 h 46"/>
                <a:gd name="T26" fmla="*/ 35238 w 86"/>
                <a:gd name="T27" fmla="*/ 40861 h 46"/>
                <a:gd name="T28" fmla="*/ 33965 w 86"/>
                <a:gd name="T29" fmla="*/ 31922 h 46"/>
                <a:gd name="T30" fmla="*/ 31417 w 86"/>
                <a:gd name="T31" fmla="*/ 24261 h 46"/>
                <a:gd name="T32" fmla="*/ 29719 w 86"/>
                <a:gd name="T33" fmla="*/ 17876 h 46"/>
                <a:gd name="T34" fmla="*/ 27172 w 86"/>
                <a:gd name="T35" fmla="*/ 11492 h 46"/>
                <a:gd name="T36" fmla="*/ 24624 w 86"/>
                <a:gd name="T37" fmla="*/ 7661 h 46"/>
                <a:gd name="T38" fmla="*/ 21652 w 86"/>
                <a:gd name="T39" fmla="*/ 3831 h 46"/>
                <a:gd name="T40" fmla="*/ 19530 w 86"/>
                <a:gd name="T41" fmla="*/ 1277 h 46"/>
                <a:gd name="T42" fmla="*/ 16558 w 86"/>
                <a:gd name="T43" fmla="*/ 0 h 46"/>
                <a:gd name="T44" fmla="*/ 14010 w 86"/>
                <a:gd name="T45" fmla="*/ 0 h 46"/>
                <a:gd name="T46" fmla="*/ 11039 w 86"/>
                <a:gd name="T47" fmla="*/ 1277 h 46"/>
                <a:gd name="T48" fmla="*/ 8067 w 86"/>
                <a:gd name="T49" fmla="*/ 3831 h 46"/>
                <a:gd name="T50" fmla="*/ 5944 w 86"/>
                <a:gd name="T51" fmla="*/ 7661 h 46"/>
                <a:gd name="T52" fmla="*/ 3396 w 86"/>
                <a:gd name="T53" fmla="*/ 12769 h 46"/>
                <a:gd name="T54" fmla="*/ 1698 w 86"/>
                <a:gd name="T55" fmla="*/ 19153 h 46"/>
                <a:gd name="T56" fmla="*/ 0 w 86"/>
                <a:gd name="T57" fmla="*/ 26815 h 4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78" name="Freeform 322">
              <a:extLst>
                <a:ext uri="{FF2B5EF4-FFF2-40B4-BE49-F238E27FC236}">
                  <a16:creationId xmlns:a16="http://schemas.microsoft.com/office/drawing/2014/main" id="{5F36AF29-015B-47AE-A305-1E3A4C0EA946}"/>
                </a:ext>
              </a:extLst>
            </p:cNvPr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8572500" y="3921126"/>
              <a:ext cx="25400" cy="55563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55563 h 18"/>
                <a:gd name="T4" fmla="*/ 16790 w 59"/>
                <a:gd name="T5" fmla="*/ 55563 h 18"/>
                <a:gd name="T6" fmla="*/ 25400 w 59"/>
                <a:gd name="T7" fmla="*/ 18521 h 18"/>
                <a:gd name="T8" fmla="*/ 21956 w 59"/>
                <a:gd name="T9" fmla="*/ 15434 h 18"/>
                <a:gd name="T10" fmla="*/ 19373 w 59"/>
                <a:gd name="T11" fmla="*/ 12347 h 18"/>
                <a:gd name="T12" fmla="*/ 15929 w 59"/>
                <a:gd name="T13" fmla="*/ 15434 h 18"/>
                <a:gd name="T14" fmla="*/ 12485 w 59"/>
                <a:gd name="T15" fmla="*/ 18521 h 18"/>
                <a:gd name="T16" fmla="*/ 9471 w 59"/>
                <a:gd name="T17" fmla="*/ 18521 h 18"/>
                <a:gd name="T18" fmla="*/ 6027 w 59"/>
                <a:gd name="T19" fmla="*/ 15434 h 18"/>
                <a:gd name="T20" fmla="*/ 3014 w 59"/>
                <a:gd name="T21" fmla="*/ 12347 h 18"/>
                <a:gd name="T22" fmla="*/ 0 w 59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79" name="Freeform 323">
              <a:extLst>
                <a:ext uri="{FF2B5EF4-FFF2-40B4-BE49-F238E27FC236}">
                  <a16:creationId xmlns:a16="http://schemas.microsoft.com/office/drawing/2014/main" id="{1D963FB3-56AC-475C-8260-74668F3D0DF7}"/>
                </a:ext>
              </a:extLst>
            </p:cNvPr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8645525" y="3913188"/>
              <a:ext cx="1588" cy="55562"/>
            </a:xfrm>
            <a:custGeom>
              <a:avLst/>
              <a:gdLst>
                <a:gd name="T0" fmla="*/ 1588 w 4"/>
                <a:gd name="T1" fmla="*/ 55562 h 19"/>
                <a:gd name="T2" fmla="*/ 1588 w 4"/>
                <a:gd name="T3" fmla="*/ 0 h 19"/>
                <a:gd name="T4" fmla="*/ 794 w 4"/>
                <a:gd name="T5" fmla="*/ 2924 h 19"/>
                <a:gd name="T6" fmla="*/ 397 w 4"/>
                <a:gd name="T7" fmla="*/ 8773 h 19"/>
                <a:gd name="T8" fmla="*/ 0 w 4"/>
                <a:gd name="T9" fmla="*/ 17546 h 19"/>
                <a:gd name="T10" fmla="*/ 0 w 4"/>
                <a:gd name="T11" fmla="*/ 29243 h 19"/>
                <a:gd name="T12" fmla="*/ 0 w 4"/>
                <a:gd name="T13" fmla="*/ 40940 h 19"/>
                <a:gd name="T14" fmla="*/ 397 w 4"/>
                <a:gd name="T15" fmla="*/ 46789 h 19"/>
                <a:gd name="T16" fmla="*/ 794 w 4"/>
                <a:gd name="T17" fmla="*/ 55562 h 19"/>
                <a:gd name="T18" fmla="*/ 1588 w 4"/>
                <a:gd name="T19" fmla="*/ 55562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0" name="Freeform 324">
              <a:extLst>
                <a:ext uri="{FF2B5EF4-FFF2-40B4-BE49-F238E27FC236}">
                  <a16:creationId xmlns:a16="http://schemas.microsoft.com/office/drawing/2014/main" id="{08BCB965-DEE8-44AE-A379-2851B40440A5}"/>
                </a:ext>
              </a:extLst>
            </p:cNvPr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8220075" y="3727450"/>
              <a:ext cx="20638" cy="58738"/>
            </a:xfrm>
            <a:custGeom>
              <a:avLst/>
              <a:gdLst>
                <a:gd name="T0" fmla="*/ 0 w 46"/>
                <a:gd name="T1" fmla="*/ 58738 h 50"/>
                <a:gd name="T2" fmla="*/ 3141 w 46"/>
                <a:gd name="T3" fmla="*/ 0 h 50"/>
                <a:gd name="T4" fmla="*/ 10319 w 46"/>
                <a:gd name="T5" fmla="*/ 9398 h 50"/>
                <a:gd name="T6" fmla="*/ 15254 w 46"/>
                <a:gd name="T7" fmla="*/ 16447 h 50"/>
                <a:gd name="T8" fmla="*/ 16600 w 46"/>
                <a:gd name="T9" fmla="*/ 21146 h 50"/>
                <a:gd name="T10" fmla="*/ 18395 w 46"/>
                <a:gd name="T11" fmla="*/ 25845 h 50"/>
                <a:gd name="T12" fmla="*/ 19741 w 46"/>
                <a:gd name="T13" fmla="*/ 35243 h 50"/>
                <a:gd name="T14" fmla="*/ 20638 w 46"/>
                <a:gd name="T15" fmla="*/ 44641 h 50"/>
                <a:gd name="T16" fmla="*/ 15254 w 46"/>
                <a:gd name="T17" fmla="*/ 49340 h 50"/>
                <a:gd name="T18" fmla="*/ 9422 w 46"/>
                <a:gd name="T19" fmla="*/ 54039 h 50"/>
                <a:gd name="T20" fmla="*/ 3589 w 46"/>
                <a:gd name="T21" fmla="*/ 57563 h 50"/>
                <a:gd name="T22" fmla="*/ 0 w 46"/>
                <a:gd name="T23" fmla="*/ 58738 h 5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1" name="Freeform 325">
              <a:extLst>
                <a:ext uri="{FF2B5EF4-FFF2-40B4-BE49-F238E27FC236}">
                  <a16:creationId xmlns:a16="http://schemas.microsoft.com/office/drawing/2014/main" id="{2A91B94E-CD80-45CC-A644-6AA1C84A9B68}"/>
                </a:ext>
              </a:extLst>
            </p:cNvPr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8166101" y="3700464"/>
              <a:ext cx="30163" cy="58737"/>
            </a:xfrm>
            <a:custGeom>
              <a:avLst/>
              <a:gdLst>
                <a:gd name="T0" fmla="*/ 0 w 66"/>
                <a:gd name="T1" fmla="*/ 0 h 80"/>
                <a:gd name="T2" fmla="*/ 4570 w 66"/>
                <a:gd name="T3" fmla="*/ 0 h 80"/>
                <a:gd name="T4" fmla="*/ 8226 w 66"/>
                <a:gd name="T5" fmla="*/ 0 h 80"/>
                <a:gd name="T6" fmla="*/ 11882 w 66"/>
                <a:gd name="T7" fmla="*/ 0 h 80"/>
                <a:gd name="T8" fmla="*/ 15082 w 66"/>
                <a:gd name="T9" fmla="*/ 0 h 80"/>
                <a:gd name="T10" fmla="*/ 15082 w 66"/>
                <a:gd name="T11" fmla="*/ 5139 h 80"/>
                <a:gd name="T12" fmla="*/ 15539 w 66"/>
                <a:gd name="T13" fmla="*/ 10279 h 80"/>
                <a:gd name="T14" fmla="*/ 16453 w 66"/>
                <a:gd name="T15" fmla="*/ 15418 h 80"/>
                <a:gd name="T16" fmla="*/ 17367 w 66"/>
                <a:gd name="T17" fmla="*/ 19824 h 80"/>
                <a:gd name="T18" fmla="*/ 20109 w 66"/>
                <a:gd name="T19" fmla="*/ 26432 h 80"/>
                <a:gd name="T20" fmla="*/ 22394 w 66"/>
                <a:gd name="T21" fmla="*/ 33040 h 80"/>
                <a:gd name="T22" fmla="*/ 25593 w 66"/>
                <a:gd name="T23" fmla="*/ 38179 h 80"/>
                <a:gd name="T24" fmla="*/ 27878 w 66"/>
                <a:gd name="T25" fmla="*/ 44053 h 80"/>
                <a:gd name="T26" fmla="*/ 28335 w 66"/>
                <a:gd name="T27" fmla="*/ 47724 h 80"/>
                <a:gd name="T28" fmla="*/ 29706 w 66"/>
                <a:gd name="T29" fmla="*/ 50661 h 80"/>
                <a:gd name="T30" fmla="*/ 30163 w 66"/>
                <a:gd name="T31" fmla="*/ 55066 h 80"/>
                <a:gd name="T32" fmla="*/ 30163 w 66"/>
                <a:gd name="T33" fmla="*/ 58737 h 80"/>
                <a:gd name="T34" fmla="*/ 0 w 66"/>
                <a:gd name="T35" fmla="*/ 13216 h 80"/>
                <a:gd name="T36" fmla="*/ 0 w 66"/>
                <a:gd name="T37" fmla="*/ 0 h 8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2" name="Freeform 326">
              <a:extLst>
                <a:ext uri="{FF2B5EF4-FFF2-40B4-BE49-F238E27FC236}">
                  <a16:creationId xmlns:a16="http://schemas.microsoft.com/office/drawing/2014/main" id="{36CC27CE-40AE-4587-9FAF-815FA1B7D7C5}"/>
                </a:ext>
              </a:extLst>
            </p:cNvPr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8001000" y="3684588"/>
              <a:ext cx="7938" cy="57150"/>
            </a:xfrm>
            <a:custGeom>
              <a:avLst/>
              <a:gdLst>
                <a:gd name="T0" fmla="*/ 7938 w 20"/>
                <a:gd name="T1" fmla="*/ 57150 h 48"/>
                <a:gd name="T2" fmla="*/ 7938 w 20"/>
                <a:gd name="T3" fmla="*/ 46434 h 48"/>
                <a:gd name="T4" fmla="*/ 7541 w 20"/>
                <a:gd name="T5" fmla="*/ 38100 h 48"/>
                <a:gd name="T6" fmla="*/ 6350 w 20"/>
                <a:gd name="T7" fmla="*/ 29766 h 48"/>
                <a:gd name="T8" fmla="*/ 5557 w 20"/>
                <a:gd name="T9" fmla="*/ 22622 h 48"/>
                <a:gd name="T10" fmla="*/ 4763 w 20"/>
                <a:gd name="T11" fmla="*/ 16669 h 48"/>
                <a:gd name="T12" fmla="*/ 3572 w 20"/>
                <a:gd name="T13" fmla="*/ 10716 h 48"/>
                <a:gd name="T14" fmla="*/ 1588 w 20"/>
                <a:gd name="T15" fmla="*/ 4763 h 48"/>
                <a:gd name="T16" fmla="*/ 0 w 20"/>
                <a:gd name="T17" fmla="*/ 0 h 48"/>
                <a:gd name="T18" fmla="*/ 0 w 20"/>
                <a:gd name="T19" fmla="*/ 9525 h 48"/>
                <a:gd name="T20" fmla="*/ 794 w 20"/>
                <a:gd name="T21" fmla="*/ 20241 h 48"/>
                <a:gd name="T22" fmla="*/ 1588 w 20"/>
                <a:gd name="T23" fmla="*/ 28575 h 48"/>
                <a:gd name="T24" fmla="*/ 3175 w 20"/>
                <a:gd name="T25" fmla="*/ 36909 h 48"/>
                <a:gd name="T26" fmla="*/ 5557 w 20"/>
                <a:gd name="T27" fmla="*/ 48816 h 48"/>
                <a:gd name="T28" fmla="*/ 7938 w 20"/>
                <a:gd name="T29" fmla="*/ 57150 h 4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3" name="Line 327" descr="Horizontal dunkel">
              <a:extLst>
                <a:ext uri="{FF2B5EF4-FFF2-40B4-BE49-F238E27FC236}">
                  <a16:creationId xmlns:a16="http://schemas.microsoft.com/office/drawing/2014/main" id="{D933743E-0AE1-4E54-8894-578F5E7E5C5C}"/>
                </a:ext>
              </a:extLst>
            </p:cNvPr>
            <p:cNvSpPr>
              <a:spLocks noChangeShapeType="1"/>
            </p:cNvSpPr>
            <p:nvPr>
              <p:custDataLst>
                <p:tags r:id="rId230"/>
              </p:custDataLst>
            </p:nvPr>
          </p:nvSpPr>
          <p:spPr bwMode="auto">
            <a:xfrm>
              <a:off x="8026401" y="3721100"/>
              <a:ext cx="4763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4" name="Freeform 328">
              <a:extLst>
                <a:ext uri="{FF2B5EF4-FFF2-40B4-BE49-F238E27FC236}">
                  <a16:creationId xmlns:a16="http://schemas.microsoft.com/office/drawing/2014/main" id="{41F2A8FA-DD54-47B8-9042-FA0D3E783D88}"/>
                </a:ext>
              </a:extLst>
            </p:cNvPr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8023225" y="3721100"/>
              <a:ext cx="7938" cy="57150"/>
            </a:xfrm>
            <a:custGeom>
              <a:avLst/>
              <a:gdLst>
                <a:gd name="T0" fmla="*/ 7938 w 20"/>
                <a:gd name="T1" fmla="*/ 57150 h 12"/>
                <a:gd name="T2" fmla="*/ 7938 w 20"/>
                <a:gd name="T3" fmla="*/ 38100 h 12"/>
                <a:gd name="T4" fmla="*/ 7144 w 20"/>
                <a:gd name="T5" fmla="*/ 23813 h 12"/>
                <a:gd name="T6" fmla="*/ 5954 w 20"/>
                <a:gd name="T7" fmla="*/ 14288 h 12"/>
                <a:gd name="T8" fmla="*/ 5160 w 20"/>
                <a:gd name="T9" fmla="*/ 9525 h 12"/>
                <a:gd name="T10" fmla="*/ 2778 w 20"/>
                <a:gd name="T11" fmla="*/ 0 h 12"/>
                <a:gd name="T12" fmla="*/ 0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5" name="Freeform 329">
              <a:extLst>
                <a:ext uri="{FF2B5EF4-FFF2-40B4-BE49-F238E27FC236}">
                  <a16:creationId xmlns:a16="http://schemas.microsoft.com/office/drawing/2014/main" id="{33F5AAC4-922D-497D-97F2-54FD6BA83E89}"/>
                </a:ext>
              </a:extLst>
            </p:cNvPr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7924801" y="3565525"/>
              <a:ext cx="22225" cy="57150"/>
            </a:xfrm>
            <a:custGeom>
              <a:avLst/>
              <a:gdLst>
                <a:gd name="T0" fmla="*/ 2935 w 53"/>
                <a:gd name="T1" fmla="*/ 0 h 30"/>
                <a:gd name="T2" fmla="*/ 4613 w 53"/>
                <a:gd name="T3" fmla="*/ 7620 h 30"/>
                <a:gd name="T4" fmla="*/ 9645 w 53"/>
                <a:gd name="T5" fmla="*/ 24765 h 30"/>
                <a:gd name="T6" fmla="*/ 15516 w 53"/>
                <a:gd name="T7" fmla="*/ 43815 h 30"/>
                <a:gd name="T8" fmla="*/ 19290 w 53"/>
                <a:gd name="T9" fmla="*/ 57150 h 30"/>
                <a:gd name="T10" fmla="*/ 20548 w 53"/>
                <a:gd name="T11" fmla="*/ 34290 h 30"/>
                <a:gd name="T12" fmla="*/ 22225 w 53"/>
                <a:gd name="T13" fmla="*/ 11430 h 30"/>
                <a:gd name="T14" fmla="*/ 15516 w 53"/>
                <a:gd name="T15" fmla="*/ 9525 h 30"/>
                <a:gd name="T16" fmla="*/ 10903 w 53"/>
                <a:gd name="T17" fmla="*/ 5715 h 30"/>
                <a:gd name="T18" fmla="*/ 8806 w 53"/>
                <a:gd name="T19" fmla="*/ 5715 h 30"/>
                <a:gd name="T20" fmla="*/ 6290 w 53"/>
                <a:gd name="T21" fmla="*/ 5715 h 30"/>
                <a:gd name="T22" fmla="*/ 3774 w 53"/>
                <a:gd name="T23" fmla="*/ 7620 h 30"/>
                <a:gd name="T24" fmla="*/ 0 w 53"/>
                <a:gd name="T25" fmla="*/ 11430 h 30"/>
                <a:gd name="T26" fmla="*/ 2935 w 53"/>
                <a:gd name="T27" fmla="*/ 0 h 3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6" name="Freeform 330">
              <a:extLst>
                <a:ext uri="{FF2B5EF4-FFF2-40B4-BE49-F238E27FC236}">
                  <a16:creationId xmlns:a16="http://schemas.microsoft.com/office/drawing/2014/main" id="{0C0F2009-2A38-4CFC-9008-647B4EB5A3FF}"/>
                </a:ext>
              </a:extLst>
            </p:cNvPr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8453438" y="3929063"/>
              <a:ext cx="11112" cy="57150"/>
            </a:xfrm>
            <a:custGeom>
              <a:avLst/>
              <a:gdLst>
                <a:gd name="T0" fmla="*/ 0 w 33"/>
                <a:gd name="T1" fmla="*/ 11061 h 31"/>
                <a:gd name="T2" fmla="*/ 1347 w 33"/>
                <a:gd name="T3" fmla="*/ 38715 h 31"/>
                <a:gd name="T4" fmla="*/ 2357 w 33"/>
                <a:gd name="T5" fmla="*/ 57150 h 31"/>
                <a:gd name="T6" fmla="*/ 7408 w 33"/>
                <a:gd name="T7" fmla="*/ 57150 h 31"/>
                <a:gd name="T8" fmla="*/ 11112 w 33"/>
                <a:gd name="T9" fmla="*/ 57150 h 31"/>
                <a:gd name="T10" fmla="*/ 11112 w 33"/>
                <a:gd name="T11" fmla="*/ 0 h 31"/>
                <a:gd name="T12" fmla="*/ 9092 w 33"/>
                <a:gd name="T13" fmla="*/ 0 h 31"/>
                <a:gd name="T14" fmla="*/ 6398 w 33"/>
                <a:gd name="T15" fmla="*/ 0 h 31"/>
                <a:gd name="T16" fmla="*/ 3367 w 33"/>
                <a:gd name="T17" fmla="*/ 0 h 31"/>
                <a:gd name="T18" fmla="*/ 0 w 33"/>
                <a:gd name="T19" fmla="*/ 0 h 31"/>
                <a:gd name="T20" fmla="*/ 0 w 33"/>
                <a:gd name="T21" fmla="*/ 11061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7" name="Freeform 331">
              <a:extLst>
                <a:ext uri="{FF2B5EF4-FFF2-40B4-BE49-F238E27FC236}">
                  <a16:creationId xmlns:a16="http://schemas.microsoft.com/office/drawing/2014/main" id="{FF9654CC-CA29-4650-A861-F916791AC51B}"/>
                </a:ext>
              </a:extLst>
            </p:cNvPr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8969376" y="3886201"/>
              <a:ext cx="28575" cy="55563"/>
            </a:xfrm>
            <a:custGeom>
              <a:avLst/>
              <a:gdLst>
                <a:gd name="T0" fmla="*/ 8353 w 65"/>
                <a:gd name="T1" fmla="*/ 55563 h 68"/>
                <a:gd name="T2" fmla="*/ 7034 w 65"/>
                <a:gd name="T3" fmla="*/ 55563 h 68"/>
                <a:gd name="T4" fmla="*/ 6155 w 65"/>
                <a:gd name="T5" fmla="*/ 53929 h 68"/>
                <a:gd name="T6" fmla="*/ 4836 w 65"/>
                <a:gd name="T7" fmla="*/ 52295 h 68"/>
                <a:gd name="T8" fmla="*/ 3077 w 65"/>
                <a:gd name="T9" fmla="*/ 49843 h 68"/>
                <a:gd name="T10" fmla="*/ 1758 w 65"/>
                <a:gd name="T11" fmla="*/ 48209 h 68"/>
                <a:gd name="T12" fmla="*/ 879 w 65"/>
                <a:gd name="T13" fmla="*/ 44941 h 68"/>
                <a:gd name="T14" fmla="*/ 0 w 65"/>
                <a:gd name="T15" fmla="*/ 42489 h 68"/>
                <a:gd name="T16" fmla="*/ 0 w 65"/>
                <a:gd name="T17" fmla="*/ 40038 h 68"/>
                <a:gd name="T18" fmla="*/ 0 w 65"/>
                <a:gd name="T19" fmla="*/ 31050 h 68"/>
                <a:gd name="T20" fmla="*/ 879 w 65"/>
                <a:gd name="T21" fmla="*/ 23696 h 68"/>
                <a:gd name="T22" fmla="*/ 2198 w 65"/>
                <a:gd name="T23" fmla="*/ 17159 h 68"/>
                <a:gd name="T24" fmla="*/ 3957 w 65"/>
                <a:gd name="T25" fmla="*/ 11439 h 68"/>
                <a:gd name="T26" fmla="*/ 6594 w 65"/>
                <a:gd name="T27" fmla="*/ 6537 h 68"/>
                <a:gd name="T28" fmla="*/ 9672 w 65"/>
                <a:gd name="T29" fmla="*/ 3268 h 68"/>
                <a:gd name="T30" fmla="*/ 13188 w 65"/>
                <a:gd name="T31" fmla="*/ 1634 h 68"/>
                <a:gd name="T32" fmla="*/ 17145 w 65"/>
                <a:gd name="T33" fmla="*/ 0 h 68"/>
                <a:gd name="T34" fmla="*/ 22860 w 65"/>
                <a:gd name="T35" fmla="*/ 0 h 68"/>
                <a:gd name="T36" fmla="*/ 28575 w 65"/>
                <a:gd name="T37" fmla="*/ 0 h 68"/>
                <a:gd name="T38" fmla="*/ 28575 w 65"/>
                <a:gd name="T39" fmla="*/ 35135 h 68"/>
                <a:gd name="T40" fmla="*/ 24618 w 65"/>
                <a:gd name="T41" fmla="*/ 42489 h 68"/>
                <a:gd name="T42" fmla="*/ 19783 w 65"/>
                <a:gd name="T43" fmla="*/ 49843 h 68"/>
                <a:gd name="T44" fmla="*/ 17145 w 65"/>
                <a:gd name="T45" fmla="*/ 52295 h 68"/>
                <a:gd name="T46" fmla="*/ 14947 w 65"/>
                <a:gd name="T47" fmla="*/ 53929 h 68"/>
                <a:gd name="T48" fmla="*/ 11870 w 65"/>
                <a:gd name="T49" fmla="*/ 55563 h 68"/>
                <a:gd name="T50" fmla="*/ 8353 w 65"/>
                <a:gd name="T51" fmla="*/ 55563 h 6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8" name="Freeform 332">
              <a:extLst>
                <a:ext uri="{FF2B5EF4-FFF2-40B4-BE49-F238E27FC236}">
                  <a16:creationId xmlns:a16="http://schemas.microsoft.com/office/drawing/2014/main" id="{9CBD4A43-4948-478B-BFCE-104BCF42C072}"/>
                </a:ext>
              </a:extLst>
            </p:cNvPr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7907339" y="3468688"/>
              <a:ext cx="274637" cy="368300"/>
            </a:xfrm>
            <a:custGeom>
              <a:avLst/>
              <a:gdLst>
                <a:gd name="T0" fmla="*/ 220588 w 625"/>
                <a:gd name="T1" fmla="*/ 178843 h 694"/>
                <a:gd name="T2" fmla="*/ 212679 w 625"/>
                <a:gd name="T3" fmla="*/ 180966 h 694"/>
                <a:gd name="T4" fmla="*/ 210482 w 625"/>
                <a:gd name="T5" fmla="*/ 202724 h 694"/>
                <a:gd name="T6" fmla="*/ 226301 w 625"/>
                <a:gd name="T7" fmla="*/ 214399 h 694"/>
                <a:gd name="T8" fmla="*/ 234650 w 625"/>
                <a:gd name="T9" fmla="*/ 214930 h 694"/>
                <a:gd name="T10" fmla="*/ 241681 w 625"/>
                <a:gd name="T11" fmla="*/ 225013 h 694"/>
                <a:gd name="T12" fmla="*/ 246075 w 625"/>
                <a:gd name="T13" fmla="*/ 243587 h 694"/>
                <a:gd name="T14" fmla="*/ 251348 w 625"/>
                <a:gd name="T15" fmla="*/ 251548 h 694"/>
                <a:gd name="T16" fmla="*/ 258378 w 625"/>
                <a:gd name="T17" fmla="*/ 256324 h 694"/>
                <a:gd name="T18" fmla="*/ 269803 w 625"/>
                <a:gd name="T19" fmla="*/ 258447 h 694"/>
                <a:gd name="T20" fmla="*/ 274637 w 625"/>
                <a:gd name="T21" fmla="*/ 267999 h 694"/>
                <a:gd name="T22" fmla="*/ 274637 w 625"/>
                <a:gd name="T23" fmla="*/ 286043 h 694"/>
                <a:gd name="T24" fmla="*/ 271561 w 625"/>
                <a:gd name="T25" fmla="*/ 320007 h 694"/>
                <a:gd name="T26" fmla="*/ 268485 w 625"/>
                <a:gd name="T27" fmla="*/ 356625 h 694"/>
                <a:gd name="T28" fmla="*/ 246954 w 625"/>
                <a:gd name="T29" fmla="*/ 367769 h 694"/>
                <a:gd name="T30" fmla="*/ 236847 w 625"/>
                <a:gd name="T31" fmla="*/ 367769 h 694"/>
                <a:gd name="T32" fmla="*/ 173131 w 625"/>
                <a:gd name="T33" fmla="*/ 299310 h 694"/>
                <a:gd name="T34" fmla="*/ 174449 w 625"/>
                <a:gd name="T35" fmla="*/ 292942 h 694"/>
                <a:gd name="T36" fmla="*/ 173131 w 625"/>
                <a:gd name="T37" fmla="*/ 286043 h 694"/>
                <a:gd name="T38" fmla="*/ 148524 w 625"/>
                <a:gd name="T39" fmla="*/ 258978 h 694"/>
                <a:gd name="T40" fmla="*/ 134023 w 625"/>
                <a:gd name="T41" fmla="*/ 240403 h 694"/>
                <a:gd name="T42" fmla="*/ 128750 w 625"/>
                <a:gd name="T43" fmla="*/ 222360 h 694"/>
                <a:gd name="T44" fmla="*/ 127871 w 625"/>
                <a:gd name="T45" fmla="*/ 202194 h 694"/>
                <a:gd name="T46" fmla="*/ 125234 w 625"/>
                <a:gd name="T47" fmla="*/ 191049 h 694"/>
                <a:gd name="T48" fmla="*/ 117764 w 625"/>
                <a:gd name="T49" fmla="*/ 181497 h 694"/>
                <a:gd name="T50" fmla="*/ 105900 w 625"/>
                <a:gd name="T51" fmla="*/ 164514 h 694"/>
                <a:gd name="T52" fmla="*/ 98430 w 625"/>
                <a:gd name="T53" fmla="*/ 142756 h 694"/>
                <a:gd name="T54" fmla="*/ 93596 w 625"/>
                <a:gd name="T55" fmla="*/ 126305 h 694"/>
                <a:gd name="T56" fmla="*/ 83490 w 625"/>
                <a:gd name="T57" fmla="*/ 112507 h 694"/>
                <a:gd name="T58" fmla="*/ 65913 w 625"/>
                <a:gd name="T59" fmla="*/ 90748 h 694"/>
                <a:gd name="T60" fmla="*/ 59761 w 625"/>
                <a:gd name="T61" fmla="*/ 77481 h 694"/>
                <a:gd name="T62" fmla="*/ 49215 w 625"/>
                <a:gd name="T63" fmla="*/ 70051 h 694"/>
                <a:gd name="T64" fmla="*/ 35154 w 625"/>
                <a:gd name="T65" fmla="*/ 59968 h 694"/>
                <a:gd name="T66" fmla="*/ 21532 w 625"/>
                <a:gd name="T67" fmla="*/ 45109 h 694"/>
                <a:gd name="T68" fmla="*/ 10107 w 625"/>
                <a:gd name="T69" fmla="*/ 27065 h 694"/>
                <a:gd name="T70" fmla="*/ 2197 w 625"/>
                <a:gd name="T71" fmla="*/ 10083 h 694"/>
                <a:gd name="T72" fmla="*/ 4394 w 625"/>
                <a:gd name="T73" fmla="*/ 2123 h 694"/>
                <a:gd name="T74" fmla="*/ 16259 w 625"/>
                <a:gd name="T75" fmla="*/ 6899 h 694"/>
                <a:gd name="T76" fmla="*/ 36911 w 625"/>
                <a:gd name="T77" fmla="*/ 8491 h 694"/>
                <a:gd name="T78" fmla="*/ 50973 w 625"/>
                <a:gd name="T79" fmla="*/ 10614 h 694"/>
                <a:gd name="T80" fmla="*/ 60640 w 625"/>
                <a:gd name="T81" fmla="*/ 14329 h 694"/>
                <a:gd name="T82" fmla="*/ 68549 w 625"/>
                <a:gd name="T83" fmla="*/ 22289 h 694"/>
                <a:gd name="T84" fmla="*/ 89642 w 625"/>
                <a:gd name="T85" fmla="*/ 57845 h 694"/>
                <a:gd name="T86" fmla="*/ 111612 w 625"/>
                <a:gd name="T87" fmla="*/ 86503 h 694"/>
                <a:gd name="T88" fmla="*/ 131386 w 625"/>
                <a:gd name="T89" fmla="*/ 107200 h 694"/>
                <a:gd name="T90" fmla="*/ 144569 w 625"/>
                <a:gd name="T91" fmla="*/ 116221 h 694"/>
                <a:gd name="T92" fmla="*/ 160827 w 625"/>
                <a:gd name="T93" fmla="*/ 120467 h 694"/>
                <a:gd name="T94" fmla="*/ 170495 w 625"/>
                <a:gd name="T95" fmla="*/ 122059 h 694"/>
                <a:gd name="T96" fmla="*/ 176207 w 625"/>
                <a:gd name="T97" fmla="*/ 127897 h 694"/>
                <a:gd name="T98" fmla="*/ 182798 w 625"/>
                <a:gd name="T99" fmla="*/ 137980 h 694"/>
                <a:gd name="T100" fmla="*/ 187632 w 625"/>
                <a:gd name="T101" fmla="*/ 140633 h 6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9" name="Freeform 333">
              <a:extLst>
                <a:ext uri="{FF2B5EF4-FFF2-40B4-BE49-F238E27FC236}">
                  <a16:creationId xmlns:a16="http://schemas.microsoft.com/office/drawing/2014/main" id="{007D61BD-7946-4F4F-82BE-0EE2B507BC90}"/>
                </a:ext>
              </a:extLst>
            </p:cNvPr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8248650" y="3517901"/>
              <a:ext cx="254000" cy="257175"/>
            </a:xfrm>
            <a:custGeom>
              <a:avLst/>
              <a:gdLst>
                <a:gd name="T0" fmla="*/ 224041 w 585"/>
                <a:gd name="T1" fmla="*/ 14606 h 493"/>
                <a:gd name="T2" fmla="*/ 214923 w 585"/>
                <a:gd name="T3" fmla="*/ 28691 h 493"/>
                <a:gd name="T4" fmla="*/ 222304 w 585"/>
                <a:gd name="T5" fmla="*/ 48514 h 493"/>
                <a:gd name="T6" fmla="*/ 231856 w 585"/>
                <a:gd name="T7" fmla="*/ 67815 h 493"/>
                <a:gd name="T8" fmla="*/ 248790 w 585"/>
                <a:gd name="T9" fmla="*/ 92333 h 493"/>
                <a:gd name="T10" fmla="*/ 251829 w 585"/>
                <a:gd name="T11" fmla="*/ 106939 h 493"/>
                <a:gd name="T12" fmla="*/ 237501 w 585"/>
                <a:gd name="T13" fmla="*/ 106417 h 493"/>
                <a:gd name="T14" fmla="*/ 224041 w 585"/>
                <a:gd name="T15" fmla="*/ 121545 h 493"/>
                <a:gd name="T16" fmla="*/ 219699 w 585"/>
                <a:gd name="T17" fmla="*/ 128327 h 493"/>
                <a:gd name="T18" fmla="*/ 224909 w 585"/>
                <a:gd name="T19" fmla="*/ 141368 h 493"/>
                <a:gd name="T20" fmla="*/ 227949 w 585"/>
                <a:gd name="T21" fmla="*/ 153366 h 493"/>
                <a:gd name="T22" fmla="*/ 219265 w 585"/>
                <a:gd name="T23" fmla="*/ 160669 h 493"/>
                <a:gd name="T24" fmla="*/ 199292 w 585"/>
                <a:gd name="T25" fmla="*/ 168494 h 493"/>
                <a:gd name="T26" fmla="*/ 192345 w 585"/>
                <a:gd name="T27" fmla="*/ 184665 h 493"/>
                <a:gd name="T28" fmla="*/ 193214 w 585"/>
                <a:gd name="T29" fmla="*/ 216486 h 493"/>
                <a:gd name="T30" fmla="*/ 186701 w 585"/>
                <a:gd name="T31" fmla="*/ 236831 h 493"/>
                <a:gd name="T32" fmla="*/ 173675 w 585"/>
                <a:gd name="T33" fmla="*/ 246220 h 493"/>
                <a:gd name="T34" fmla="*/ 160650 w 585"/>
                <a:gd name="T35" fmla="*/ 254567 h 493"/>
                <a:gd name="T36" fmla="*/ 148058 w 585"/>
                <a:gd name="T37" fmla="*/ 257175 h 493"/>
                <a:gd name="T38" fmla="*/ 142848 w 585"/>
                <a:gd name="T39" fmla="*/ 254045 h 493"/>
                <a:gd name="T40" fmla="*/ 141979 w 585"/>
                <a:gd name="T41" fmla="*/ 245699 h 493"/>
                <a:gd name="T42" fmla="*/ 131993 w 585"/>
                <a:gd name="T43" fmla="*/ 235266 h 493"/>
                <a:gd name="T44" fmla="*/ 108981 w 585"/>
                <a:gd name="T45" fmla="*/ 236831 h 493"/>
                <a:gd name="T46" fmla="*/ 95087 w 585"/>
                <a:gd name="T47" fmla="*/ 241004 h 493"/>
                <a:gd name="T48" fmla="*/ 76417 w 585"/>
                <a:gd name="T49" fmla="*/ 229527 h 493"/>
                <a:gd name="T50" fmla="*/ 52971 w 585"/>
                <a:gd name="T51" fmla="*/ 227441 h 493"/>
                <a:gd name="T52" fmla="*/ 41248 w 585"/>
                <a:gd name="T53" fmla="*/ 223789 h 493"/>
                <a:gd name="T54" fmla="*/ 35169 w 585"/>
                <a:gd name="T55" fmla="*/ 190925 h 493"/>
                <a:gd name="T56" fmla="*/ 25183 w 585"/>
                <a:gd name="T57" fmla="*/ 161712 h 493"/>
                <a:gd name="T58" fmla="*/ 15197 w 585"/>
                <a:gd name="T59" fmla="*/ 152323 h 493"/>
                <a:gd name="T60" fmla="*/ 5210 w 585"/>
                <a:gd name="T61" fmla="*/ 135630 h 493"/>
                <a:gd name="T62" fmla="*/ 2171 w 585"/>
                <a:gd name="T63" fmla="*/ 106417 h 493"/>
                <a:gd name="T64" fmla="*/ 13460 w 585"/>
                <a:gd name="T65" fmla="*/ 79813 h 493"/>
                <a:gd name="T66" fmla="*/ 23446 w 585"/>
                <a:gd name="T67" fmla="*/ 73553 h 493"/>
                <a:gd name="T68" fmla="*/ 32564 w 585"/>
                <a:gd name="T69" fmla="*/ 79291 h 493"/>
                <a:gd name="T70" fmla="*/ 42116 w 585"/>
                <a:gd name="T71" fmla="*/ 97549 h 493"/>
                <a:gd name="T72" fmla="*/ 56010 w 585"/>
                <a:gd name="T73" fmla="*/ 111634 h 493"/>
                <a:gd name="T74" fmla="*/ 73812 w 585"/>
                <a:gd name="T75" fmla="*/ 111112 h 493"/>
                <a:gd name="T76" fmla="*/ 95956 w 585"/>
                <a:gd name="T77" fmla="*/ 98592 h 493"/>
                <a:gd name="T78" fmla="*/ 101166 w 585"/>
                <a:gd name="T79" fmla="*/ 89724 h 493"/>
                <a:gd name="T80" fmla="*/ 125046 w 585"/>
                <a:gd name="T81" fmla="*/ 92854 h 493"/>
                <a:gd name="T82" fmla="*/ 141545 w 585"/>
                <a:gd name="T83" fmla="*/ 94419 h 493"/>
                <a:gd name="T84" fmla="*/ 146321 w 585"/>
                <a:gd name="T85" fmla="*/ 88681 h 493"/>
                <a:gd name="T86" fmla="*/ 157176 w 585"/>
                <a:gd name="T87" fmla="*/ 82421 h 493"/>
                <a:gd name="T88" fmla="*/ 166294 w 585"/>
                <a:gd name="T89" fmla="*/ 70945 h 493"/>
                <a:gd name="T90" fmla="*/ 180188 w 585"/>
                <a:gd name="T91" fmla="*/ 41211 h 493"/>
                <a:gd name="T92" fmla="*/ 185398 w 585"/>
                <a:gd name="T93" fmla="*/ 13041 h 493"/>
                <a:gd name="T94" fmla="*/ 194082 w 585"/>
                <a:gd name="T95" fmla="*/ 3130 h 493"/>
                <a:gd name="T96" fmla="*/ 207976 w 585"/>
                <a:gd name="T97" fmla="*/ 1043 h 4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90" name="Freeform 334">
              <a:extLst>
                <a:ext uri="{FF2B5EF4-FFF2-40B4-BE49-F238E27FC236}">
                  <a16:creationId xmlns:a16="http://schemas.microsoft.com/office/drawing/2014/main" id="{F74ADC02-69C4-45FC-8DA1-9BEBB6E196CA}"/>
                </a:ext>
              </a:extLst>
            </p:cNvPr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8604251" y="3924300"/>
              <a:ext cx="92075" cy="57150"/>
            </a:xfrm>
            <a:custGeom>
              <a:avLst/>
              <a:gdLst>
                <a:gd name="T0" fmla="*/ 0 w 212"/>
                <a:gd name="T1" fmla="*/ 57150 h 105"/>
                <a:gd name="T2" fmla="*/ 6949 w 212"/>
                <a:gd name="T3" fmla="*/ 46264 h 105"/>
                <a:gd name="T4" fmla="*/ 15201 w 212"/>
                <a:gd name="T5" fmla="*/ 37011 h 105"/>
                <a:gd name="T6" fmla="*/ 19110 w 212"/>
                <a:gd name="T7" fmla="*/ 32657 h 105"/>
                <a:gd name="T8" fmla="*/ 23453 w 212"/>
                <a:gd name="T9" fmla="*/ 28847 h 105"/>
                <a:gd name="T10" fmla="*/ 27796 w 212"/>
                <a:gd name="T11" fmla="*/ 25037 h 105"/>
                <a:gd name="T12" fmla="*/ 31705 w 212"/>
                <a:gd name="T13" fmla="*/ 20683 h 105"/>
                <a:gd name="T14" fmla="*/ 36048 w 212"/>
                <a:gd name="T15" fmla="*/ 17417 h 105"/>
                <a:gd name="T16" fmla="*/ 40826 w 212"/>
                <a:gd name="T17" fmla="*/ 14696 h 105"/>
                <a:gd name="T18" fmla="*/ 46038 w 212"/>
                <a:gd name="T19" fmla="*/ 11430 h 105"/>
                <a:gd name="T20" fmla="*/ 51249 w 212"/>
                <a:gd name="T21" fmla="*/ 8709 h 105"/>
                <a:gd name="T22" fmla="*/ 62542 w 212"/>
                <a:gd name="T23" fmla="*/ 4354 h 105"/>
                <a:gd name="T24" fmla="*/ 74702 w 212"/>
                <a:gd name="T25" fmla="*/ 0 h 105"/>
                <a:gd name="T26" fmla="*/ 92075 w 212"/>
                <a:gd name="T27" fmla="*/ 0 h 105"/>
                <a:gd name="T28" fmla="*/ 87732 w 212"/>
                <a:gd name="T29" fmla="*/ 4899 h 105"/>
                <a:gd name="T30" fmla="*/ 82520 w 212"/>
                <a:gd name="T31" fmla="*/ 9797 h 105"/>
                <a:gd name="T32" fmla="*/ 77308 w 212"/>
                <a:gd name="T33" fmla="*/ 14696 h 105"/>
                <a:gd name="T34" fmla="*/ 71662 w 212"/>
                <a:gd name="T35" fmla="*/ 19050 h 105"/>
                <a:gd name="T36" fmla="*/ 59501 w 212"/>
                <a:gd name="T37" fmla="*/ 28303 h 105"/>
                <a:gd name="T38" fmla="*/ 47340 w 212"/>
                <a:gd name="T39" fmla="*/ 35923 h 105"/>
                <a:gd name="T40" fmla="*/ 34311 w 212"/>
                <a:gd name="T41" fmla="*/ 42999 h 105"/>
                <a:gd name="T42" fmla="*/ 21716 w 212"/>
                <a:gd name="T43" fmla="*/ 48986 h 105"/>
                <a:gd name="T44" fmla="*/ 9989 w 212"/>
                <a:gd name="T45" fmla="*/ 53884 h 105"/>
                <a:gd name="T46" fmla="*/ 0 w 212"/>
                <a:gd name="T47" fmla="*/ 57150 h 10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91" name="Freeform 335">
              <a:extLst>
                <a:ext uri="{FF2B5EF4-FFF2-40B4-BE49-F238E27FC236}">
                  <a16:creationId xmlns:a16="http://schemas.microsoft.com/office/drawing/2014/main" id="{7E5AFD15-5879-4EF5-8972-3AFD91537B43}"/>
                </a:ext>
              </a:extLst>
            </p:cNvPr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8720138" y="3590925"/>
              <a:ext cx="42862" cy="88900"/>
            </a:xfrm>
            <a:custGeom>
              <a:avLst/>
              <a:gdLst>
                <a:gd name="T0" fmla="*/ 0 w 92"/>
                <a:gd name="T1" fmla="*/ 43379 h 166"/>
                <a:gd name="T2" fmla="*/ 0 w 92"/>
                <a:gd name="T3" fmla="*/ 79260 h 166"/>
                <a:gd name="T4" fmla="*/ 2329 w 92"/>
                <a:gd name="T5" fmla="*/ 77118 h 166"/>
                <a:gd name="T6" fmla="*/ 5591 w 92"/>
                <a:gd name="T7" fmla="*/ 74440 h 166"/>
                <a:gd name="T8" fmla="*/ 6522 w 92"/>
                <a:gd name="T9" fmla="*/ 73369 h 166"/>
                <a:gd name="T10" fmla="*/ 7920 w 92"/>
                <a:gd name="T11" fmla="*/ 72298 h 166"/>
                <a:gd name="T12" fmla="*/ 8386 w 92"/>
                <a:gd name="T13" fmla="*/ 70692 h 166"/>
                <a:gd name="T14" fmla="*/ 8852 w 92"/>
                <a:gd name="T15" fmla="*/ 69620 h 166"/>
                <a:gd name="T16" fmla="*/ 9318 w 92"/>
                <a:gd name="T17" fmla="*/ 73905 h 166"/>
                <a:gd name="T18" fmla="*/ 11181 w 92"/>
                <a:gd name="T19" fmla="*/ 79260 h 166"/>
                <a:gd name="T20" fmla="*/ 12579 w 92"/>
                <a:gd name="T21" fmla="*/ 82473 h 166"/>
                <a:gd name="T22" fmla="*/ 13977 w 92"/>
                <a:gd name="T23" fmla="*/ 85151 h 166"/>
                <a:gd name="T24" fmla="*/ 16306 w 92"/>
                <a:gd name="T25" fmla="*/ 87293 h 166"/>
                <a:gd name="T26" fmla="*/ 18170 w 92"/>
                <a:gd name="T27" fmla="*/ 88900 h 166"/>
                <a:gd name="T28" fmla="*/ 19102 w 92"/>
                <a:gd name="T29" fmla="*/ 84616 h 166"/>
                <a:gd name="T30" fmla="*/ 19102 w 92"/>
                <a:gd name="T31" fmla="*/ 79260 h 166"/>
                <a:gd name="T32" fmla="*/ 19102 w 92"/>
                <a:gd name="T33" fmla="*/ 73369 h 166"/>
                <a:gd name="T34" fmla="*/ 19102 w 92"/>
                <a:gd name="T35" fmla="*/ 67478 h 166"/>
                <a:gd name="T36" fmla="*/ 18636 w 92"/>
                <a:gd name="T37" fmla="*/ 57303 h 166"/>
                <a:gd name="T38" fmla="*/ 18170 w 92"/>
                <a:gd name="T39" fmla="*/ 53019 h 166"/>
                <a:gd name="T40" fmla="*/ 22363 w 92"/>
                <a:gd name="T41" fmla="*/ 53554 h 166"/>
                <a:gd name="T42" fmla="*/ 26556 w 92"/>
                <a:gd name="T43" fmla="*/ 54625 h 166"/>
                <a:gd name="T44" fmla="*/ 29817 w 92"/>
                <a:gd name="T45" fmla="*/ 56232 h 166"/>
                <a:gd name="T46" fmla="*/ 33078 w 92"/>
                <a:gd name="T47" fmla="*/ 57839 h 166"/>
                <a:gd name="T48" fmla="*/ 35408 w 92"/>
                <a:gd name="T49" fmla="*/ 59445 h 166"/>
                <a:gd name="T50" fmla="*/ 38203 w 92"/>
                <a:gd name="T51" fmla="*/ 61052 h 166"/>
                <a:gd name="T52" fmla="*/ 40533 w 92"/>
                <a:gd name="T53" fmla="*/ 62123 h 166"/>
                <a:gd name="T54" fmla="*/ 42862 w 92"/>
                <a:gd name="T55" fmla="*/ 63194 h 166"/>
                <a:gd name="T56" fmla="*/ 39601 w 92"/>
                <a:gd name="T57" fmla="*/ 55161 h 166"/>
                <a:gd name="T58" fmla="*/ 37737 w 92"/>
                <a:gd name="T59" fmla="*/ 47663 h 166"/>
                <a:gd name="T60" fmla="*/ 35408 w 92"/>
                <a:gd name="T61" fmla="*/ 40166 h 166"/>
                <a:gd name="T62" fmla="*/ 34010 w 92"/>
                <a:gd name="T63" fmla="*/ 32133 h 166"/>
                <a:gd name="T64" fmla="*/ 32612 w 92"/>
                <a:gd name="T65" fmla="*/ 25170 h 166"/>
                <a:gd name="T66" fmla="*/ 31215 w 92"/>
                <a:gd name="T67" fmla="*/ 18208 h 166"/>
                <a:gd name="T68" fmla="*/ 29351 w 92"/>
                <a:gd name="T69" fmla="*/ 12317 h 166"/>
                <a:gd name="T70" fmla="*/ 27488 w 92"/>
                <a:gd name="T71" fmla="*/ 6962 h 166"/>
                <a:gd name="T72" fmla="*/ 27488 w 92"/>
                <a:gd name="T73" fmla="*/ 10175 h 166"/>
                <a:gd name="T74" fmla="*/ 27488 w 92"/>
                <a:gd name="T75" fmla="*/ 13389 h 166"/>
                <a:gd name="T76" fmla="*/ 23295 w 92"/>
                <a:gd name="T77" fmla="*/ 12317 h 166"/>
                <a:gd name="T78" fmla="*/ 19567 w 92"/>
                <a:gd name="T79" fmla="*/ 10175 h 166"/>
                <a:gd name="T80" fmla="*/ 16306 w 92"/>
                <a:gd name="T81" fmla="*/ 8033 h 166"/>
                <a:gd name="T82" fmla="*/ 13511 w 92"/>
                <a:gd name="T83" fmla="*/ 5891 h 166"/>
                <a:gd name="T84" fmla="*/ 10716 w 92"/>
                <a:gd name="T85" fmla="*/ 3749 h 166"/>
                <a:gd name="T86" fmla="*/ 7454 w 92"/>
                <a:gd name="T87" fmla="*/ 1607 h 166"/>
                <a:gd name="T88" fmla="*/ 3727 w 92"/>
                <a:gd name="T89" fmla="*/ 536 h 166"/>
                <a:gd name="T90" fmla="*/ 0 w 92"/>
                <a:gd name="T91" fmla="*/ 0 h 166"/>
                <a:gd name="T92" fmla="*/ 0 w 92"/>
                <a:gd name="T93" fmla="*/ 5355 h 166"/>
                <a:gd name="T94" fmla="*/ 0 w 92"/>
                <a:gd name="T95" fmla="*/ 10175 h 166"/>
                <a:gd name="T96" fmla="*/ 0 w 92"/>
                <a:gd name="T97" fmla="*/ 17673 h 166"/>
                <a:gd name="T98" fmla="*/ 0 w 92"/>
                <a:gd name="T99" fmla="*/ 27848 h 166"/>
                <a:gd name="T100" fmla="*/ 0 w 92"/>
                <a:gd name="T101" fmla="*/ 37488 h 166"/>
                <a:gd name="T102" fmla="*/ 0 w 92"/>
                <a:gd name="T103" fmla="*/ 43379 h 16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92" name="Freeform 336">
              <a:extLst>
                <a:ext uri="{FF2B5EF4-FFF2-40B4-BE49-F238E27FC236}">
                  <a16:creationId xmlns:a16="http://schemas.microsoft.com/office/drawing/2014/main" id="{8B68273E-CBEC-4EE9-BC67-C521670BEFD7}"/>
                </a:ext>
              </a:extLst>
            </p:cNvPr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8732839" y="3735388"/>
              <a:ext cx="71437" cy="55562"/>
            </a:xfrm>
            <a:custGeom>
              <a:avLst/>
              <a:gdLst>
                <a:gd name="T0" fmla="*/ 3012 w 166"/>
                <a:gd name="T1" fmla="*/ 0 h 62"/>
                <a:gd name="T2" fmla="*/ 6025 w 166"/>
                <a:gd name="T3" fmla="*/ 2688 h 62"/>
                <a:gd name="T4" fmla="*/ 9468 w 166"/>
                <a:gd name="T5" fmla="*/ 5377 h 62"/>
                <a:gd name="T6" fmla="*/ 12910 w 166"/>
                <a:gd name="T7" fmla="*/ 6273 h 62"/>
                <a:gd name="T8" fmla="*/ 15492 w 166"/>
                <a:gd name="T9" fmla="*/ 7169 h 62"/>
                <a:gd name="T10" fmla="*/ 20656 w 166"/>
                <a:gd name="T11" fmla="*/ 7169 h 62"/>
                <a:gd name="T12" fmla="*/ 24960 w 166"/>
                <a:gd name="T13" fmla="*/ 6273 h 62"/>
                <a:gd name="T14" fmla="*/ 29694 w 166"/>
                <a:gd name="T15" fmla="*/ 4481 h 62"/>
                <a:gd name="T16" fmla="*/ 34427 w 166"/>
                <a:gd name="T17" fmla="*/ 2688 h 62"/>
                <a:gd name="T18" fmla="*/ 39592 w 166"/>
                <a:gd name="T19" fmla="*/ 896 h 62"/>
                <a:gd name="T20" fmla="*/ 45616 w 166"/>
                <a:gd name="T21" fmla="*/ 0 h 62"/>
                <a:gd name="T22" fmla="*/ 47768 w 166"/>
                <a:gd name="T23" fmla="*/ 896 h 62"/>
                <a:gd name="T24" fmla="*/ 49489 w 166"/>
                <a:gd name="T25" fmla="*/ 1792 h 62"/>
                <a:gd name="T26" fmla="*/ 51641 w 166"/>
                <a:gd name="T27" fmla="*/ 4481 h 62"/>
                <a:gd name="T28" fmla="*/ 53363 w 166"/>
                <a:gd name="T29" fmla="*/ 7169 h 62"/>
                <a:gd name="T30" fmla="*/ 56805 w 166"/>
                <a:gd name="T31" fmla="*/ 15235 h 62"/>
                <a:gd name="T32" fmla="*/ 59387 w 166"/>
                <a:gd name="T33" fmla="*/ 23300 h 62"/>
                <a:gd name="T34" fmla="*/ 62400 w 166"/>
                <a:gd name="T35" fmla="*/ 32262 h 62"/>
                <a:gd name="T36" fmla="*/ 64982 w 166"/>
                <a:gd name="T37" fmla="*/ 40327 h 62"/>
                <a:gd name="T38" fmla="*/ 66703 w 166"/>
                <a:gd name="T39" fmla="*/ 43912 h 62"/>
                <a:gd name="T40" fmla="*/ 67994 w 166"/>
                <a:gd name="T41" fmla="*/ 46600 h 62"/>
                <a:gd name="T42" fmla="*/ 69716 w 166"/>
                <a:gd name="T43" fmla="*/ 48393 h 62"/>
                <a:gd name="T44" fmla="*/ 71437 w 166"/>
                <a:gd name="T45" fmla="*/ 50185 h 62"/>
                <a:gd name="T46" fmla="*/ 68425 w 166"/>
                <a:gd name="T47" fmla="*/ 51081 h 62"/>
                <a:gd name="T48" fmla="*/ 64982 w 166"/>
                <a:gd name="T49" fmla="*/ 52874 h 62"/>
                <a:gd name="T50" fmla="*/ 61539 w 166"/>
                <a:gd name="T51" fmla="*/ 54666 h 62"/>
                <a:gd name="T52" fmla="*/ 57236 w 166"/>
                <a:gd name="T53" fmla="*/ 55562 h 62"/>
                <a:gd name="T54" fmla="*/ 53793 w 166"/>
                <a:gd name="T55" fmla="*/ 54666 h 62"/>
                <a:gd name="T56" fmla="*/ 51211 w 166"/>
                <a:gd name="T57" fmla="*/ 51977 h 62"/>
                <a:gd name="T58" fmla="*/ 48198 w 166"/>
                <a:gd name="T59" fmla="*/ 48393 h 62"/>
                <a:gd name="T60" fmla="*/ 45616 w 166"/>
                <a:gd name="T61" fmla="*/ 44808 h 62"/>
                <a:gd name="T62" fmla="*/ 43034 w 166"/>
                <a:gd name="T63" fmla="*/ 40327 h 62"/>
                <a:gd name="T64" fmla="*/ 40022 w 166"/>
                <a:gd name="T65" fmla="*/ 36743 h 62"/>
                <a:gd name="T66" fmla="*/ 37440 w 166"/>
                <a:gd name="T67" fmla="*/ 34950 h 62"/>
                <a:gd name="T68" fmla="*/ 33997 w 166"/>
                <a:gd name="T69" fmla="*/ 34054 h 62"/>
                <a:gd name="T70" fmla="*/ 24099 w 166"/>
                <a:gd name="T71" fmla="*/ 34054 h 62"/>
                <a:gd name="T72" fmla="*/ 15062 w 166"/>
                <a:gd name="T73" fmla="*/ 34950 h 62"/>
                <a:gd name="T74" fmla="*/ 11189 w 166"/>
                <a:gd name="T75" fmla="*/ 36743 h 62"/>
                <a:gd name="T76" fmla="*/ 8177 w 166"/>
                <a:gd name="T77" fmla="*/ 38535 h 62"/>
                <a:gd name="T78" fmla="*/ 5164 w 166"/>
                <a:gd name="T79" fmla="*/ 41223 h 62"/>
                <a:gd name="T80" fmla="*/ 3012 w 166"/>
                <a:gd name="T81" fmla="*/ 44808 h 62"/>
                <a:gd name="T82" fmla="*/ 861 w 166"/>
                <a:gd name="T83" fmla="*/ 40327 h 62"/>
                <a:gd name="T84" fmla="*/ 430 w 166"/>
                <a:gd name="T85" fmla="*/ 35846 h 62"/>
                <a:gd name="T86" fmla="*/ 0 w 166"/>
                <a:gd name="T87" fmla="*/ 30469 h 62"/>
                <a:gd name="T88" fmla="*/ 430 w 166"/>
                <a:gd name="T89" fmla="*/ 25093 h 62"/>
                <a:gd name="T90" fmla="*/ 1721 w 166"/>
                <a:gd name="T91" fmla="*/ 13442 h 62"/>
                <a:gd name="T92" fmla="*/ 3012 w 166"/>
                <a:gd name="T93" fmla="*/ 0 h 6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93" name="Freeform 337">
              <a:extLst>
                <a:ext uri="{FF2B5EF4-FFF2-40B4-BE49-F238E27FC236}">
                  <a16:creationId xmlns:a16="http://schemas.microsoft.com/office/drawing/2014/main" id="{FA0C8090-ABF3-4C05-8A80-E951F7830CD3}"/>
                </a:ext>
              </a:extLst>
            </p:cNvPr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8809039" y="3659188"/>
              <a:ext cx="85725" cy="63500"/>
            </a:xfrm>
            <a:custGeom>
              <a:avLst/>
              <a:gdLst>
                <a:gd name="T0" fmla="*/ 14658 w 193"/>
                <a:gd name="T1" fmla="*/ 18368 h 121"/>
                <a:gd name="T2" fmla="*/ 21320 w 193"/>
                <a:gd name="T3" fmla="*/ 13120 h 121"/>
                <a:gd name="T4" fmla="*/ 30204 w 193"/>
                <a:gd name="T5" fmla="*/ 6298 h 121"/>
                <a:gd name="T6" fmla="*/ 37310 w 193"/>
                <a:gd name="T7" fmla="*/ 2099 h 121"/>
                <a:gd name="T8" fmla="*/ 41752 w 193"/>
                <a:gd name="T9" fmla="*/ 525 h 121"/>
                <a:gd name="T10" fmla="*/ 46638 w 193"/>
                <a:gd name="T11" fmla="*/ 525 h 121"/>
                <a:gd name="T12" fmla="*/ 51524 w 193"/>
                <a:gd name="T13" fmla="*/ 1574 h 121"/>
                <a:gd name="T14" fmla="*/ 58186 w 193"/>
                <a:gd name="T15" fmla="*/ 5248 h 121"/>
                <a:gd name="T16" fmla="*/ 65737 w 193"/>
                <a:gd name="T17" fmla="*/ 11021 h 121"/>
                <a:gd name="T18" fmla="*/ 71956 w 193"/>
                <a:gd name="T19" fmla="*/ 14694 h 121"/>
                <a:gd name="T20" fmla="*/ 76842 w 193"/>
                <a:gd name="T21" fmla="*/ 15744 h 121"/>
                <a:gd name="T22" fmla="*/ 79507 w 193"/>
                <a:gd name="T23" fmla="*/ 25190 h 121"/>
                <a:gd name="T24" fmla="*/ 79062 w 193"/>
                <a:gd name="T25" fmla="*/ 34636 h 121"/>
                <a:gd name="T26" fmla="*/ 80839 w 193"/>
                <a:gd name="T27" fmla="*/ 39360 h 121"/>
                <a:gd name="T28" fmla="*/ 83060 w 193"/>
                <a:gd name="T29" fmla="*/ 46707 h 121"/>
                <a:gd name="T30" fmla="*/ 83504 w 193"/>
                <a:gd name="T31" fmla="*/ 53529 h 121"/>
                <a:gd name="T32" fmla="*/ 84837 w 193"/>
                <a:gd name="T33" fmla="*/ 57202 h 121"/>
                <a:gd name="T34" fmla="*/ 83504 w 193"/>
                <a:gd name="T35" fmla="*/ 59826 h 121"/>
                <a:gd name="T36" fmla="*/ 78618 w 193"/>
                <a:gd name="T37" fmla="*/ 61926 h 121"/>
                <a:gd name="T38" fmla="*/ 70623 w 193"/>
                <a:gd name="T39" fmla="*/ 63500 h 121"/>
                <a:gd name="T40" fmla="*/ 51524 w 193"/>
                <a:gd name="T41" fmla="*/ 62450 h 121"/>
                <a:gd name="T42" fmla="*/ 31980 w 193"/>
                <a:gd name="T43" fmla="*/ 60876 h 121"/>
                <a:gd name="T44" fmla="*/ 27983 w 193"/>
                <a:gd name="T45" fmla="*/ 57727 h 121"/>
                <a:gd name="T46" fmla="*/ 24874 w 193"/>
                <a:gd name="T47" fmla="*/ 52479 h 121"/>
                <a:gd name="T48" fmla="*/ 23985 w 193"/>
                <a:gd name="T49" fmla="*/ 45657 h 121"/>
                <a:gd name="T50" fmla="*/ 20876 w 193"/>
                <a:gd name="T51" fmla="*/ 41459 h 121"/>
                <a:gd name="T52" fmla="*/ 13769 w 193"/>
                <a:gd name="T53" fmla="*/ 39360 h 121"/>
                <a:gd name="T54" fmla="*/ 5774 w 193"/>
                <a:gd name="T55" fmla="*/ 36211 h 121"/>
                <a:gd name="T56" fmla="*/ 1333 w 193"/>
                <a:gd name="T57" fmla="*/ 32537 h 121"/>
                <a:gd name="T58" fmla="*/ 0 w 193"/>
                <a:gd name="T59" fmla="*/ 30438 h 121"/>
                <a:gd name="T60" fmla="*/ 444 w 193"/>
                <a:gd name="T61" fmla="*/ 26764 h 121"/>
                <a:gd name="T62" fmla="*/ 3109 w 193"/>
                <a:gd name="T63" fmla="*/ 23616 h 121"/>
                <a:gd name="T64" fmla="*/ 8883 w 193"/>
                <a:gd name="T65" fmla="*/ 19942 h 12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94" name="Freeform 338">
              <a:extLst>
                <a:ext uri="{FF2B5EF4-FFF2-40B4-BE49-F238E27FC236}">
                  <a16:creationId xmlns:a16="http://schemas.microsoft.com/office/drawing/2014/main" id="{6135F97E-151E-46A6-B1B2-F575419E152E}"/>
                </a:ext>
              </a:extLst>
            </p:cNvPr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8497889" y="3597275"/>
              <a:ext cx="166687" cy="230188"/>
            </a:xfrm>
            <a:custGeom>
              <a:avLst/>
              <a:gdLst>
                <a:gd name="T0" fmla="*/ 16273 w 379"/>
                <a:gd name="T1" fmla="*/ 220707 h 437"/>
                <a:gd name="T2" fmla="*/ 20231 w 379"/>
                <a:gd name="T3" fmla="*/ 214386 h 437"/>
                <a:gd name="T4" fmla="*/ 10555 w 379"/>
                <a:gd name="T5" fmla="*/ 163818 h 437"/>
                <a:gd name="T6" fmla="*/ 880 w 379"/>
                <a:gd name="T7" fmla="*/ 154863 h 437"/>
                <a:gd name="T8" fmla="*/ 6597 w 379"/>
                <a:gd name="T9" fmla="*/ 142221 h 437"/>
                <a:gd name="T10" fmla="*/ 13634 w 379"/>
                <a:gd name="T11" fmla="*/ 116411 h 437"/>
                <a:gd name="T12" fmla="*/ 17152 w 379"/>
                <a:gd name="T13" fmla="*/ 90600 h 437"/>
                <a:gd name="T14" fmla="*/ 25069 w 379"/>
                <a:gd name="T15" fmla="*/ 83753 h 437"/>
                <a:gd name="T16" fmla="*/ 28587 w 379"/>
                <a:gd name="T17" fmla="*/ 68477 h 437"/>
                <a:gd name="T18" fmla="*/ 33425 w 379"/>
                <a:gd name="T19" fmla="*/ 41086 h 437"/>
                <a:gd name="T20" fmla="*/ 39583 w 379"/>
                <a:gd name="T21" fmla="*/ 26864 h 437"/>
                <a:gd name="T22" fmla="*/ 50578 w 379"/>
                <a:gd name="T23" fmla="*/ 16329 h 437"/>
                <a:gd name="T24" fmla="*/ 67291 w 379"/>
                <a:gd name="T25" fmla="*/ 13169 h 437"/>
                <a:gd name="T26" fmla="*/ 95438 w 379"/>
                <a:gd name="T27" fmla="*/ 20016 h 437"/>
                <a:gd name="T28" fmla="*/ 115230 w 379"/>
                <a:gd name="T29" fmla="*/ 25284 h 437"/>
                <a:gd name="T30" fmla="*/ 133262 w 379"/>
                <a:gd name="T31" fmla="*/ 23704 h 437"/>
                <a:gd name="T32" fmla="*/ 144697 w 379"/>
                <a:gd name="T33" fmla="*/ 16329 h 437"/>
                <a:gd name="T34" fmla="*/ 156571 w 379"/>
                <a:gd name="T35" fmla="*/ 3687 h 437"/>
                <a:gd name="T36" fmla="*/ 164488 w 379"/>
                <a:gd name="T37" fmla="*/ 4741 h 437"/>
                <a:gd name="T38" fmla="*/ 163608 w 379"/>
                <a:gd name="T39" fmla="*/ 18436 h 437"/>
                <a:gd name="T40" fmla="*/ 144697 w 379"/>
                <a:gd name="T41" fmla="*/ 42140 h 437"/>
                <a:gd name="T42" fmla="*/ 128424 w 379"/>
                <a:gd name="T43" fmla="*/ 51094 h 437"/>
                <a:gd name="T44" fmla="*/ 119188 w 379"/>
                <a:gd name="T45" fmla="*/ 49514 h 437"/>
                <a:gd name="T46" fmla="*/ 104674 w 379"/>
                <a:gd name="T47" fmla="*/ 36345 h 437"/>
                <a:gd name="T48" fmla="*/ 93239 w 379"/>
                <a:gd name="T49" fmla="*/ 29498 h 437"/>
                <a:gd name="T50" fmla="*/ 77846 w 379"/>
                <a:gd name="T51" fmla="*/ 29498 h 437"/>
                <a:gd name="T52" fmla="*/ 60693 w 379"/>
                <a:gd name="T53" fmla="*/ 32132 h 437"/>
                <a:gd name="T54" fmla="*/ 50138 w 379"/>
                <a:gd name="T55" fmla="*/ 41613 h 437"/>
                <a:gd name="T56" fmla="*/ 34745 w 379"/>
                <a:gd name="T57" fmla="*/ 84806 h 437"/>
                <a:gd name="T58" fmla="*/ 52337 w 379"/>
                <a:gd name="T59" fmla="*/ 89020 h 437"/>
                <a:gd name="T60" fmla="*/ 58494 w 379"/>
                <a:gd name="T61" fmla="*/ 100608 h 437"/>
                <a:gd name="T62" fmla="*/ 68170 w 379"/>
                <a:gd name="T63" fmla="*/ 88493 h 437"/>
                <a:gd name="T64" fmla="*/ 75647 w 379"/>
                <a:gd name="T65" fmla="*/ 80592 h 437"/>
                <a:gd name="T66" fmla="*/ 97197 w 379"/>
                <a:gd name="T67" fmla="*/ 79012 h 437"/>
                <a:gd name="T68" fmla="*/ 109952 w 379"/>
                <a:gd name="T69" fmla="*/ 77432 h 437"/>
                <a:gd name="T70" fmla="*/ 120067 w 379"/>
                <a:gd name="T71" fmla="*/ 91127 h 437"/>
                <a:gd name="T72" fmla="*/ 122706 w 379"/>
                <a:gd name="T73" fmla="*/ 106929 h 437"/>
                <a:gd name="T74" fmla="*/ 108193 w 379"/>
                <a:gd name="T75" fmla="*/ 101135 h 437"/>
                <a:gd name="T76" fmla="*/ 95878 w 379"/>
                <a:gd name="T77" fmla="*/ 97448 h 437"/>
                <a:gd name="T78" fmla="*/ 84443 w 379"/>
                <a:gd name="T79" fmla="*/ 102715 h 437"/>
                <a:gd name="T80" fmla="*/ 81804 w 379"/>
                <a:gd name="T81" fmla="*/ 110090 h 437"/>
                <a:gd name="T82" fmla="*/ 84443 w 379"/>
                <a:gd name="T83" fmla="*/ 122732 h 437"/>
                <a:gd name="T84" fmla="*/ 96758 w 379"/>
                <a:gd name="T85" fmla="*/ 143275 h 437"/>
                <a:gd name="T86" fmla="*/ 98957 w 379"/>
                <a:gd name="T87" fmla="*/ 155917 h 437"/>
                <a:gd name="T88" fmla="*/ 94559 w 379"/>
                <a:gd name="T89" fmla="*/ 169612 h 437"/>
                <a:gd name="T90" fmla="*/ 90161 w 379"/>
                <a:gd name="T91" fmla="*/ 181727 h 437"/>
                <a:gd name="T92" fmla="*/ 92360 w 379"/>
                <a:gd name="T93" fmla="*/ 187522 h 437"/>
                <a:gd name="T94" fmla="*/ 103795 w 379"/>
                <a:gd name="T95" fmla="*/ 193843 h 437"/>
                <a:gd name="T96" fmla="*/ 110831 w 379"/>
                <a:gd name="T97" fmla="*/ 210698 h 437"/>
                <a:gd name="T98" fmla="*/ 105114 w 379"/>
                <a:gd name="T99" fmla="*/ 225974 h 437"/>
                <a:gd name="T100" fmla="*/ 97197 w 379"/>
                <a:gd name="T101" fmla="*/ 221760 h 437"/>
                <a:gd name="T102" fmla="*/ 88841 w 379"/>
                <a:gd name="T103" fmla="*/ 219653 h 437"/>
                <a:gd name="T104" fmla="*/ 77846 w 379"/>
                <a:gd name="T105" fmla="*/ 210698 h 437"/>
                <a:gd name="T106" fmla="*/ 67291 w 379"/>
                <a:gd name="T107" fmla="*/ 187522 h 437"/>
                <a:gd name="T108" fmla="*/ 60254 w 379"/>
                <a:gd name="T109" fmla="*/ 160131 h 437"/>
                <a:gd name="T110" fmla="*/ 50138 w 379"/>
                <a:gd name="T111" fmla="*/ 138534 h 437"/>
                <a:gd name="T112" fmla="*/ 42661 w 379"/>
                <a:gd name="T113" fmla="*/ 136427 h 437"/>
                <a:gd name="T114" fmla="*/ 46180 w 379"/>
                <a:gd name="T115" fmla="*/ 200690 h 437"/>
                <a:gd name="T116" fmla="*/ 40902 w 379"/>
                <a:gd name="T117" fmla="*/ 212805 h 437"/>
                <a:gd name="T118" fmla="*/ 25069 w 379"/>
                <a:gd name="T119" fmla="*/ 224394 h 437"/>
                <a:gd name="T120" fmla="*/ 25949 w 379"/>
                <a:gd name="T121" fmla="*/ 230188 h 43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95" name="Freeform 339">
              <a:extLst>
                <a:ext uri="{FF2B5EF4-FFF2-40B4-BE49-F238E27FC236}">
                  <a16:creationId xmlns:a16="http://schemas.microsoft.com/office/drawing/2014/main" id="{0B4C21D6-EE5F-4505-A4C4-81320AE3066D}"/>
                </a:ext>
              </a:extLst>
            </p:cNvPr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8162926" y="3838575"/>
              <a:ext cx="250825" cy="95250"/>
            </a:xfrm>
            <a:custGeom>
              <a:avLst/>
              <a:gdLst>
                <a:gd name="T0" fmla="*/ 4773 w 578"/>
                <a:gd name="T1" fmla="*/ 25883 h 184"/>
                <a:gd name="T2" fmla="*/ 10415 w 578"/>
                <a:gd name="T3" fmla="*/ 16565 h 184"/>
                <a:gd name="T4" fmla="*/ 17792 w 578"/>
                <a:gd name="T5" fmla="*/ 3624 h 184"/>
                <a:gd name="T6" fmla="*/ 23433 w 578"/>
                <a:gd name="T7" fmla="*/ 0 h 184"/>
                <a:gd name="T8" fmla="*/ 34282 w 578"/>
                <a:gd name="T9" fmla="*/ 1035 h 184"/>
                <a:gd name="T10" fmla="*/ 41226 w 578"/>
                <a:gd name="T11" fmla="*/ 1035 h 184"/>
                <a:gd name="T12" fmla="*/ 43829 w 578"/>
                <a:gd name="T13" fmla="*/ 2588 h 184"/>
                <a:gd name="T14" fmla="*/ 49905 w 578"/>
                <a:gd name="T15" fmla="*/ 7765 h 184"/>
                <a:gd name="T16" fmla="*/ 63791 w 578"/>
                <a:gd name="T17" fmla="*/ 13977 h 184"/>
                <a:gd name="T18" fmla="*/ 72904 w 578"/>
                <a:gd name="T19" fmla="*/ 19154 h 184"/>
                <a:gd name="T20" fmla="*/ 77244 w 578"/>
                <a:gd name="T21" fmla="*/ 27436 h 184"/>
                <a:gd name="T22" fmla="*/ 83319 w 578"/>
                <a:gd name="T23" fmla="*/ 31577 h 184"/>
                <a:gd name="T24" fmla="*/ 100243 w 578"/>
                <a:gd name="T25" fmla="*/ 31060 h 184"/>
                <a:gd name="T26" fmla="*/ 120205 w 578"/>
                <a:gd name="T27" fmla="*/ 26401 h 184"/>
                <a:gd name="T28" fmla="*/ 129752 w 578"/>
                <a:gd name="T29" fmla="*/ 20189 h 184"/>
                <a:gd name="T30" fmla="*/ 136261 w 578"/>
                <a:gd name="T31" fmla="*/ 17601 h 184"/>
                <a:gd name="T32" fmla="*/ 141903 w 578"/>
                <a:gd name="T33" fmla="*/ 18118 h 184"/>
                <a:gd name="T34" fmla="*/ 147110 w 578"/>
                <a:gd name="T35" fmla="*/ 16048 h 184"/>
                <a:gd name="T36" fmla="*/ 158827 w 578"/>
                <a:gd name="T37" fmla="*/ 17601 h 184"/>
                <a:gd name="T38" fmla="*/ 173147 w 578"/>
                <a:gd name="T39" fmla="*/ 30542 h 184"/>
                <a:gd name="T40" fmla="*/ 185732 w 578"/>
                <a:gd name="T41" fmla="*/ 46072 h 184"/>
                <a:gd name="T42" fmla="*/ 197883 w 578"/>
                <a:gd name="T43" fmla="*/ 54355 h 184"/>
                <a:gd name="T44" fmla="*/ 207864 w 578"/>
                <a:gd name="T45" fmla="*/ 55390 h 184"/>
                <a:gd name="T46" fmla="*/ 213939 w 578"/>
                <a:gd name="T47" fmla="*/ 55908 h 184"/>
                <a:gd name="T48" fmla="*/ 219146 w 578"/>
                <a:gd name="T49" fmla="*/ 64708 h 184"/>
                <a:gd name="T50" fmla="*/ 226524 w 578"/>
                <a:gd name="T51" fmla="*/ 72473 h 184"/>
                <a:gd name="T52" fmla="*/ 231731 w 578"/>
                <a:gd name="T53" fmla="*/ 71955 h 184"/>
                <a:gd name="T54" fmla="*/ 236938 w 578"/>
                <a:gd name="T55" fmla="*/ 66261 h 184"/>
                <a:gd name="T56" fmla="*/ 242146 w 578"/>
                <a:gd name="T57" fmla="*/ 69367 h 184"/>
                <a:gd name="T58" fmla="*/ 247787 w 578"/>
                <a:gd name="T59" fmla="*/ 75061 h 184"/>
                <a:gd name="T60" fmla="*/ 250825 w 578"/>
                <a:gd name="T61" fmla="*/ 82826 h 184"/>
                <a:gd name="T62" fmla="*/ 249523 w 578"/>
                <a:gd name="T63" fmla="*/ 89556 h 184"/>
                <a:gd name="T64" fmla="*/ 246052 w 578"/>
                <a:gd name="T65" fmla="*/ 94215 h 184"/>
                <a:gd name="T66" fmla="*/ 239108 w 578"/>
                <a:gd name="T67" fmla="*/ 92144 h 184"/>
                <a:gd name="T68" fmla="*/ 228259 w 578"/>
                <a:gd name="T69" fmla="*/ 88003 h 184"/>
                <a:gd name="T70" fmla="*/ 213071 w 578"/>
                <a:gd name="T71" fmla="*/ 89038 h 184"/>
                <a:gd name="T72" fmla="*/ 200486 w 578"/>
                <a:gd name="T73" fmla="*/ 88003 h 184"/>
                <a:gd name="T74" fmla="*/ 195713 w 578"/>
                <a:gd name="T75" fmla="*/ 82826 h 184"/>
                <a:gd name="T76" fmla="*/ 190072 w 578"/>
                <a:gd name="T77" fmla="*/ 79720 h 184"/>
                <a:gd name="T78" fmla="*/ 184864 w 578"/>
                <a:gd name="T79" fmla="*/ 82826 h 184"/>
                <a:gd name="T80" fmla="*/ 180525 w 578"/>
                <a:gd name="T81" fmla="*/ 88003 h 184"/>
                <a:gd name="T82" fmla="*/ 172713 w 578"/>
                <a:gd name="T83" fmla="*/ 88520 h 184"/>
                <a:gd name="T84" fmla="*/ 142337 w 578"/>
                <a:gd name="T85" fmla="*/ 79202 h 184"/>
                <a:gd name="T86" fmla="*/ 120205 w 578"/>
                <a:gd name="T87" fmla="*/ 68332 h 184"/>
                <a:gd name="T88" fmla="*/ 115432 w 578"/>
                <a:gd name="T89" fmla="*/ 63673 h 184"/>
                <a:gd name="T90" fmla="*/ 99809 w 578"/>
                <a:gd name="T91" fmla="*/ 61602 h 184"/>
                <a:gd name="T92" fmla="*/ 87225 w 578"/>
                <a:gd name="T93" fmla="*/ 58496 h 184"/>
                <a:gd name="T94" fmla="*/ 72904 w 578"/>
                <a:gd name="T95" fmla="*/ 57461 h 184"/>
                <a:gd name="T96" fmla="*/ 63357 w 578"/>
                <a:gd name="T97" fmla="*/ 57461 h 184"/>
                <a:gd name="T98" fmla="*/ 53810 w 578"/>
                <a:gd name="T99" fmla="*/ 54355 h 184"/>
                <a:gd name="T100" fmla="*/ 52074 w 578"/>
                <a:gd name="T101" fmla="*/ 51249 h 184"/>
                <a:gd name="T102" fmla="*/ 29943 w 578"/>
                <a:gd name="T103" fmla="*/ 50213 h 184"/>
                <a:gd name="T104" fmla="*/ 19962 w 578"/>
                <a:gd name="T105" fmla="*/ 45554 h 184"/>
                <a:gd name="T106" fmla="*/ 0 w 578"/>
                <a:gd name="T107" fmla="*/ 28471 h 18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96" name="Freeform 340">
              <a:extLst>
                <a:ext uri="{FF2B5EF4-FFF2-40B4-BE49-F238E27FC236}">
                  <a16:creationId xmlns:a16="http://schemas.microsoft.com/office/drawing/2014/main" id="{D06C6425-3611-40D8-A41B-C5AD9EF3C46E}"/>
                </a:ext>
              </a:extLst>
            </p:cNvPr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8843963" y="3695701"/>
              <a:ext cx="214312" cy="252413"/>
            </a:xfrm>
            <a:custGeom>
              <a:avLst/>
              <a:gdLst>
                <a:gd name="T0" fmla="*/ 210384 w 491"/>
                <a:gd name="T1" fmla="*/ 251363 h 481"/>
                <a:gd name="T2" fmla="*/ 199472 w 491"/>
                <a:gd name="T3" fmla="*/ 244017 h 481"/>
                <a:gd name="T4" fmla="*/ 184195 w 491"/>
                <a:gd name="T5" fmla="*/ 227749 h 481"/>
                <a:gd name="T6" fmla="*/ 179830 w 491"/>
                <a:gd name="T7" fmla="*/ 218828 h 481"/>
                <a:gd name="T8" fmla="*/ 164117 w 491"/>
                <a:gd name="T9" fmla="*/ 215155 h 481"/>
                <a:gd name="T10" fmla="*/ 157133 w 491"/>
                <a:gd name="T11" fmla="*/ 213055 h 481"/>
                <a:gd name="T12" fmla="*/ 152768 w 491"/>
                <a:gd name="T13" fmla="*/ 207808 h 481"/>
                <a:gd name="T14" fmla="*/ 151022 w 491"/>
                <a:gd name="T15" fmla="*/ 196263 h 481"/>
                <a:gd name="T16" fmla="*/ 149276 w 491"/>
                <a:gd name="T17" fmla="*/ 174223 h 481"/>
                <a:gd name="T18" fmla="*/ 142729 w 491"/>
                <a:gd name="T19" fmla="*/ 159004 h 481"/>
                <a:gd name="T20" fmla="*/ 139237 w 491"/>
                <a:gd name="T21" fmla="*/ 145361 h 481"/>
                <a:gd name="T22" fmla="*/ 137055 w 491"/>
                <a:gd name="T23" fmla="*/ 128043 h 481"/>
                <a:gd name="T24" fmla="*/ 127452 w 491"/>
                <a:gd name="T25" fmla="*/ 117023 h 481"/>
                <a:gd name="T26" fmla="*/ 113485 w 491"/>
                <a:gd name="T27" fmla="*/ 107577 h 481"/>
                <a:gd name="T28" fmla="*/ 96462 w 491"/>
                <a:gd name="T29" fmla="*/ 99706 h 481"/>
                <a:gd name="T30" fmla="*/ 77694 w 491"/>
                <a:gd name="T31" fmla="*/ 94983 h 481"/>
                <a:gd name="T32" fmla="*/ 58052 w 491"/>
                <a:gd name="T33" fmla="*/ 93409 h 481"/>
                <a:gd name="T34" fmla="*/ 58052 w 491"/>
                <a:gd name="T35" fmla="*/ 81864 h 481"/>
                <a:gd name="T36" fmla="*/ 48013 w 491"/>
                <a:gd name="T37" fmla="*/ 76091 h 481"/>
                <a:gd name="T38" fmla="*/ 37101 w 491"/>
                <a:gd name="T39" fmla="*/ 68220 h 481"/>
                <a:gd name="T40" fmla="*/ 28808 w 491"/>
                <a:gd name="T41" fmla="*/ 58249 h 481"/>
                <a:gd name="T42" fmla="*/ 31863 w 491"/>
                <a:gd name="T43" fmla="*/ 69794 h 481"/>
                <a:gd name="T44" fmla="*/ 23570 w 491"/>
                <a:gd name="T45" fmla="*/ 77141 h 481"/>
                <a:gd name="T46" fmla="*/ 17459 w 491"/>
                <a:gd name="T47" fmla="*/ 93409 h 481"/>
                <a:gd name="T48" fmla="*/ 10476 w 491"/>
                <a:gd name="T49" fmla="*/ 115449 h 481"/>
                <a:gd name="T50" fmla="*/ 5674 w 491"/>
                <a:gd name="T51" fmla="*/ 139063 h 481"/>
                <a:gd name="T52" fmla="*/ 6111 w 491"/>
                <a:gd name="T53" fmla="*/ 124370 h 481"/>
                <a:gd name="T54" fmla="*/ 10039 w 491"/>
                <a:gd name="T55" fmla="*/ 109676 h 481"/>
                <a:gd name="T56" fmla="*/ 13967 w 491"/>
                <a:gd name="T57" fmla="*/ 94983 h 481"/>
                <a:gd name="T58" fmla="*/ 13094 w 491"/>
                <a:gd name="T59" fmla="*/ 75042 h 481"/>
                <a:gd name="T60" fmla="*/ 7420 w 491"/>
                <a:gd name="T61" fmla="*/ 58249 h 481"/>
                <a:gd name="T62" fmla="*/ 0 w 491"/>
                <a:gd name="T63" fmla="*/ 38308 h 481"/>
                <a:gd name="T64" fmla="*/ 14840 w 491"/>
                <a:gd name="T65" fmla="*/ 30961 h 481"/>
                <a:gd name="T66" fmla="*/ 25752 w 491"/>
                <a:gd name="T67" fmla="*/ 28862 h 481"/>
                <a:gd name="T68" fmla="*/ 36664 w 491"/>
                <a:gd name="T69" fmla="*/ 30436 h 481"/>
                <a:gd name="T70" fmla="*/ 44521 w 491"/>
                <a:gd name="T71" fmla="*/ 34635 h 481"/>
                <a:gd name="T72" fmla="*/ 52814 w 491"/>
                <a:gd name="T73" fmla="*/ 43031 h 481"/>
                <a:gd name="T74" fmla="*/ 61107 w 491"/>
                <a:gd name="T75" fmla="*/ 58249 h 481"/>
                <a:gd name="T76" fmla="*/ 79876 w 491"/>
                <a:gd name="T77" fmla="*/ 54051 h 481"/>
                <a:gd name="T78" fmla="*/ 85550 w 491"/>
                <a:gd name="T79" fmla="*/ 50378 h 481"/>
                <a:gd name="T80" fmla="*/ 87296 w 491"/>
                <a:gd name="T81" fmla="*/ 47229 h 481"/>
                <a:gd name="T82" fmla="*/ 90351 w 491"/>
                <a:gd name="T83" fmla="*/ 38308 h 481"/>
                <a:gd name="T84" fmla="*/ 101264 w 491"/>
                <a:gd name="T85" fmla="*/ 28337 h 481"/>
                <a:gd name="T86" fmla="*/ 110866 w 491"/>
                <a:gd name="T87" fmla="*/ 25714 h 481"/>
                <a:gd name="T88" fmla="*/ 114794 w 491"/>
                <a:gd name="T89" fmla="*/ 15743 h 481"/>
                <a:gd name="T90" fmla="*/ 122215 w 491"/>
                <a:gd name="T91" fmla="*/ 4723 h 481"/>
                <a:gd name="T92" fmla="*/ 130944 w 491"/>
                <a:gd name="T93" fmla="*/ 525 h 481"/>
                <a:gd name="T94" fmla="*/ 140983 w 491"/>
                <a:gd name="T95" fmla="*/ 0 h 481"/>
                <a:gd name="T96" fmla="*/ 153205 w 491"/>
                <a:gd name="T97" fmla="*/ 4198 h 481"/>
                <a:gd name="T98" fmla="*/ 174156 w 491"/>
                <a:gd name="T99" fmla="*/ 19941 h 481"/>
                <a:gd name="T100" fmla="*/ 186814 w 491"/>
                <a:gd name="T101" fmla="*/ 27813 h 481"/>
                <a:gd name="T102" fmla="*/ 200345 w 491"/>
                <a:gd name="T103" fmla="*/ 31486 h 481"/>
                <a:gd name="T104" fmla="*/ 214312 w 491"/>
                <a:gd name="T105" fmla="*/ 35159 h 481"/>
                <a:gd name="T106" fmla="*/ 214312 w 491"/>
                <a:gd name="T107" fmla="*/ 171074 h 48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97" name="Freeform 341">
              <a:extLst>
                <a:ext uri="{FF2B5EF4-FFF2-40B4-BE49-F238E27FC236}">
                  <a16:creationId xmlns:a16="http://schemas.microsoft.com/office/drawing/2014/main" id="{93B7E099-B639-4970-AD94-14625AE6B48D}"/>
                </a:ext>
              </a:extLst>
            </p:cNvPr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7375526" y="2527301"/>
              <a:ext cx="53975" cy="60325"/>
            </a:xfrm>
            <a:custGeom>
              <a:avLst/>
              <a:gdLst>
                <a:gd name="T0" fmla="*/ 0 w 133"/>
                <a:gd name="T1" fmla="*/ 9796 h 117"/>
                <a:gd name="T2" fmla="*/ 29220 w 133"/>
                <a:gd name="T3" fmla="*/ 0 h 117"/>
                <a:gd name="T4" fmla="*/ 32872 w 133"/>
                <a:gd name="T5" fmla="*/ 3094 h 117"/>
                <a:gd name="T6" fmla="*/ 36930 w 133"/>
                <a:gd name="T7" fmla="*/ 7218 h 117"/>
                <a:gd name="T8" fmla="*/ 40989 w 133"/>
                <a:gd name="T9" fmla="*/ 12890 h 117"/>
                <a:gd name="T10" fmla="*/ 44235 w 133"/>
                <a:gd name="T11" fmla="*/ 19077 h 117"/>
                <a:gd name="T12" fmla="*/ 47888 w 133"/>
                <a:gd name="T13" fmla="*/ 25264 h 117"/>
                <a:gd name="T14" fmla="*/ 51134 w 133"/>
                <a:gd name="T15" fmla="*/ 31967 h 117"/>
                <a:gd name="T16" fmla="*/ 51946 w 133"/>
                <a:gd name="T17" fmla="*/ 35061 h 117"/>
                <a:gd name="T18" fmla="*/ 52758 w 133"/>
                <a:gd name="T19" fmla="*/ 38154 h 117"/>
                <a:gd name="T20" fmla="*/ 53163 w 133"/>
                <a:gd name="T21" fmla="*/ 41248 h 117"/>
                <a:gd name="T22" fmla="*/ 53975 w 133"/>
                <a:gd name="T23" fmla="*/ 44341 h 117"/>
                <a:gd name="T24" fmla="*/ 53163 w 133"/>
                <a:gd name="T25" fmla="*/ 47435 h 117"/>
                <a:gd name="T26" fmla="*/ 51946 w 133"/>
                <a:gd name="T27" fmla="*/ 50013 h 117"/>
                <a:gd name="T28" fmla="*/ 50323 w 133"/>
                <a:gd name="T29" fmla="*/ 52591 h 117"/>
                <a:gd name="T30" fmla="*/ 47888 w 133"/>
                <a:gd name="T31" fmla="*/ 55169 h 117"/>
                <a:gd name="T32" fmla="*/ 45858 w 133"/>
                <a:gd name="T33" fmla="*/ 57231 h 117"/>
                <a:gd name="T34" fmla="*/ 43423 w 133"/>
                <a:gd name="T35" fmla="*/ 58778 h 117"/>
                <a:gd name="T36" fmla="*/ 41800 w 133"/>
                <a:gd name="T37" fmla="*/ 60325 h 117"/>
                <a:gd name="T38" fmla="*/ 40583 w 133"/>
                <a:gd name="T39" fmla="*/ 60325 h 117"/>
                <a:gd name="T40" fmla="*/ 29220 w 133"/>
                <a:gd name="T41" fmla="*/ 48982 h 117"/>
                <a:gd name="T42" fmla="*/ 18262 w 133"/>
                <a:gd name="T43" fmla="*/ 36092 h 117"/>
                <a:gd name="T44" fmla="*/ 12986 w 133"/>
                <a:gd name="T45" fmla="*/ 29905 h 117"/>
                <a:gd name="T46" fmla="*/ 7305 w 133"/>
                <a:gd name="T47" fmla="*/ 23718 h 117"/>
                <a:gd name="T48" fmla="*/ 3247 w 133"/>
                <a:gd name="T49" fmla="*/ 17015 h 117"/>
                <a:gd name="T50" fmla="*/ 0 w 133"/>
                <a:gd name="T51" fmla="*/ 9796 h 11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98" name="Freeform 342">
              <a:extLst>
                <a:ext uri="{FF2B5EF4-FFF2-40B4-BE49-F238E27FC236}">
                  <a16:creationId xmlns:a16="http://schemas.microsoft.com/office/drawing/2014/main" id="{C3270265-2A45-4956-9BD7-30A80662968B}"/>
                </a:ext>
              </a:extLst>
            </p:cNvPr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5832476" y="1931988"/>
              <a:ext cx="220663" cy="177800"/>
            </a:xfrm>
            <a:custGeom>
              <a:avLst/>
              <a:gdLst>
                <a:gd name="T0" fmla="*/ 118852 w 505"/>
                <a:gd name="T1" fmla="*/ 18881 h 339"/>
                <a:gd name="T2" fmla="*/ 211487 w 505"/>
                <a:gd name="T3" fmla="*/ 45106 h 339"/>
                <a:gd name="T4" fmla="*/ 208865 w 505"/>
                <a:gd name="T5" fmla="*/ 57169 h 339"/>
                <a:gd name="T6" fmla="*/ 205806 w 505"/>
                <a:gd name="T7" fmla="*/ 67658 h 339"/>
                <a:gd name="T8" fmla="*/ 201437 w 505"/>
                <a:gd name="T9" fmla="*/ 76050 h 339"/>
                <a:gd name="T10" fmla="*/ 197067 w 505"/>
                <a:gd name="T11" fmla="*/ 80246 h 339"/>
                <a:gd name="T12" fmla="*/ 201437 w 505"/>
                <a:gd name="T13" fmla="*/ 96505 h 339"/>
                <a:gd name="T14" fmla="*/ 208428 w 505"/>
                <a:gd name="T15" fmla="*/ 112764 h 339"/>
                <a:gd name="T16" fmla="*/ 220663 w 505"/>
                <a:gd name="T17" fmla="*/ 135317 h 339"/>
                <a:gd name="T18" fmla="*/ 215420 w 505"/>
                <a:gd name="T19" fmla="*/ 142135 h 339"/>
                <a:gd name="T20" fmla="*/ 209302 w 505"/>
                <a:gd name="T21" fmla="*/ 153149 h 339"/>
                <a:gd name="T22" fmla="*/ 204496 w 505"/>
                <a:gd name="T23" fmla="*/ 164688 h 339"/>
                <a:gd name="T24" fmla="*/ 202748 w 505"/>
                <a:gd name="T25" fmla="*/ 177800 h 339"/>
                <a:gd name="T26" fmla="*/ 193572 w 505"/>
                <a:gd name="T27" fmla="*/ 177276 h 339"/>
                <a:gd name="T28" fmla="*/ 180900 w 505"/>
                <a:gd name="T29" fmla="*/ 175702 h 339"/>
                <a:gd name="T30" fmla="*/ 168228 w 505"/>
                <a:gd name="T31" fmla="*/ 173604 h 339"/>
                <a:gd name="T32" fmla="*/ 156430 w 505"/>
                <a:gd name="T33" fmla="*/ 170982 h 339"/>
                <a:gd name="T34" fmla="*/ 132835 w 505"/>
                <a:gd name="T35" fmla="*/ 170457 h 339"/>
                <a:gd name="T36" fmla="*/ 115356 w 505"/>
                <a:gd name="T37" fmla="*/ 168359 h 339"/>
                <a:gd name="T38" fmla="*/ 108365 w 505"/>
                <a:gd name="T39" fmla="*/ 166261 h 339"/>
                <a:gd name="T40" fmla="*/ 101374 w 505"/>
                <a:gd name="T41" fmla="*/ 162590 h 339"/>
                <a:gd name="T42" fmla="*/ 93072 w 505"/>
                <a:gd name="T43" fmla="*/ 157345 h 339"/>
                <a:gd name="T44" fmla="*/ 78652 w 505"/>
                <a:gd name="T45" fmla="*/ 151576 h 339"/>
                <a:gd name="T46" fmla="*/ 63796 w 505"/>
                <a:gd name="T47" fmla="*/ 143184 h 339"/>
                <a:gd name="T48" fmla="*/ 42822 w 505"/>
                <a:gd name="T49" fmla="*/ 130596 h 339"/>
                <a:gd name="T50" fmla="*/ 27091 w 505"/>
                <a:gd name="T51" fmla="*/ 108044 h 339"/>
                <a:gd name="T52" fmla="*/ 22722 w 505"/>
                <a:gd name="T53" fmla="*/ 88638 h 339"/>
                <a:gd name="T54" fmla="*/ 15730 w 505"/>
                <a:gd name="T55" fmla="*/ 65036 h 339"/>
                <a:gd name="T56" fmla="*/ 6554 w 505"/>
                <a:gd name="T57" fmla="*/ 43532 h 339"/>
                <a:gd name="T58" fmla="*/ 874 w 505"/>
                <a:gd name="T59" fmla="*/ 33567 h 339"/>
                <a:gd name="T60" fmla="*/ 2185 w 505"/>
                <a:gd name="T61" fmla="*/ 31994 h 339"/>
                <a:gd name="T62" fmla="*/ 4807 w 505"/>
                <a:gd name="T63" fmla="*/ 29371 h 339"/>
                <a:gd name="T64" fmla="*/ 4807 w 505"/>
                <a:gd name="T65" fmla="*/ 25175 h 339"/>
                <a:gd name="T66" fmla="*/ 4807 w 505"/>
                <a:gd name="T67" fmla="*/ 22553 h 339"/>
                <a:gd name="T68" fmla="*/ 14857 w 505"/>
                <a:gd name="T69" fmla="*/ 17832 h 339"/>
                <a:gd name="T70" fmla="*/ 31898 w 505"/>
                <a:gd name="T71" fmla="*/ 11539 h 339"/>
                <a:gd name="T72" fmla="*/ 55930 w 505"/>
                <a:gd name="T73" fmla="*/ 4196 h 339"/>
                <a:gd name="T74" fmla="*/ 75593 w 505"/>
                <a:gd name="T75" fmla="*/ 5769 h 339"/>
                <a:gd name="T76" fmla="*/ 82148 w 505"/>
                <a:gd name="T77" fmla="*/ 14686 h 339"/>
                <a:gd name="T78" fmla="*/ 87828 w 505"/>
                <a:gd name="T79" fmla="*/ 18357 h 339"/>
                <a:gd name="T80" fmla="*/ 95693 w 505"/>
                <a:gd name="T81" fmla="*/ 18881 h 339"/>
                <a:gd name="T82" fmla="*/ 104433 w 505"/>
                <a:gd name="T83" fmla="*/ 18881 h 339"/>
                <a:gd name="T84" fmla="*/ 113172 w 505"/>
                <a:gd name="T85" fmla="*/ 12588 h 3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99" name="Freeform 343">
              <a:extLst>
                <a:ext uri="{FF2B5EF4-FFF2-40B4-BE49-F238E27FC236}">
                  <a16:creationId xmlns:a16="http://schemas.microsoft.com/office/drawing/2014/main" id="{2F03E78D-042C-4652-972B-30C9BE567196}"/>
                </a:ext>
              </a:extLst>
            </p:cNvPr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5895975" y="2136775"/>
              <a:ext cx="146050" cy="71438"/>
            </a:xfrm>
            <a:custGeom>
              <a:avLst/>
              <a:gdLst>
                <a:gd name="T0" fmla="*/ 134815 w 338"/>
                <a:gd name="T1" fmla="*/ 0 h 141"/>
                <a:gd name="T2" fmla="*/ 80371 w 338"/>
                <a:gd name="T3" fmla="*/ 0 h 141"/>
                <a:gd name="T4" fmla="*/ 72593 w 338"/>
                <a:gd name="T5" fmla="*/ 4053 h 141"/>
                <a:gd name="T6" fmla="*/ 62222 w 338"/>
                <a:gd name="T7" fmla="*/ 10640 h 141"/>
                <a:gd name="T8" fmla="*/ 57037 w 338"/>
                <a:gd name="T9" fmla="*/ 13680 h 141"/>
                <a:gd name="T10" fmla="*/ 51420 w 338"/>
                <a:gd name="T11" fmla="*/ 16213 h 141"/>
                <a:gd name="T12" fmla="*/ 48395 w 338"/>
                <a:gd name="T13" fmla="*/ 17226 h 141"/>
                <a:gd name="T14" fmla="*/ 45371 w 338"/>
                <a:gd name="T15" fmla="*/ 17733 h 141"/>
                <a:gd name="T16" fmla="*/ 42778 w 338"/>
                <a:gd name="T17" fmla="*/ 18239 h 141"/>
                <a:gd name="T18" fmla="*/ 40185 w 338"/>
                <a:gd name="T19" fmla="*/ 18746 h 141"/>
                <a:gd name="T20" fmla="*/ 38025 w 338"/>
                <a:gd name="T21" fmla="*/ 18239 h 141"/>
                <a:gd name="T22" fmla="*/ 36296 w 338"/>
                <a:gd name="T23" fmla="*/ 17733 h 141"/>
                <a:gd name="T24" fmla="*/ 33704 w 338"/>
                <a:gd name="T25" fmla="*/ 16213 h 141"/>
                <a:gd name="T26" fmla="*/ 31975 w 338"/>
                <a:gd name="T27" fmla="*/ 15200 h 141"/>
                <a:gd name="T28" fmla="*/ 28519 w 338"/>
                <a:gd name="T29" fmla="*/ 12160 h 141"/>
                <a:gd name="T30" fmla="*/ 25494 w 338"/>
                <a:gd name="T31" fmla="*/ 9120 h 141"/>
                <a:gd name="T32" fmla="*/ 21173 w 338"/>
                <a:gd name="T33" fmla="*/ 17226 h 141"/>
                <a:gd name="T34" fmla="*/ 15988 w 338"/>
                <a:gd name="T35" fmla="*/ 25839 h 141"/>
                <a:gd name="T36" fmla="*/ 12963 w 338"/>
                <a:gd name="T37" fmla="*/ 30399 h 141"/>
                <a:gd name="T38" fmla="*/ 9074 w 338"/>
                <a:gd name="T39" fmla="*/ 34452 h 141"/>
                <a:gd name="T40" fmla="*/ 4753 w 338"/>
                <a:gd name="T41" fmla="*/ 37999 h 141"/>
                <a:gd name="T42" fmla="*/ 0 w 338"/>
                <a:gd name="T43" fmla="*/ 40532 h 141"/>
                <a:gd name="T44" fmla="*/ 5185 w 338"/>
                <a:gd name="T45" fmla="*/ 45599 h 141"/>
                <a:gd name="T46" fmla="*/ 9938 w 338"/>
                <a:gd name="T47" fmla="*/ 50665 h 141"/>
                <a:gd name="T48" fmla="*/ 14259 w 338"/>
                <a:gd name="T49" fmla="*/ 54718 h 141"/>
                <a:gd name="T50" fmla="*/ 19012 w 338"/>
                <a:gd name="T51" fmla="*/ 58772 h 141"/>
                <a:gd name="T52" fmla="*/ 23766 w 338"/>
                <a:gd name="T53" fmla="*/ 61812 h 141"/>
                <a:gd name="T54" fmla="*/ 28519 w 338"/>
                <a:gd name="T55" fmla="*/ 65358 h 141"/>
                <a:gd name="T56" fmla="*/ 34136 w 338"/>
                <a:gd name="T57" fmla="*/ 68398 h 141"/>
                <a:gd name="T58" fmla="*/ 40185 w 338"/>
                <a:gd name="T59" fmla="*/ 71438 h 141"/>
                <a:gd name="T60" fmla="*/ 111914 w 338"/>
                <a:gd name="T61" fmla="*/ 71438 h 141"/>
                <a:gd name="T62" fmla="*/ 116235 w 338"/>
                <a:gd name="T63" fmla="*/ 62825 h 141"/>
                <a:gd name="T64" fmla="*/ 121420 w 338"/>
                <a:gd name="T65" fmla="*/ 54212 h 141"/>
                <a:gd name="T66" fmla="*/ 126173 w 338"/>
                <a:gd name="T67" fmla="*/ 46612 h 141"/>
                <a:gd name="T68" fmla="*/ 131359 w 338"/>
                <a:gd name="T69" fmla="*/ 39519 h 141"/>
                <a:gd name="T70" fmla="*/ 136112 w 338"/>
                <a:gd name="T71" fmla="*/ 32426 h 141"/>
                <a:gd name="T72" fmla="*/ 140001 w 338"/>
                <a:gd name="T73" fmla="*/ 24319 h 141"/>
                <a:gd name="T74" fmla="*/ 143889 w 338"/>
                <a:gd name="T75" fmla="*/ 17226 h 141"/>
                <a:gd name="T76" fmla="*/ 146050 w 338"/>
                <a:gd name="T77" fmla="*/ 9120 h 141"/>
                <a:gd name="T78" fmla="*/ 134815 w 338"/>
                <a:gd name="T79" fmla="*/ 0 h 14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00" name="Freeform 344">
              <a:extLst>
                <a:ext uri="{FF2B5EF4-FFF2-40B4-BE49-F238E27FC236}">
                  <a16:creationId xmlns:a16="http://schemas.microsoft.com/office/drawing/2014/main" id="{082D3435-91A0-49D8-A11F-9708958AAD5A}"/>
                </a:ext>
              </a:extLst>
            </p:cNvPr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5995989" y="1792289"/>
              <a:ext cx="111125" cy="65087"/>
            </a:xfrm>
            <a:custGeom>
              <a:avLst/>
              <a:gdLst>
                <a:gd name="T0" fmla="*/ 111125 w 259"/>
                <a:gd name="T1" fmla="*/ 65087 h 129"/>
                <a:gd name="T2" fmla="*/ 109409 w 259"/>
                <a:gd name="T3" fmla="*/ 51464 h 129"/>
                <a:gd name="T4" fmla="*/ 108122 w 259"/>
                <a:gd name="T5" fmla="*/ 40364 h 129"/>
                <a:gd name="T6" fmla="*/ 108122 w 259"/>
                <a:gd name="T7" fmla="*/ 31787 h 129"/>
                <a:gd name="T8" fmla="*/ 108551 w 259"/>
                <a:gd name="T9" fmla="*/ 25228 h 129"/>
                <a:gd name="T10" fmla="*/ 110267 w 259"/>
                <a:gd name="T11" fmla="*/ 14632 h 129"/>
                <a:gd name="T12" fmla="*/ 111125 w 259"/>
                <a:gd name="T13" fmla="*/ 6055 h 129"/>
                <a:gd name="T14" fmla="*/ 110696 w 259"/>
                <a:gd name="T15" fmla="*/ 7064 h 129"/>
                <a:gd name="T16" fmla="*/ 109838 w 259"/>
                <a:gd name="T17" fmla="*/ 8073 h 129"/>
                <a:gd name="T18" fmla="*/ 108551 w 259"/>
                <a:gd name="T19" fmla="*/ 8577 h 129"/>
                <a:gd name="T20" fmla="*/ 106834 w 259"/>
                <a:gd name="T21" fmla="*/ 9082 h 129"/>
                <a:gd name="T22" fmla="*/ 102544 w 259"/>
                <a:gd name="T23" fmla="*/ 9586 h 129"/>
                <a:gd name="T24" fmla="*/ 97824 w 259"/>
                <a:gd name="T25" fmla="*/ 9586 h 129"/>
                <a:gd name="T26" fmla="*/ 87956 w 259"/>
                <a:gd name="T27" fmla="*/ 9586 h 129"/>
                <a:gd name="T28" fmla="*/ 82378 w 259"/>
                <a:gd name="T29" fmla="*/ 9082 h 129"/>
                <a:gd name="T30" fmla="*/ 77659 w 259"/>
                <a:gd name="T31" fmla="*/ 8577 h 129"/>
                <a:gd name="T32" fmla="*/ 73797 w 259"/>
                <a:gd name="T33" fmla="*/ 7568 h 129"/>
                <a:gd name="T34" fmla="*/ 69936 w 259"/>
                <a:gd name="T35" fmla="*/ 6055 h 129"/>
                <a:gd name="T36" fmla="*/ 66932 w 259"/>
                <a:gd name="T37" fmla="*/ 4541 h 129"/>
                <a:gd name="T38" fmla="*/ 62642 w 259"/>
                <a:gd name="T39" fmla="*/ 3027 h 129"/>
                <a:gd name="T40" fmla="*/ 57493 w 259"/>
                <a:gd name="T41" fmla="*/ 1514 h 129"/>
                <a:gd name="T42" fmla="*/ 50628 w 259"/>
                <a:gd name="T43" fmla="*/ 505 h 129"/>
                <a:gd name="T44" fmla="*/ 42476 w 259"/>
                <a:gd name="T45" fmla="*/ 0 h 129"/>
                <a:gd name="T46" fmla="*/ 35611 w 259"/>
                <a:gd name="T47" fmla="*/ 0 h 129"/>
                <a:gd name="T48" fmla="*/ 28747 w 259"/>
                <a:gd name="T49" fmla="*/ 0 h 129"/>
                <a:gd name="T50" fmla="*/ 21453 w 259"/>
                <a:gd name="T51" fmla="*/ 0 h 129"/>
                <a:gd name="T52" fmla="*/ 14588 w 259"/>
                <a:gd name="T53" fmla="*/ 1009 h 129"/>
                <a:gd name="T54" fmla="*/ 11584 w 259"/>
                <a:gd name="T55" fmla="*/ 2018 h 129"/>
                <a:gd name="T56" fmla="*/ 9010 w 259"/>
                <a:gd name="T57" fmla="*/ 3027 h 129"/>
                <a:gd name="T58" fmla="*/ 6007 w 259"/>
                <a:gd name="T59" fmla="*/ 4541 h 129"/>
                <a:gd name="T60" fmla="*/ 4291 w 259"/>
                <a:gd name="T61" fmla="*/ 6559 h 129"/>
                <a:gd name="T62" fmla="*/ 2145 w 259"/>
                <a:gd name="T63" fmla="*/ 8577 h 129"/>
                <a:gd name="T64" fmla="*/ 858 w 259"/>
                <a:gd name="T65" fmla="*/ 11100 h 129"/>
                <a:gd name="T66" fmla="*/ 0 w 259"/>
                <a:gd name="T67" fmla="*/ 14632 h 129"/>
                <a:gd name="T68" fmla="*/ 0 w 259"/>
                <a:gd name="T69" fmla="*/ 18164 h 129"/>
                <a:gd name="T70" fmla="*/ 0 w 259"/>
                <a:gd name="T71" fmla="*/ 24218 h 129"/>
                <a:gd name="T72" fmla="*/ 1287 w 259"/>
                <a:gd name="T73" fmla="*/ 29264 h 129"/>
                <a:gd name="T74" fmla="*/ 2574 w 259"/>
                <a:gd name="T75" fmla="*/ 32796 h 129"/>
                <a:gd name="T76" fmla="*/ 5149 w 259"/>
                <a:gd name="T77" fmla="*/ 35823 h 129"/>
                <a:gd name="T78" fmla="*/ 7294 w 259"/>
                <a:gd name="T79" fmla="*/ 38346 h 129"/>
                <a:gd name="T80" fmla="*/ 10297 w 259"/>
                <a:gd name="T81" fmla="*/ 40364 h 129"/>
                <a:gd name="T82" fmla="*/ 13301 w 259"/>
                <a:gd name="T83" fmla="*/ 41878 h 129"/>
                <a:gd name="T84" fmla="*/ 15875 w 259"/>
                <a:gd name="T85" fmla="*/ 42887 h 129"/>
                <a:gd name="T86" fmla="*/ 21453 w 259"/>
                <a:gd name="T87" fmla="*/ 44400 h 129"/>
                <a:gd name="T88" fmla="*/ 26172 w 259"/>
                <a:gd name="T89" fmla="*/ 46419 h 129"/>
                <a:gd name="T90" fmla="*/ 27889 w 259"/>
                <a:gd name="T91" fmla="*/ 47932 h 129"/>
                <a:gd name="T92" fmla="*/ 28747 w 259"/>
                <a:gd name="T93" fmla="*/ 49950 h 129"/>
                <a:gd name="T94" fmla="*/ 28747 w 259"/>
                <a:gd name="T95" fmla="*/ 52978 h 129"/>
                <a:gd name="T96" fmla="*/ 28318 w 259"/>
                <a:gd name="T97" fmla="*/ 56005 h 129"/>
                <a:gd name="T98" fmla="*/ 34753 w 259"/>
                <a:gd name="T99" fmla="*/ 55501 h 129"/>
                <a:gd name="T100" fmla="*/ 39044 w 259"/>
                <a:gd name="T101" fmla="*/ 54491 h 129"/>
                <a:gd name="T102" fmla="*/ 42047 w 259"/>
                <a:gd name="T103" fmla="*/ 53482 h 129"/>
                <a:gd name="T104" fmla="*/ 45051 w 259"/>
                <a:gd name="T105" fmla="*/ 52978 h 129"/>
                <a:gd name="T106" fmla="*/ 51486 w 259"/>
                <a:gd name="T107" fmla="*/ 53482 h 129"/>
                <a:gd name="T108" fmla="*/ 60068 w 259"/>
                <a:gd name="T109" fmla="*/ 54491 h 129"/>
                <a:gd name="T110" fmla="*/ 71223 w 259"/>
                <a:gd name="T111" fmla="*/ 56510 h 129"/>
                <a:gd name="T112" fmla="*/ 82378 w 259"/>
                <a:gd name="T113" fmla="*/ 59032 h 129"/>
                <a:gd name="T114" fmla="*/ 102115 w 259"/>
                <a:gd name="T115" fmla="*/ 63069 h 129"/>
                <a:gd name="T116" fmla="*/ 111125 w 259"/>
                <a:gd name="T117" fmla="*/ 65087 h 12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01" name="Freeform 345">
              <a:extLst>
                <a:ext uri="{FF2B5EF4-FFF2-40B4-BE49-F238E27FC236}">
                  <a16:creationId xmlns:a16="http://schemas.microsoft.com/office/drawing/2014/main" id="{3F5A6187-6B23-4563-8D58-69507878969E}"/>
                </a:ext>
              </a:extLst>
            </p:cNvPr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6008689" y="2139951"/>
              <a:ext cx="179387" cy="142875"/>
            </a:xfrm>
            <a:custGeom>
              <a:avLst/>
              <a:gdLst>
                <a:gd name="T0" fmla="*/ 176432 w 425"/>
                <a:gd name="T1" fmla="*/ 89297 h 272"/>
                <a:gd name="T2" fmla="*/ 167991 w 425"/>
                <a:gd name="T3" fmla="*/ 98752 h 272"/>
                <a:gd name="T4" fmla="*/ 161659 w 425"/>
                <a:gd name="T5" fmla="*/ 108207 h 272"/>
                <a:gd name="T6" fmla="*/ 162081 w 425"/>
                <a:gd name="T7" fmla="*/ 116086 h 272"/>
                <a:gd name="T8" fmla="*/ 164192 w 425"/>
                <a:gd name="T9" fmla="*/ 124490 h 272"/>
                <a:gd name="T10" fmla="*/ 158283 w 425"/>
                <a:gd name="T11" fmla="*/ 128167 h 272"/>
                <a:gd name="T12" fmla="*/ 146464 w 425"/>
                <a:gd name="T13" fmla="*/ 125016 h 272"/>
                <a:gd name="T14" fmla="*/ 136756 w 425"/>
                <a:gd name="T15" fmla="*/ 123440 h 272"/>
                <a:gd name="T16" fmla="*/ 124516 w 425"/>
                <a:gd name="T17" fmla="*/ 123440 h 272"/>
                <a:gd name="T18" fmla="*/ 111009 w 425"/>
                <a:gd name="T19" fmla="*/ 127642 h 272"/>
                <a:gd name="T20" fmla="*/ 97924 w 425"/>
                <a:gd name="T21" fmla="*/ 133420 h 272"/>
                <a:gd name="T22" fmla="*/ 83151 w 425"/>
                <a:gd name="T23" fmla="*/ 140249 h 272"/>
                <a:gd name="T24" fmla="*/ 42209 w 425"/>
                <a:gd name="T25" fmla="*/ 126066 h 272"/>
                <a:gd name="T26" fmla="*/ 35877 w 425"/>
                <a:gd name="T27" fmla="*/ 118712 h 272"/>
                <a:gd name="T28" fmla="*/ 29546 w 425"/>
                <a:gd name="T29" fmla="*/ 112409 h 272"/>
                <a:gd name="T30" fmla="*/ 15617 w 425"/>
                <a:gd name="T31" fmla="*/ 100853 h 272"/>
                <a:gd name="T32" fmla="*/ 9286 w 425"/>
                <a:gd name="T33" fmla="*/ 94550 h 272"/>
                <a:gd name="T34" fmla="*/ 4643 w 425"/>
                <a:gd name="T35" fmla="*/ 87721 h 272"/>
                <a:gd name="T36" fmla="*/ 844 w 425"/>
                <a:gd name="T37" fmla="*/ 78791 h 272"/>
                <a:gd name="T38" fmla="*/ 0 w 425"/>
                <a:gd name="T39" fmla="*/ 67761 h 272"/>
                <a:gd name="T40" fmla="*/ 21104 w 425"/>
                <a:gd name="T41" fmla="*/ 34668 h 272"/>
                <a:gd name="T42" fmla="*/ 29968 w 425"/>
                <a:gd name="T43" fmla="*/ 18910 h 272"/>
                <a:gd name="T44" fmla="*/ 33767 w 425"/>
                <a:gd name="T45" fmla="*/ 11556 h 272"/>
                <a:gd name="T46" fmla="*/ 35877 w 425"/>
                <a:gd name="T47" fmla="*/ 3152 h 272"/>
                <a:gd name="T48" fmla="*/ 51917 w 425"/>
                <a:gd name="T49" fmla="*/ 5253 h 272"/>
                <a:gd name="T50" fmla="*/ 64579 w 425"/>
                <a:gd name="T51" fmla="*/ 9455 h 272"/>
                <a:gd name="T52" fmla="*/ 75976 w 425"/>
                <a:gd name="T53" fmla="*/ 14182 h 272"/>
                <a:gd name="T54" fmla="*/ 86528 w 425"/>
                <a:gd name="T55" fmla="*/ 16284 h 272"/>
                <a:gd name="T56" fmla="*/ 90327 w 425"/>
                <a:gd name="T57" fmla="*/ 15233 h 272"/>
                <a:gd name="T58" fmla="*/ 93281 w 425"/>
                <a:gd name="T59" fmla="*/ 13657 h 272"/>
                <a:gd name="T60" fmla="*/ 97924 w 425"/>
                <a:gd name="T61" fmla="*/ 7879 h 272"/>
                <a:gd name="T62" fmla="*/ 102145 w 425"/>
                <a:gd name="T63" fmla="*/ 2626 h 272"/>
                <a:gd name="T64" fmla="*/ 105522 w 425"/>
                <a:gd name="T65" fmla="*/ 1051 h 272"/>
                <a:gd name="T66" fmla="*/ 109321 w 425"/>
                <a:gd name="T67" fmla="*/ 0 h 272"/>
                <a:gd name="T68" fmla="*/ 116074 w 425"/>
                <a:gd name="T69" fmla="*/ 1051 h 272"/>
                <a:gd name="T70" fmla="*/ 121983 w 425"/>
                <a:gd name="T71" fmla="*/ 3677 h 272"/>
                <a:gd name="T72" fmla="*/ 127470 w 425"/>
                <a:gd name="T73" fmla="*/ 7879 h 272"/>
                <a:gd name="T74" fmla="*/ 130847 w 425"/>
                <a:gd name="T75" fmla="*/ 13657 h 272"/>
                <a:gd name="T76" fmla="*/ 137178 w 425"/>
                <a:gd name="T77" fmla="*/ 27840 h 272"/>
                <a:gd name="T78" fmla="*/ 142243 w 425"/>
                <a:gd name="T79" fmla="*/ 43073 h 272"/>
                <a:gd name="T80" fmla="*/ 147308 w 425"/>
                <a:gd name="T81" fmla="*/ 59356 h 272"/>
                <a:gd name="T82" fmla="*/ 150263 w 425"/>
                <a:gd name="T83" fmla="*/ 66185 h 272"/>
                <a:gd name="T84" fmla="*/ 154062 w 425"/>
                <a:gd name="T85" fmla="*/ 72488 h 272"/>
                <a:gd name="T86" fmla="*/ 158705 w 425"/>
                <a:gd name="T87" fmla="*/ 77216 h 272"/>
                <a:gd name="T88" fmla="*/ 164192 w 425"/>
                <a:gd name="T89" fmla="*/ 81943 h 272"/>
                <a:gd name="T90" fmla="*/ 170945 w 425"/>
                <a:gd name="T91" fmla="*/ 84044 h 272"/>
                <a:gd name="T92" fmla="*/ 179387 w 425"/>
                <a:gd name="T93" fmla="*/ 84569 h 27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02" name="Freeform 346">
              <a:extLst>
                <a:ext uri="{FF2B5EF4-FFF2-40B4-BE49-F238E27FC236}">
                  <a16:creationId xmlns:a16="http://schemas.microsoft.com/office/drawing/2014/main" id="{DCFE23BD-A932-48F1-AA61-A92CF0B30669}"/>
                </a:ext>
              </a:extLst>
            </p:cNvPr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4008439" y="3178176"/>
              <a:ext cx="14287" cy="55563"/>
            </a:xfrm>
            <a:custGeom>
              <a:avLst/>
              <a:gdLst>
                <a:gd name="T0" fmla="*/ 5628 w 33"/>
                <a:gd name="T1" fmla="*/ 10754 h 31"/>
                <a:gd name="T2" fmla="*/ 0 w 33"/>
                <a:gd name="T3" fmla="*/ 34055 h 31"/>
                <a:gd name="T4" fmla="*/ 2165 w 33"/>
                <a:gd name="T5" fmla="*/ 37639 h 31"/>
                <a:gd name="T6" fmla="*/ 6061 w 33"/>
                <a:gd name="T7" fmla="*/ 44809 h 31"/>
                <a:gd name="T8" fmla="*/ 8226 w 33"/>
                <a:gd name="T9" fmla="*/ 48394 h 31"/>
                <a:gd name="T10" fmla="*/ 9958 w 33"/>
                <a:gd name="T11" fmla="*/ 51978 h 31"/>
                <a:gd name="T12" fmla="*/ 11689 w 33"/>
                <a:gd name="T13" fmla="*/ 53771 h 31"/>
                <a:gd name="T14" fmla="*/ 14287 w 33"/>
                <a:gd name="T15" fmla="*/ 55563 h 31"/>
                <a:gd name="T16" fmla="*/ 14287 w 33"/>
                <a:gd name="T17" fmla="*/ 0 h 31"/>
                <a:gd name="T18" fmla="*/ 8659 w 33"/>
                <a:gd name="T19" fmla="*/ 0 h 31"/>
                <a:gd name="T20" fmla="*/ 5628 w 33"/>
                <a:gd name="T21" fmla="*/ 10754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03" name="Freeform 347">
              <a:extLst>
                <a:ext uri="{FF2B5EF4-FFF2-40B4-BE49-F238E27FC236}">
                  <a16:creationId xmlns:a16="http://schemas.microsoft.com/office/drawing/2014/main" id="{BCC9E639-DE3E-4707-9BDE-2D5D56910F16}"/>
                </a:ext>
              </a:extLst>
            </p:cNvPr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6113464" y="2132014"/>
              <a:ext cx="85725" cy="79375"/>
            </a:xfrm>
            <a:custGeom>
              <a:avLst/>
              <a:gdLst>
                <a:gd name="T0" fmla="*/ 2679 w 192"/>
                <a:gd name="T1" fmla="*/ 9793 h 154"/>
                <a:gd name="T2" fmla="*/ 23217 w 192"/>
                <a:gd name="T3" fmla="*/ 0 h 154"/>
                <a:gd name="T4" fmla="*/ 41077 w 192"/>
                <a:gd name="T5" fmla="*/ 9793 h 154"/>
                <a:gd name="T6" fmla="*/ 53132 w 192"/>
                <a:gd name="T7" fmla="*/ 15978 h 154"/>
                <a:gd name="T8" fmla="*/ 65187 w 192"/>
                <a:gd name="T9" fmla="*/ 32472 h 154"/>
                <a:gd name="T10" fmla="*/ 74116 w 192"/>
                <a:gd name="T11" fmla="*/ 47934 h 154"/>
                <a:gd name="T12" fmla="*/ 85725 w 192"/>
                <a:gd name="T13" fmla="*/ 60820 h 154"/>
                <a:gd name="T14" fmla="*/ 67866 w 192"/>
                <a:gd name="T15" fmla="*/ 63912 h 154"/>
                <a:gd name="T16" fmla="*/ 56257 w 192"/>
                <a:gd name="T17" fmla="*/ 67005 h 154"/>
                <a:gd name="T18" fmla="*/ 56257 w 192"/>
                <a:gd name="T19" fmla="*/ 79375 h 154"/>
                <a:gd name="T20" fmla="*/ 47327 w 192"/>
                <a:gd name="T21" fmla="*/ 79375 h 154"/>
                <a:gd name="T22" fmla="*/ 44202 w 192"/>
                <a:gd name="T23" fmla="*/ 75252 h 154"/>
                <a:gd name="T24" fmla="*/ 41523 w 192"/>
                <a:gd name="T25" fmla="*/ 70613 h 154"/>
                <a:gd name="T26" fmla="*/ 39291 w 192"/>
                <a:gd name="T27" fmla="*/ 64943 h 154"/>
                <a:gd name="T28" fmla="*/ 36612 w 192"/>
                <a:gd name="T29" fmla="*/ 59274 h 154"/>
                <a:gd name="T30" fmla="*/ 33040 w 192"/>
                <a:gd name="T31" fmla="*/ 47934 h 154"/>
                <a:gd name="T32" fmla="*/ 29021 w 192"/>
                <a:gd name="T33" fmla="*/ 36595 h 154"/>
                <a:gd name="T34" fmla="*/ 26789 w 192"/>
                <a:gd name="T35" fmla="*/ 31441 h 154"/>
                <a:gd name="T36" fmla="*/ 24557 w 192"/>
                <a:gd name="T37" fmla="*/ 25771 h 154"/>
                <a:gd name="T38" fmla="*/ 21431 w 192"/>
                <a:gd name="T39" fmla="*/ 21648 h 154"/>
                <a:gd name="T40" fmla="*/ 18306 w 192"/>
                <a:gd name="T41" fmla="*/ 17524 h 154"/>
                <a:gd name="T42" fmla="*/ 14734 w 192"/>
                <a:gd name="T43" fmla="*/ 14432 h 154"/>
                <a:gd name="T44" fmla="*/ 10716 w 192"/>
                <a:gd name="T45" fmla="*/ 11855 h 154"/>
                <a:gd name="T46" fmla="*/ 8037 w 192"/>
                <a:gd name="T47" fmla="*/ 11339 h 154"/>
                <a:gd name="T48" fmla="*/ 5358 w 192"/>
                <a:gd name="T49" fmla="*/ 10308 h 154"/>
                <a:gd name="T50" fmla="*/ 2679 w 192"/>
                <a:gd name="T51" fmla="*/ 10308 h 154"/>
                <a:gd name="T52" fmla="*/ 0 w 192"/>
                <a:gd name="T53" fmla="*/ 9793 h 154"/>
                <a:gd name="T54" fmla="*/ 2679 w 192"/>
                <a:gd name="T55" fmla="*/ 9793 h 15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04" name="Freeform 348">
              <a:extLst>
                <a:ext uri="{FF2B5EF4-FFF2-40B4-BE49-F238E27FC236}">
                  <a16:creationId xmlns:a16="http://schemas.microsoft.com/office/drawing/2014/main" id="{7716AC9F-A81D-4F3A-94D7-E84C62CFDD13}"/>
                </a:ext>
              </a:extLst>
            </p:cNvPr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6030913" y="2014538"/>
              <a:ext cx="381000" cy="247650"/>
            </a:xfrm>
            <a:custGeom>
              <a:avLst/>
              <a:gdLst>
                <a:gd name="T0" fmla="*/ 170299 w 877"/>
                <a:gd name="T1" fmla="*/ 179533 h 469"/>
                <a:gd name="T2" fmla="*/ 138585 w 877"/>
                <a:gd name="T3" fmla="*/ 133594 h 469"/>
                <a:gd name="T4" fmla="*/ 89494 w 877"/>
                <a:gd name="T5" fmla="*/ 127257 h 469"/>
                <a:gd name="T6" fmla="*/ 82977 w 877"/>
                <a:gd name="T7" fmla="*/ 128313 h 469"/>
                <a:gd name="T8" fmla="*/ 77330 w 877"/>
                <a:gd name="T9" fmla="*/ 132538 h 469"/>
                <a:gd name="T10" fmla="*/ 70379 w 877"/>
                <a:gd name="T11" fmla="*/ 140986 h 469"/>
                <a:gd name="T12" fmla="*/ 65600 w 877"/>
                <a:gd name="T13" fmla="*/ 143098 h 469"/>
                <a:gd name="T14" fmla="*/ 52567 w 877"/>
                <a:gd name="T15" fmla="*/ 141514 h 469"/>
                <a:gd name="T16" fmla="*/ 34320 w 877"/>
                <a:gd name="T17" fmla="*/ 134650 h 469"/>
                <a:gd name="T18" fmla="*/ 11295 w 877"/>
                <a:gd name="T19" fmla="*/ 130425 h 469"/>
                <a:gd name="T20" fmla="*/ 3475 w 877"/>
                <a:gd name="T21" fmla="*/ 111944 h 469"/>
                <a:gd name="T22" fmla="*/ 5648 w 877"/>
                <a:gd name="T23" fmla="*/ 98743 h 469"/>
                <a:gd name="T24" fmla="*/ 5648 w 877"/>
                <a:gd name="T25" fmla="*/ 95047 h 469"/>
                <a:gd name="T26" fmla="*/ 9992 w 877"/>
                <a:gd name="T27" fmla="*/ 76038 h 469"/>
                <a:gd name="T28" fmla="*/ 19115 w 877"/>
                <a:gd name="T29" fmla="*/ 59140 h 469"/>
                <a:gd name="T30" fmla="*/ 23460 w 877"/>
                <a:gd name="T31" fmla="*/ 48580 h 469"/>
                <a:gd name="T32" fmla="*/ 11295 w 877"/>
                <a:gd name="T33" fmla="*/ 26402 h 469"/>
                <a:gd name="T34" fmla="*/ 75157 w 877"/>
                <a:gd name="T35" fmla="*/ 13729 h 469"/>
                <a:gd name="T36" fmla="*/ 147274 w 877"/>
                <a:gd name="T37" fmla="*/ 26402 h 469"/>
                <a:gd name="T38" fmla="*/ 170299 w 877"/>
                <a:gd name="T39" fmla="*/ 6864 h 469"/>
                <a:gd name="T40" fmla="*/ 210701 w 877"/>
                <a:gd name="T41" fmla="*/ 0 h 469"/>
                <a:gd name="T42" fmla="*/ 251538 w 877"/>
                <a:gd name="T43" fmla="*/ 20065 h 469"/>
                <a:gd name="T44" fmla="*/ 277170 w 877"/>
                <a:gd name="T45" fmla="*/ 58612 h 469"/>
                <a:gd name="T46" fmla="*/ 314966 w 877"/>
                <a:gd name="T47" fmla="*/ 58612 h 469"/>
                <a:gd name="T48" fmla="*/ 364057 w 877"/>
                <a:gd name="T49" fmla="*/ 81846 h 469"/>
                <a:gd name="T50" fmla="*/ 375352 w 877"/>
                <a:gd name="T51" fmla="*/ 124089 h 469"/>
                <a:gd name="T52" fmla="*/ 349286 w 877"/>
                <a:gd name="T53" fmla="*/ 143626 h 469"/>
                <a:gd name="T54" fmla="*/ 327564 w 877"/>
                <a:gd name="T55" fmla="*/ 165276 h 469"/>
                <a:gd name="T56" fmla="*/ 298892 w 877"/>
                <a:gd name="T57" fmla="*/ 174253 h 469"/>
                <a:gd name="T58" fmla="*/ 288031 w 877"/>
                <a:gd name="T59" fmla="*/ 181117 h 469"/>
                <a:gd name="T60" fmla="*/ 281514 w 877"/>
                <a:gd name="T61" fmla="*/ 189038 h 469"/>
                <a:gd name="T62" fmla="*/ 280645 w 877"/>
                <a:gd name="T63" fmla="*/ 198014 h 469"/>
                <a:gd name="T64" fmla="*/ 283686 w 877"/>
                <a:gd name="T65" fmla="*/ 205935 h 469"/>
                <a:gd name="T66" fmla="*/ 289334 w 877"/>
                <a:gd name="T67" fmla="*/ 211743 h 469"/>
                <a:gd name="T68" fmla="*/ 308884 w 877"/>
                <a:gd name="T69" fmla="*/ 209103 h 469"/>
                <a:gd name="T70" fmla="*/ 321917 w 877"/>
                <a:gd name="T71" fmla="*/ 208047 h 469"/>
                <a:gd name="T72" fmla="*/ 318876 w 877"/>
                <a:gd name="T73" fmla="*/ 212799 h 469"/>
                <a:gd name="T74" fmla="*/ 311056 w 877"/>
                <a:gd name="T75" fmla="*/ 222304 h 469"/>
                <a:gd name="T76" fmla="*/ 303236 w 877"/>
                <a:gd name="T77" fmla="*/ 231281 h 469"/>
                <a:gd name="T78" fmla="*/ 299326 w 877"/>
                <a:gd name="T79" fmla="*/ 221248 h 469"/>
                <a:gd name="T80" fmla="*/ 291506 w 877"/>
                <a:gd name="T81" fmla="*/ 215440 h 469"/>
                <a:gd name="T82" fmla="*/ 289334 w 877"/>
                <a:gd name="T83" fmla="*/ 223360 h 469"/>
                <a:gd name="T84" fmla="*/ 279342 w 877"/>
                <a:gd name="T85" fmla="*/ 233393 h 469"/>
                <a:gd name="T86" fmla="*/ 268916 w 877"/>
                <a:gd name="T87" fmla="*/ 242898 h 469"/>
                <a:gd name="T88" fmla="*/ 265440 w 877"/>
                <a:gd name="T89" fmla="*/ 247650 h 469"/>
                <a:gd name="T90" fmla="*/ 258489 w 877"/>
                <a:gd name="T91" fmla="*/ 245010 h 469"/>
                <a:gd name="T92" fmla="*/ 253710 w 877"/>
                <a:gd name="T93" fmla="*/ 240257 h 469"/>
                <a:gd name="T94" fmla="*/ 249800 w 877"/>
                <a:gd name="T95" fmla="*/ 231809 h 469"/>
                <a:gd name="T96" fmla="*/ 248497 w 877"/>
                <a:gd name="T97" fmla="*/ 215440 h 469"/>
                <a:gd name="T98" fmla="*/ 238071 w 877"/>
                <a:gd name="T99" fmla="*/ 213328 h 469"/>
                <a:gd name="T100" fmla="*/ 225038 w 877"/>
                <a:gd name="T101" fmla="*/ 205407 h 469"/>
                <a:gd name="T102" fmla="*/ 242849 w 877"/>
                <a:gd name="T103" fmla="*/ 200127 h 469"/>
                <a:gd name="T104" fmla="*/ 271522 w 877"/>
                <a:gd name="T105" fmla="*/ 195374 h 469"/>
                <a:gd name="T106" fmla="*/ 214177 w 877"/>
                <a:gd name="T107" fmla="*/ 186926 h 469"/>
                <a:gd name="T108" fmla="*/ 193324 w 877"/>
                <a:gd name="T109" fmla="*/ 175837 h 469"/>
                <a:gd name="T110" fmla="*/ 172905 w 877"/>
                <a:gd name="T111" fmla="*/ 194846 h 469"/>
                <a:gd name="T112" fmla="*/ 165086 w 877"/>
                <a:gd name="T113" fmla="*/ 208575 h 469"/>
                <a:gd name="T114" fmla="*/ 153356 w 877"/>
                <a:gd name="T115" fmla="*/ 211215 h 469"/>
                <a:gd name="T116" fmla="*/ 142495 w 877"/>
                <a:gd name="T117" fmla="*/ 206991 h 469"/>
                <a:gd name="T118" fmla="*/ 132937 w 877"/>
                <a:gd name="T119" fmla="*/ 198542 h 46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05" name="Freeform 349">
              <a:extLst>
                <a:ext uri="{FF2B5EF4-FFF2-40B4-BE49-F238E27FC236}">
                  <a16:creationId xmlns:a16="http://schemas.microsoft.com/office/drawing/2014/main" id="{C99EEB4C-27A7-4B89-A6AF-244C18C972DC}"/>
                </a:ext>
              </a:extLst>
            </p:cNvPr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6542089" y="2357438"/>
              <a:ext cx="47625" cy="63500"/>
            </a:xfrm>
            <a:custGeom>
              <a:avLst/>
              <a:gdLst>
                <a:gd name="T0" fmla="*/ 21364 w 107"/>
                <a:gd name="T1" fmla="*/ 0 h 123"/>
                <a:gd name="T2" fmla="*/ 36053 w 107"/>
                <a:gd name="T3" fmla="*/ 16004 h 123"/>
                <a:gd name="T4" fmla="*/ 41839 w 107"/>
                <a:gd name="T5" fmla="*/ 34589 h 123"/>
                <a:gd name="T6" fmla="*/ 47625 w 107"/>
                <a:gd name="T7" fmla="*/ 44398 h 123"/>
                <a:gd name="T8" fmla="*/ 47625 w 107"/>
                <a:gd name="T9" fmla="*/ 60402 h 123"/>
                <a:gd name="T10" fmla="*/ 47625 w 107"/>
                <a:gd name="T11" fmla="*/ 63500 h 123"/>
                <a:gd name="T12" fmla="*/ 39168 w 107"/>
                <a:gd name="T13" fmla="*/ 58854 h 123"/>
                <a:gd name="T14" fmla="*/ 32492 w 107"/>
                <a:gd name="T15" fmla="*/ 54207 h 123"/>
                <a:gd name="T16" fmla="*/ 27151 w 107"/>
                <a:gd name="T17" fmla="*/ 50593 h 123"/>
                <a:gd name="T18" fmla="*/ 24035 w 107"/>
                <a:gd name="T19" fmla="*/ 47496 h 123"/>
                <a:gd name="T20" fmla="*/ 22700 w 107"/>
                <a:gd name="T21" fmla="*/ 42850 h 123"/>
                <a:gd name="T22" fmla="*/ 21364 w 107"/>
                <a:gd name="T23" fmla="*/ 37687 h 123"/>
                <a:gd name="T24" fmla="*/ 17359 w 107"/>
                <a:gd name="T25" fmla="*/ 38203 h 123"/>
                <a:gd name="T26" fmla="*/ 14243 w 107"/>
                <a:gd name="T27" fmla="*/ 37687 h 123"/>
                <a:gd name="T28" fmla="*/ 11572 w 107"/>
                <a:gd name="T29" fmla="*/ 37171 h 123"/>
                <a:gd name="T30" fmla="*/ 9347 w 107"/>
                <a:gd name="T31" fmla="*/ 36138 h 123"/>
                <a:gd name="T32" fmla="*/ 7567 w 107"/>
                <a:gd name="T33" fmla="*/ 34589 h 123"/>
                <a:gd name="T34" fmla="*/ 6231 w 107"/>
                <a:gd name="T35" fmla="*/ 32524 h 123"/>
                <a:gd name="T36" fmla="*/ 4896 w 107"/>
                <a:gd name="T37" fmla="*/ 30459 h 123"/>
                <a:gd name="T38" fmla="*/ 4006 w 107"/>
                <a:gd name="T39" fmla="*/ 27878 h 123"/>
                <a:gd name="T40" fmla="*/ 1780 w 107"/>
                <a:gd name="T41" fmla="*/ 16004 h 123"/>
                <a:gd name="T42" fmla="*/ 0 w 107"/>
                <a:gd name="T43" fmla="*/ 3098 h 123"/>
                <a:gd name="T44" fmla="*/ 15133 w 107"/>
                <a:gd name="T45" fmla="*/ 0 h 123"/>
                <a:gd name="T46" fmla="*/ 21364 w 107"/>
                <a:gd name="T47" fmla="*/ 0 h 1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06" name="Freeform 350">
              <a:extLst>
                <a:ext uri="{FF2B5EF4-FFF2-40B4-BE49-F238E27FC236}">
                  <a16:creationId xmlns:a16="http://schemas.microsoft.com/office/drawing/2014/main" id="{685BED8D-541E-4B52-8FD8-231D839EC726}"/>
                </a:ext>
              </a:extLst>
            </p:cNvPr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7085013" y="2371725"/>
              <a:ext cx="207962" cy="122238"/>
            </a:xfrm>
            <a:custGeom>
              <a:avLst/>
              <a:gdLst>
                <a:gd name="T0" fmla="*/ 46802 w 471"/>
                <a:gd name="T1" fmla="*/ 35000 h 234"/>
                <a:gd name="T2" fmla="*/ 73294 w 471"/>
                <a:gd name="T3" fmla="*/ 44925 h 234"/>
                <a:gd name="T4" fmla="*/ 120097 w 471"/>
                <a:gd name="T5" fmla="*/ 54850 h 234"/>
                <a:gd name="T6" fmla="*/ 164250 w 471"/>
                <a:gd name="T7" fmla="*/ 44925 h 234"/>
                <a:gd name="T8" fmla="*/ 169107 w 471"/>
                <a:gd name="T9" fmla="*/ 49627 h 234"/>
                <a:gd name="T10" fmla="*/ 172639 w 471"/>
                <a:gd name="T11" fmla="*/ 59552 h 234"/>
                <a:gd name="T12" fmla="*/ 179262 w 471"/>
                <a:gd name="T13" fmla="*/ 64776 h 234"/>
                <a:gd name="T14" fmla="*/ 187210 w 471"/>
                <a:gd name="T15" fmla="*/ 67388 h 234"/>
                <a:gd name="T16" fmla="*/ 191184 w 471"/>
                <a:gd name="T17" fmla="*/ 70000 h 234"/>
                <a:gd name="T18" fmla="*/ 194716 w 471"/>
                <a:gd name="T19" fmla="*/ 73656 h 234"/>
                <a:gd name="T20" fmla="*/ 197807 w 471"/>
                <a:gd name="T21" fmla="*/ 78880 h 234"/>
                <a:gd name="T22" fmla="*/ 200897 w 471"/>
                <a:gd name="T23" fmla="*/ 88805 h 234"/>
                <a:gd name="T24" fmla="*/ 207962 w 471"/>
                <a:gd name="T25" fmla="*/ 99253 h 234"/>
                <a:gd name="T26" fmla="*/ 154537 w 471"/>
                <a:gd name="T27" fmla="*/ 105522 h 234"/>
                <a:gd name="T28" fmla="*/ 145706 w 471"/>
                <a:gd name="T29" fmla="*/ 117014 h 234"/>
                <a:gd name="T30" fmla="*/ 139966 w 471"/>
                <a:gd name="T31" fmla="*/ 121716 h 234"/>
                <a:gd name="T32" fmla="*/ 135109 w 471"/>
                <a:gd name="T33" fmla="*/ 121716 h 234"/>
                <a:gd name="T34" fmla="*/ 131577 w 471"/>
                <a:gd name="T35" fmla="*/ 120148 h 234"/>
                <a:gd name="T36" fmla="*/ 128928 w 471"/>
                <a:gd name="T37" fmla="*/ 117014 h 234"/>
                <a:gd name="T38" fmla="*/ 127603 w 471"/>
                <a:gd name="T39" fmla="*/ 112835 h 234"/>
                <a:gd name="T40" fmla="*/ 125395 w 471"/>
                <a:gd name="T41" fmla="*/ 103955 h 234"/>
                <a:gd name="T42" fmla="*/ 122746 w 471"/>
                <a:gd name="T43" fmla="*/ 90895 h 234"/>
                <a:gd name="T44" fmla="*/ 118772 w 471"/>
                <a:gd name="T45" fmla="*/ 80970 h 234"/>
                <a:gd name="T46" fmla="*/ 113915 w 471"/>
                <a:gd name="T47" fmla="*/ 77313 h 234"/>
                <a:gd name="T48" fmla="*/ 108617 w 471"/>
                <a:gd name="T49" fmla="*/ 73656 h 234"/>
                <a:gd name="T50" fmla="*/ 104202 w 471"/>
                <a:gd name="T51" fmla="*/ 69477 h 234"/>
                <a:gd name="T52" fmla="*/ 98903 w 471"/>
                <a:gd name="T53" fmla="*/ 73134 h 234"/>
                <a:gd name="T54" fmla="*/ 91397 w 471"/>
                <a:gd name="T55" fmla="*/ 84626 h 234"/>
                <a:gd name="T56" fmla="*/ 88307 w 471"/>
                <a:gd name="T57" fmla="*/ 92462 h 234"/>
                <a:gd name="T58" fmla="*/ 83008 w 471"/>
                <a:gd name="T59" fmla="*/ 99253 h 234"/>
                <a:gd name="T60" fmla="*/ 73736 w 471"/>
                <a:gd name="T61" fmla="*/ 104999 h 234"/>
                <a:gd name="T62" fmla="*/ 64905 w 471"/>
                <a:gd name="T63" fmla="*/ 111268 h 234"/>
                <a:gd name="T64" fmla="*/ 57399 w 471"/>
                <a:gd name="T65" fmla="*/ 114402 h 234"/>
                <a:gd name="T66" fmla="*/ 50335 w 471"/>
                <a:gd name="T67" fmla="*/ 115969 h 234"/>
                <a:gd name="T68" fmla="*/ 42829 w 471"/>
                <a:gd name="T69" fmla="*/ 115447 h 234"/>
                <a:gd name="T70" fmla="*/ 36206 w 471"/>
                <a:gd name="T71" fmla="*/ 113357 h 234"/>
                <a:gd name="T72" fmla="*/ 27817 w 471"/>
                <a:gd name="T73" fmla="*/ 107089 h 234"/>
                <a:gd name="T74" fmla="*/ 26050 w 471"/>
                <a:gd name="T75" fmla="*/ 102910 h 234"/>
                <a:gd name="T76" fmla="*/ 26050 w 471"/>
                <a:gd name="T77" fmla="*/ 70522 h 234"/>
                <a:gd name="T78" fmla="*/ 0 w 471"/>
                <a:gd name="T79" fmla="*/ 51194 h 234"/>
                <a:gd name="T80" fmla="*/ 23401 w 471"/>
                <a:gd name="T81" fmla="*/ 41791 h 234"/>
                <a:gd name="T82" fmla="*/ 37972 w 471"/>
                <a:gd name="T83" fmla="*/ 15672 h 234"/>
                <a:gd name="T84" fmla="*/ 58724 w 471"/>
                <a:gd name="T85" fmla="*/ 0 h 234"/>
                <a:gd name="T86" fmla="*/ 73294 w 471"/>
                <a:gd name="T87" fmla="*/ 21940 h 2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07" name="Freeform 351">
              <a:extLst>
                <a:ext uri="{FF2B5EF4-FFF2-40B4-BE49-F238E27FC236}">
                  <a16:creationId xmlns:a16="http://schemas.microsoft.com/office/drawing/2014/main" id="{75BFC29A-46FD-4789-B317-6795C824C4CC}"/>
                </a:ext>
              </a:extLst>
            </p:cNvPr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7134226" y="2300288"/>
              <a:ext cx="225425" cy="125412"/>
            </a:xfrm>
            <a:custGeom>
              <a:avLst/>
              <a:gdLst>
                <a:gd name="T0" fmla="*/ 45514 w 525"/>
                <a:gd name="T1" fmla="*/ 96271 h 241"/>
                <a:gd name="T2" fmla="*/ 74283 w 525"/>
                <a:gd name="T3" fmla="*/ 77016 h 241"/>
                <a:gd name="T4" fmla="*/ 39932 w 525"/>
                <a:gd name="T5" fmla="*/ 54640 h 241"/>
                <a:gd name="T6" fmla="*/ 20181 w 525"/>
                <a:gd name="T7" fmla="*/ 60885 h 241"/>
                <a:gd name="T8" fmla="*/ 28339 w 525"/>
                <a:gd name="T9" fmla="*/ 31743 h 241"/>
                <a:gd name="T10" fmla="*/ 17175 w 525"/>
                <a:gd name="T11" fmla="*/ 22376 h 241"/>
                <a:gd name="T12" fmla="*/ 48091 w 525"/>
                <a:gd name="T13" fmla="*/ 13010 h 241"/>
                <a:gd name="T14" fmla="*/ 79865 w 525"/>
                <a:gd name="T15" fmla="*/ 0 h 241"/>
                <a:gd name="T16" fmla="*/ 133967 w 525"/>
                <a:gd name="T17" fmla="*/ 9887 h 241"/>
                <a:gd name="T18" fmla="*/ 188498 w 525"/>
                <a:gd name="T19" fmla="*/ 13010 h 241"/>
                <a:gd name="T20" fmla="*/ 225425 w 525"/>
                <a:gd name="T21" fmla="*/ 28621 h 241"/>
                <a:gd name="T22" fmla="*/ 222849 w 525"/>
                <a:gd name="T23" fmla="*/ 35906 h 241"/>
                <a:gd name="T24" fmla="*/ 218984 w 525"/>
                <a:gd name="T25" fmla="*/ 42671 h 241"/>
                <a:gd name="T26" fmla="*/ 214261 w 525"/>
                <a:gd name="T27" fmla="*/ 47875 h 241"/>
                <a:gd name="T28" fmla="*/ 208250 w 525"/>
                <a:gd name="T29" fmla="*/ 51518 h 241"/>
                <a:gd name="T30" fmla="*/ 189786 w 525"/>
                <a:gd name="T31" fmla="*/ 53599 h 241"/>
                <a:gd name="T32" fmla="*/ 179481 w 525"/>
                <a:gd name="T33" fmla="*/ 55681 h 241"/>
                <a:gd name="T34" fmla="*/ 174758 w 525"/>
                <a:gd name="T35" fmla="*/ 57762 h 241"/>
                <a:gd name="T36" fmla="*/ 171323 w 525"/>
                <a:gd name="T37" fmla="*/ 60885 h 241"/>
                <a:gd name="T38" fmla="*/ 166170 w 525"/>
                <a:gd name="T39" fmla="*/ 70772 h 241"/>
                <a:gd name="T40" fmla="*/ 162306 w 525"/>
                <a:gd name="T41" fmla="*/ 76496 h 241"/>
                <a:gd name="T42" fmla="*/ 156724 w 525"/>
                <a:gd name="T43" fmla="*/ 80139 h 241"/>
                <a:gd name="T44" fmla="*/ 130961 w 525"/>
                <a:gd name="T45" fmla="*/ 86383 h 241"/>
                <a:gd name="T46" fmla="*/ 117221 w 525"/>
                <a:gd name="T47" fmla="*/ 90026 h 241"/>
                <a:gd name="T48" fmla="*/ 111639 w 525"/>
                <a:gd name="T49" fmla="*/ 92628 h 241"/>
                <a:gd name="T50" fmla="*/ 112068 w 525"/>
                <a:gd name="T51" fmla="*/ 99913 h 241"/>
                <a:gd name="T52" fmla="*/ 112927 w 525"/>
                <a:gd name="T53" fmla="*/ 105637 h 241"/>
                <a:gd name="T54" fmla="*/ 117221 w 525"/>
                <a:gd name="T55" fmla="*/ 115525 h 241"/>
                <a:gd name="T56" fmla="*/ 94034 w 525"/>
                <a:gd name="T57" fmla="*/ 118647 h 241"/>
                <a:gd name="T58" fmla="*/ 48091 w 525"/>
                <a:gd name="T59" fmla="*/ 121769 h 241"/>
                <a:gd name="T60" fmla="*/ 8588 w 525"/>
                <a:gd name="T61" fmla="*/ 115525 h 241"/>
                <a:gd name="T62" fmla="*/ 22757 w 525"/>
                <a:gd name="T63" fmla="*/ 86383 h 24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08" name="Freeform 352">
              <a:extLst>
                <a:ext uri="{FF2B5EF4-FFF2-40B4-BE49-F238E27FC236}">
                  <a16:creationId xmlns:a16="http://schemas.microsoft.com/office/drawing/2014/main" id="{9F06D283-3B35-400D-ACB5-43A8AF277678}"/>
                </a:ext>
              </a:extLst>
            </p:cNvPr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6740525" y="2316163"/>
              <a:ext cx="342900" cy="227012"/>
            </a:xfrm>
            <a:custGeom>
              <a:avLst/>
              <a:gdLst>
                <a:gd name="T0" fmla="*/ 335902 w 784"/>
                <a:gd name="T1" fmla="*/ 154157 h 430"/>
                <a:gd name="T2" fmla="*/ 328467 w 784"/>
                <a:gd name="T3" fmla="*/ 154685 h 430"/>
                <a:gd name="T4" fmla="*/ 319719 w 784"/>
                <a:gd name="T5" fmla="*/ 159436 h 430"/>
                <a:gd name="T6" fmla="*/ 316220 w 784"/>
                <a:gd name="T7" fmla="*/ 162604 h 430"/>
                <a:gd name="T8" fmla="*/ 313596 w 784"/>
                <a:gd name="T9" fmla="*/ 175274 h 430"/>
                <a:gd name="T10" fmla="*/ 311847 w 784"/>
                <a:gd name="T11" fmla="*/ 190057 h 430"/>
                <a:gd name="T12" fmla="*/ 307910 w 784"/>
                <a:gd name="T13" fmla="*/ 198504 h 430"/>
                <a:gd name="T14" fmla="*/ 293477 w 784"/>
                <a:gd name="T15" fmla="*/ 212230 h 430"/>
                <a:gd name="T16" fmla="*/ 276857 w 784"/>
                <a:gd name="T17" fmla="*/ 221733 h 430"/>
                <a:gd name="T18" fmla="*/ 267672 w 784"/>
                <a:gd name="T19" fmla="*/ 223844 h 430"/>
                <a:gd name="T20" fmla="*/ 256738 w 784"/>
                <a:gd name="T21" fmla="*/ 226484 h 430"/>
                <a:gd name="T22" fmla="*/ 247990 w 784"/>
                <a:gd name="T23" fmla="*/ 225956 h 430"/>
                <a:gd name="T24" fmla="*/ 238368 w 784"/>
                <a:gd name="T25" fmla="*/ 204839 h 430"/>
                <a:gd name="T26" fmla="*/ 225247 w 784"/>
                <a:gd name="T27" fmla="*/ 181610 h 430"/>
                <a:gd name="T28" fmla="*/ 209064 w 784"/>
                <a:gd name="T29" fmla="*/ 176330 h 430"/>
                <a:gd name="T30" fmla="*/ 195943 w 784"/>
                <a:gd name="T31" fmla="*/ 166299 h 430"/>
                <a:gd name="T32" fmla="*/ 182384 w 784"/>
                <a:gd name="T33" fmla="*/ 155213 h 430"/>
                <a:gd name="T34" fmla="*/ 163140 w 784"/>
                <a:gd name="T35" fmla="*/ 144654 h 430"/>
                <a:gd name="T36" fmla="*/ 133836 w 784"/>
                <a:gd name="T37" fmla="*/ 136207 h 430"/>
                <a:gd name="T38" fmla="*/ 79602 w 784"/>
                <a:gd name="T39" fmla="*/ 149406 h 430"/>
                <a:gd name="T40" fmla="*/ 66043 w 784"/>
                <a:gd name="T41" fmla="*/ 161548 h 430"/>
                <a:gd name="T42" fmla="*/ 55546 w 784"/>
                <a:gd name="T43" fmla="*/ 162604 h 430"/>
                <a:gd name="T44" fmla="*/ 28867 w 784"/>
                <a:gd name="T45" fmla="*/ 133040 h 430"/>
                <a:gd name="T46" fmla="*/ 28867 w 784"/>
                <a:gd name="T47" fmla="*/ 107699 h 430"/>
                <a:gd name="T48" fmla="*/ 17495 w 784"/>
                <a:gd name="T49" fmla="*/ 94500 h 430"/>
                <a:gd name="T50" fmla="*/ 18370 w 784"/>
                <a:gd name="T51" fmla="*/ 105059 h 430"/>
                <a:gd name="T52" fmla="*/ 15745 w 784"/>
                <a:gd name="T53" fmla="*/ 115090 h 430"/>
                <a:gd name="T54" fmla="*/ 13121 w 784"/>
                <a:gd name="T55" fmla="*/ 116674 h 430"/>
                <a:gd name="T56" fmla="*/ 13559 w 784"/>
                <a:gd name="T57" fmla="*/ 107171 h 430"/>
                <a:gd name="T58" fmla="*/ 11809 w 784"/>
                <a:gd name="T59" fmla="*/ 91861 h 430"/>
                <a:gd name="T60" fmla="*/ 14433 w 784"/>
                <a:gd name="T61" fmla="*/ 86053 h 430"/>
                <a:gd name="T62" fmla="*/ 17495 w 784"/>
                <a:gd name="T63" fmla="*/ 80246 h 430"/>
                <a:gd name="T64" fmla="*/ 11809 w 784"/>
                <a:gd name="T65" fmla="*/ 68104 h 430"/>
                <a:gd name="T66" fmla="*/ 3062 w 784"/>
                <a:gd name="T67" fmla="*/ 66520 h 430"/>
                <a:gd name="T68" fmla="*/ 0 w 784"/>
                <a:gd name="T69" fmla="*/ 61768 h 430"/>
                <a:gd name="T70" fmla="*/ 1312 w 784"/>
                <a:gd name="T71" fmla="*/ 54905 h 430"/>
                <a:gd name="T72" fmla="*/ 4811 w 784"/>
                <a:gd name="T73" fmla="*/ 49626 h 430"/>
                <a:gd name="T74" fmla="*/ 11809 w 784"/>
                <a:gd name="T75" fmla="*/ 48570 h 430"/>
                <a:gd name="T76" fmla="*/ 17932 w 784"/>
                <a:gd name="T77" fmla="*/ 52266 h 430"/>
                <a:gd name="T78" fmla="*/ 24930 w 784"/>
                <a:gd name="T79" fmla="*/ 54905 h 430"/>
                <a:gd name="T80" fmla="*/ 31053 w 784"/>
                <a:gd name="T81" fmla="*/ 48570 h 430"/>
                <a:gd name="T82" fmla="*/ 36302 w 784"/>
                <a:gd name="T83" fmla="*/ 40651 h 430"/>
                <a:gd name="T84" fmla="*/ 38051 w 784"/>
                <a:gd name="T85" fmla="*/ 33788 h 430"/>
                <a:gd name="T86" fmla="*/ 34115 w 784"/>
                <a:gd name="T87" fmla="*/ 29036 h 430"/>
                <a:gd name="T88" fmla="*/ 24055 w 784"/>
                <a:gd name="T89" fmla="*/ 25869 h 430"/>
                <a:gd name="T90" fmla="*/ 20557 w 784"/>
                <a:gd name="T91" fmla="*/ 21117 h 430"/>
                <a:gd name="T92" fmla="*/ 17932 w 784"/>
                <a:gd name="T93" fmla="*/ 14782 h 430"/>
                <a:gd name="T94" fmla="*/ 46799 w 784"/>
                <a:gd name="T95" fmla="*/ 22701 h 430"/>
                <a:gd name="T96" fmla="*/ 95785 w 784"/>
                <a:gd name="T97" fmla="*/ 39067 h 430"/>
                <a:gd name="T98" fmla="*/ 119403 w 784"/>
                <a:gd name="T99" fmla="*/ 0 h 430"/>
                <a:gd name="T100" fmla="*/ 163140 w 784"/>
                <a:gd name="T101" fmla="*/ 22701 h 430"/>
                <a:gd name="T102" fmla="*/ 203378 w 784"/>
                <a:gd name="T103" fmla="*/ 48570 h 430"/>
                <a:gd name="T104" fmla="*/ 258487 w 784"/>
                <a:gd name="T105" fmla="*/ 110866 h 430"/>
                <a:gd name="T106" fmla="*/ 316658 w 784"/>
                <a:gd name="T107" fmla="*/ 139903 h 430"/>
                <a:gd name="T108" fmla="*/ 340276 w 784"/>
                <a:gd name="T109" fmla="*/ 155741 h 4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09" name="Freeform 353">
              <a:extLst>
                <a:ext uri="{FF2B5EF4-FFF2-40B4-BE49-F238E27FC236}">
                  <a16:creationId xmlns:a16="http://schemas.microsoft.com/office/drawing/2014/main" id="{18BE4AAD-2FAD-48DF-910D-479E3554A7A2}"/>
                </a:ext>
              </a:extLst>
            </p:cNvPr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5949950" y="2203451"/>
              <a:ext cx="107950" cy="149225"/>
            </a:xfrm>
            <a:custGeom>
              <a:avLst/>
              <a:gdLst>
                <a:gd name="T0" fmla="*/ 13165 w 246"/>
                <a:gd name="T1" fmla="*/ 14187 h 284"/>
                <a:gd name="T2" fmla="*/ 12287 w 246"/>
                <a:gd name="T3" fmla="*/ 12611 h 284"/>
                <a:gd name="T4" fmla="*/ 10532 w 246"/>
                <a:gd name="T5" fmla="*/ 8932 h 284"/>
                <a:gd name="T6" fmla="*/ 15359 w 246"/>
                <a:gd name="T7" fmla="*/ 2627 h 284"/>
                <a:gd name="T8" fmla="*/ 29401 w 246"/>
                <a:gd name="T9" fmla="*/ 525 h 284"/>
                <a:gd name="T10" fmla="*/ 55291 w 246"/>
                <a:gd name="T11" fmla="*/ 6305 h 284"/>
                <a:gd name="T12" fmla="*/ 57486 w 246"/>
                <a:gd name="T13" fmla="*/ 15763 h 284"/>
                <a:gd name="T14" fmla="*/ 60996 w 246"/>
                <a:gd name="T15" fmla="*/ 24170 h 284"/>
                <a:gd name="T16" fmla="*/ 66262 w 246"/>
                <a:gd name="T17" fmla="*/ 29950 h 284"/>
                <a:gd name="T18" fmla="*/ 72405 w 246"/>
                <a:gd name="T19" fmla="*/ 35204 h 284"/>
                <a:gd name="T20" fmla="*/ 83815 w 246"/>
                <a:gd name="T21" fmla="*/ 45713 h 284"/>
                <a:gd name="T22" fmla="*/ 89081 w 246"/>
                <a:gd name="T23" fmla="*/ 53069 h 284"/>
                <a:gd name="T24" fmla="*/ 93030 w 246"/>
                <a:gd name="T25" fmla="*/ 61476 h 284"/>
                <a:gd name="T26" fmla="*/ 99174 w 246"/>
                <a:gd name="T27" fmla="*/ 61476 h 284"/>
                <a:gd name="T28" fmla="*/ 96979 w 246"/>
                <a:gd name="T29" fmla="*/ 65155 h 284"/>
                <a:gd name="T30" fmla="*/ 96979 w 246"/>
                <a:gd name="T31" fmla="*/ 67782 h 284"/>
                <a:gd name="T32" fmla="*/ 100051 w 246"/>
                <a:gd name="T33" fmla="*/ 73562 h 284"/>
                <a:gd name="T34" fmla="*/ 104878 w 246"/>
                <a:gd name="T35" fmla="*/ 80918 h 284"/>
                <a:gd name="T36" fmla="*/ 107072 w 246"/>
                <a:gd name="T37" fmla="*/ 85121 h 284"/>
                <a:gd name="T38" fmla="*/ 107950 w 246"/>
                <a:gd name="T39" fmla="*/ 90901 h 284"/>
                <a:gd name="T40" fmla="*/ 105756 w 246"/>
                <a:gd name="T41" fmla="*/ 96681 h 284"/>
                <a:gd name="T42" fmla="*/ 102245 w 246"/>
                <a:gd name="T43" fmla="*/ 100885 h 284"/>
                <a:gd name="T44" fmla="*/ 97857 w 246"/>
                <a:gd name="T45" fmla="*/ 104037 h 284"/>
                <a:gd name="T46" fmla="*/ 96541 w 246"/>
                <a:gd name="T47" fmla="*/ 107190 h 284"/>
                <a:gd name="T48" fmla="*/ 82937 w 246"/>
                <a:gd name="T49" fmla="*/ 112970 h 284"/>
                <a:gd name="T50" fmla="*/ 71967 w 246"/>
                <a:gd name="T51" fmla="*/ 120851 h 284"/>
                <a:gd name="T52" fmla="*/ 49587 w 246"/>
                <a:gd name="T53" fmla="*/ 139242 h 284"/>
                <a:gd name="T54" fmla="*/ 38616 w 246"/>
                <a:gd name="T55" fmla="*/ 121377 h 284"/>
                <a:gd name="T56" fmla="*/ 34667 w 246"/>
                <a:gd name="T57" fmla="*/ 115597 h 284"/>
                <a:gd name="T58" fmla="*/ 31595 w 246"/>
                <a:gd name="T59" fmla="*/ 113495 h 284"/>
                <a:gd name="T60" fmla="*/ 26329 w 246"/>
                <a:gd name="T61" fmla="*/ 114021 h 284"/>
                <a:gd name="T62" fmla="*/ 23696 w 246"/>
                <a:gd name="T63" fmla="*/ 116122 h 284"/>
                <a:gd name="T64" fmla="*/ 21502 w 246"/>
                <a:gd name="T65" fmla="*/ 119800 h 284"/>
                <a:gd name="T66" fmla="*/ 21063 w 246"/>
                <a:gd name="T67" fmla="*/ 124004 h 284"/>
                <a:gd name="T68" fmla="*/ 19747 w 246"/>
                <a:gd name="T69" fmla="*/ 135038 h 284"/>
                <a:gd name="T70" fmla="*/ 17992 w 246"/>
                <a:gd name="T71" fmla="*/ 141869 h 284"/>
                <a:gd name="T72" fmla="*/ 14481 w 246"/>
                <a:gd name="T73" fmla="*/ 149225 h 284"/>
                <a:gd name="T74" fmla="*/ 11409 w 246"/>
                <a:gd name="T75" fmla="*/ 127682 h 284"/>
                <a:gd name="T76" fmla="*/ 7460 w 246"/>
                <a:gd name="T77" fmla="*/ 119275 h 284"/>
                <a:gd name="T78" fmla="*/ 4827 w 246"/>
                <a:gd name="T79" fmla="*/ 116122 h 284"/>
                <a:gd name="T80" fmla="*/ 0 w 246"/>
                <a:gd name="T81" fmla="*/ 113495 h 284"/>
                <a:gd name="T82" fmla="*/ 439 w 246"/>
                <a:gd name="T83" fmla="*/ 107190 h 284"/>
                <a:gd name="T84" fmla="*/ 1755 w 246"/>
                <a:gd name="T85" fmla="*/ 101410 h 284"/>
                <a:gd name="T86" fmla="*/ 6582 w 246"/>
                <a:gd name="T87" fmla="*/ 92477 h 284"/>
                <a:gd name="T88" fmla="*/ 13603 w 246"/>
                <a:gd name="T89" fmla="*/ 84596 h 284"/>
                <a:gd name="T90" fmla="*/ 20186 w 246"/>
                <a:gd name="T91" fmla="*/ 74087 h 284"/>
                <a:gd name="T92" fmla="*/ 14481 w 246"/>
                <a:gd name="T93" fmla="*/ 23119 h 28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10" name="Freeform 354">
              <a:extLst>
                <a:ext uri="{FF2B5EF4-FFF2-40B4-BE49-F238E27FC236}">
                  <a16:creationId xmlns:a16="http://schemas.microsoft.com/office/drawing/2014/main" id="{E4AFC33A-6C1F-485C-A690-36146195DC03}"/>
                </a:ext>
              </a:extLst>
            </p:cNvPr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5997576" y="2311401"/>
              <a:ext cx="68263" cy="60325"/>
            </a:xfrm>
            <a:custGeom>
              <a:avLst/>
              <a:gdLst>
                <a:gd name="T0" fmla="*/ 48637 w 160"/>
                <a:gd name="T1" fmla="*/ 0 h 117"/>
                <a:gd name="T2" fmla="*/ 48637 w 160"/>
                <a:gd name="T3" fmla="*/ 4640 h 117"/>
                <a:gd name="T4" fmla="*/ 48637 w 160"/>
                <a:gd name="T5" fmla="*/ 9281 h 117"/>
                <a:gd name="T6" fmla="*/ 49064 w 160"/>
                <a:gd name="T7" fmla="*/ 12890 h 117"/>
                <a:gd name="T8" fmla="*/ 49917 w 160"/>
                <a:gd name="T9" fmla="*/ 16499 h 117"/>
                <a:gd name="T10" fmla="*/ 50771 w 160"/>
                <a:gd name="T11" fmla="*/ 17530 h 117"/>
                <a:gd name="T12" fmla="*/ 51624 w 160"/>
                <a:gd name="T13" fmla="*/ 19077 h 117"/>
                <a:gd name="T14" fmla="*/ 52477 w 160"/>
                <a:gd name="T15" fmla="*/ 19593 h 117"/>
                <a:gd name="T16" fmla="*/ 54184 w 160"/>
                <a:gd name="T17" fmla="*/ 20108 h 117"/>
                <a:gd name="T18" fmla="*/ 55890 w 160"/>
                <a:gd name="T19" fmla="*/ 20624 h 117"/>
                <a:gd name="T20" fmla="*/ 57597 w 160"/>
                <a:gd name="T21" fmla="*/ 20108 h 117"/>
                <a:gd name="T22" fmla="*/ 59730 w 160"/>
                <a:gd name="T23" fmla="*/ 19593 h 117"/>
                <a:gd name="T24" fmla="*/ 62290 w 160"/>
                <a:gd name="T25" fmla="*/ 18562 h 117"/>
                <a:gd name="T26" fmla="*/ 63570 w 160"/>
                <a:gd name="T27" fmla="*/ 22171 h 117"/>
                <a:gd name="T28" fmla="*/ 65276 w 160"/>
                <a:gd name="T29" fmla="*/ 26811 h 117"/>
                <a:gd name="T30" fmla="*/ 66983 w 160"/>
                <a:gd name="T31" fmla="*/ 32998 h 117"/>
                <a:gd name="T32" fmla="*/ 68263 w 160"/>
                <a:gd name="T33" fmla="*/ 38154 h 117"/>
                <a:gd name="T34" fmla="*/ 56744 w 160"/>
                <a:gd name="T35" fmla="*/ 45373 h 117"/>
                <a:gd name="T36" fmla="*/ 45224 w 160"/>
                <a:gd name="T37" fmla="*/ 52591 h 117"/>
                <a:gd name="T38" fmla="*/ 39251 w 160"/>
                <a:gd name="T39" fmla="*/ 55169 h 117"/>
                <a:gd name="T40" fmla="*/ 32425 w 160"/>
                <a:gd name="T41" fmla="*/ 58263 h 117"/>
                <a:gd name="T42" fmla="*/ 26452 w 160"/>
                <a:gd name="T43" fmla="*/ 59809 h 117"/>
                <a:gd name="T44" fmla="*/ 20052 w 160"/>
                <a:gd name="T45" fmla="*/ 60325 h 117"/>
                <a:gd name="T46" fmla="*/ 13653 w 160"/>
                <a:gd name="T47" fmla="*/ 51044 h 117"/>
                <a:gd name="T48" fmla="*/ 8960 w 160"/>
                <a:gd name="T49" fmla="*/ 42795 h 117"/>
                <a:gd name="T50" fmla="*/ 4266 w 160"/>
                <a:gd name="T51" fmla="*/ 35576 h 117"/>
                <a:gd name="T52" fmla="*/ 0 w 160"/>
                <a:gd name="T53" fmla="*/ 28358 h 117"/>
                <a:gd name="T54" fmla="*/ 5546 w 160"/>
                <a:gd name="T55" fmla="*/ 24749 h 117"/>
                <a:gd name="T56" fmla="*/ 17492 w 160"/>
                <a:gd name="T57" fmla="*/ 16499 h 117"/>
                <a:gd name="T58" fmla="*/ 25599 w 160"/>
                <a:gd name="T59" fmla="*/ 11859 h 117"/>
                <a:gd name="T60" fmla="*/ 33278 w 160"/>
                <a:gd name="T61" fmla="*/ 7218 h 117"/>
                <a:gd name="T62" fmla="*/ 41384 w 160"/>
                <a:gd name="T63" fmla="*/ 3094 h 117"/>
                <a:gd name="T64" fmla="*/ 48637 w 160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11" name="Freeform 355">
              <a:extLst>
                <a:ext uri="{FF2B5EF4-FFF2-40B4-BE49-F238E27FC236}">
                  <a16:creationId xmlns:a16="http://schemas.microsoft.com/office/drawing/2014/main" id="{CD55D07A-DE9B-42C8-9ECD-9D930BF124B3}"/>
                </a:ext>
              </a:extLst>
            </p:cNvPr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6081713" y="2935289"/>
              <a:ext cx="411162" cy="611187"/>
            </a:xfrm>
            <a:custGeom>
              <a:avLst/>
              <a:gdLst>
                <a:gd name="T0" fmla="*/ 323523 w 943"/>
                <a:gd name="T1" fmla="*/ 2607 h 1172"/>
                <a:gd name="T2" fmla="*/ 333551 w 943"/>
                <a:gd name="T3" fmla="*/ 11994 h 1172"/>
                <a:gd name="T4" fmla="*/ 350120 w 943"/>
                <a:gd name="T5" fmla="*/ 15645 h 1172"/>
                <a:gd name="T6" fmla="*/ 354916 w 943"/>
                <a:gd name="T7" fmla="*/ 28682 h 1172"/>
                <a:gd name="T8" fmla="*/ 364072 w 943"/>
                <a:gd name="T9" fmla="*/ 56842 h 1172"/>
                <a:gd name="T10" fmla="*/ 364944 w 943"/>
                <a:gd name="T11" fmla="*/ 97519 h 1172"/>
                <a:gd name="T12" fmla="*/ 373665 w 943"/>
                <a:gd name="T13" fmla="*/ 126722 h 1172"/>
                <a:gd name="T14" fmla="*/ 402006 w 943"/>
                <a:gd name="T15" fmla="*/ 152275 h 1172"/>
                <a:gd name="T16" fmla="*/ 383257 w 943"/>
                <a:gd name="T17" fmla="*/ 188258 h 1172"/>
                <a:gd name="T18" fmla="*/ 371049 w 943"/>
                <a:gd name="T19" fmla="*/ 213811 h 1172"/>
                <a:gd name="T20" fmla="*/ 352736 w 943"/>
                <a:gd name="T21" fmla="*/ 331147 h 1172"/>
                <a:gd name="T22" fmla="*/ 335731 w 943"/>
                <a:gd name="T23" fmla="*/ 353049 h 1172"/>
                <a:gd name="T24" fmla="*/ 332679 w 943"/>
                <a:gd name="T25" fmla="*/ 375995 h 1172"/>
                <a:gd name="T26" fmla="*/ 324831 w 943"/>
                <a:gd name="T27" fmla="*/ 383296 h 1172"/>
                <a:gd name="T28" fmla="*/ 315239 w 943"/>
                <a:gd name="T29" fmla="*/ 416150 h 1172"/>
                <a:gd name="T30" fmla="*/ 301722 w 943"/>
                <a:gd name="T31" fmla="*/ 457347 h 1172"/>
                <a:gd name="T32" fmla="*/ 288642 w 943"/>
                <a:gd name="T33" fmla="*/ 470906 h 1172"/>
                <a:gd name="T34" fmla="*/ 289514 w 943"/>
                <a:gd name="T35" fmla="*/ 487072 h 1172"/>
                <a:gd name="T36" fmla="*/ 299106 w 943"/>
                <a:gd name="T37" fmla="*/ 489680 h 1172"/>
                <a:gd name="T38" fmla="*/ 309135 w 943"/>
                <a:gd name="T39" fmla="*/ 495416 h 1172"/>
                <a:gd name="T40" fmla="*/ 323523 w 943"/>
                <a:gd name="T41" fmla="*/ 506367 h 1172"/>
                <a:gd name="T42" fmla="*/ 329627 w 943"/>
                <a:gd name="T43" fmla="*/ 525141 h 1172"/>
                <a:gd name="T44" fmla="*/ 337912 w 943"/>
                <a:gd name="T45" fmla="*/ 543915 h 1172"/>
                <a:gd name="T46" fmla="*/ 350120 w 943"/>
                <a:gd name="T47" fmla="*/ 549130 h 1172"/>
                <a:gd name="T48" fmla="*/ 352736 w 943"/>
                <a:gd name="T49" fmla="*/ 570511 h 1172"/>
                <a:gd name="T50" fmla="*/ 313059 w 943"/>
                <a:gd name="T51" fmla="*/ 581462 h 1172"/>
                <a:gd name="T52" fmla="*/ 299542 w 943"/>
                <a:gd name="T53" fmla="*/ 603365 h 1172"/>
                <a:gd name="T54" fmla="*/ 260737 w 943"/>
                <a:gd name="T55" fmla="*/ 610144 h 1172"/>
                <a:gd name="T56" fmla="*/ 224548 w 943"/>
                <a:gd name="T57" fmla="*/ 603886 h 1172"/>
                <a:gd name="T58" fmla="*/ 202311 w 943"/>
                <a:gd name="T59" fmla="*/ 585634 h 1172"/>
                <a:gd name="T60" fmla="*/ 170046 w 943"/>
                <a:gd name="T61" fmla="*/ 586677 h 1172"/>
                <a:gd name="T62" fmla="*/ 139089 w 943"/>
                <a:gd name="T63" fmla="*/ 584069 h 1172"/>
                <a:gd name="T64" fmla="*/ 129496 w 943"/>
                <a:gd name="T65" fmla="*/ 575726 h 1172"/>
                <a:gd name="T66" fmla="*/ 128188 w 943"/>
                <a:gd name="T67" fmla="*/ 560602 h 1172"/>
                <a:gd name="T68" fmla="*/ 119468 w 943"/>
                <a:gd name="T69" fmla="*/ 536614 h 1172"/>
                <a:gd name="T70" fmla="*/ 94179 w 943"/>
                <a:gd name="T71" fmla="*/ 507932 h 1172"/>
                <a:gd name="T72" fmla="*/ 84151 w 943"/>
                <a:gd name="T73" fmla="*/ 482379 h 1172"/>
                <a:gd name="T74" fmla="*/ 66274 w 943"/>
                <a:gd name="T75" fmla="*/ 470906 h 1172"/>
                <a:gd name="T76" fmla="*/ 52322 w 943"/>
                <a:gd name="T77" fmla="*/ 441181 h 1172"/>
                <a:gd name="T78" fmla="*/ 42293 w 943"/>
                <a:gd name="T79" fmla="*/ 410935 h 1172"/>
                <a:gd name="T80" fmla="*/ 28341 w 943"/>
                <a:gd name="T81" fmla="*/ 395290 h 1172"/>
                <a:gd name="T82" fmla="*/ 14388 w 943"/>
                <a:gd name="T83" fmla="*/ 352528 h 1172"/>
                <a:gd name="T84" fmla="*/ 1744 w 943"/>
                <a:gd name="T85" fmla="*/ 318631 h 1172"/>
                <a:gd name="T86" fmla="*/ 7848 w 943"/>
                <a:gd name="T87" fmla="*/ 300900 h 1172"/>
                <a:gd name="T88" fmla="*/ 12644 w 943"/>
                <a:gd name="T89" fmla="*/ 271697 h 1172"/>
                <a:gd name="T90" fmla="*/ 27905 w 943"/>
                <a:gd name="T91" fmla="*/ 247187 h 1172"/>
                <a:gd name="T92" fmla="*/ 49270 w 943"/>
                <a:gd name="T93" fmla="*/ 115771 h 1172"/>
                <a:gd name="T94" fmla="*/ 53630 w 943"/>
                <a:gd name="T95" fmla="*/ 93347 h 1172"/>
                <a:gd name="T96" fmla="*/ 66710 w 943"/>
                <a:gd name="T97" fmla="*/ 89175 h 1172"/>
                <a:gd name="T98" fmla="*/ 69762 w 943"/>
                <a:gd name="T99" fmla="*/ 63622 h 1172"/>
                <a:gd name="T100" fmla="*/ 69326 w 943"/>
                <a:gd name="T101" fmla="*/ 34940 h 1172"/>
                <a:gd name="T102" fmla="*/ 296054 w 943"/>
                <a:gd name="T103" fmla="*/ 35983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2" name="Freeform 356">
              <a:extLst>
                <a:ext uri="{FF2B5EF4-FFF2-40B4-BE49-F238E27FC236}">
                  <a16:creationId xmlns:a16="http://schemas.microsoft.com/office/drawing/2014/main" id="{FD8BD051-AA67-4AC4-8BF3-ACBB56302784}"/>
                </a:ext>
              </a:extLst>
            </p:cNvPr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6565901" y="3275013"/>
              <a:ext cx="244475" cy="431800"/>
            </a:xfrm>
            <a:custGeom>
              <a:avLst/>
              <a:gdLst>
                <a:gd name="T0" fmla="*/ 43091 w 556"/>
                <a:gd name="T1" fmla="*/ 32688 h 819"/>
                <a:gd name="T2" fmla="*/ 49247 w 556"/>
                <a:gd name="T3" fmla="*/ 29525 h 819"/>
                <a:gd name="T4" fmla="*/ 56722 w 556"/>
                <a:gd name="T5" fmla="*/ 36379 h 819"/>
                <a:gd name="T6" fmla="*/ 65516 w 556"/>
                <a:gd name="T7" fmla="*/ 44814 h 819"/>
                <a:gd name="T8" fmla="*/ 75189 w 556"/>
                <a:gd name="T9" fmla="*/ 48505 h 819"/>
                <a:gd name="T10" fmla="*/ 94536 w 556"/>
                <a:gd name="T11" fmla="*/ 46396 h 819"/>
                <a:gd name="T12" fmla="*/ 113004 w 556"/>
                <a:gd name="T13" fmla="*/ 43233 h 819"/>
                <a:gd name="T14" fmla="*/ 127954 w 556"/>
                <a:gd name="T15" fmla="*/ 41651 h 819"/>
                <a:gd name="T16" fmla="*/ 132351 w 556"/>
                <a:gd name="T17" fmla="*/ 39015 h 819"/>
                <a:gd name="T18" fmla="*/ 132351 w 556"/>
                <a:gd name="T19" fmla="*/ 35852 h 819"/>
                <a:gd name="T20" fmla="*/ 156095 w 556"/>
                <a:gd name="T21" fmla="*/ 33215 h 819"/>
                <a:gd name="T22" fmla="*/ 190831 w 556"/>
                <a:gd name="T23" fmla="*/ 23725 h 819"/>
                <a:gd name="T24" fmla="*/ 210618 w 556"/>
                <a:gd name="T25" fmla="*/ 14762 h 819"/>
                <a:gd name="T26" fmla="*/ 226007 w 556"/>
                <a:gd name="T27" fmla="*/ 4218 h 819"/>
                <a:gd name="T28" fmla="*/ 240518 w 556"/>
                <a:gd name="T29" fmla="*/ 16344 h 819"/>
                <a:gd name="T30" fmla="*/ 244035 w 556"/>
                <a:gd name="T31" fmla="*/ 30052 h 819"/>
                <a:gd name="T32" fmla="*/ 242716 w 556"/>
                <a:gd name="T33" fmla="*/ 59577 h 819"/>
                <a:gd name="T34" fmla="*/ 233922 w 556"/>
                <a:gd name="T35" fmla="*/ 91738 h 819"/>
                <a:gd name="T36" fmla="*/ 220731 w 556"/>
                <a:gd name="T37" fmla="*/ 121790 h 819"/>
                <a:gd name="T38" fmla="*/ 196547 w 556"/>
                <a:gd name="T39" fmla="*/ 169240 h 819"/>
                <a:gd name="T40" fmla="*/ 185994 w 556"/>
                <a:gd name="T41" fmla="*/ 197711 h 819"/>
                <a:gd name="T42" fmla="*/ 180278 w 556"/>
                <a:gd name="T43" fmla="*/ 218800 h 819"/>
                <a:gd name="T44" fmla="*/ 166648 w 556"/>
                <a:gd name="T45" fmla="*/ 249379 h 819"/>
                <a:gd name="T46" fmla="*/ 145102 w 556"/>
                <a:gd name="T47" fmla="*/ 279958 h 819"/>
                <a:gd name="T48" fmla="*/ 126635 w 556"/>
                <a:gd name="T49" fmla="*/ 298411 h 819"/>
                <a:gd name="T50" fmla="*/ 105089 w 556"/>
                <a:gd name="T51" fmla="*/ 316337 h 819"/>
                <a:gd name="T52" fmla="*/ 73870 w 556"/>
                <a:gd name="T53" fmla="*/ 343226 h 819"/>
                <a:gd name="T54" fmla="*/ 62878 w 556"/>
                <a:gd name="T55" fmla="*/ 358515 h 819"/>
                <a:gd name="T56" fmla="*/ 57601 w 556"/>
                <a:gd name="T57" fmla="*/ 369060 h 819"/>
                <a:gd name="T58" fmla="*/ 51006 w 556"/>
                <a:gd name="T59" fmla="*/ 378023 h 819"/>
                <a:gd name="T60" fmla="*/ 31219 w 556"/>
                <a:gd name="T61" fmla="*/ 392785 h 819"/>
                <a:gd name="T62" fmla="*/ 8354 w 556"/>
                <a:gd name="T63" fmla="*/ 422310 h 819"/>
                <a:gd name="T64" fmla="*/ 879 w 556"/>
                <a:gd name="T65" fmla="*/ 297357 h 819"/>
                <a:gd name="T66" fmla="*/ 1319 w 556"/>
                <a:gd name="T67" fmla="*/ 292084 h 819"/>
                <a:gd name="T68" fmla="*/ 11872 w 556"/>
                <a:gd name="T69" fmla="*/ 281013 h 819"/>
                <a:gd name="T70" fmla="*/ 18468 w 556"/>
                <a:gd name="T71" fmla="*/ 272050 h 819"/>
                <a:gd name="T72" fmla="*/ 26382 w 556"/>
                <a:gd name="T73" fmla="*/ 262032 h 819"/>
                <a:gd name="T74" fmla="*/ 48807 w 556"/>
                <a:gd name="T75" fmla="*/ 253070 h 819"/>
                <a:gd name="T76" fmla="*/ 52325 w 556"/>
                <a:gd name="T77" fmla="*/ 247797 h 819"/>
                <a:gd name="T78" fmla="*/ 56722 w 556"/>
                <a:gd name="T79" fmla="*/ 238307 h 819"/>
                <a:gd name="T80" fmla="*/ 66835 w 556"/>
                <a:gd name="T81" fmla="*/ 231980 h 819"/>
                <a:gd name="T82" fmla="*/ 76508 w 556"/>
                <a:gd name="T83" fmla="*/ 231453 h 819"/>
                <a:gd name="T84" fmla="*/ 86182 w 556"/>
                <a:gd name="T85" fmla="*/ 231453 h 819"/>
                <a:gd name="T86" fmla="*/ 100252 w 556"/>
                <a:gd name="T87" fmla="*/ 226181 h 819"/>
                <a:gd name="T88" fmla="*/ 110366 w 556"/>
                <a:gd name="T89" fmla="*/ 213527 h 819"/>
                <a:gd name="T90" fmla="*/ 116521 w 556"/>
                <a:gd name="T91" fmla="*/ 199820 h 819"/>
                <a:gd name="T92" fmla="*/ 130152 w 556"/>
                <a:gd name="T93" fmla="*/ 182948 h 819"/>
                <a:gd name="T94" fmla="*/ 155655 w 556"/>
                <a:gd name="T95" fmla="*/ 154478 h 819"/>
                <a:gd name="T96" fmla="*/ 165768 w 556"/>
                <a:gd name="T97" fmla="*/ 140243 h 819"/>
                <a:gd name="T98" fmla="*/ 142464 w 556"/>
                <a:gd name="T99" fmla="*/ 129698 h 819"/>
                <a:gd name="T100" fmla="*/ 113004 w 556"/>
                <a:gd name="T101" fmla="*/ 120208 h 819"/>
                <a:gd name="T102" fmla="*/ 80905 w 556"/>
                <a:gd name="T103" fmla="*/ 110191 h 819"/>
                <a:gd name="T104" fmla="*/ 65516 w 556"/>
                <a:gd name="T105" fmla="*/ 98592 h 819"/>
                <a:gd name="T106" fmla="*/ 49247 w 556"/>
                <a:gd name="T107" fmla="*/ 81193 h 819"/>
                <a:gd name="T108" fmla="*/ 39134 w 556"/>
                <a:gd name="T109" fmla="*/ 63795 h 819"/>
                <a:gd name="T110" fmla="*/ 33857 w 556"/>
                <a:gd name="T111" fmla="*/ 42178 h 819"/>
                <a:gd name="T112" fmla="*/ 28581 w 556"/>
                <a:gd name="T113" fmla="*/ 45869 h 819"/>
                <a:gd name="T114" fmla="*/ 36935 w 556"/>
                <a:gd name="T115" fmla="*/ 35852 h 81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3" name="Freeform 357">
              <a:extLst>
                <a:ext uri="{FF2B5EF4-FFF2-40B4-BE49-F238E27FC236}">
                  <a16:creationId xmlns:a16="http://schemas.microsoft.com/office/drawing/2014/main" id="{E159E81F-71D4-4A93-B252-20CE6A69998D}"/>
                </a:ext>
              </a:extLst>
            </p:cNvPr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6573838" y="3262314"/>
              <a:ext cx="38100" cy="58737"/>
            </a:xfrm>
            <a:custGeom>
              <a:avLst/>
              <a:gdLst>
                <a:gd name="T0" fmla="*/ 26138 w 86"/>
                <a:gd name="T1" fmla="*/ 0 h 97"/>
                <a:gd name="T2" fmla="*/ 24809 w 86"/>
                <a:gd name="T3" fmla="*/ 1211 h 97"/>
                <a:gd name="T4" fmla="*/ 23037 w 86"/>
                <a:gd name="T5" fmla="*/ 1817 h 97"/>
                <a:gd name="T6" fmla="*/ 20379 w 86"/>
                <a:gd name="T7" fmla="*/ 1817 h 97"/>
                <a:gd name="T8" fmla="*/ 17721 w 86"/>
                <a:gd name="T9" fmla="*/ 1817 h 97"/>
                <a:gd name="T10" fmla="*/ 14620 w 86"/>
                <a:gd name="T11" fmla="*/ 1817 h 97"/>
                <a:gd name="T12" fmla="*/ 11962 w 86"/>
                <a:gd name="T13" fmla="*/ 1817 h 97"/>
                <a:gd name="T14" fmla="*/ 10190 w 86"/>
                <a:gd name="T15" fmla="*/ 2422 h 97"/>
                <a:gd name="T16" fmla="*/ 8860 w 86"/>
                <a:gd name="T17" fmla="*/ 3633 h 97"/>
                <a:gd name="T18" fmla="*/ 7088 w 86"/>
                <a:gd name="T19" fmla="*/ 5450 h 97"/>
                <a:gd name="T20" fmla="*/ 5759 w 86"/>
                <a:gd name="T21" fmla="*/ 7266 h 97"/>
                <a:gd name="T22" fmla="*/ 4873 w 86"/>
                <a:gd name="T23" fmla="*/ 9083 h 97"/>
                <a:gd name="T24" fmla="*/ 3544 w 86"/>
                <a:gd name="T25" fmla="*/ 12111 h 97"/>
                <a:gd name="T26" fmla="*/ 1772 w 86"/>
                <a:gd name="T27" fmla="*/ 17561 h 97"/>
                <a:gd name="T28" fmla="*/ 886 w 86"/>
                <a:gd name="T29" fmla="*/ 23010 h 97"/>
                <a:gd name="T30" fmla="*/ 0 w 86"/>
                <a:gd name="T31" fmla="*/ 34516 h 97"/>
                <a:gd name="T32" fmla="*/ 0 w 86"/>
                <a:gd name="T33" fmla="*/ 45415 h 97"/>
                <a:gd name="T34" fmla="*/ 0 w 86"/>
                <a:gd name="T35" fmla="*/ 49048 h 97"/>
                <a:gd name="T36" fmla="*/ 443 w 86"/>
                <a:gd name="T37" fmla="*/ 52076 h 97"/>
                <a:gd name="T38" fmla="*/ 1329 w 86"/>
                <a:gd name="T39" fmla="*/ 54498 h 97"/>
                <a:gd name="T40" fmla="*/ 3101 w 86"/>
                <a:gd name="T41" fmla="*/ 56315 h 97"/>
                <a:gd name="T42" fmla="*/ 4430 w 86"/>
                <a:gd name="T43" fmla="*/ 57526 h 97"/>
                <a:gd name="T44" fmla="*/ 5759 w 86"/>
                <a:gd name="T45" fmla="*/ 58131 h 97"/>
                <a:gd name="T46" fmla="*/ 7974 w 86"/>
                <a:gd name="T47" fmla="*/ 58737 h 97"/>
                <a:gd name="T48" fmla="*/ 9303 w 86"/>
                <a:gd name="T49" fmla="*/ 58737 h 97"/>
                <a:gd name="T50" fmla="*/ 17721 w 86"/>
                <a:gd name="T51" fmla="*/ 57526 h 97"/>
                <a:gd name="T52" fmla="*/ 23480 w 86"/>
                <a:gd name="T53" fmla="*/ 56315 h 97"/>
                <a:gd name="T54" fmla="*/ 38100 w 86"/>
                <a:gd name="T55" fmla="*/ 41176 h 97"/>
                <a:gd name="T56" fmla="*/ 26138 w 86"/>
                <a:gd name="T57" fmla="*/ 0 h 9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4" name="Freeform 358">
              <a:extLst>
                <a:ext uri="{FF2B5EF4-FFF2-40B4-BE49-F238E27FC236}">
                  <a16:creationId xmlns:a16="http://schemas.microsoft.com/office/drawing/2014/main" id="{A63A6CE5-24E9-40C6-84E3-95172D8CA39E}"/>
                </a:ext>
              </a:extLst>
            </p:cNvPr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6372225" y="3173414"/>
              <a:ext cx="363538" cy="376237"/>
            </a:xfrm>
            <a:custGeom>
              <a:avLst/>
              <a:gdLst>
                <a:gd name="T0" fmla="*/ 78300 w 845"/>
                <a:gd name="T1" fmla="*/ 18812 h 720"/>
                <a:gd name="T2" fmla="*/ 88196 w 845"/>
                <a:gd name="T3" fmla="*/ 14631 h 720"/>
                <a:gd name="T4" fmla="*/ 106265 w 845"/>
                <a:gd name="T5" fmla="*/ 0 h 720"/>
                <a:gd name="T6" fmla="*/ 117451 w 845"/>
                <a:gd name="T7" fmla="*/ 6271 h 720"/>
                <a:gd name="T8" fmla="*/ 140683 w 845"/>
                <a:gd name="T9" fmla="*/ 19334 h 720"/>
                <a:gd name="T10" fmla="*/ 163485 w 845"/>
                <a:gd name="T11" fmla="*/ 35011 h 720"/>
                <a:gd name="T12" fmla="*/ 183275 w 845"/>
                <a:gd name="T13" fmla="*/ 51210 h 720"/>
                <a:gd name="T14" fmla="*/ 190158 w 845"/>
                <a:gd name="T15" fmla="*/ 65319 h 720"/>
                <a:gd name="T16" fmla="*/ 190589 w 845"/>
                <a:gd name="T17" fmla="*/ 73157 h 720"/>
                <a:gd name="T18" fmla="*/ 197042 w 845"/>
                <a:gd name="T19" fmla="*/ 76815 h 720"/>
                <a:gd name="T20" fmla="*/ 214681 w 845"/>
                <a:gd name="T21" fmla="*/ 93014 h 720"/>
                <a:gd name="T22" fmla="*/ 217693 w 845"/>
                <a:gd name="T23" fmla="*/ 89879 h 720"/>
                <a:gd name="T24" fmla="*/ 209949 w 845"/>
                <a:gd name="T25" fmla="*/ 96149 h 720"/>
                <a:gd name="T26" fmla="*/ 206937 w 845"/>
                <a:gd name="T27" fmla="*/ 105555 h 720"/>
                <a:gd name="T28" fmla="*/ 206937 w 845"/>
                <a:gd name="T29" fmla="*/ 131683 h 720"/>
                <a:gd name="T30" fmla="*/ 212100 w 845"/>
                <a:gd name="T31" fmla="*/ 137954 h 720"/>
                <a:gd name="T32" fmla="*/ 226297 w 845"/>
                <a:gd name="T33" fmla="*/ 138476 h 720"/>
                <a:gd name="T34" fmla="*/ 234471 w 845"/>
                <a:gd name="T35" fmla="*/ 166694 h 720"/>
                <a:gd name="T36" fmla="*/ 250820 w 845"/>
                <a:gd name="T37" fmla="*/ 188641 h 720"/>
                <a:gd name="T38" fmla="*/ 277494 w 845"/>
                <a:gd name="T39" fmla="*/ 209021 h 720"/>
                <a:gd name="T40" fmla="*/ 317504 w 845"/>
                <a:gd name="T41" fmla="*/ 224697 h 720"/>
                <a:gd name="T42" fmla="*/ 363538 w 845"/>
                <a:gd name="T43" fmla="*/ 234626 h 720"/>
                <a:gd name="T44" fmla="*/ 348910 w 845"/>
                <a:gd name="T45" fmla="*/ 251870 h 720"/>
                <a:gd name="T46" fmla="*/ 314493 w 845"/>
                <a:gd name="T47" fmla="*/ 285836 h 720"/>
                <a:gd name="T48" fmla="*/ 306318 w 845"/>
                <a:gd name="T49" fmla="*/ 302557 h 720"/>
                <a:gd name="T50" fmla="*/ 299865 w 845"/>
                <a:gd name="T51" fmla="*/ 322414 h 720"/>
                <a:gd name="T52" fmla="*/ 289970 w 845"/>
                <a:gd name="T53" fmla="*/ 328685 h 720"/>
                <a:gd name="T54" fmla="*/ 249529 w 845"/>
                <a:gd name="T55" fmla="*/ 342271 h 720"/>
                <a:gd name="T56" fmla="*/ 240494 w 845"/>
                <a:gd name="T57" fmla="*/ 350632 h 720"/>
                <a:gd name="T58" fmla="*/ 225867 w 845"/>
                <a:gd name="T59" fmla="*/ 355857 h 720"/>
                <a:gd name="T60" fmla="*/ 207367 w 845"/>
                <a:gd name="T61" fmla="*/ 362128 h 720"/>
                <a:gd name="T62" fmla="*/ 198333 w 845"/>
                <a:gd name="T63" fmla="*/ 355335 h 720"/>
                <a:gd name="T64" fmla="*/ 183705 w 845"/>
                <a:gd name="T65" fmla="*/ 354812 h 720"/>
                <a:gd name="T66" fmla="*/ 174240 w 845"/>
                <a:gd name="T67" fmla="*/ 365263 h 720"/>
                <a:gd name="T68" fmla="*/ 167787 w 845"/>
                <a:gd name="T69" fmla="*/ 373102 h 720"/>
                <a:gd name="T70" fmla="*/ 154880 w 845"/>
                <a:gd name="T71" fmla="*/ 376237 h 720"/>
                <a:gd name="T72" fmla="*/ 136811 w 845"/>
                <a:gd name="T73" fmla="*/ 373102 h 720"/>
                <a:gd name="T74" fmla="*/ 124334 w 845"/>
                <a:gd name="T75" fmla="*/ 364741 h 720"/>
                <a:gd name="T76" fmla="*/ 105835 w 845"/>
                <a:gd name="T77" fmla="*/ 350632 h 720"/>
                <a:gd name="T78" fmla="*/ 77870 w 845"/>
                <a:gd name="T79" fmla="*/ 345406 h 720"/>
                <a:gd name="T80" fmla="*/ 60231 w 845"/>
                <a:gd name="T81" fmla="*/ 341226 h 720"/>
                <a:gd name="T82" fmla="*/ 64964 w 845"/>
                <a:gd name="T83" fmla="*/ 320847 h 720"/>
                <a:gd name="T84" fmla="*/ 54638 w 845"/>
                <a:gd name="T85" fmla="*/ 311441 h 720"/>
                <a:gd name="T86" fmla="*/ 46464 w 845"/>
                <a:gd name="T87" fmla="*/ 304647 h 720"/>
                <a:gd name="T88" fmla="*/ 40011 w 845"/>
                <a:gd name="T89" fmla="*/ 287926 h 720"/>
                <a:gd name="T90" fmla="*/ 33127 w 845"/>
                <a:gd name="T91" fmla="*/ 267024 h 720"/>
                <a:gd name="T92" fmla="*/ 21081 w 845"/>
                <a:gd name="T93" fmla="*/ 255528 h 720"/>
                <a:gd name="T94" fmla="*/ 6884 w 845"/>
                <a:gd name="T95" fmla="*/ 249257 h 720"/>
                <a:gd name="T96" fmla="*/ 2151 w 845"/>
                <a:gd name="T97" fmla="*/ 246644 h 720"/>
                <a:gd name="T98" fmla="*/ 860 w 845"/>
                <a:gd name="T99" fmla="*/ 234103 h 720"/>
                <a:gd name="T100" fmla="*/ 9035 w 845"/>
                <a:gd name="T101" fmla="*/ 220517 h 720"/>
                <a:gd name="T102" fmla="*/ 23662 w 845"/>
                <a:gd name="T103" fmla="*/ 215814 h 720"/>
                <a:gd name="T104" fmla="*/ 28825 w 845"/>
                <a:gd name="T105" fmla="*/ 167739 h 720"/>
                <a:gd name="T106" fmla="*/ 35278 w 845"/>
                <a:gd name="T107" fmla="*/ 143702 h 720"/>
                <a:gd name="T108" fmla="*/ 40871 w 845"/>
                <a:gd name="T109" fmla="*/ 135863 h 720"/>
                <a:gd name="T110" fmla="*/ 44313 w 845"/>
                <a:gd name="T111" fmla="*/ 123322 h 720"/>
                <a:gd name="T112" fmla="*/ 49906 w 845"/>
                <a:gd name="T113" fmla="*/ 107646 h 720"/>
                <a:gd name="T114" fmla="*/ 63673 w 845"/>
                <a:gd name="T115" fmla="*/ 93014 h 720"/>
                <a:gd name="T116" fmla="*/ 71847 w 845"/>
                <a:gd name="T117" fmla="*/ 83608 h 72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5" name="Line 359">
              <a:extLst>
                <a:ext uri="{FF2B5EF4-FFF2-40B4-BE49-F238E27FC236}">
                  <a16:creationId xmlns:a16="http://schemas.microsoft.com/office/drawing/2014/main" id="{EB1C0903-5231-49C6-A912-D2127754A71E}"/>
                </a:ext>
              </a:extLst>
            </p:cNvPr>
            <p:cNvSpPr>
              <a:spLocks noChangeShapeType="1"/>
            </p:cNvSpPr>
            <p:nvPr>
              <p:custDataLst>
                <p:tags r:id="rId262"/>
              </p:custDataLst>
            </p:nvPr>
          </p:nvSpPr>
          <p:spPr bwMode="auto">
            <a:xfrm flipH="1">
              <a:off x="3232151" y="3692525"/>
              <a:ext cx="4763" cy="793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16" name="Freeform 360">
              <a:extLst>
                <a:ext uri="{FF2B5EF4-FFF2-40B4-BE49-F238E27FC236}">
                  <a16:creationId xmlns:a16="http://schemas.microsoft.com/office/drawing/2014/main" id="{151EB519-9D56-4D51-B686-53543762D047}"/>
                </a:ext>
              </a:extLst>
            </p:cNvPr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3232150" y="3700464"/>
              <a:ext cx="12700" cy="58737"/>
            </a:xfrm>
            <a:custGeom>
              <a:avLst/>
              <a:gdLst>
                <a:gd name="T0" fmla="*/ 0 w 33"/>
                <a:gd name="T1" fmla="*/ 0 h 6"/>
                <a:gd name="T2" fmla="*/ 2694 w 33"/>
                <a:gd name="T3" fmla="*/ 9790 h 6"/>
                <a:gd name="T4" fmla="*/ 5773 w 33"/>
                <a:gd name="T5" fmla="*/ 29369 h 6"/>
                <a:gd name="T6" fmla="*/ 8852 w 33"/>
                <a:gd name="T7" fmla="*/ 48948 h 6"/>
                <a:gd name="T8" fmla="*/ 12700 w 33"/>
                <a:gd name="T9" fmla="*/ 5873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7" name="Freeform 361">
              <a:extLst>
                <a:ext uri="{FF2B5EF4-FFF2-40B4-BE49-F238E27FC236}">
                  <a16:creationId xmlns:a16="http://schemas.microsoft.com/office/drawing/2014/main" id="{8B058268-93BE-4EDF-B1E5-494B83369823}"/>
                </a:ext>
              </a:extLst>
            </p:cNvPr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3240088" y="3687763"/>
              <a:ext cx="4762" cy="57150"/>
            </a:xfrm>
            <a:custGeom>
              <a:avLst/>
              <a:gdLst>
                <a:gd name="T0" fmla="*/ 4762 w 13"/>
                <a:gd name="T1" fmla="*/ 57150 h 30"/>
                <a:gd name="T2" fmla="*/ 4762 w 13"/>
                <a:gd name="T3" fmla="*/ 0 h 30"/>
                <a:gd name="T4" fmla="*/ 0 w 13"/>
                <a:gd name="T5" fmla="*/ 0 h 3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818" name="Group 362">
              <a:extLst>
                <a:ext uri="{FF2B5EF4-FFF2-40B4-BE49-F238E27FC236}">
                  <a16:creationId xmlns:a16="http://schemas.microsoft.com/office/drawing/2014/main" id="{8D631686-D626-455E-A5D1-7FE02CE234DC}"/>
                </a:ext>
              </a:extLst>
            </p:cNvPr>
            <p:cNvGrpSpPr>
              <a:grpSpLocks/>
            </p:cNvGrpSpPr>
            <p:nvPr>
              <p:custDataLst>
                <p:tags r:id="rId265"/>
              </p:custDataLst>
            </p:nvPr>
          </p:nvGrpSpPr>
          <p:grpSpPr bwMode="auto">
            <a:xfrm>
              <a:off x="3232151" y="3622676"/>
              <a:ext cx="417513" cy="201613"/>
              <a:chOff x="912" y="2626"/>
              <a:chExt cx="311" cy="127"/>
            </a:xfrm>
          </p:grpSpPr>
          <p:sp>
            <p:nvSpPr>
              <p:cNvPr id="1004" name="Freeform 363">
                <a:extLst>
                  <a:ext uri="{FF2B5EF4-FFF2-40B4-BE49-F238E27FC236}">
                    <a16:creationId xmlns:a16="http://schemas.microsoft.com/office/drawing/2014/main" id="{75E48B45-8BD8-42A7-B300-CAEBA0978A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100 w 352"/>
                  <a:gd name="T1" fmla="*/ 26 h 387"/>
                  <a:gd name="T2" fmla="*/ 92 w 352"/>
                  <a:gd name="T3" fmla="*/ 26 h 387"/>
                  <a:gd name="T4" fmla="*/ 85 w 352"/>
                  <a:gd name="T5" fmla="*/ 26 h 387"/>
                  <a:gd name="T6" fmla="*/ 80 w 352"/>
                  <a:gd name="T7" fmla="*/ 24 h 387"/>
                  <a:gd name="T8" fmla="*/ 71 w 352"/>
                  <a:gd name="T9" fmla="*/ 19 h 387"/>
                  <a:gd name="T10" fmla="*/ 54 w 352"/>
                  <a:gd name="T11" fmla="*/ 7 h 387"/>
                  <a:gd name="T12" fmla="*/ 44 w 352"/>
                  <a:gd name="T13" fmla="*/ 2 h 387"/>
                  <a:gd name="T14" fmla="*/ 41 w 352"/>
                  <a:gd name="T15" fmla="*/ 6 h 387"/>
                  <a:gd name="T16" fmla="*/ 38 w 352"/>
                  <a:gd name="T17" fmla="*/ 10 h 387"/>
                  <a:gd name="T18" fmla="*/ 34 w 352"/>
                  <a:gd name="T19" fmla="*/ 11 h 387"/>
                  <a:gd name="T20" fmla="*/ 28 w 352"/>
                  <a:gd name="T21" fmla="*/ 18 h 387"/>
                  <a:gd name="T22" fmla="*/ 17 w 352"/>
                  <a:gd name="T23" fmla="*/ 32 h 387"/>
                  <a:gd name="T24" fmla="*/ 10 w 352"/>
                  <a:gd name="T25" fmla="*/ 43 h 387"/>
                  <a:gd name="T26" fmla="*/ 5 w 352"/>
                  <a:gd name="T27" fmla="*/ 51 h 387"/>
                  <a:gd name="T28" fmla="*/ 2 w 352"/>
                  <a:gd name="T29" fmla="*/ 58 h 387"/>
                  <a:gd name="T30" fmla="*/ 0 w 352"/>
                  <a:gd name="T31" fmla="*/ 65 h 387"/>
                  <a:gd name="T32" fmla="*/ 0 w 352"/>
                  <a:gd name="T33" fmla="*/ 70 h 387"/>
                  <a:gd name="T34" fmla="*/ 1 w 352"/>
                  <a:gd name="T35" fmla="*/ 73 h 387"/>
                  <a:gd name="T36" fmla="*/ 3 w 352"/>
                  <a:gd name="T37" fmla="*/ 76 h 387"/>
                  <a:gd name="T38" fmla="*/ 8 w 352"/>
                  <a:gd name="T39" fmla="*/ 79 h 387"/>
                  <a:gd name="T40" fmla="*/ 13 w 352"/>
                  <a:gd name="T41" fmla="*/ 80 h 387"/>
                  <a:gd name="T42" fmla="*/ 17 w 352"/>
                  <a:gd name="T43" fmla="*/ 80 h 387"/>
                  <a:gd name="T44" fmla="*/ 20 w 352"/>
                  <a:gd name="T45" fmla="*/ 79 h 387"/>
                  <a:gd name="T46" fmla="*/ 23 w 352"/>
                  <a:gd name="T47" fmla="*/ 77 h 387"/>
                  <a:gd name="T48" fmla="*/ 25 w 352"/>
                  <a:gd name="T49" fmla="*/ 77 h 387"/>
                  <a:gd name="T50" fmla="*/ 26 w 352"/>
                  <a:gd name="T51" fmla="*/ 78 h 387"/>
                  <a:gd name="T52" fmla="*/ 26 w 352"/>
                  <a:gd name="T53" fmla="*/ 84 h 387"/>
                  <a:gd name="T54" fmla="*/ 24 w 352"/>
                  <a:gd name="T55" fmla="*/ 92 h 387"/>
                  <a:gd name="T56" fmla="*/ 23 w 352"/>
                  <a:gd name="T57" fmla="*/ 95 h 387"/>
                  <a:gd name="T58" fmla="*/ 23 w 352"/>
                  <a:gd name="T59" fmla="*/ 101 h 387"/>
                  <a:gd name="T60" fmla="*/ 26 w 352"/>
                  <a:gd name="T61" fmla="*/ 109 h 387"/>
                  <a:gd name="T62" fmla="*/ 29 w 352"/>
                  <a:gd name="T63" fmla="*/ 115 h 387"/>
                  <a:gd name="T64" fmla="*/ 39 w 352"/>
                  <a:gd name="T65" fmla="*/ 122 h 387"/>
                  <a:gd name="T66" fmla="*/ 46 w 352"/>
                  <a:gd name="T67" fmla="*/ 126 h 387"/>
                  <a:gd name="T68" fmla="*/ 49 w 352"/>
                  <a:gd name="T69" fmla="*/ 127 h 387"/>
                  <a:gd name="T70" fmla="*/ 52 w 352"/>
                  <a:gd name="T71" fmla="*/ 124 h 387"/>
                  <a:gd name="T72" fmla="*/ 56 w 352"/>
                  <a:gd name="T73" fmla="*/ 119 h 387"/>
                  <a:gd name="T74" fmla="*/ 57 w 352"/>
                  <a:gd name="T75" fmla="*/ 115 h 387"/>
                  <a:gd name="T76" fmla="*/ 58 w 352"/>
                  <a:gd name="T77" fmla="*/ 111 h 387"/>
                  <a:gd name="T78" fmla="*/ 59 w 352"/>
                  <a:gd name="T79" fmla="*/ 106 h 387"/>
                  <a:gd name="T80" fmla="*/ 63 w 352"/>
                  <a:gd name="T81" fmla="*/ 100 h 387"/>
                  <a:gd name="T82" fmla="*/ 69 w 352"/>
                  <a:gd name="T83" fmla="*/ 92 h 387"/>
                  <a:gd name="T84" fmla="*/ 76 w 352"/>
                  <a:gd name="T85" fmla="*/ 86 h 387"/>
                  <a:gd name="T86" fmla="*/ 85 w 352"/>
                  <a:gd name="T87" fmla="*/ 82 h 387"/>
                  <a:gd name="T88" fmla="*/ 96 w 352"/>
                  <a:gd name="T89" fmla="*/ 75 h 387"/>
                  <a:gd name="T90" fmla="*/ 104 w 352"/>
                  <a:gd name="T91" fmla="*/ 70 h 387"/>
                  <a:gd name="T92" fmla="*/ 109 w 352"/>
                  <a:gd name="T93" fmla="*/ 65 h 387"/>
                  <a:gd name="T94" fmla="*/ 111 w 352"/>
                  <a:gd name="T95" fmla="*/ 61 h 387"/>
                  <a:gd name="T96" fmla="*/ 113 w 352"/>
                  <a:gd name="T97" fmla="*/ 55 h 387"/>
                  <a:gd name="T98" fmla="*/ 113 w 352"/>
                  <a:gd name="T99" fmla="*/ 49 h 387"/>
                  <a:gd name="T100" fmla="*/ 110 w 352"/>
                  <a:gd name="T101" fmla="*/ 41 h 387"/>
                  <a:gd name="T102" fmla="*/ 106 w 352"/>
                  <a:gd name="T103" fmla="*/ 30 h 38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05" name="Freeform 364">
                <a:extLst>
                  <a:ext uri="{FF2B5EF4-FFF2-40B4-BE49-F238E27FC236}">
                    <a16:creationId xmlns:a16="http://schemas.microsoft.com/office/drawing/2014/main" id="{FAB84EBC-D94B-4519-B516-DB14EC3FAD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5 w 52"/>
                  <a:gd name="T1" fmla="*/ 0 h 78"/>
                  <a:gd name="T2" fmla="*/ 7 w 52"/>
                  <a:gd name="T3" fmla="*/ 0 h 78"/>
                  <a:gd name="T4" fmla="*/ 8 w 52"/>
                  <a:gd name="T5" fmla="*/ 1 h 78"/>
                  <a:gd name="T6" fmla="*/ 10 w 52"/>
                  <a:gd name="T7" fmla="*/ 2 h 78"/>
                  <a:gd name="T8" fmla="*/ 12 w 52"/>
                  <a:gd name="T9" fmla="*/ 3 h 78"/>
                  <a:gd name="T10" fmla="*/ 13 w 52"/>
                  <a:gd name="T11" fmla="*/ 4 h 78"/>
                  <a:gd name="T12" fmla="*/ 15 w 52"/>
                  <a:gd name="T13" fmla="*/ 6 h 78"/>
                  <a:gd name="T14" fmla="*/ 15 w 52"/>
                  <a:gd name="T15" fmla="*/ 7 h 78"/>
                  <a:gd name="T16" fmla="*/ 16 w 52"/>
                  <a:gd name="T17" fmla="*/ 8 h 78"/>
                  <a:gd name="T18" fmla="*/ 17 w 52"/>
                  <a:gd name="T19" fmla="*/ 11 h 78"/>
                  <a:gd name="T20" fmla="*/ 17 w 52"/>
                  <a:gd name="T21" fmla="*/ 14 h 78"/>
                  <a:gd name="T22" fmla="*/ 17 w 52"/>
                  <a:gd name="T23" fmla="*/ 15 h 78"/>
                  <a:gd name="T24" fmla="*/ 16 w 52"/>
                  <a:gd name="T25" fmla="*/ 17 h 78"/>
                  <a:gd name="T26" fmla="*/ 15 w 52"/>
                  <a:gd name="T27" fmla="*/ 18 h 78"/>
                  <a:gd name="T28" fmla="*/ 14 w 52"/>
                  <a:gd name="T29" fmla="*/ 20 h 78"/>
                  <a:gd name="T30" fmla="*/ 13 w 52"/>
                  <a:gd name="T31" fmla="*/ 22 h 78"/>
                  <a:gd name="T32" fmla="*/ 13 w 52"/>
                  <a:gd name="T33" fmla="*/ 24 h 78"/>
                  <a:gd name="T34" fmla="*/ 9 w 52"/>
                  <a:gd name="T35" fmla="*/ 25 h 78"/>
                  <a:gd name="T36" fmla="*/ 5 w 52"/>
                  <a:gd name="T37" fmla="*/ 26 h 78"/>
                  <a:gd name="T38" fmla="*/ 4 w 52"/>
                  <a:gd name="T39" fmla="*/ 26 h 78"/>
                  <a:gd name="T40" fmla="*/ 2 w 52"/>
                  <a:gd name="T41" fmla="*/ 26 h 78"/>
                  <a:gd name="T42" fmla="*/ 1 w 52"/>
                  <a:gd name="T43" fmla="*/ 26 h 78"/>
                  <a:gd name="T44" fmla="*/ 1 w 52"/>
                  <a:gd name="T45" fmla="*/ 26 h 78"/>
                  <a:gd name="T46" fmla="*/ 1 w 52"/>
                  <a:gd name="T47" fmla="*/ 25 h 78"/>
                  <a:gd name="T48" fmla="*/ 0 w 52"/>
                  <a:gd name="T49" fmla="*/ 24 h 78"/>
                  <a:gd name="T50" fmla="*/ 0 w 52"/>
                  <a:gd name="T51" fmla="*/ 23 h 78"/>
                  <a:gd name="T52" fmla="*/ 0 w 52"/>
                  <a:gd name="T53" fmla="*/ 21 h 78"/>
                  <a:gd name="T54" fmla="*/ 1 w 52"/>
                  <a:gd name="T55" fmla="*/ 20 h 78"/>
                  <a:gd name="T56" fmla="*/ 2 w 52"/>
                  <a:gd name="T57" fmla="*/ 19 h 78"/>
                  <a:gd name="T58" fmla="*/ 6 w 52"/>
                  <a:gd name="T59" fmla="*/ 16 h 78"/>
                  <a:gd name="T60" fmla="*/ 9 w 52"/>
                  <a:gd name="T61" fmla="*/ 14 h 78"/>
                  <a:gd name="T62" fmla="*/ 8 w 52"/>
                  <a:gd name="T63" fmla="*/ 11 h 78"/>
                  <a:gd name="T64" fmla="*/ 7 w 52"/>
                  <a:gd name="T65" fmla="*/ 7 h 78"/>
                  <a:gd name="T66" fmla="*/ 6 w 52"/>
                  <a:gd name="T67" fmla="*/ 3 h 78"/>
                  <a:gd name="T68" fmla="*/ 5 w 52"/>
                  <a:gd name="T69" fmla="*/ 0 h 7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06" name="Freeform 365">
                <a:extLst>
                  <a:ext uri="{FF2B5EF4-FFF2-40B4-BE49-F238E27FC236}">
                    <a16:creationId xmlns:a16="http://schemas.microsoft.com/office/drawing/2014/main" id="{2250F71C-B21E-447A-8703-192B34CCD4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4 w 33"/>
                  <a:gd name="T1" fmla="*/ 2 h 30"/>
                  <a:gd name="T2" fmla="*/ 0 w 33"/>
                  <a:gd name="T3" fmla="*/ 8 h 30"/>
                  <a:gd name="T4" fmla="*/ 2 w 33"/>
                  <a:gd name="T5" fmla="*/ 8 h 30"/>
                  <a:gd name="T6" fmla="*/ 4 w 33"/>
                  <a:gd name="T7" fmla="*/ 9 h 30"/>
                  <a:gd name="T8" fmla="*/ 6 w 33"/>
                  <a:gd name="T9" fmla="*/ 10 h 30"/>
                  <a:gd name="T10" fmla="*/ 9 w 33"/>
                  <a:gd name="T11" fmla="*/ 10 h 30"/>
                  <a:gd name="T12" fmla="*/ 9 w 33"/>
                  <a:gd name="T13" fmla="*/ 0 h 30"/>
                  <a:gd name="T14" fmla="*/ 5 w 33"/>
                  <a:gd name="T15" fmla="*/ 0 h 30"/>
                  <a:gd name="T16" fmla="*/ 4 w 33"/>
                  <a:gd name="T17" fmla="*/ 2 h 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819" name="Freeform 366">
              <a:extLst>
                <a:ext uri="{FF2B5EF4-FFF2-40B4-BE49-F238E27FC236}">
                  <a16:creationId xmlns:a16="http://schemas.microsoft.com/office/drawing/2014/main" id="{D3E752D2-6293-43E1-BDE5-3CF4F2A837EF}"/>
                </a:ext>
              </a:extLst>
            </p:cNvPr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6880225" y="4340225"/>
              <a:ext cx="19050" cy="58738"/>
            </a:xfrm>
            <a:custGeom>
              <a:avLst/>
              <a:gdLst>
                <a:gd name="T0" fmla="*/ 5269 w 47"/>
                <a:gd name="T1" fmla="*/ 0 h 28"/>
                <a:gd name="T2" fmla="*/ 10133 w 47"/>
                <a:gd name="T3" fmla="*/ 0 h 28"/>
                <a:gd name="T4" fmla="*/ 12565 w 47"/>
                <a:gd name="T5" fmla="*/ 4196 h 28"/>
                <a:gd name="T6" fmla="*/ 13376 w 47"/>
                <a:gd name="T7" fmla="*/ 8391 h 28"/>
                <a:gd name="T8" fmla="*/ 13376 w 47"/>
                <a:gd name="T9" fmla="*/ 12587 h 28"/>
                <a:gd name="T10" fmla="*/ 12970 w 47"/>
                <a:gd name="T11" fmla="*/ 16782 h 28"/>
                <a:gd name="T12" fmla="*/ 13376 w 47"/>
                <a:gd name="T13" fmla="*/ 20978 h 28"/>
                <a:gd name="T14" fmla="*/ 14997 w 47"/>
                <a:gd name="T15" fmla="*/ 25173 h 28"/>
                <a:gd name="T16" fmla="*/ 19050 w 47"/>
                <a:gd name="T17" fmla="*/ 25173 h 28"/>
                <a:gd name="T18" fmla="*/ 17023 w 47"/>
                <a:gd name="T19" fmla="*/ 39858 h 28"/>
                <a:gd name="T20" fmla="*/ 14997 w 47"/>
                <a:gd name="T21" fmla="*/ 52445 h 28"/>
                <a:gd name="T22" fmla="*/ 13376 w 47"/>
                <a:gd name="T23" fmla="*/ 56640 h 28"/>
                <a:gd name="T24" fmla="*/ 11349 w 47"/>
                <a:gd name="T25" fmla="*/ 58738 h 28"/>
                <a:gd name="T26" fmla="*/ 6485 w 47"/>
                <a:gd name="T27" fmla="*/ 56640 h 28"/>
                <a:gd name="T28" fmla="*/ 0 w 47"/>
                <a:gd name="T29" fmla="*/ 52445 h 28"/>
                <a:gd name="T30" fmla="*/ 405 w 47"/>
                <a:gd name="T31" fmla="*/ 39858 h 28"/>
                <a:gd name="T32" fmla="*/ 811 w 47"/>
                <a:gd name="T33" fmla="*/ 31467 h 28"/>
                <a:gd name="T34" fmla="*/ 1621 w 47"/>
                <a:gd name="T35" fmla="*/ 27271 h 28"/>
                <a:gd name="T36" fmla="*/ 2432 w 47"/>
                <a:gd name="T37" fmla="*/ 25173 h 28"/>
                <a:gd name="T38" fmla="*/ 3648 w 47"/>
                <a:gd name="T39" fmla="*/ 23076 h 28"/>
                <a:gd name="T40" fmla="*/ 4459 w 47"/>
                <a:gd name="T41" fmla="*/ 18880 h 28"/>
                <a:gd name="T42" fmla="*/ 5269 w 47"/>
                <a:gd name="T43" fmla="*/ 10489 h 28"/>
                <a:gd name="T44" fmla="*/ 5269 w 47"/>
                <a:gd name="T45" fmla="*/ 0 h 2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20" name="Freeform 367">
              <a:extLst>
                <a:ext uri="{FF2B5EF4-FFF2-40B4-BE49-F238E27FC236}">
                  <a16:creationId xmlns:a16="http://schemas.microsoft.com/office/drawing/2014/main" id="{4B57D3FA-B669-4038-98E4-0DCDAA4DBC6B}"/>
                </a:ext>
              </a:extLst>
            </p:cNvPr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6851651" y="4367213"/>
              <a:ext cx="23813" cy="57150"/>
            </a:xfrm>
            <a:custGeom>
              <a:avLst/>
              <a:gdLst>
                <a:gd name="T0" fmla="*/ 5841 w 53"/>
                <a:gd name="T1" fmla="*/ 0 h 33"/>
                <a:gd name="T2" fmla="*/ 11682 w 53"/>
                <a:gd name="T3" fmla="*/ 1732 h 33"/>
                <a:gd name="T4" fmla="*/ 15276 w 53"/>
                <a:gd name="T5" fmla="*/ 1732 h 33"/>
                <a:gd name="T6" fmla="*/ 16624 w 53"/>
                <a:gd name="T7" fmla="*/ 5195 h 33"/>
                <a:gd name="T8" fmla="*/ 16624 w 53"/>
                <a:gd name="T9" fmla="*/ 6927 h 33"/>
                <a:gd name="T10" fmla="*/ 16624 w 53"/>
                <a:gd name="T11" fmla="*/ 10391 h 33"/>
                <a:gd name="T12" fmla="*/ 17523 w 53"/>
                <a:gd name="T13" fmla="*/ 13855 h 33"/>
                <a:gd name="T14" fmla="*/ 19769 w 53"/>
                <a:gd name="T15" fmla="*/ 17318 h 33"/>
                <a:gd name="T16" fmla="*/ 23813 w 53"/>
                <a:gd name="T17" fmla="*/ 20782 h 33"/>
                <a:gd name="T18" fmla="*/ 21566 w 53"/>
                <a:gd name="T19" fmla="*/ 38100 h 33"/>
                <a:gd name="T20" fmla="*/ 19769 w 53"/>
                <a:gd name="T21" fmla="*/ 48491 h 33"/>
                <a:gd name="T22" fmla="*/ 18871 w 53"/>
                <a:gd name="T23" fmla="*/ 53686 h 33"/>
                <a:gd name="T24" fmla="*/ 17073 w 53"/>
                <a:gd name="T25" fmla="*/ 55418 h 33"/>
                <a:gd name="T26" fmla="*/ 16175 w 53"/>
                <a:gd name="T27" fmla="*/ 57150 h 33"/>
                <a:gd name="T28" fmla="*/ 15276 w 53"/>
                <a:gd name="T29" fmla="*/ 57150 h 33"/>
                <a:gd name="T30" fmla="*/ 8986 w 53"/>
                <a:gd name="T31" fmla="*/ 51955 h 33"/>
                <a:gd name="T32" fmla="*/ 0 w 53"/>
                <a:gd name="T33" fmla="*/ 41564 h 33"/>
                <a:gd name="T34" fmla="*/ 0 w 53"/>
                <a:gd name="T35" fmla="*/ 32905 h 33"/>
                <a:gd name="T36" fmla="*/ 899 w 53"/>
                <a:gd name="T37" fmla="*/ 27709 h 33"/>
                <a:gd name="T38" fmla="*/ 1797 w 53"/>
                <a:gd name="T39" fmla="*/ 24245 h 33"/>
                <a:gd name="T40" fmla="*/ 3145 w 53"/>
                <a:gd name="T41" fmla="*/ 20782 h 33"/>
                <a:gd name="T42" fmla="*/ 4044 w 53"/>
                <a:gd name="T43" fmla="*/ 19050 h 33"/>
                <a:gd name="T44" fmla="*/ 4942 w 53"/>
                <a:gd name="T45" fmla="*/ 15586 h 33"/>
                <a:gd name="T46" fmla="*/ 5392 w 53"/>
                <a:gd name="T47" fmla="*/ 10391 h 33"/>
                <a:gd name="T48" fmla="*/ 5841 w 53"/>
                <a:gd name="T49" fmla="*/ 0 h 3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821" name="Group 368">
              <a:extLst>
                <a:ext uri="{FF2B5EF4-FFF2-40B4-BE49-F238E27FC236}">
                  <a16:creationId xmlns:a16="http://schemas.microsoft.com/office/drawing/2014/main" id="{A937ABD9-2FCA-4836-985B-470C45797B9C}"/>
                </a:ext>
              </a:extLst>
            </p:cNvPr>
            <p:cNvGrpSpPr>
              <a:grpSpLocks/>
            </p:cNvGrpSpPr>
            <p:nvPr>
              <p:custDataLst>
                <p:tags r:id="rId268"/>
              </p:custDataLst>
            </p:nvPr>
          </p:nvGrpSpPr>
          <p:grpSpPr bwMode="auto">
            <a:xfrm>
              <a:off x="6692901" y="3859214"/>
              <a:ext cx="168275" cy="103187"/>
              <a:chOff x="3481" y="2773"/>
              <a:chExt cx="125" cy="65"/>
            </a:xfrm>
          </p:grpSpPr>
          <p:sp>
            <p:nvSpPr>
              <p:cNvPr id="993" name="Freeform 369">
                <a:extLst>
                  <a:ext uri="{FF2B5EF4-FFF2-40B4-BE49-F238E27FC236}">
                    <a16:creationId xmlns:a16="http://schemas.microsoft.com/office/drawing/2014/main" id="{CC7FC79F-A011-42F8-AD8F-9D3EC06ABF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5 w 13"/>
                  <a:gd name="T1" fmla="*/ 0 h 18"/>
                  <a:gd name="T2" fmla="*/ 4 w 13"/>
                  <a:gd name="T3" fmla="*/ 3 h 18"/>
                  <a:gd name="T4" fmla="*/ 2 w 13"/>
                  <a:gd name="T5" fmla="*/ 6 h 18"/>
                  <a:gd name="T6" fmla="*/ 2 w 13"/>
                  <a:gd name="T7" fmla="*/ 6 h 18"/>
                  <a:gd name="T8" fmla="*/ 1 w 13"/>
                  <a:gd name="T9" fmla="*/ 5 h 18"/>
                  <a:gd name="T10" fmla="*/ 0 w 13"/>
                  <a:gd name="T11" fmla="*/ 3 h 18"/>
                  <a:gd name="T12" fmla="*/ 0 w 13"/>
                  <a:gd name="T13" fmla="*/ 2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94" name="Line 370">
                <a:extLst>
                  <a:ext uri="{FF2B5EF4-FFF2-40B4-BE49-F238E27FC236}">
                    <a16:creationId xmlns:a16="http://schemas.microsoft.com/office/drawing/2014/main" id="{E05B7D50-53AC-4BBB-A5B5-D9F5B463BD0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95" name="Freeform 371">
                <a:extLst>
                  <a:ext uri="{FF2B5EF4-FFF2-40B4-BE49-F238E27FC236}">
                    <a16:creationId xmlns:a16="http://schemas.microsoft.com/office/drawing/2014/main" id="{08E23B50-E055-4492-86D2-D272FE33B4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5 w 14"/>
                  <a:gd name="T1" fmla="*/ 6 h 19"/>
                  <a:gd name="T2" fmla="*/ 0 w 14"/>
                  <a:gd name="T3" fmla="*/ 0 h 19"/>
                  <a:gd name="T4" fmla="*/ 5 w 14"/>
                  <a:gd name="T5" fmla="*/ 6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96" name="Freeform 372">
                <a:extLst>
                  <a:ext uri="{FF2B5EF4-FFF2-40B4-BE49-F238E27FC236}">
                    <a16:creationId xmlns:a16="http://schemas.microsoft.com/office/drawing/2014/main" id="{FB5F9DF5-1E39-4B0C-BF68-F06A207BA2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2 h 18"/>
                  <a:gd name="T2" fmla="*/ 2 w 7"/>
                  <a:gd name="T3" fmla="*/ 6 h 18"/>
                  <a:gd name="T4" fmla="*/ 0 w 7"/>
                  <a:gd name="T5" fmla="*/ 6 h 18"/>
                  <a:gd name="T6" fmla="*/ 0 w 7"/>
                  <a:gd name="T7" fmla="*/ 0 h 18"/>
                  <a:gd name="T8" fmla="*/ 2 w 7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97" name="Freeform 373">
                <a:extLst>
                  <a:ext uri="{FF2B5EF4-FFF2-40B4-BE49-F238E27FC236}">
                    <a16:creationId xmlns:a16="http://schemas.microsoft.com/office/drawing/2014/main" id="{DD65B680-3C70-4853-9385-4F35459E8C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7 w 20"/>
                  <a:gd name="T1" fmla="*/ 4 h 12"/>
                  <a:gd name="T2" fmla="*/ 4 w 20"/>
                  <a:gd name="T3" fmla="*/ 3 h 12"/>
                  <a:gd name="T4" fmla="*/ 0 w 20"/>
                  <a:gd name="T5" fmla="*/ 2 h 12"/>
                  <a:gd name="T6" fmla="*/ 0 w 20"/>
                  <a:gd name="T7" fmla="*/ 2 h 12"/>
                  <a:gd name="T8" fmla="*/ 1 w 20"/>
                  <a:gd name="T9" fmla="*/ 1 h 12"/>
                  <a:gd name="T10" fmla="*/ 3 w 20"/>
                  <a:gd name="T11" fmla="*/ 0 h 12"/>
                  <a:gd name="T12" fmla="*/ 5 w 20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98" name="Line 374">
                <a:extLst>
                  <a:ext uri="{FF2B5EF4-FFF2-40B4-BE49-F238E27FC236}">
                    <a16:creationId xmlns:a16="http://schemas.microsoft.com/office/drawing/2014/main" id="{D7A9EF2D-56E1-4D8D-88D2-796E5C9AF86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99" name="Freeform 375">
                <a:extLst>
                  <a:ext uri="{FF2B5EF4-FFF2-40B4-BE49-F238E27FC236}">
                    <a16:creationId xmlns:a16="http://schemas.microsoft.com/office/drawing/2014/main" id="{4950CE61-C283-4C71-9B9E-0C5574E448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6 h 18"/>
                  <a:gd name="T4" fmla="*/ 7 w 20"/>
                  <a:gd name="T5" fmla="*/ 6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00" name="Freeform 376">
                <a:extLst>
                  <a:ext uri="{FF2B5EF4-FFF2-40B4-BE49-F238E27FC236}">
                    <a16:creationId xmlns:a16="http://schemas.microsoft.com/office/drawing/2014/main" id="{4D7BBBA9-A02B-4049-BEBD-56741C1D63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3 w 7"/>
                  <a:gd name="T1" fmla="*/ 4 h 12"/>
                  <a:gd name="T2" fmla="*/ 2 w 7"/>
                  <a:gd name="T3" fmla="*/ 2 h 12"/>
                  <a:gd name="T4" fmla="*/ 0 w 7"/>
                  <a:gd name="T5" fmla="*/ 0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01" name="Freeform 377">
                <a:extLst>
                  <a:ext uri="{FF2B5EF4-FFF2-40B4-BE49-F238E27FC236}">
                    <a16:creationId xmlns:a16="http://schemas.microsoft.com/office/drawing/2014/main" id="{59D15BDE-9E0B-43BD-9F49-1DCF99152E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6 h 18"/>
                  <a:gd name="T4" fmla="*/ 7 w 20"/>
                  <a:gd name="T5" fmla="*/ 6 h 18"/>
                  <a:gd name="T6" fmla="*/ 6 w 20"/>
                  <a:gd name="T7" fmla="*/ 4 h 18"/>
                  <a:gd name="T8" fmla="*/ 5 w 20"/>
                  <a:gd name="T9" fmla="*/ 2 h 18"/>
                  <a:gd name="T10" fmla="*/ 0 w 20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02" name="Freeform 378">
                <a:extLst>
                  <a:ext uri="{FF2B5EF4-FFF2-40B4-BE49-F238E27FC236}">
                    <a16:creationId xmlns:a16="http://schemas.microsoft.com/office/drawing/2014/main" id="{B9B8CDA2-88B0-49A3-AB18-83BB4BB0FD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2 h 18"/>
                  <a:gd name="T2" fmla="*/ 2 w 7"/>
                  <a:gd name="T3" fmla="*/ 6 h 18"/>
                  <a:gd name="T4" fmla="*/ 0 w 7"/>
                  <a:gd name="T5" fmla="*/ 6 h 18"/>
                  <a:gd name="T6" fmla="*/ 0 w 7"/>
                  <a:gd name="T7" fmla="*/ 0 h 18"/>
                  <a:gd name="T8" fmla="*/ 2 w 7"/>
                  <a:gd name="T9" fmla="*/ 0 h 18"/>
                  <a:gd name="T10" fmla="*/ 0 w 7"/>
                  <a:gd name="T11" fmla="*/ 2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03" name="Freeform 379">
                <a:extLst>
                  <a:ext uri="{FF2B5EF4-FFF2-40B4-BE49-F238E27FC236}">
                    <a16:creationId xmlns:a16="http://schemas.microsoft.com/office/drawing/2014/main" id="{A2965ABF-8150-4B46-B480-14400E5AE6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5 w 13"/>
                  <a:gd name="T1" fmla="*/ 0 h 18"/>
                  <a:gd name="T2" fmla="*/ 4 w 13"/>
                  <a:gd name="T3" fmla="*/ 3 h 18"/>
                  <a:gd name="T4" fmla="*/ 2 w 13"/>
                  <a:gd name="T5" fmla="*/ 6 h 18"/>
                  <a:gd name="T6" fmla="*/ 2 w 13"/>
                  <a:gd name="T7" fmla="*/ 6 h 18"/>
                  <a:gd name="T8" fmla="*/ 1 w 13"/>
                  <a:gd name="T9" fmla="*/ 5 h 18"/>
                  <a:gd name="T10" fmla="*/ 0 w 13"/>
                  <a:gd name="T11" fmla="*/ 3 h 18"/>
                  <a:gd name="T12" fmla="*/ 0 w 13"/>
                  <a:gd name="T13" fmla="*/ 2 h 18"/>
                  <a:gd name="T14" fmla="*/ 2 w 13"/>
                  <a:gd name="T15" fmla="*/ 2 h 18"/>
                  <a:gd name="T16" fmla="*/ 5 w 13"/>
                  <a:gd name="T17" fmla="*/ 0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822" name="Freeform 380">
              <a:extLst>
                <a:ext uri="{FF2B5EF4-FFF2-40B4-BE49-F238E27FC236}">
                  <a16:creationId xmlns:a16="http://schemas.microsoft.com/office/drawing/2014/main" id="{D4DFFF2A-A542-4C20-B961-FF0221BB2DD9}"/>
                </a:ext>
              </a:extLst>
            </p:cNvPr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5821364" y="3851276"/>
              <a:ext cx="319087" cy="379413"/>
            </a:xfrm>
            <a:custGeom>
              <a:avLst/>
              <a:gdLst>
                <a:gd name="T0" fmla="*/ 26013 w 736"/>
                <a:gd name="T1" fmla="*/ 360469 h 721"/>
                <a:gd name="T2" fmla="*/ 39452 w 736"/>
                <a:gd name="T3" fmla="*/ 351523 h 721"/>
                <a:gd name="T4" fmla="*/ 54626 w 736"/>
                <a:gd name="T5" fmla="*/ 351523 h 721"/>
                <a:gd name="T6" fmla="*/ 84974 w 736"/>
                <a:gd name="T7" fmla="*/ 364152 h 721"/>
                <a:gd name="T8" fmla="*/ 106218 w 736"/>
                <a:gd name="T9" fmla="*/ 370993 h 721"/>
                <a:gd name="T10" fmla="*/ 126594 w 736"/>
                <a:gd name="T11" fmla="*/ 369941 h 721"/>
                <a:gd name="T12" fmla="*/ 264894 w 736"/>
                <a:gd name="T13" fmla="*/ 377308 h 721"/>
                <a:gd name="T14" fmla="*/ 282236 w 736"/>
                <a:gd name="T15" fmla="*/ 372046 h 721"/>
                <a:gd name="T16" fmla="*/ 271831 w 736"/>
                <a:gd name="T17" fmla="*/ 345734 h 721"/>
                <a:gd name="T18" fmla="*/ 287872 w 736"/>
                <a:gd name="T19" fmla="*/ 227858 h 721"/>
                <a:gd name="T20" fmla="*/ 307381 w 736"/>
                <a:gd name="T21" fmla="*/ 225753 h 721"/>
                <a:gd name="T22" fmla="*/ 313451 w 736"/>
                <a:gd name="T23" fmla="*/ 218912 h 721"/>
                <a:gd name="T24" fmla="*/ 318220 w 736"/>
                <a:gd name="T25" fmla="*/ 189443 h 721"/>
                <a:gd name="T26" fmla="*/ 313017 w 736"/>
                <a:gd name="T27" fmla="*/ 158922 h 721"/>
                <a:gd name="T28" fmla="*/ 306948 w 736"/>
                <a:gd name="T29" fmla="*/ 159974 h 721"/>
                <a:gd name="T30" fmla="*/ 293074 w 736"/>
                <a:gd name="T31" fmla="*/ 157869 h 721"/>
                <a:gd name="T32" fmla="*/ 274866 w 736"/>
                <a:gd name="T33" fmla="*/ 157343 h 721"/>
                <a:gd name="T34" fmla="*/ 270097 w 736"/>
                <a:gd name="T35" fmla="*/ 152607 h 721"/>
                <a:gd name="T36" fmla="*/ 267495 w 736"/>
                <a:gd name="T37" fmla="*/ 133137 h 721"/>
                <a:gd name="T38" fmla="*/ 263160 w 736"/>
                <a:gd name="T39" fmla="*/ 115245 h 721"/>
                <a:gd name="T40" fmla="*/ 258825 w 736"/>
                <a:gd name="T41" fmla="*/ 97879 h 721"/>
                <a:gd name="T42" fmla="*/ 263160 w 736"/>
                <a:gd name="T43" fmla="*/ 87881 h 721"/>
                <a:gd name="T44" fmla="*/ 267495 w 736"/>
                <a:gd name="T45" fmla="*/ 77882 h 721"/>
                <a:gd name="T46" fmla="*/ 264894 w 736"/>
                <a:gd name="T47" fmla="*/ 52623 h 721"/>
                <a:gd name="T48" fmla="*/ 235847 w 736"/>
                <a:gd name="T49" fmla="*/ 36836 h 721"/>
                <a:gd name="T50" fmla="*/ 206800 w 736"/>
                <a:gd name="T51" fmla="*/ 34731 h 721"/>
                <a:gd name="T52" fmla="*/ 204198 w 736"/>
                <a:gd name="T53" fmla="*/ 42625 h 721"/>
                <a:gd name="T54" fmla="*/ 200730 w 736"/>
                <a:gd name="T55" fmla="*/ 53149 h 721"/>
                <a:gd name="T56" fmla="*/ 190759 w 736"/>
                <a:gd name="T57" fmla="*/ 64200 h 721"/>
                <a:gd name="T58" fmla="*/ 169949 w 736"/>
                <a:gd name="T59" fmla="*/ 68410 h 721"/>
                <a:gd name="T60" fmla="*/ 157809 w 736"/>
                <a:gd name="T61" fmla="*/ 60517 h 721"/>
                <a:gd name="T62" fmla="*/ 146971 w 736"/>
                <a:gd name="T63" fmla="*/ 43151 h 721"/>
                <a:gd name="T64" fmla="*/ 138300 w 736"/>
                <a:gd name="T65" fmla="*/ 20523 h 721"/>
                <a:gd name="T66" fmla="*/ 135265 w 736"/>
                <a:gd name="T67" fmla="*/ 0 h 721"/>
                <a:gd name="T68" fmla="*/ 13006 w 736"/>
                <a:gd name="T69" fmla="*/ 7893 h 721"/>
                <a:gd name="T70" fmla="*/ 20376 w 736"/>
                <a:gd name="T71" fmla="*/ 15261 h 721"/>
                <a:gd name="T72" fmla="*/ 32516 w 736"/>
                <a:gd name="T73" fmla="*/ 39467 h 721"/>
                <a:gd name="T74" fmla="*/ 44221 w 736"/>
                <a:gd name="T75" fmla="*/ 68410 h 721"/>
                <a:gd name="T76" fmla="*/ 44655 w 736"/>
                <a:gd name="T77" fmla="*/ 89986 h 721"/>
                <a:gd name="T78" fmla="*/ 40319 w 736"/>
                <a:gd name="T79" fmla="*/ 106825 h 721"/>
                <a:gd name="T80" fmla="*/ 41620 w 736"/>
                <a:gd name="T81" fmla="*/ 120507 h 721"/>
                <a:gd name="T82" fmla="*/ 51592 w 736"/>
                <a:gd name="T83" fmla="*/ 143135 h 721"/>
                <a:gd name="T84" fmla="*/ 56794 w 736"/>
                <a:gd name="T85" fmla="*/ 161553 h 721"/>
                <a:gd name="T86" fmla="*/ 55060 w 736"/>
                <a:gd name="T87" fmla="*/ 185234 h 721"/>
                <a:gd name="T88" fmla="*/ 45955 w 736"/>
                <a:gd name="T89" fmla="*/ 212071 h 721"/>
                <a:gd name="T90" fmla="*/ 33383 w 736"/>
                <a:gd name="T91" fmla="*/ 234699 h 721"/>
                <a:gd name="T92" fmla="*/ 17775 w 736"/>
                <a:gd name="T93" fmla="*/ 251012 h 721"/>
                <a:gd name="T94" fmla="*/ 10839 w 736"/>
                <a:gd name="T95" fmla="*/ 311003 h 721"/>
                <a:gd name="T96" fmla="*/ 4769 w 736"/>
                <a:gd name="T97" fmla="*/ 329947 h 72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23" name="Freeform 381">
              <a:extLst>
                <a:ext uri="{FF2B5EF4-FFF2-40B4-BE49-F238E27FC236}">
                  <a16:creationId xmlns:a16="http://schemas.microsoft.com/office/drawing/2014/main" id="{DA23A421-618D-4E87-945D-05BE5C23AA87}"/>
                </a:ext>
              </a:extLst>
            </p:cNvPr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5832476" y="3824289"/>
              <a:ext cx="15875" cy="60325"/>
            </a:xfrm>
            <a:custGeom>
              <a:avLst/>
              <a:gdLst>
                <a:gd name="T0" fmla="*/ 0 w 39"/>
                <a:gd name="T1" fmla="*/ 60325 h 31"/>
                <a:gd name="T2" fmla="*/ 4885 w 39"/>
                <a:gd name="T3" fmla="*/ 54487 h 31"/>
                <a:gd name="T4" fmla="*/ 8955 w 39"/>
                <a:gd name="T5" fmla="*/ 54487 h 31"/>
                <a:gd name="T6" fmla="*/ 10583 w 39"/>
                <a:gd name="T7" fmla="*/ 54487 h 31"/>
                <a:gd name="T8" fmla="*/ 12212 w 39"/>
                <a:gd name="T9" fmla="*/ 54487 h 31"/>
                <a:gd name="T10" fmla="*/ 14247 w 39"/>
                <a:gd name="T11" fmla="*/ 52541 h 31"/>
                <a:gd name="T12" fmla="*/ 15875 w 39"/>
                <a:gd name="T13" fmla="*/ 48649 h 31"/>
                <a:gd name="T14" fmla="*/ 15875 w 39"/>
                <a:gd name="T15" fmla="*/ 0 h 31"/>
                <a:gd name="T16" fmla="*/ 10583 w 39"/>
                <a:gd name="T17" fmla="*/ 0 h 31"/>
                <a:gd name="T18" fmla="*/ 6920 w 39"/>
                <a:gd name="T19" fmla="*/ 0 h 31"/>
                <a:gd name="T20" fmla="*/ 3256 w 39"/>
                <a:gd name="T21" fmla="*/ 0 h 31"/>
                <a:gd name="T22" fmla="*/ 0 w 39"/>
                <a:gd name="T23" fmla="*/ 0 h 31"/>
                <a:gd name="T24" fmla="*/ 0 w 39"/>
                <a:gd name="T25" fmla="*/ 60325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24" name="Freeform 382">
              <a:extLst>
                <a:ext uri="{FF2B5EF4-FFF2-40B4-BE49-F238E27FC236}">
                  <a16:creationId xmlns:a16="http://schemas.microsoft.com/office/drawing/2014/main" id="{F9791A2B-4E49-47EF-A39C-2BECE05DF0AF}"/>
                </a:ext>
              </a:extLst>
            </p:cNvPr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5934076" y="4367213"/>
              <a:ext cx="396875" cy="398462"/>
            </a:xfrm>
            <a:custGeom>
              <a:avLst/>
              <a:gdLst>
                <a:gd name="T0" fmla="*/ 395117 w 903"/>
                <a:gd name="T1" fmla="*/ 152770 h 759"/>
                <a:gd name="T2" fmla="*/ 379295 w 903"/>
                <a:gd name="T3" fmla="*/ 203693 h 759"/>
                <a:gd name="T4" fmla="*/ 365670 w 903"/>
                <a:gd name="T5" fmla="*/ 217343 h 759"/>
                <a:gd name="T6" fmla="*/ 334465 w 903"/>
                <a:gd name="T7" fmla="*/ 266166 h 759"/>
                <a:gd name="T8" fmla="*/ 316445 w 903"/>
                <a:gd name="T9" fmla="*/ 294515 h 759"/>
                <a:gd name="T10" fmla="*/ 284361 w 903"/>
                <a:gd name="T11" fmla="*/ 321815 h 759"/>
                <a:gd name="T12" fmla="*/ 256233 w 903"/>
                <a:gd name="T13" fmla="*/ 349639 h 759"/>
                <a:gd name="T14" fmla="*/ 244806 w 903"/>
                <a:gd name="T15" fmla="*/ 366438 h 759"/>
                <a:gd name="T16" fmla="*/ 228544 w 903"/>
                <a:gd name="T17" fmla="*/ 370113 h 759"/>
                <a:gd name="T18" fmla="*/ 217996 w 903"/>
                <a:gd name="T19" fmla="*/ 372738 h 759"/>
                <a:gd name="T20" fmla="*/ 213161 w 903"/>
                <a:gd name="T21" fmla="*/ 381663 h 759"/>
                <a:gd name="T22" fmla="*/ 163497 w 903"/>
                <a:gd name="T23" fmla="*/ 381663 h 759"/>
                <a:gd name="T24" fmla="*/ 148993 w 903"/>
                <a:gd name="T25" fmla="*/ 384287 h 759"/>
                <a:gd name="T26" fmla="*/ 138884 w 903"/>
                <a:gd name="T27" fmla="*/ 384287 h 759"/>
                <a:gd name="T28" fmla="*/ 125699 w 903"/>
                <a:gd name="T29" fmla="*/ 381663 h 759"/>
                <a:gd name="T30" fmla="*/ 115590 w 903"/>
                <a:gd name="T31" fmla="*/ 386912 h 759"/>
                <a:gd name="T32" fmla="*/ 64168 w 903"/>
                <a:gd name="T33" fmla="*/ 398462 h 759"/>
                <a:gd name="T34" fmla="*/ 50983 w 903"/>
                <a:gd name="T35" fmla="*/ 395312 h 759"/>
                <a:gd name="T36" fmla="*/ 39556 w 903"/>
                <a:gd name="T37" fmla="*/ 387962 h 759"/>
                <a:gd name="T38" fmla="*/ 33403 w 903"/>
                <a:gd name="T39" fmla="*/ 377463 h 759"/>
                <a:gd name="T40" fmla="*/ 34721 w 903"/>
                <a:gd name="T41" fmla="*/ 365913 h 759"/>
                <a:gd name="T42" fmla="*/ 32963 w 903"/>
                <a:gd name="T43" fmla="*/ 329689 h 759"/>
                <a:gd name="T44" fmla="*/ 34721 w 903"/>
                <a:gd name="T45" fmla="*/ 319190 h 759"/>
                <a:gd name="T46" fmla="*/ 29886 w 903"/>
                <a:gd name="T47" fmla="*/ 300290 h 759"/>
                <a:gd name="T48" fmla="*/ 9669 w 903"/>
                <a:gd name="T49" fmla="*/ 270891 h 759"/>
                <a:gd name="T50" fmla="*/ 5274 w 903"/>
                <a:gd name="T51" fmla="*/ 254092 h 759"/>
                <a:gd name="T52" fmla="*/ 4395 w 903"/>
                <a:gd name="T53" fmla="*/ 230467 h 759"/>
                <a:gd name="T54" fmla="*/ 0 w 903"/>
                <a:gd name="T55" fmla="*/ 197919 h 759"/>
                <a:gd name="T56" fmla="*/ 17141 w 903"/>
                <a:gd name="T57" fmla="*/ 197919 h 759"/>
                <a:gd name="T58" fmla="*/ 25052 w 903"/>
                <a:gd name="T59" fmla="*/ 207893 h 759"/>
                <a:gd name="T60" fmla="*/ 41314 w 903"/>
                <a:gd name="T61" fmla="*/ 215243 h 759"/>
                <a:gd name="T62" fmla="*/ 59333 w 903"/>
                <a:gd name="T63" fmla="*/ 215768 h 759"/>
                <a:gd name="T64" fmla="*/ 70321 w 903"/>
                <a:gd name="T65" fmla="*/ 209993 h 759"/>
                <a:gd name="T66" fmla="*/ 79990 w 903"/>
                <a:gd name="T67" fmla="*/ 195294 h 759"/>
                <a:gd name="T68" fmla="*/ 86583 w 903"/>
                <a:gd name="T69" fmla="*/ 120221 h 759"/>
                <a:gd name="T70" fmla="*/ 89659 w 903"/>
                <a:gd name="T71" fmla="*/ 96597 h 759"/>
                <a:gd name="T72" fmla="*/ 92297 w 903"/>
                <a:gd name="T73" fmla="*/ 88197 h 759"/>
                <a:gd name="T74" fmla="*/ 105042 w 903"/>
                <a:gd name="T75" fmla="*/ 93447 h 759"/>
                <a:gd name="T76" fmla="*/ 107679 w 903"/>
                <a:gd name="T77" fmla="*/ 124946 h 759"/>
                <a:gd name="T78" fmla="*/ 108558 w 903"/>
                <a:gd name="T79" fmla="*/ 143845 h 759"/>
                <a:gd name="T80" fmla="*/ 112514 w 903"/>
                <a:gd name="T81" fmla="*/ 150670 h 759"/>
                <a:gd name="T82" fmla="*/ 126139 w 903"/>
                <a:gd name="T83" fmla="*/ 154870 h 759"/>
                <a:gd name="T84" fmla="*/ 137126 w 903"/>
                <a:gd name="T85" fmla="*/ 153820 h 759"/>
                <a:gd name="T86" fmla="*/ 146356 w 903"/>
                <a:gd name="T87" fmla="*/ 142795 h 759"/>
                <a:gd name="T88" fmla="*/ 153828 w 903"/>
                <a:gd name="T89" fmla="*/ 122846 h 759"/>
                <a:gd name="T90" fmla="*/ 161739 w 903"/>
                <a:gd name="T91" fmla="*/ 105522 h 759"/>
                <a:gd name="T92" fmla="*/ 170089 w 903"/>
                <a:gd name="T93" fmla="*/ 100272 h 759"/>
                <a:gd name="T94" fmla="*/ 181956 w 903"/>
                <a:gd name="T95" fmla="*/ 101322 h 759"/>
                <a:gd name="T96" fmla="*/ 198218 w 903"/>
                <a:gd name="T97" fmla="*/ 109196 h 759"/>
                <a:gd name="T98" fmla="*/ 210084 w 903"/>
                <a:gd name="T99" fmla="*/ 113396 h 759"/>
                <a:gd name="T100" fmla="*/ 225028 w 903"/>
                <a:gd name="T101" fmla="*/ 111821 h 759"/>
                <a:gd name="T102" fmla="*/ 233378 w 903"/>
                <a:gd name="T103" fmla="*/ 104997 h 759"/>
                <a:gd name="T104" fmla="*/ 247882 w 903"/>
                <a:gd name="T105" fmla="*/ 66673 h 759"/>
                <a:gd name="T106" fmla="*/ 272494 w 903"/>
                <a:gd name="T107" fmla="*/ 41999 h 759"/>
                <a:gd name="T108" fmla="*/ 321719 w 903"/>
                <a:gd name="T109" fmla="*/ 5775 h 759"/>
                <a:gd name="T110" fmla="*/ 354243 w 903"/>
                <a:gd name="T111" fmla="*/ 1575 h 759"/>
                <a:gd name="T112" fmla="*/ 364791 w 903"/>
                <a:gd name="T113" fmla="*/ 3150 h 759"/>
                <a:gd name="T114" fmla="*/ 375339 w 903"/>
                <a:gd name="T115" fmla="*/ 18374 h 759"/>
                <a:gd name="T116" fmla="*/ 383690 w 903"/>
                <a:gd name="T117" fmla="*/ 37274 h 759"/>
                <a:gd name="T118" fmla="*/ 388085 w 903"/>
                <a:gd name="T119" fmla="*/ 56173 h 759"/>
                <a:gd name="T120" fmla="*/ 381492 w 903"/>
                <a:gd name="T121" fmla="*/ 108671 h 759"/>
                <a:gd name="T122" fmla="*/ 364791 w 903"/>
                <a:gd name="T123" fmla="*/ 107097 h 759"/>
                <a:gd name="T124" fmla="*/ 363033 w 903"/>
                <a:gd name="T125" fmla="*/ 147520 h 75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25" name="Freeform 383">
              <a:extLst>
                <a:ext uri="{FF2B5EF4-FFF2-40B4-BE49-F238E27FC236}">
                  <a16:creationId xmlns:a16="http://schemas.microsoft.com/office/drawing/2014/main" id="{2D074C4D-2079-414F-8F65-ED7CE274B9DA}"/>
                </a:ext>
              </a:extLst>
            </p:cNvPr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6081713" y="2935289"/>
              <a:ext cx="411162" cy="611187"/>
            </a:xfrm>
            <a:custGeom>
              <a:avLst/>
              <a:gdLst>
                <a:gd name="T0" fmla="*/ 323523 w 943"/>
                <a:gd name="T1" fmla="*/ 2607 h 1172"/>
                <a:gd name="T2" fmla="*/ 333551 w 943"/>
                <a:gd name="T3" fmla="*/ 11994 h 1172"/>
                <a:gd name="T4" fmla="*/ 350120 w 943"/>
                <a:gd name="T5" fmla="*/ 15645 h 1172"/>
                <a:gd name="T6" fmla="*/ 354916 w 943"/>
                <a:gd name="T7" fmla="*/ 28682 h 1172"/>
                <a:gd name="T8" fmla="*/ 364072 w 943"/>
                <a:gd name="T9" fmla="*/ 56842 h 1172"/>
                <a:gd name="T10" fmla="*/ 364944 w 943"/>
                <a:gd name="T11" fmla="*/ 97519 h 1172"/>
                <a:gd name="T12" fmla="*/ 373665 w 943"/>
                <a:gd name="T13" fmla="*/ 126722 h 1172"/>
                <a:gd name="T14" fmla="*/ 402006 w 943"/>
                <a:gd name="T15" fmla="*/ 152275 h 1172"/>
                <a:gd name="T16" fmla="*/ 383257 w 943"/>
                <a:gd name="T17" fmla="*/ 188258 h 1172"/>
                <a:gd name="T18" fmla="*/ 371049 w 943"/>
                <a:gd name="T19" fmla="*/ 213811 h 1172"/>
                <a:gd name="T20" fmla="*/ 352736 w 943"/>
                <a:gd name="T21" fmla="*/ 331147 h 1172"/>
                <a:gd name="T22" fmla="*/ 335731 w 943"/>
                <a:gd name="T23" fmla="*/ 353049 h 1172"/>
                <a:gd name="T24" fmla="*/ 332679 w 943"/>
                <a:gd name="T25" fmla="*/ 375995 h 1172"/>
                <a:gd name="T26" fmla="*/ 324831 w 943"/>
                <a:gd name="T27" fmla="*/ 383296 h 1172"/>
                <a:gd name="T28" fmla="*/ 315239 w 943"/>
                <a:gd name="T29" fmla="*/ 416150 h 1172"/>
                <a:gd name="T30" fmla="*/ 301722 w 943"/>
                <a:gd name="T31" fmla="*/ 457347 h 1172"/>
                <a:gd name="T32" fmla="*/ 288642 w 943"/>
                <a:gd name="T33" fmla="*/ 470906 h 1172"/>
                <a:gd name="T34" fmla="*/ 289514 w 943"/>
                <a:gd name="T35" fmla="*/ 487072 h 1172"/>
                <a:gd name="T36" fmla="*/ 299106 w 943"/>
                <a:gd name="T37" fmla="*/ 489680 h 1172"/>
                <a:gd name="T38" fmla="*/ 309135 w 943"/>
                <a:gd name="T39" fmla="*/ 495416 h 1172"/>
                <a:gd name="T40" fmla="*/ 323523 w 943"/>
                <a:gd name="T41" fmla="*/ 506367 h 1172"/>
                <a:gd name="T42" fmla="*/ 329627 w 943"/>
                <a:gd name="T43" fmla="*/ 525141 h 1172"/>
                <a:gd name="T44" fmla="*/ 337912 w 943"/>
                <a:gd name="T45" fmla="*/ 543915 h 1172"/>
                <a:gd name="T46" fmla="*/ 350120 w 943"/>
                <a:gd name="T47" fmla="*/ 549130 h 1172"/>
                <a:gd name="T48" fmla="*/ 352736 w 943"/>
                <a:gd name="T49" fmla="*/ 570511 h 1172"/>
                <a:gd name="T50" fmla="*/ 313059 w 943"/>
                <a:gd name="T51" fmla="*/ 581462 h 1172"/>
                <a:gd name="T52" fmla="*/ 299542 w 943"/>
                <a:gd name="T53" fmla="*/ 603365 h 1172"/>
                <a:gd name="T54" fmla="*/ 260737 w 943"/>
                <a:gd name="T55" fmla="*/ 610144 h 1172"/>
                <a:gd name="T56" fmla="*/ 224548 w 943"/>
                <a:gd name="T57" fmla="*/ 603886 h 1172"/>
                <a:gd name="T58" fmla="*/ 202311 w 943"/>
                <a:gd name="T59" fmla="*/ 585634 h 1172"/>
                <a:gd name="T60" fmla="*/ 170046 w 943"/>
                <a:gd name="T61" fmla="*/ 586677 h 1172"/>
                <a:gd name="T62" fmla="*/ 139089 w 943"/>
                <a:gd name="T63" fmla="*/ 584069 h 1172"/>
                <a:gd name="T64" fmla="*/ 129496 w 943"/>
                <a:gd name="T65" fmla="*/ 575726 h 1172"/>
                <a:gd name="T66" fmla="*/ 128188 w 943"/>
                <a:gd name="T67" fmla="*/ 560602 h 1172"/>
                <a:gd name="T68" fmla="*/ 119468 w 943"/>
                <a:gd name="T69" fmla="*/ 536614 h 1172"/>
                <a:gd name="T70" fmla="*/ 94179 w 943"/>
                <a:gd name="T71" fmla="*/ 507932 h 1172"/>
                <a:gd name="T72" fmla="*/ 84151 w 943"/>
                <a:gd name="T73" fmla="*/ 482379 h 1172"/>
                <a:gd name="T74" fmla="*/ 66274 w 943"/>
                <a:gd name="T75" fmla="*/ 470906 h 1172"/>
                <a:gd name="T76" fmla="*/ 52322 w 943"/>
                <a:gd name="T77" fmla="*/ 441181 h 1172"/>
                <a:gd name="T78" fmla="*/ 42293 w 943"/>
                <a:gd name="T79" fmla="*/ 410935 h 1172"/>
                <a:gd name="T80" fmla="*/ 28341 w 943"/>
                <a:gd name="T81" fmla="*/ 395290 h 1172"/>
                <a:gd name="T82" fmla="*/ 14388 w 943"/>
                <a:gd name="T83" fmla="*/ 352528 h 1172"/>
                <a:gd name="T84" fmla="*/ 1744 w 943"/>
                <a:gd name="T85" fmla="*/ 318631 h 1172"/>
                <a:gd name="T86" fmla="*/ 7848 w 943"/>
                <a:gd name="T87" fmla="*/ 300900 h 1172"/>
                <a:gd name="T88" fmla="*/ 12644 w 943"/>
                <a:gd name="T89" fmla="*/ 271697 h 1172"/>
                <a:gd name="T90" fmla="*/ 27905 w 943"/>
                <a:gd name="T91" fmla="*/ 247187 h 1172"/>
                <a:gd name="T92" fmla="*/ 49270 w 943"/>
                <a:gd name="T93" fmla="*/ 115771 h 1172"/>
                <a:gd name="T94" fmla="*/ 53630 w 943"/>
                <a:gd name="T95" fmla="*/ 93347 h 1172"/>
                <a:gd name="T96" fmla="*/ 66710 w 943"/>
                <a:gd name="T97" fmla="*/ 89175 h 1172"/>
                <a:gd name="T98" fmla="*/ 69762 w 943"/>
                <a:gd name="T99" fmla="*/ 63622 h 1172"/>
                <a:gd name="T100" fmla="*/ 69326 w 943"/>
                <a:gd name="T101" fmla="*/ 34940 h 1172"/>
                <a:gd name="T102" fmla="*/ 296054 w 943"/>
                <a:gd name="T103" fmla="*/ 35983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826" name="Group 384">
              <a:extLst>
                <a:ext uri="{FF2B5EF4-FFF2-40B4-BE49-F238E27FC236}">
                  <a16:creationId xmlns:a16="http://schemas.microsoft.com/office/drawing/2014/main" id="{58C37A5E-5AB1-4447-AEC8-6DB476B01A0D}"/>
                </a:ext>
              </a:extLst>
            </p:cNvPr>
            <p:cNvGrpSpPr>
              <a:grpSpLocks/>
            </p:cNvGrpSpPr>
            <p:nvPr>
              <p:custDataLst>
                <p:tags r:id="rId273"/>
              </p:custDataLst>
            </p:nvPr>
          </p:nvGrpSpPr>
          <p:grpSpPr bwMode="auto">
            <a:xfrm>
              <a:off x="4865688" y="3136900"/>
              <a:ext cx="80962" cy="82550"/>
              <a:chOff x="2352" y="2343"/>
              <a:chExt cx="65" cy="53"/>
            </a:xfrm>
          </p:grpSpPr>
          <p:sp>
            <p:nvSpPr>
              <p:cNvPr id="987" name="Freeform 385">
                <a:extLst>
                  <a:ext uri="{FF2B5EF4-FFF2-40B4-BE49-F238E27FC236}">
                    <a16:creationId xmlns:a16="http://schemas.microsoft.com/office/drawing/2014/main" id="{9F926E9D-F1B3-4280-92A6-D90FAA9271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14 w 51"/>
                  <a:gd name="T1" fmla="*/ 0 h 33"/>
                  <a:gd name="T2" fmla="*/ 0 w 51"/>
                  <a:gd name="T3" fmla="*/ 2 h 33"/>
                  <a:gd name="T4" fmla="*/ 1 w 51"/>
                  <a:gd name="T5" fmla="*/ 9 h 33"/>
                  <a:gd name="T6" fmla="*/ 3 w 51"/>
                  <a:gd name="T7" fmla="*/ 11 h 33"/>
                  <a:gd name="T8" fmla="*/ 11 w 51"/>
                  <a:gd name="T9" fmla="*/ 8 h 33"/>
                  <a:gd name="T10" fmla="*/ 15 w 51"/>
                  <a:gd name="T11" fmla="*/ 5 h 33"/>
                  <a:gd name="T12" fmla="*/ 16 w 51"/>
                  <a:gd name="T13" fmla="*/ 3 h 33"/>
                  <a:gd name="T14" fmla="*/ 14 w 51"/>
                  <a:gd name="T15" fmla="*/ 0 h 3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88" name="Freeform 386">
                <a:extLst>
                  <a:ext uri="{FF2B5EF4-FFF2-40B4-BE49-F238E27FC236}">
                    <a16:creationId xmlns:a16="http://schemas.microsoft.com/office/drawing/2014/main" id="{FECCACDA-7708-4296-A322-DF7CD597B9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20 w 61"/>
                  <a:gd name="T1" fmla="*/ 2 h 20"/>
                  <a:gd name="T2" fmla="*/ 17 w 61"/>
                  <a:gd name="T3" fmla="*/ 1 h 20"/>
                  <a:gd name="T4" fmla="*/ 0 w 61"/>
                  <a:gd name="T5" fmla="*/ 0 h 20"/>
                  <a:gd name="T6" fmla="*/ 1 w 61"/>
                  <a:gd name="T7" fmla="*/ 5 h 20"/>
                  <a:gd name="T8" fmla="*/ 2 w 61"/>
                  <a:gd name="T9" fmla="*/ 7 h 20"/>
                  <a:gd name="T10" fmla="*/ 6 w 61"/>
                  <a:gd name="T11" fmla="*/ 5 h 20"/>
                  <a:gd name="T12" fmla="*/ 20 w 61"/>
                  <a:gd name="T13" fmla="*/ 2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89" name="Freeform 387">
                <a:extLst>
                  <a:ext uri="{FF2B5EF4-FFF2-40B4-BE49-F238E27FC236}">
                    <a16:creationId xmlns:a16="http://schemas.microsoft.com/office/drawing/2014/main" id="{7F066D7C-C609-4307-9A8B-8363B60DB3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1 w 15"/>
                  <a:gd name="T1" fmla="*/ 0 h 36"/>
                  <a:gd name="T2" fmla="*/ 0 w 15"/>
                  <a:gd name="T3" fmla="*/ 7 h 36"/>
                  <a:gd name="T4" fmla="*/ 0 w 15"/>
                  <a:gd name="T5" fmla="*/ 12 h 36"/>
                  <a:gd name="T6" fmla="*/ 4 w 15"/>
                  <a:gd name="T7" fmla="*/ 12 h 36"/>
                  <a:gd name="T8" fmla="*/ 5 w 15"/>
                  <a:gd name="T9" fmla="*/ 5 h 36"/>
                  <a:gd name="T10" fmla="*/ 1 w 15"/>
                  <a:gd name="T11" fmla="*/ 0 h 3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90" name="Freeform 388">
                <a:extLst>
                  <a:ext uri="{FF2B5EF4-FFF2-40B4-BE49-F238E27FC236}">
                    <a16:creationId xmlns:a16="http://schemas.microsoft.com/office/drawing/2014/main" id="{56E35B64-838D-4767-93BB-BC9A0A65AF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1 w 37"/>
                  <a:gd name="T1" fmla="*/ 1 h 33"/>
                  <a:gd name="T2" fmla="*/ 7 w 37"/>
                  <a:gd name="T3" fmla="*/ 0 h 33"/>
                  <a:gd name="T4" fmla="*/ 10 w 37"/>
                  <a:gd name="T5" fmla="*/ 2 h 33"/>
                  <a:gd name="T6" fmla="*/ 11 w 37"/>
                  <a:gd name="T7" fmla="*/ 7 h 33"/>
                  <a:gd name="T8" fmla="*/ 7 w 37"/>
                  <a:gd name="T9" fmla="*/ 11 h 33"/>
                  <a:gd name="T10" fmla="*/ 3 w 37"/>
                  <a:gd name="T11" fmla="*/ 11 h 33"/>
                  <a:gd name="T12" fmla="*/ 1 w 37"/>
                  <a:gd name="T13" fmla="*/ 8 h 33"/>
                  <a:gd name="T14" fmla="*/ 0 w 37"/>
                  <a:gd name="T15" fmla="*/ 5 h 33"/>
                  <a:gd name="T16" fmla="*/ 1 w 37"/>
                  <a:gd name="T17" fmla="*/ 1 h 3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91" name="Freeform 389">
                <a:extLst>
                  <a:ext uri="{FF2B5EF4-FFF2-40B4-BE49-F238E27FC236}">
                    <a16:creationId xmlns:a16="http://schemas.microsoft.com/office/drawing/2014/main" id="{5589B1F2-D423-4E29-B748-6A9BE630CE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1 w 49"/>
                  <a:gd name="T1" fmla="*/ 0 h 54"/>
                  <a:gd name="T2" fmla="*/ 0 w 49"/>
                  <a:gd name="T3" fmla="*/ 0 h 54"/>
                  <a:gd name="T4" fmla="*/ 1 w 49"/>
                  <a:gd name="T5" fmla="*/ 17 h 54"/>
                  <a:gd name="T6" fmla="*/ 6 w 49"/>
                  <a:gd name="T7" fmla="*/ 18 h 54"/>
                  <a:gd name="T8" fmla="*/ 14 w 49"/>
                  <a:gd name="T9" fmla="*/ 15 h 54"/>
                  <a:gd name="T10" fmla="*/ 16 w 49"/>
                  <a:gd name="T11" fmla="*/ 10 h 54"/>
                  <a:gd name="T12" fmla="*/ 13 w 49"/>
                  <a:gd name="T13" fmla="*/ 7 h 54"/>
                  <a:gd name="T14" fmla="*/ 6 w 49"/>
                  <a:gd name="T15" fmla="*/ 3 h 54"/>
                  <a:gd name="T16" fmla="*/ 1 w 49"/>
                  <a:gd name="T17" fmla="*/ 0 h 5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92" name="Freeform 390">
                <a:extLst>
                  <a:ext uri="{FF2B5EF4-FFF2-40B4-BE49-F238E27FC236}">
                    <a16:creationId xmlns:a16="http://schemas.microsoft.com/office/drawing/2014/main" id="{0FFD9C4F-1780-4404-9015-ECC0A66CE4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6 w 26"/>
                  <a:gd name="T1" fmla="*/ 0 h 22"/>
                  <a:gd name="T2" fmla="*/ 1 w 26"/>
                  <a:gd name="T3" fmla="*/ 1 h 22"/>
                  <a:gd name="T4" fmla="*/ 0 w 26"/>
                  <a:gd name="T5" fmla="*/ 5 h 22"/>
                  <a:gd name="T6" fmla="*/ 2 w 26"/>
                  <a:gd name="T7" fmla="*/ 7 h 22"/>
                  <a:gd name="T8" fmla="*/ 7 w 26"/>
                  <a:gd name="T9" fmla="*/ 7 h 22"/>
                  <a:gd name="T10" fmla="*/ 9 w 26"/>
                  <a:gd name="T11" fmla="*/ 4 h 22"/>
                  <a:gd name="T12" fmla="*/ 6 w 26"/>
                  <a:gd name="T13" fmla="*/ 0 h 2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827" name="Group 391">
              <a:extLst>
                <a:ext uri="{FF2B5EF4-FFF2-40B4-BE49-F238E27FC236}">
                  <a16:creationId xmlns:a16="http://schemas.microsoft.com/office/drawing/2014/main" id="{7AC913D4-FD17-41B3-8B1B-7AFEC259EF19}"/>
                </a:ext>
              </a:extLst>
            </p:cNvPr>
            <p:cNvGrpSpPr>
              <a:grpSpLocks/>
            </p:cNvGrpSpPr>
            <p:nvPr>
              <p:custDataLst>
                <p:tags r:id="rId274"/>
              </p:custDataLst>
            </p:nvPr>
          </p:nvGrpSpPr>
          <p:grpSpPr bwMode="auto">
            <a:xfrm>
              <a:off x="2711451" y="1196976"/>
              <a:ext cx="1897063" cy="1133475"/>
              <a:chOff x="527" y="1110"/>
              <a:chExt cx="1410" cy="709"/>
            </a:xfrm>
            <a:solidFill>
              <a:srgbClr val="0070C0"/>
            </a:solidFill>
          </p:grpSpPr>
          <p:sp>
            <p:nvSpPr>
              <p:cNvPr id="945" name="Freeform 392">
                <a:extLst>
                  <a:ext uri="{FF2B5EF4-FFF2-40B4-BE49-F238E27FC236}">
                    <a16:creationId xmlns:a16="http://schemas.microsoft.com/office/drawing/2014/main" id="{6CC561D0-5A0E-4BD4-B25C-F0F9677696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13 h 54"/>
                  <a:gd name="T2" fmla="*/ 2 w 98"/>
                  <a:gd name="T3" fmla="*/ 14 h 54"/>
                  <a:gd name="T4" fmla="*/ 4 w 98"/>
                  <a:gd name="T5" fmla="*/ 16 h 54"/>
                  <a:gd name="T6" fmla="*/ 7 w 98"/>
                  <a:gd name="T7" fmla="*/ 17 h 54"/>
                  <a:gd name="T8" fmla="*/ 10 w 98"/>
                  <a:gd name="T9" fmla="*/ 17 h 54"/>
                  <a:gd name="T10" fmla="*/ 12 w 98"/>
                  <a:gd name="T11" fmla="*/ 17 h 54"/>
                  <a:gd name="T12" fmla="*/ 14 w 98"/>
                  <a:gd name="T13" fmla="*/ 17 h 54"/>
                  <a:gd name="T14" fmla="*/ 16 w 98"/>
                  <a:gd name="T15" fmla="*/ 16 h 54"/>
                  <a:gd name="T16" fmla="*/ 18 w 98"/>
                  <a:gd name="T17" fmla="*/ 15 h 54"/>
                  <a:gd name="T18" fmla="*/ 21 w 98"/>
                  <a:gd name="T19" fmla="*/ 13 h 54"/>
                  <a:gd name="T20" fmla="*/ 24 w 98"/>
                  <a:gd name="T21" fmla="*/ 11 h 54"/>
                  <a:gd name="T22" fmla="*/ 27 w 98"/>
                  <a:gd name="T23" fmla="*/ 9 h 54"/>
                  <a:gd name="T24" fmla="*/ 29 w 98"/>
                  <a:gd name="T25" fmla="*/ 6 h 54"/>
                  <a:gd name="T26" fmla="*/ 30 w 98"/>
                  <a:gd name="T27" fmla="*/ 4 h 54"/>
                  <a:gd name="T28" fmla="*/ 31 w 98"/>
                  <a:gd name="T29" fmla="*/ 1 h 54"/>
                  <a:gd name="T30" fmla="*/ 29 w 98"/>
                  <a:gd name="T31" fmla="*/ 1 h 54"/>
                  <a:gd name="T32" fmla="*/ 26 w 98"/>
                  <a:gd name="T33" fmla="*/ 0 h 54"/>
                  <a:gd name="T34" fmla="*/ 24 w 98"/>
                  <a:gd name="T35" fmla="*/ 0 h 54"/>
                  <a:gd name="T36" fmla="*/ 22 w 98"/>
                  <a:gd name="T37" fmla="*/ 0 h 54"/>
                  <a:gd name="T38" fmla="*/ 19 w 98"/>
                  <a:gd name="T39" fmla="*/ 0 h 54"/>
                  <a:gd name="T40" fmla="*/ 16 w 98"/>
                  <a:gd name="T41" fmla="*/ 1 h 54"/>
                  <a:gd name="T42" fmla="*/ 14 w 98"/>
                  <a:gd name="T43" fmla="*/ 2 h 54"/>
                  <a:gd name="T44" fmla="*/ 12 w 98"/>
                  <a:gd name="T45" fmla="*/ 3 h 54"/>
                  <a:gd name="T46" fmla="*/ 7 w 98"/>
                  <a:gd name="T47" fmla="*/ 5 h 54"/>
                  <a:gd name="T48" fmla="*/ 4 w 98"/>
                  <a:gd name="T49" fmla="*/ 8 h 54"/>
                  <a:gd name="T50" fmla="*/ 2 w 98"/>
                  <a:gd name="T51" fmla="*/ 9 h 54"/>
                  <a:gd name="T52" fmla="*/ 1 w 98"/>
                  <a:gd name="T53" fmla="*/ 10 h 54"/>
                  <a:gd name="T54" fmla="*/ 0 w 98"/>
                  <a:gd name="T55" fmla="*/ 12 h 54"/>
                  <a:gd name="T56" fmla="*/ 0 w 98"/>
                  <a:gd name="T57" fmla="*/ 13 h 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46" name="Freeform 393">
                <a:extLst>
                  <a:ext uri="{FF2B5EF4-FFF2-40B4-BE49-F238E27FC236}">
                    <a16:creationId xmlns:a16="http://schemas.microsoft.com/office/drawing/2014/main" id="{DA44188A-72A0-474A-9088-61BCED0DCB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8 h 28"/>
                  <a:gd name="T2" fmla="*/ 3 w 67"/>
                  <a:gd name="T3" fmla="*/ 8 h 28"/>
                  <a:gd name="T4" fmla="*/ 7 w 67"/>
                  <a:gd name="T5" fmla="*/ 8 h 28"/>
                  <a:gd name="T6" fmla="*/ 10 w 67"/>
                  <a:gd name="T7" fmla="*/ 7 h 28"/>
                  <a:gd name="T8" fmla="*/ 13 w 67"/>
                  <a:gd name="T9" fmla="*/ 6 h 28"/>
                  <a:gd name="T10" fmla="*/ 15 w 67"/>
                  <a:gd name="T11" fmla="*/ 5 h 28"/>
                  <a:gd name="T12" fmla="*/ 18 w 67"/>
                  <a:gd name="T13" fmla="*/ 3 h 28"/>
                  <a:gd name="T14" fmla="*/ 20 w 67"/>
                  <a:gd name="T15" fmla="*/ 2 h 28"/>
                  <a:gd name="T16" fmla="*/ 21 w 67"/>
                  <a:gd name="T17" fmla="*/ 1 h 28"/>
                  <a:gd name="T18" fmla="*/ 18 w 67"/>
                  <a:gd name="T19" fmla="*/ 0 h 28"/>
                  <a:gd name="T20" fmla="*/ 14 w 67"/>
                  <a:gd name="T21" fmla="*/ 0 h 28"/>
                  <a:gd name="T22" fmla="*/ 11 w 67"/>
                  <a:gd name="T23" fmla="*/ 0 h 28"/>
                  <a:gd name="T24" fmla="*/ 8 w 67"/>
                  <a:gd name="T25" fmla="*/ 1 h 28"/>
                  <a:gd name="T26" fmla="*/ 5 w 67"/>
                  <a:gd name="T27" fmla="*/ 2 h 28"/>
                  <a:gd name="T28" fmla="*/ 3 w 67"/>
                  <a:gd name="T29" fmla="*/ 3 h 28"/>
                  <a:gd name="T30" fmla="*/ 2 w 67"/>
                  <a:gd name="T31" fmla="*/ 4 h 28"/>
                  <a:gd name="T32" fmla="*/ 1 w 67"/>
                  <a:gd name="T33" fmla="*/ 5 h 28"/>
                  <a:gd name="T34" fmla="*/ 1 w 67"/>
                  <a:gd name="T35" fmla="*/ 6 h 28"/>
                  <a:gd name="T36" fmla="*/ 0 w 67"/>
                  <a:gd name="T37" fmla="*/ 8 h 2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47" name="Freeform 394">
                <a:extLst>
                  <a:ext uri="{FF2B5EF4-FFF2-40B4-BE49-F238E27FC236}">
                    <a16:creationId xmlns:a16="http://schemas.microsoft.com/office/drawing/2014/main" id="{FCE0172E-8366-42E7-9B63-9D6A3DA5A4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6 h 36"/>
                  <a:gd name="T2" fmla="*/ 0 w 32"/>
                  <a:gd name="T3" fmla="*/ 7 h 36"/>
                  <a:gd name="T4" fmla="*/ 1 w 32"/>
                  <a:gd name="T5" fmla="*/ 9 h 36"/>
                  <a:gd name="T6" fmla="*/ 2 w 32"/>
                  <a:gd name="T7" fmla="*/ 10 h 36"/>
                  <a:gd name="T8" fmla="*/ 3 w 32"/>
                  <a:gd name="T9" fmla="*/ 10 h 36"/>
                  <a:gd name="T10" fmla="*/ 4 w 32"/>
                  <a:gd name="T11" fmla="*/ 11 h 36"/>
                  <a:gd name="T12" fmla="*/ 4 w 32"/>
                  <a:gd name="T13" fmla="*/ 11 h 36"/>
                  <a:gd name="T14" fmla="*/ 11 w 32"/>
                  <a:gd name="T15" fmla="*/ 11 h 36"/>
                  <a:gd name="T16" fmla="*/ 11 w 32"/>
                  <a:gd name="T17" fmla="*/ 7 h 36"/>
                  <a:gd name="T18" fmla="*/ 11 w 32"/>
                  <a:gd name="T19" fmla="*/ 4 h 36"/>
                  <a:gd name="T20" fmla="*/ 10 w 32"/>
                  <a:gd name="T21" fmla="*/ 2 h 36"/>
                  <a:gd name="T22" fmla="*/ 9 w 32"/>
                  <a:gd name="T23" fmla="*/ 0 h 36"/>
                  <a:gd name="T24" fmla="*/ 7 w 32"/>
                  <a:gd name="T25" fmla="*/ 1 h 36"/>
                  <a:gd name="T26" fmla="*/ 4 w 32"/>
                  <a:gd name="T27" fmla="*/ 2 h 36"/>
                  <a:gd name="T28" fmla="*/ 2 w 32"/>
                  <a:gd name="T29" fmla="*/ 3 h 36"/>
                  <a:gd name="T30" fmla="*/ 1 w 32"/>
                  <a:gd name="T31" fmla="*/ 4 h 36"/>
                  <a:gd name="T32" fmla="*/ 0 w 32"/>
                  <a:gd name="T33" fmla="*/ 5 h 36"/>
                  <a:gd name="T34" fmla="*/ 0 w 32"/>
                  <a:gd name="T35" fmla="*/ 6 h 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48" name="Freeform 395">
                <a:extLst>
                  <a:ext uri="{FF2B5EF4-FFF2-40B4-BE49-F238E27FC236}">
                    <a16:creationId xmlns:a16="http://schemas.microsoft.com/office/drawing/2014/main" id="{CAE98D0D-84A0-4B50-9049-F1319D6F87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14 h 52"/>
                  <a:gd name="T2" fmla="*/ 3 w 146"/>
                  <a:gd name="T3" fmla="*/ 15 h 52"/>
                  <a:gd name="T4" fmla="*/ 7 w 146"/>
                  <a:gd name="T5" fmla="*/ 16 h 52"/>
                  <a:gd name="T6" fmla="*/ 10 w 146"/>
                  <a:gd name="T7" fmla="*/ 17 h 52"/>
                  <a:gd name="T8" fmla="*/ 14 w 146"/>
                  <a:gd name="T9" fmla="*/ 17 h 52"/>
                  <a:gd name="T10" fmla="*/ 20 w 146"/>
                  <a:gd name="T11" fmla="*/ 17 h 52"/>
                  <a:gd name="T12" fmla="*/ 26 w 146"/>
                  <a:gd name="T13" fmla="*/ 17 h 52"/>
                  <a:gd name="T14" fmla="*/ 37 w 146"/>
                  <a:gd name="T15" fmla="*/ 15 h 52"/>
                  <a:gd name="T16" fmla="*/ 46 w 146"/>
                  <a:gd name="T17" fmla="*/ 14 h 52"/>
                  <a:gd name="T18" fmla="*/ 45 w 146"/>
                  <a:gd name="T19" fmla="*/ 12 h 52"/>
                  <a:gd name="T20" fmla="*/ 45 w 146"/>
                  <a:gd name="T21" fmla="*/ 10 h 52"/>
                  <a:gd name="T22" fmla="*/ 44 w 146"/>
                  <a:gd name="T23" fmla="*/ 8 h 52"/>
                  <a:gd name="T24" fmla="*/ 43 w 146"/>
                  <a:gd name="T25" fmla="*/ 6 h 52"/>
                  <a:gd name="T26" fmla="*/ 42 w 146"/>
                  <a:gd name="T27" fmla="*/ 5 h 52"/>
                  <a:gd name="T28" fmla="*/ 41 w 146"/>
                  <a:gd name="T29" fmla="*/ 4 h 52"/>
                  <a:gd name="T30" fmla="*/ 39 w 146"/>
                  <a:gd name="T31" fmla="*/ 3 h 52"/>
                  <a:gd name="T32" fmla="*/ 38 w 146"/>
                  <a:gd name="T33" fmla="*/ 2 h 52"/>
                  <a:gd name="T34" fmla="*/ 35 w 146"/>
                  <a:gd name="T35" fmla="*/ 1 h 52"/>
                  <a:gd name="T36" fmla="*/ 32 w 146"/>
                  <a:gd name="T37" fmla="*/ 0 h 52"/>
                  <a:gd name="T38" fmla="*/ 28 w 146"/>
                  <a:gd name="T39" fmla="*/ 0 h 52"/>
                  <a:gd name="T40" fmla="*/ 25 w 146"/>
                  <a:gd name="T41" fmla="*/ 1 h 52"/>
                  <a:gd name="T42" fmla="*/ 21 w 146"/>
                  <a:gd name="T43" fmla="*/ 2 h 52"/>
                  <a:gd name="T44" fmla="*/ 17 w 146"/>
                  <a:gd name="T45" fmla="*/ 3 h 52"/>
                  <a:gd name="T46" fmla="*/ 14 w 146"/>
                  <a:gd name="T47" fmla="*/ 5 h 52"/>
                  <a:gd name="T48" fmla="*/ 10 w 146"/>
                  <a:gd name="T49" fmla="*/ 6 h 52"/>
                  <a:gd name="T50" fmla="*/ 7 w 146"/>
                  <a:gd name="T51" fmla="*/ 8 h 52"/>
                  <a:gd name="T52" fmla="*/ 4 w 146"/>
                  <a:gd name="T53" fmla="*/ 10 h 52"/>
                  <a:gd name="T54" fmla="*/ 2 w 146"/>
                  <a:gd name="T55" fmla="*/ 12 h 52"/>
                  <a:gd name="T56" fmla="*/ 0 w 146"/>
                  <a:gd name="T57" fmla="*/ 14 h 5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49" name="Freeform 396">
                <a:extLst>
                  <a:ext uri="{FF2B5EF4-FFF2-40B4-BE49-F238E27FC236}">
                    <a16:creationId xmlns:a16="http://schemas.microsoft.com/office/drawing/2014/main" id="{12B00F55-3CC0-4D80-8459-6879E0DD7C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20 w 60"/>
                  <a:gd name="T1" fmla="*/ 0 h 31"/>
                  <a:gd name="T2" fmla="*/ 16 w 60"/>
                  <a:gd name="T3" fmla="*/ 0 h 31"/>
                  <a:gd name="T4" fmla="*/ 13 w 60"/>
                  <a:gd name="T5" fmla="*/ 0 h 31"/>
                  <a:gd name="T6" fmla="*/ 10 w 60"/>
                  <a:gd name="T7" fmla="*/ 0 h 31"/>
                  <a:gd name="T8" fmla="*/ 9 w 60"/>
                  <a:gd name="T9" fmla="*/ 0 h 31"/>
                  <a:gd name="T10" fmla="*/ 6 w 60"/>
                  <a:gd name="T11" fmla="*/ 0 h 31"/>
                  <a:gd name="T12" fmla="*/ 3 w 60"/>
                  <a:gd name="T13" fmla="*/ 1 h 31"/>
                  <a:gd name="T14" fmla="*/ 2 w 60"/>
                  <a:gd name="T15" fmla="*/ 1 h 31"/>
                  <a:gd name="T16" fmla="*/ 1 w 60"/>
                  <a:gd name="T17" fmla="*/ 2 h 31"/>
                  <a:gd name="T18" fmla="*/ 0 w 60"/>
                  <a:gd name="T19" fmla="*/ 3 h 31"/>
                  <a:gd name="T20" fmla="*/ 0 w 60"/>
                  <a:gd name="T21" fmla="*/ 4 h 31"/>
                  <a:gd name="T22" fmla="*/ 0 w 60"/>
                  <a:gd name="T23" fmla="*/ 5 h 31"/>
                  <a:gd name="T24" fmla="*/ 1 w 60"/>
                  <a:gd name="T25" fmla="*/ 6 h 31"/>
                  <a:gd name="T26" fmla="*/ 2 w 60"/>
                  <a:gd name="T27" fmla="*/ 7 h 31"/>
                  <a:gd name="T28" fmla="*/ 3 w 60"/>
                  <a:gd name="T29" fmla="*/ 8 h 31"/>
                  <a:gd name="T30" fmla="*/ 4 w 60"/>
                  <a:gd name="T31" fmla="*/ 9 h 31"/>
                  <a:gd name="T32" fmla="*/ 6 w 60"/>
                  <a:gd name="T33" fmla="*/ 9 h 31"/>
                  <a:gd name="T34" fmla="*/ 7 w 60"/>
                  <a:gd name="T35" fmla="*/ 10 h 31"/>
                  <a:gd name="T36" fmla="*/ 9 w 60"/>
                  <a:gd name="T37" fmla="*/ 10 h 31"/>
                  <a:gd name="T38" fmla="*/ 11 w 60"/>
                  <a:gd name="T39" fmla="*/ 10 h 31"/>
                  <a:gd name="T40" fmla="*/ 12 w 60"/>
                  <a:gd name="T41" fmla="*/ 9 h 31"/>
                  <a:gd name="T42" fmla="*/ 14 w 60"/>
                  <a:gd name="T43" fmla="*/ 8 h 31"/>
                  <a:gd name="T44" fmla="*/ 16 w 60"/>
                  <a:gd name="T45" fmla="*/ 6 h 31"/>
                  <a:gd name="T46" fmla="*/ 19 w 60"/>
                  <a:gd name="T47" fmla="*/ 3 h 31"/>
                  <a:gd name="T48" fmla="*/ 20 w 60"/>
                  <a:gd name="T49" fmla="*/ 2 h 31"/>
                  <a:gd name="T50" fmla="*/ 20 w 60"/>
                  <a:gd name="T51" fmla="*/ 0 h 3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50" name="Freeform 397">
                <a:extLst>
                  <a:ext uri="{FF2B5EF4-FFF2-40B4-BE49-F238E27FC236}">
                    <a16:creationId xmlns:a16="http://schemas.microsoft.com/office/drawing/2014/main" id="{C06F1399-96E9-476A-8F13-E78C519DB1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14 h 62"/>
                  <a:gd name="T2" fmla="*/ 0 w 80"/>
                  <a:gd name="T3" fmla="*/ 15 h 62"/>
                  <a:gd name="T4" fmla="*/ 0 w 80"/>
                  <a:gd name="T5" fmla="*/ 16 h 62"/>
                  <a:gd name="T6" fmla="*/ 1 w 80"/>
                  <a:gd name="T7" fmla="*/ 16 h 62"/>
                  <a:gd name="T8" fmla="*/ 1 w 80"/>
                  <a:gd name="T9" fmla="*/ 17 h 62"/>
                  <a:gd name="T10" fmla="*/ 3 w 80"/>
                  <a:gd name="T11" fmla="*/ 18 h 62"/>
                  <a:gd name="T12" fmla="*/ 5 w 80"/>
                  <a:gd name="T13" fmla="*/ 19 h 62"/>
                  <a:gd name="T14" fmla="*/ 9 w 80"/>
                  <a:gd name="T15" fmla="*/ 20 h 62"/>
                  <a:gd name="T16" fmla="*/ 13 w 80"/>
                  <a:gd name="T17" fmla="*/ 20 h 62"/>
                  <a:gd name="T18" fmla="*/ 15 w 80"/>
                  <a:gd name="T19" fmla="*/ 20 h 62"/>
                  <a:gd name="T20" fmla="*/ 16 w 80"/>
                  <a:gd name="T21" fmla="*/ 19 h 62"/>
                  <a:gd name="T22" fmla="*/ 18 w 80"/>
                  <a:gd name="T23" fmla="*/ 18 h 62"/>
                  <a:gd name="T24" fmla="*/ 19 w 80"/>
                  <a:gd name="T25" fmla="*/ 17 h 62"/>
                  <a:gd name="T26" fmla="*/ 21 w 80"/>
                  <a:gd name="T27" fmla="*/ 15 h 62"/>
                  <a:gd name="T28" fmla="*/ 23 w 80"/>
                  <a:gd name="T29" fmla="*/ 12 h 62"/>
                  <a:gd name="T30" fmla="*/ 24 w 80"/>
                  <a:gd name="T31" fmla="*/ 9 h 62"/>
                  <a:gd name="T32" fmla="*/ 25 w 80"/>
                  <a:gd name="T33" fmla="*/ 6 h 62"/>
                  <a:gd name="T34" fmla="*/ 26 w 80"/>
                  <a:gd name="T35" fmla="*/ 3 h 62"/>
                  <a:gd name="T36" fmla="*/ 26 w 80"/>
                  <a:gd name="T37" fmla="*/ 0 h 62"/>
                  <a:gd name="T38" fmla="*/ 23 w 80"/>
                  <a:gd name="T39" fmla="*/ 0 h 62"/>
                  <a:gd name="T40" fmla="*/ 19 w 80"/>
                  <a:gd name="T41" fmla="*/ 1 h 62"/>
                  <a:gd name="T42" fmla="*/ 15 w 80"/>
                  <a:gd name="T43" fmla="*/ 3 h 62"/>
                  <a:gd name="T44" fmla="*/ 11 w 80"/>
                  <a:gd name="T45" fmla="*/ 4 h 62"/>
                  <a:gd name="T46" fmla="*/ 7 w 80"/>
                  <a:gd name="T47" fmla="*/ 6 h 62"/>
                  <a:gd name="T48" fmla="*/ 3 w 80"/>
                  <a:gd name="T49" fmla="*/ 8 h 62"/>
                  <a:gd name="T50" fmla="*/ 2 w 80"/>
                  <a:gd name="T51" fmla="*/ 10 h 62"/>
                  <a:gd name="T52" fmla="*/ 1 w 80"/>
                  <a:gd name="T53" fmla="*/ 11 h 62"/>
                  <a:gd name="T54" fmla="*/ 0 w 80"/>
                  <a:gd name="T55" fmla="*/ 13 h 62"/>
                  <a:gd name="T56" fmla="*/ 0 w 80"/>
                  <a:gd name="T57" fmla="*/ 14 h 6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51" name="Freeform 398">
                <a:extLst>
                  <a:ext uri="{FF2B5EF4-FFF2-40B4-BE49-F238E27FC236}">
                    <a16:creationId xmlns:a16="http://schemas.microsoft.com/office/drawing/2014/main" id="{758F0877-A803-48A0-97E5-41B23D8901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25 w 106"/>
                  <a:gd name="T1" fmla="*/ 4 h 49"/>
                  <a:gd name="T2" fmla="*/ 22 w 106"/>
                  <a:gd name="T3" fmla="*/ 4 h 49"/>
                  <a:gd name="T4" fmla="*/ 21 w 106"/>
                  <a:gd name="T5" fmla="*/ 4 h 49"/>
                  <a:gd name="T6" fmla="*/ 18 w 106"/>
                  <a:gd name="T7" fmla="*/ 3 h 49"/>
                  <a:gd name="T8" fmla="*/ 17 w 106"/>
                  <a:gd name="T9" fmla="*/ 2 h 49"/>
                  <a:gd name="T10" fmla="*/ 15 w 106"/>
                  <a:gd name="T11" fmla="*/ 1 h 49"/>
                  <a:gd name="T12" fmla="*/ 13 w 106"/>
                  <a:gd name="T13" fmla="*/ 1 h 49"/>
                  <a:gd name="T14" fmla="*/ 11 w 106"/>
                  <a:gd name="T15" fmla="*/ 0 h 49"/>
                  <a:gd name="T16" fmla="*/ 8 w 106"/>
                  <a:gd name="T17" fmla="*/ 0 h 49"/>
                  <a:gd name="T18" fmla="*/ 5 w 106"/>
                  <a:gd name="T19" fmla="*/ 0 h 49"/>
                  <a:gd name="T20" fmla="*/ 0 w 106"/>
                  <a:gd name="T21" fmla="*/ 0 h 49"/>
                  <a:gd name="T22" fmla="*/ 3 w 106"/>
                  <a:gd name="T23" fmla="*/ 4 h 49"/>
                  <a:gd name="T24" fmla="*/ 5 w 106"/>
                  <a:gd name="T25" fmla="*/ 7 h 49"/>
                  <a:gd name="T26" fmla="*/ 8 w 106"/>
                  <a:gd name="T27" fmla="*/ 9 h 49"/>
                  <a:gd name="T28" fmla="*/ 11 w 106"/>
                  <a:gd name="T29" fmla="*/ 12 h 49"/>
                  <a:gd name="T30" fmla="*/ 13 w 106"/>
                  <a:gd name="T31" fmla="*/ 14 h 49"/>
                  <a:gd name="T32" fmla="*/ 16 w 106"/>
                  <a:gd name="T33" fmla="*/ 15 h 49"/>
                  <a:gd name="T34" fmla="*/ 19 w 106"/>
                  <a:gd name="T35" fmla="*/ 16 h 49"/>
                  <a:gd name="T36" fmla="*/ 22 w 106"/>
                  <a:gd name="T37" fmla="*/ 16 h 49"/>
                  <a:gd name="T38" fmla="*/ 25 w 106"/>
                  <a:gd name="T39" fmla="*/ 16 h 49"/>
                  <a:gd name="T40" fmla="*/ 27 w 106"/>
                  <a:gd name="T41" fmla="*/ 15 h 49"/>
                  <a:gd name="T42" fmla="*/ 30 w 106"/>
                  <a:gd name="T43" fmla="*/ 13 h 49"/>
                  <a:gd name="T44" fmla="*/ 33 w 106"/>
                  <a:gd name="T45" fmla="*/ 10 h 49"/>
                  <a:gd name="T46" fmla="*/ 31 w 106"/>
                  <a:gd name="T47" fmla="*/ 10 h 49"/>
                  <a:gd name="T48" fmla="*/ 31 w 106"/>
                  <a:gd name="T49" fmla="*/ 9 h 49"/>
                  <a:gd name="T50" fmla="*/ 29 w 106"/>
                  <a:gd name="T51" fmla="*/ 8 h 49"/>
                  <a:gd name="T52" fmla="*/ 28 w 106"/>
                  <a:gd name="T53" fmla="*/ 7 h 49"/>
                  <a:gd name="T54" fmla="*/ 27 w 106"/>
                  <a:gd name="T55" fmla="*/ 6 h 49"/>
                  <a:gd name="T56" fmla="*/ 26 w 106"/>
                  <a:gd name="T57" fmla="*/ 5 h 49"/>
                  <a:gd name="T58" fmla="*/ 26 w 106"/>
                  <a:gd name="T59" fmla="*/ 5 h 49"/>
                  <a:gd name="T60" fmla="*/ 25 w 106"/>
                  <a:gd name="T61" fmla="*/ 4 h 49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52" name="Freeform 399">
                <a:extLst>
                  <a:ext uri="{FF2B5EF4-FFF2-40B4-BE49-F238E27FC236}">
                    <a16:creationId xmlns:a16="http://schemas.microsoft.com/office/drawing/2014/main" id="{3645BA47-E223-4421-A740-68697CD30E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6 h 22"/>
                  <a:gd name="T2" fmla="*/ 2 w 47"/>
                  <a:gd name="T3" fmla="*/ 7 h 22"/>
                  <a:gd name="T4" fmla="*/ 4 w 47"/>
                  <a:gd name="T5" fmla="*/ 7 h 22"/>
                  <a:gd name="T6" fmla="*/ 6 w 47"/>
                  <a:gd name="T7" fmla="*/ 7 h 22"/>
                  <a:gd name="T8" fmla="*/ 8 w 47"/>
                  <a:gd name="T9" fmla="*/ 7 h 22"/>
                  <a:gd name="T10" fmla="*/ 11 w 47"/>
                  <a:gd name="T11" fmla="*/ 6 h 22"/>
                  <a:gd name="T12" fmla="*/ 12 w 47"/>
                  <a:gd name="T13" fmla="*/ 5 h 22"/>
                  <a:gd name="T14" fmla="*/ 13 w 47"/>
                  <a:gd name="T15" fmla="*/ 4 h 22"/>
                  <a:gd name="T16" fmla="*/ 14 w 47"/>
                  <a:gd name="T17" fmla="*/ 3 h 22"/>
                  <a:gd name="T18" fmla="*/ 14 w 47"/>
                  <a:gd name="T19" fmla="*/ 2 h 22"/>
                  <a:gd name="T20" fmla="*/ 15 w 47"/>
                  <a:gd name="T21" fmla="*/ 0 h 22"/>
                  <a:gd name="T22" fmla="*/ 0 w 47"/>
                  <a:gd name="T23" fmla="*/ 6 h 2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53" name="Freeform 400">
                <a:extLst>
                  <a:ext uri="{FF2B5EF4-FFF2-40B4-BE49-F238E27FC236}">
                    <a16:creationId xmlns:a16="http://schemas.microsoft.com/office/drawing/2014/main" id="{06D9A1B5-E17E-43F7-810A-7CD115D893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17 w 53"/>
                  <a:gd name="T1" fmla="*/ 0 h 32"/>
                  <a:gd name="T2" fmla="*/ 12 w 53"/>
                  <a:gd name="T3" fmla="*/ 3 h 32"/>
                  <a:gd name="T4" fmla="*/ 7 w 53"/>
                  <a:gd name="T5" fmla="*/ 6 h 32"/>
                  <a:gd name="T6" fmla="*/ 4 w 53"/>
                  <a:gd name="T7" fmla="*/ 9 h 32"/>
                  <a:gd name="T8" fmla="*/ 0 w 53"/>
                  <a:gd name="T9" fmla="*/ 11 h 32"/>
                  <a:gd name="T10" fmla="*/ 4 w 53"/>
                  <a:gd name="T11" fmla="*/ 11 h 32"/>
                  <a:gd name="T12" fmla="*/ 8 w 53"/>
                  <a:gd name="T13" fmla="*/ 11 h 32"/>
                  <a:gd name="T14" fmla="*/ 13 w 53"/>
                  <a:gd name="T15" fmla="*/ 11 h 32"/>
                  <a:gd name="T16" fmla="*/ 17 w 53"/>
                  <a:gd name="T17" fmla="*/ 11 h 32"/>
                  <a:gd name="T18" fmla="*/ 17 w 53"/>
                  <a:gd name="T19" fmla="*/ 8 h 32"/>
                  <a:gd name="T20" fmla="*/ 17 w 53"/>
                  <a:gd name="T21" fmla="*/ 6 h 32"/>
                  <a:gd name="T22" fmla="*/ 17 w 53"/>
                  <a:gd name="T23" fmla="*/ 3 h 32"/>
                  <a:gd name="T24" fmla="*/ 17 w 53"/>
                  <a:gd name="T25" fmla="*/ 0 h 3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54" name="Freeform 401">
                <a:extLst>
                  <a:ext uri="{FF2B5EF4-FFF2-40B4-BE49-F238E27FC236}">
                    <a16:creationId xmlns:a16="http://schemas.microsoft.com/office/drawing/2014/main" id="{E21F01FD-77FC-457B-876C-238253D7FA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8 w 46"/>
                  <a:gd name="T1" fmla="*/ 1 h 34"/>
                  <a:gd name="T2" fmla="*/ 0 w 46"/>
                  <a:gd name="T3" fmla="*/ 6 h 34"/>
                  <a:gd name="T4" fmla="*/ 0 w 46"/>
                  <a:gd name="T5" fmla="*/ 12 h 34"/>
                  <a:gd name="T6" fmla="*/ 8 w 46"/>
                  <a:gd name="T7" fmla="*/ 12 h 34"/>
                  <a:gd name="T8" fmla="*/ 9 w 46"/>
                  <a:gd name="T9" fmla="*/ 11 h 34"/>
                  <a:gd name="T10" fmla="*/ 11 w 46"/>
                  <a:gd name="T11" fmla="*/ 10 h 34"/>
                  <a:gd name="T12" fmla="*/ 12 w 46"/>
                  <a:gd name="T13" fmla="*/ 9 h 34"/>
                  <a:gd name="T14" fmla="*/ 13 w 46"/>
                  <a:gd name="T15" fmla="*/ 7 h 34"/>
                  <a:gd name="T16" fmla="*/ 13 w 46"/>
                  <a:gd name="T17" fmla="*/ 6 h 34"/>
                  <a:gd name="T18" fmla="*/ 14 w 46"/>
                  <a:gd name="T19" fmla="*/ 5 h 34"/>
                  <a:gd name="T20" fmla="*/ 14 w 46"/>
                  <a:gd name="T21" fmla="*/ 3 h 34"/>
                  <a:gd name="T22" fmla="*/ 14 w 46"/>
                  <a:gd name="T23" fmla="*/ 1 h 34"/>
                  <a:gd name="T24" fmla="*/ 14 w 46"/>
                  <a:gd name="T25" fmla="*/ 0 h 34"/>
                  <a:gd name="T26" fmla="*/ 13 w 46"/>
                  <a:gd name="T27" fmla="*/ 0 h 34"/>
                  <a:gd name="T28" fmla="*/ 13 w 46"/>
                  <a:gd name="T29" fmla="*/ 0 h 34"/>
                  <a:gd name="T30" fmla="*/ 12 w 46"/>
                  <a:gd name="T31" fmla="*/ 0 h 34"/>
                  <a:gd name="T32" fmla="*/ 10 w 46"/>
                  <a:gd name="T33" fmla="*/ 1 h 34"/>
                  <a:gd name="T34" fmla="*/ 8 w 46"/>
                  <a:gd name="T35" fmla="*/ 1 h 3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55" name="Freeform 402">
                <a:extLst>
                  <a:ext uri="{FF2B5EF4-FFF2-40B4-BE49-F238E27FC236}">
                    <a16:creationId xmlns:a16="http://schemas.microsoft.com/office/drawing/2014/main" id="{68F78BBC-FD7F-4CC6-BD5F-6B1B0A4DE8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8 h 25"/>
                  <a:gd name="T2" fmla="*/ 5 w 48"/>
                  <a:gd name="T3" fmla="*/ 8 h 25"/>
                  <a:gd name="T4" fmla="*/ 9 w 48"/>
                  <a:gd name="T5" fmla="*/ 8 h 25"/>
                  <a:gd name="T6" fmla="*/ 10 w 48"/>
                  <a:gd name="T7" fmla="*/ 8 h 25"/>
                  <a:gd name="T8" fmla="*/ 11 w 48"/>
                  <a:gd name="T9" fmla="*/ 7 h 25"/>
                  <a:gd name="T10" fmla="*/ 12 w 48"/>
                  <a:gd name="T11" fmla="*/ 6 h 25"/>
                  <a:gd name="T12" fmla="*/ 13 w 48"/>
                  <a:gd name="T13" fmla="*/ 5 h 25"/>
                  <a:gd name="T14" fmla="*/ 15 w 48"/>
                  <a:gd name="T15" fmla="*/ 2 h 25"/>
                  <a:gd name="T16" fmla="*/ 16 w 48"/>
                  <a:gd name="T17" fmla="*/ 0 h 25"/>
                  <a:gd name="T18" fmla="*/ 13 w 48"/>
                  <a:gd name="T19" fmla="*/ 0 h 25"/>
                  <a:gd name="T20" fmla="*/ 11 w 48"/>
                  <a:gd name="T21" fmla="*/ 1 h 25"/>
                  <a:gd name="T22" fmla="*/ 9 w 48"/>
                  <a:gd name="T23" fmla="*/ 2 h 25"/>
                  <a:gd name="T24" fmla="*/ 7 w 48"/>
                  <a:gd name="T25" fmla="*/ 3 h 25"/>
                  <a:gd name="T26" fmla="*/ 4 w 48"/>
                  <a:gd name="T27" fmla="*/ 5 h 25"/>
                  <a:gd name="T28" fmla="*/ 0 w 48"/>
                  <a:gd name="T29" fmla="*/ 8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56" name="Freeform 403">
                <a:extLst>
                  <a:ext uri="{FF2B5EF4-FFF2-40B4-BE49-F238E27FC236}">
                    <a16:creationId xmlns:a16="http://schemas.microsoft.com/office/drawing/2014/main" id="{0BC26BEE-CAE3-4797-9F32-F85FE9954C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11 h 37"/>
                  <a:gd name="T4" fmla="*/ 3 w 30"/>
                  <a:gd name="T5" fmla="*/ 11 h 37"/>
                  <a:gd name="T6" fmla="*/ 5 w 30"/>
                  <a:gd name="T7" fmla="*/ 10 h 37"/>
                  <a:gd name="T8" fmla="*/ 6 w 30"/>
                  <a:gd name="T9" fmla="*/ 10 h 37"/>
                  <a:gd name="T10" fmla="*/ 7 w 30"/>
                  <a:gd name="T11" fmla="*/ 10 h 37"/>
                  <a:gd name="T12" fmla="*/ 7 w 30"/>
                  <a:gd name="T13" fmla="*/ 9 h 37"/>
                  <a:gd name="T14" fmla="*/ 8 w 30"/>
                  <a:gd name="T15" fmla="*/ 8 h 37"/>
                  <a:gd name="T16" fmla="*/ 8 w 30"/>
                  <a:gd name="T17" fmla="*/ 7 h 37"/>
                  <a:gd name="T18" fmla="*/ 8 w 30"/>
                  <a:gd name="T19" fmla="*/ 5 h 37"/>
                  <a:gd name="T20" fmla="*/ 8 w 30"/>
                  <a:gd name="T21" fmla="*/ 3 h 37"/>
                  <a:gd name="T22" fmla="*/ 7 w 30"/>
                  <a:gd name="T23" fmla="*/ 0 h 37"/>
                  <a:gd name="T24" fmla="*/ 0 w 30"/>
                  <a:gd name="T25" fmla="*/ 0 h 3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57" name="Freeform 404">
                <a:extLst>
                  <a:ext uri="{FF2B5EF4-FFF2-40B4-BE49-F238E27FC236}">
                    <a16:creationId xmlns:a16="http://schemas.microsoft.com/office/drawing/2014/main" id="{FBE7E049-0922-4E80-A63C-2AA00EA444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11 w 113"/>
                  <a:gd name="T1" fmla="*/ 1 h 46"/>
                  <a:gd name="T2" fmla="*/ 7 w 113"/>
                  <a:gd name="T3" fmla="*/ 1 h 46"/>
                  <a:gd name="T4" fmla="*/ 4 w 113"/>
                  <a:gd name="T5" fmla="*/ 2 h 46"/>
                  <a:gd name="T6" fmla="*/ 2 w 113"/>
                  <a:gd name="T7" fmla="*/ 2 h 46"/>
                  <a:gd name="T8" fmla="*/ 1 w 113"/>
                  <a:gd name="T9" fmla="*/ 4 h 46"/>
                  <a:gd name="T10" fmla="*/ 0 w 113"/>
                  <a:gd name="T11" fmla="*/ 5 h 46"/>
                  <a:gd name="T12" fmla="*/ 0 w 113"/>
                  <a:gd name="T13" fmla="*/ 7 h 46"/>
                  <a:gd name="T14" fmla="*/ 2 w 113"/>
                  <a:gd name="T15" fmla="*/ 9 h 46"/>
                  <a:gd name="T16" fmla="*/ 3 w 113"/>
                  <a:gd name="T17" fmla="*/ 11 h 46"/>
                  <a:gd name="T18" fmla="*/ 5 w 113"/>
                  <a:gd name="T19" fmla="*/ 13 h 46"/>
                  <a:gd name="T20" fmla="*/ 6 w 113"/>
                  <a:gd name="T21" fmla="*/ 14 h 46"/>
                  <a:gd name="T22" fmla="*/ 8 w 113"/>
                  <a:gd name="T23" fmla="*/ 15 h 46"/>
                  <a:gd name="T24" fmla="*/ 10 w 113"/>
                  <a:gd name="T25" fmla="*/ 16 h 46"/>
                  <a:gd name="T26" fmla="*/ 11 w 113"/>
                  <a:gd name="T27" fmla="*/ 16 h 46"/>
                  <a:gd name="T28" fmla="*/ 13 w 113"/>
                  <a:gd name="T29" fmla="*/ 16 h 46"/>
                  <a:gd name="T30" fmla="*/ 18 w 113"/>
                  <a:gd name="T31" fmla="*/ 16 h 46"/>
                  <a:gd name="T32" fmla="*/ 22 w 113"/>
                  <a:gd name="T33" fmla="*/ 15 h 46"/>
                  <a:gd name="T34" fmla="*/ 24 w 113"/>
                  <a:gd name="T35" fmla="*/ 14 h 46"/>
                  <a:gd name="T36" fmla="*/ 26 w 113"/>
                  <a:gd name="T37" fmla="*/ 13 h 46"/>
                  <a:gd name="T38" fmla="*/ 28 w 113"/>
                  <a:gd name="T39" fmla="*/ 13 h 46"/>
                  <a:gd name="T40" fmla="*/ 29 w 113"/>
                  <a:gd name="T41" fmla="*/ 11 h 46"/>
                  <a:gd name="T42" fmla="*/ 32 w 113"/>
                  <a:gd name="T43" fmla="*/ 9 h 46"/>
                  <a:gd name="T44" fmla="*/ 34 w 113"/>
                  <a:gd name="T45" fmla="*/ 7 h 46"/>
                  <a:gd name="T46" fmla="*/ 35 w 113"/>
                  <a:gd name="T47" fmla="*/ 4 h 46"/>
                  <a:gd name="T48" fmla="*/ 36 w 113"/>
                  <a:gd name="T49" fmla="*/ 1 h 46"/>
                  <a:gd name="T50" fmla="*/ 32 w 113"/>
                  <a:gd name="T51" fmla="*/ 0 h 46"/>
                  <a:gd name="T52" fmla="*/ 28 w 113"/>
                  <a:gd name="T53" fmla="*/ 0 h 46"/>
                  <a:gd name="T54" fmla="*/ 24 w 113"/>
                  <a:gd name="T55" fmla="*/ 0 h 46"/>
                  <a:gd name="T56" fmla="*/ 21 w 113"/>
                  <a:gd name="T57" fmla="*/ 0 h 46"/>
                  <a:gd name="T58" fmla="*/ 15 w 113"/>
                  <a:gd name="T59" fmla="*/ 1 h 46"/>
                  <a:gd name="T60" fmla="*/ 11 w 113"/>
                  <a:gd name="T61" fmla="*/ 1 h 4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58" name="Freeform 405">
                <a:extLst>
                  <a:ext uri="{FF2B5EF4-FFF2-40B4-BE49-F238E27FC236}">
                    <a16:creationId xmlns:a16="http://schemas.microsoft.com/office/drawing/2014/main" id="{89BE0A22-6517-4810-930E-57F9375A39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27 h 82"/>
                  <a:gd name="T2" fmla="*/ 1 w 153"/>
                  <a:gd name="T3" fmla="*/ 28 h 82"/>
                  <a:gd name="T4" fmla="*/ 2 w 153"/>
                  <a:gd name="T5" fmla="*/ 28 h 82"/>
                  <a:gd name="T6" fmla="*/ 3 w 153"/>
                  <a:gd name="T7" fmla="*/ 28 h 82"/>
                  <a:gd name="T8" fmla="*/ 4 w 153"/>
                  <a:gd name="T9" fmla="*/ 28 h 82"/>
                  <a:gd name="T10" fmla="*/ 7 w 153"/>
                  <a:gd name="T11" fmla="*/ 27 h 82"/>
                  <a:gd name="T12" fmla="*/ 11 w 153"/>
                  <a:gd name="T13" fmla="*/ 27 h 82"/>
                  <a:gd name="T14" fmla="*/ 13 w 153"/>
                  <a:gd name="T15" fmla="*/ 27 h 82"/>
                  <a:gd name="T16" fmla="*/ 15 w 153"/>
                  <a:gd name="T17" fmla="*/ 27 h 82"/>
                  <a:gd name="T18" fmla="*/ 18 w 153"/>
                  <a:gd name="T19" fmla="*/ 26 h 82"/>
                  <a:gd name="T20" fmla="*/ 21 w 153"/>
                  <a:gd name="T21" fmla="*/ 25 h 82"/>
                  <a:gd name="T22" fmla="*/ 27 w 153"/>
                  <a:gd name="T23" fmla="*/ 23 h 82"/>
                  <a:gd name="T24" fmla="*/ 33 w 153"/>
                  <a:gd name="T25" fmla="*/ 20 h 82"/>
                  <a:gd name="T26" fmla="*/ 36 w 153"/>
                  <a:gd name="T27" fmla="*/ 18 h 82"/>
                  <a:gd name="T28" fmla="*/ 39 w 153"/>
                  <a:gd name="T29" fmla="*/ 17 h 82"/>
                  <a:gd name="T30" fmla="*/ 41 w 153"/>
                  <a:gd name="T31" fmla="*/ 15 h 82"/>
                  <a:gd name="T32" fmla="*/ 44 w 153"/>
                  <a:gd name="T33" fmla="*/ 13 h 82"/>
                  <a:gd name="T34" fmla="*/ 45 w 153"/>
                  <a:gd name="T35" fmla="*/ 11 h 82"/>
                  <a:gd name="T36" fmla="*/ 47 w 153"/>
                  <a:gd name="T37" fmla="*/ 9 h 82"/>
                  <a:gd name="T38" fmla="*/ 48 w 153"/>
                  <a:gd name="T39" fmla="*/ 6 h 82"/>
                  <a:gd name="T40" fmla="*/ 49 w 153"/>
                  <a:gd name="T41" fmla="*/ 4 h 82"/>
                  <a:gd name="T42" fmla="*/ 43 w 153"/>
                  <a:gd name="T43" fmla="*/ 3 h 82"/>
                  <a:gd name="T44" fmla="*/ 37 w 153"/>
                  <a:gd name="T45" fmla="*/ 1 h 82"/>
                  <a:gd name="T46" fmla="*/ 31 w 153"/>
                  <a:gd name="T47" fmla="*/ 0 h 82"/>
                  <a:gd name="T48" fmla="*/ 25 w 153"/>
                  <a:gd name="T49" fmla="*/ 0 h 82"/>
                  <a:gd name="T50" fmla="*/ 22 w 153"/>
                  <a:gd name="T51" fmla="*/ 0 h 82"/>
                  <a:gd name="T52" fmla="*/ 19 w 153"/>
                  <a:gd name="T53" fmla="*/ 0 h 82"/>
                  <a:gd name="T54" fmla="*/ 17 w 153"/>
                  <a:gd name="T55" fmla="*/ 1 h 82"/>
                  <a:gd name="T56" fmla="*/ 14 w 153"/>
                  <a:gd name="T57" fmla="*/ 1 h 82"/>
                  <a:gd name="T58" fmla="*/ 12 w 153"/>
                  <a:gd name="T59" fmla="*/ 2 h 82"/>
                  <a:gd name="T60" fmla="*/ 11 w 153"/>
                  <a:gd name="T61" fmla="*/ 3 h 82"/>
                  <a:gd name="T62" fmla="*/ 10 w 153"/>
                  <a:gd name="T63" fmla="*/ 5 h 82"/>
                  <a:gd name="T64" fmla="*/ 8 w 153"/>
                  <a:gd name="T65" fmla="*/ 6 h 82"/>
                  <a:gd name="T66" fmla="*/ 10 w 153"/>
                  <a:gd name="T67" fmla="*/ 8 h 82"/>
                  <a:gd name="T68" fmla="*/ 12 w 153"/>
                  <a:gd name="T69" fmla="*/ 10 h 82"/>
                  <a:gd name="T70" fmla="*/ 12 w 153"/>
                  <a:gd name="T71" fmla="*/ 11 h 82"/>
                  <a:gd name="T72" fmla="*/ 13 w 153"/>
                  <a:gd name="T73" fmla="*/ 12 h 82"/>
                  <a:gd name="T74" fmla="*/ 14 w 153"/>
                  <a:gd name="T75" fmla="*/ 12 h 82"/>
                  <a:gd name="T76" fmla="*/ 15 w 153"/>
                  <a:gd name="T77" fmla="*/ 12 h 82"/>
                  <a:gd name="T78" fmla="*/ 13 w 153"/>
                  <a:gd name="T79" fmla="*/ 14 h 82"/>
                  <a:gd name="T80" fmla="*/ 11 w 153"/>
                  <a:gd name="T81" fmla="*/ 16 h 82"/>
                  <a:gd name="T82" fmla="*/ 9 w 153"/>
                  <a:gd name="T83" fmla="*/ 18 h 82"/>
                  <a:gd name="T84" fmla="*/ 7 w 153"/>
                  <a:gd name="T85" fmla="*/ 19 h 82"/>
                  <a:gd name="T86" fmla="*/ 6 w 153"/>
                  <a:gd name="T87" fmla="*/ 22 h 82"/>
                  <a:gd name="T88" fmla="*/ 4 w 153"/>
                  <a:gd name="T89" fmla="*/ 24 h 82"/>
                  <a:gd name="T90" fmla="*/ 2 w 153"/>
                  <a:gd name="T91" fmla="*/ 26 h 82"/>
                  <a:gd name="T92" fmla="*/ 0 w 153"/>
                  <a:gd name="T93" fmla="*/ 27 h 8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59" name="Freeform 406">
                <a:extLst>
                  <a:ext uri="{FF2B5EF4-FFF2-40B4-BE49-F238E27FC236}">
                    <a16:creationId xmlns:a16="http://schemas.microsoft.com/office/drawing/2014/main" id="{B9DE3B57-0241-4DEA-9890-8F2DA8C93C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13 h 50"/>
                  <a:gd name="T2" fmla="*/ 2 w 86"/>
                  <a:gd name="T3" fmla="*/ 14 h 50"/>
                  <a:gd name="T4" fmla="*/ 4 w 86"/>
                  <a:gd name="T5" fmla="*/ 15 h 50"/>
                  <a:gd name="T6" fmla="*/ 5 w 86"/>
                  <a:gd name="T7" fmla="*/ 16 h 50"/>
                  <a:gd name="T8" fmla="*/ 8 w 86"/>
                  <a:gd name="T9" fmla="*/ 16 h 50"/>
                  <a:gd name="T10" fmla="*/ 12 w 86"/>
                  <a:gd name="T11" fmla="*/ 17 h 50"/>
                  <a:gd name="T12" fmla="*/ 16 w 86"/>
                  <a:gd name="T13" fmla="*/ 17 h 50"/>
                  <a:gd name="T14" fmla="*/ 20 w 86"/>
                  <a:gd name="T15" fmla="*/ 17 h 50"/>
                  <a:gd name="T16" fmla="*/ 23 w 86"/>
                  <a:gd name="T17" fmla="*/ 16 h 50"/>
                  <a:gd name="T18" fmla="*/ 25 w 86"/>
                  <a:gd name="T19" fmla="*/ 16 h 50"/>
                  <a:gd name="T20" fmla="*/ 27 w 86"/>
                  <a:gd name="T21" fmla="*/ 15 h 50"/>
                  <a:gd name="T22" fmla="*/ 28 w 86"/>
                  <a:gd name="T23" fmla="*/ 14 h 50"/>
                  <a:gd name="T24" fmla="*/ 28 w 86"/>
                  <a:gd name="T25" fmla="*/ 13 h 50"/>
                  <a:gd name="T26" fmla="*/ 29 w 86"/>
                  <a:gd name="T27" fmla="*/ 11 h 50"/>
                  <a:gd name="T28" fmla="*/ 29 w 86"/>
                  <a:gd name="T29" fmla="*/ 9 h 50"/>
                  <a:gd name="T30" fmla="*/ 29 w 86"/>
                  <a:gd name="T31" fmla="*/ 6 h 50"/>
                  <a:gd name="T32" fmla="*/ 28 w 86"/>
                  <a:gd name="T33" fmla="*/ 3 h 50"/>
                  <a:gd name="T34" fmla="*/ 28 w 86"/>
                  <a:gd name="T35" fmla="*/ 2 h 50"/>
                  <a:gd name="T36" fmla="*/ 27 w 86"/>
                  <a:gd name="T37" fmla="*/ 2 h 50"/>
                  <a:gd name="T38" fmla="*/ 26 w 86"/>
                  <a:gd name="T39" fmla="*/ 1 h 50"/>
                  <a:gd name="T40" fmla="*/ 25 w 86"/>
                  <a:gd name="T41" fmla="*/ 0 h 50"/>
                  <a:gd name="T42" fmla="*/ 0 w 86"/>
                  <a:gd name="T43" fmla="*/ 13 h 5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60" name="Freeform 407">
                <a:extLst>
                  <a:ext uri="{FF2B5EF4-FFF2-40B4-BE49-F238E27FC236}">
                    <a16:creationId xmlns:a16="http://schemas.microsoft.com/office/drawing/2014/main" id="{A2AFAD48-CD84-4641-8827-47B3C2CCEC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38 w 172"/>
                  <a:gd name="T1" fmla="*/ 21 h 74"/>
                  <a:gd name="T2" fmla="*/ 35 w 172"/>
                  <a:gd name="T3" fmla="*/ 21 h 74"/>
                  <a:gd name="T4" fmla="*/ 32 w 172"/>
                  <a:gd name="T5" fmla="*/ 21 h 74"/>
                  <a:gd name="T6" fmla="*/ 29 w 172"/>
                  <a:gd name="T7" fmla="*/ 21 h 74"/>
                  <a:gd name="T8" fmla="*/ 26 w 172"/>
                  <a:gd name="T9" fmla="*/ 21 h 74"/>
                  <a:gd name="T10" fmla="*/ 19 w 172"/>
                  <a:gd name="T11" fmla="*/ 25 h 74"/>
                  <a:gd name="T12" fmla="*/ 11 w 172"/>
                  <a:gd name="T13" fmla="*/ 25 h 74"/>
                  <a:gd name="T14" fmla="*/ 12 w 172"/>
                  <a:gd name="T15" fmla="*/ 21 h 74"/>
                  <a:gd name="T16" fmla="*/ 12 w 172"/>
                  <a:gd name="T17" fmla="*/ 17 h 74"/>
                  <a:gd name="T18" fmla="*/ 10 w 172"/>
                  <a:gd name="T19" fmla="*/ 17 h 74"/>
                  <a:gd name="T20" fmla="*/ 7 w 172"/>
                  <a:gd name="T21" fmla="*/ 16 h 74"/>
                  <a:gd name="T22" fmla="*/ 5 w 172"/>
                  <a:gd name="T23" fmla="*/ 16 h 74"/>
                  <a:gd name="T24" fmla="*/ 3 w 172"/>
                  <a:gd name="T25" fmla="*/ 15 h 74"/>
                  <a:gd name="T26" fmla="*/ 2 w 172"/>
                  <a:gd name="T27" fmla="*/ 14 h 74"/>
                  <a:gd name="T28" fmla="*/ 1 w 172"/>
                  <a:gd name="T29" fmla="*/ 13 h 74"/>
                  <a:gd name="T30" fmla="*/ 0 w 172"/>
                  <a:gd name="T31" fmla="*/ 12 h 74"/>
                  <a:gd name="T32" fmla="*/ 0 w 172"/>
                  <a:gd name="T33" fmla="*/ 10 h 74"/>
                  <a:gd name="T34" fmla="*/ 0 w 172"/>
                  <a:gd name="T35" fmla="*/ 9 h 74"/>
                  <a:gd name="T36" fmla="*/ 1 w 172"/>
                  <a:gd name="T37" fmla="*/ 7 h 74"/>
                  <a:gd name="T38" fmla="*/ 2 w 172"/>
                  <a:gd name="T39" fmla="*/ 6 h 74"/>
                  <a:gd name="T40" fmla="*/ 3 w 172"/>
                  <a:gd name="T41" fmla="*/ 5 h 74"/>
                  <a:gd name="T42" fmla="*/ 4 w 172"/>
                  <a:gd name="T43" fmla="*/ 3 h 74"/>
                  <a:gd name="T44" fmla="*/ 6 w 172"/>
                  <a:gd name="T45" fmla="*/ 2 h 74"/>
                  <a:gd name="T46" fmla="*/ 8 w 172"/>
                  <a:gd name="T47" fmla="*/ 2 h 74"/>
                  <a:gd name="T48" fmla="*/ 9 w 172"/>
                  <a:gd name="T49" fmla="*/ 1 h 74"/>
                  <a:gd name="T50" fmla="*/ 13 w 172"/>
                  <a:gd name="T51" fmla="*/ 0 h 74"/>
                  <a:gd name="T52" fmla="*/ 18 w 172"/>
                  <a:gd name="T53" fmla="*/ 0 h 74"/>
                  <a:gd name="T54" fmla="*/ 22 w 172"/>
                  <a:gd name="T55" fmla="*/ 0 h 74"/>
                  <a:gd name="T56" fmla="*/ 26 w 172"/>
                  <a:gd name="T57" fmla="*/ 0 h 74"/>
                  <a:gd name="T58" fmla="*/ 30 w 172"/>
                  <a:gd name="T59" fmla="*/ 0 h 74"/>
                  <a:gd name="T60" fmla="*/ 34 w 172"/>
                  <a:gd name="T61" fmla="*/ 1 h 74"/>
                  <a:gd name="T62" fmla="*/ 37 w 172"/>
                  <a:gd name="T63" fmla="*/ 2 h 74"/>
                  <a:gd name="T64" fmla="*/ 41 w 172"/>
                  <a:gd name="T65" fmla="*/ 4 h 74"/>
                  <a:gd name="T66" fmla="*/ 44 w 172"/>
                  <a:gd name="T67" fmla="*/ 6 h 74"/>
                  <a:gd name="T68" fmla="*/ 48 w 172"/>
                  <a:gd name="T69" fmla="*/ 7 h 74"/>
                  <a:gd name="T70" fmla="*/ 51 w 172"/>
                  <a:gd name="T71" fmla="*/ 8 h 74"/>
                  <a:gd name="T72" fmla="*/ 55 w 172"/>
                  <a:gd name="T73" fmla="*/ 8 h 74"/>
                  <a:gd name="T74" fmla="*/ 55 w 172"/>
                  <a:gd name="T75" fmla="*/ 15 h 74"/>
                  <a:gd name="T76" fmla="*/ 54 w 172"/>
                  <a:gd name="T77" fmla="*/ 16 h 74"/>
                  <a:gd name="T78" fmla="*/ 53 w 172"/>
                  <a:gd name="T79" fmla="*/ 18 h 74"/>
                  <a:gd name="T80" fmla="*/ 51 w 172"/>
                  <a:gd name="T81" fmla="*/ 19 h 74"/>
                  <a:gd name="T82" fmla="*/ 51 w 172"/>
                  <a:gd name="T83" fmla="*/ 20 h 74"/>
                  <a:gd name="T84" fmla="*/ 49 w 172"/>
                  <a:gd name="T85" fmla="*/ 21 h 74"/>
                  <a:gd name="T86" fmla="*/ 48 w 172"/>
                  <a:gd name="T87" fmla="*/ 21 h 74"/>
                  <a:gd name="T88" fmla="*/ 47 w 172"/>
                  <a:gd name="T89" fmla="*/ 22 h 74"/>
                  <a:gd name="T90" fmla="*/ 45 w 172"/>
                  <a:gd name="T91" fmla="*/ 22 h 74"/>
                  <a:gd name="T92" fmla="*/ 42 w 172"/>
                  <a:gd name="T93" fmla="*/ 22 h 74"/>
                  <a:gd name="T94" fmla="*/ 39 w 172"/>
                  <a:gd name="T95" fmla="*/ 21 h 74"/>
                  <a:gd name="T96" fmla="*/ 36 w 172"/>
                  <a:gd name="T97" fmla="*/ 20 h 74"/>
                  <a:gd name="T98" fmla="*/ 32 w 172"/>
                  <a:gd name="T99" fmla="*/ 19 h 74"/>
                  <a:gd name="T100" fmla="*/ 34 w 172"/>
                  <a:gd name="T101" fmla="*/ 19 h 74"/>
                  <a:gd name="T102" fmla="*/ 38 w 172"/>
                  <a:gd name="T103" fmla="*/ 21 h 74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61" name="Freeform 408">
                <a:extLst>
                  <a:ext uri="{FF2B5EF4-FFF2-40B4-BE49-F238E27FC236}">
                    <a16:creationId xmlns:a16="http://schemas.microsoft.com/office/drawing/2014/main" id="{2377CA0C-B672-4934-A18B-0E02C9D962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9 w 120"/>
                  <a:gd name="T1" fmla="*/ 17 h 49"/>
                  <a:gd name="T2" fmla="*/ 15 w 120"/>
                  <a:gd name="T3" fmla="*/ 17 h 49"/>
                  <a:gd name="T4" fmla="*/ 20 w 120"/>
                  <a:gd name="T5" fmla="*/ 17 h 49"/>
                  <a:gd name="T6" fmla="*/ 25 w 120"/>
                  <a:gd name="T7" fmla="*/ 16 h 49"/>
                  <a:gd name="T8" fmla="*/ 29 w 120"/>
                  <a:gd name="T9" fmla="*/ 15 h 49"/>
                  <a:gd name="T10" fmla="*/ 30 w 120"/>
                  <a:gd name="T11" fmla="*/ 14 h 49"/>
                  <a:gd name="T12" fmla="*/ 32 w 120"/>
                  <a:gd name="T13" fmla="*/ 13 h 49"/>
                  <a:gd name="T14" fmla="*/ 33 w 120"/>
                  <a:gd name="T15" fmla="*/ 12 h 49"/>
                  <a:gd name="T16" fmla="*/ 34 w 120"/>
                  <a:gd name="T17" fmla="*/ 11 h 49"/>
                  <a:gd name="T18" fmla="*/ 36 w 120"/>
                  <a:gd name="T19" fmla="*/ 8 h 49"/>
                  <a:gd name="T20" fmla="*/ 38 w 120"/>
                  <a:gd name="T21" fmla="*/ 4 h 49"/>
                  <a:gd name="T22" fmla="*/ 32 w 120"/>
                  <a:gd name="T23" fmla="*/ 2 h 49"/>
                  <a:gd name="T24" fmla="*/ 27 w 120"/>
                  <a:gd name="T25" fmla="*/ 1 h 49"/>
                  <a:gd name="T26" fmla="*/ 21 w 120"/>
                  <a:gd name="T27" fmla="*/ 0 h 49"/>
                  <a:gd name="T28" fmla="*/ 16 w 120"/>
                  <a:gd name="T29" fmla="*/ 0 h 49"/>
                  <a:gd name="T30" fmla="*/ 11 w 120"/>
                  <a:gd name="T31" fmla="*/ 0 h 49"/>
                  <a:gd name="T32" fmla="*/ 6 w 120"/>
                  <a:gd name="T33" fmla="*/ 1 h 49"/>
                  <a:gd name="T34" fmla="*/ 3 w 120"/>
                  <a:gd name="T35" fmla="*/ 1 h 49"/>
                  <a:gd name="T36" fmla="*/ 0 w 120"/>
                  <a:gd name="T37" fmla="*/ 2 h 49"/>
                  <a:gd name="T38" fmla="*/ 0 w 120"/>
                  <a:gd name="T39" fmla="*/ 10 h 49"/>
                  <a:gd name="T40" fmla="*/ 1 w 120"/>
                  <a:gd name="T41" fmla="*/ 12 h 49"/>
                  <a:gd name="T42" fmla="*/ 2 w 120"/>
                  <a:gd name="T43" fmla="*/ 13 h 49"/>
                  <a:gd name="T44" fmla="*/ 3 w 120"/>
                  <a:gd name="T45" fmla="*/ 14 h 49"/>
                  <a:gd name="T46" fmla="*/ 4 w 120"/>
                  <a:gd name="T47" fmla="*/ 16 h 49"/>
                  <a:gd name="T48" fmla="*/ 6 w 120"/>
                  <a:gd name="T49" fmla="*/ 17 h 49"/>
                  <a:gd name="T50" fmla="*/ 9 w 120"/>
                  <a:gd name="T51" fmla="*/ 17 h 4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62" name="Freeform 409">
                <a:extLst>
                  <a:ext uri="{FF2B5EF4-FFF2-40B4-BE49-F238E27FC236}">
                    <a16:creationId xmlns:a16="http://schemas.microsoft.com/office/drawing/2014/main" id="{D0811E83-AEE7-452A-9D6C-FBDA0E7D61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10 w 85"/>
                  <a:gd name="T1" fmla="*/ 0 h 61"/>
                  <a:gd name="T2" fmla="*/ 7 w 85"/>
                  <a:gd name="T3" fmla="*/ 2 h 61"/>
                  <a:gd name="T4" fmla="*/ 3 w 85"/>
                  <a:gd name="T5" fmla="*/ 4 h 61"/>
                  <a:gd name="T6" fmla="*/ 2 w 85"/>
                  <a:gd name="T7" fmla="*/ 5 h 61"/>
                  <a:gd name="T8" fmla="*/ 1 w 85"/>
                  <a:gd name="T9" fmla="*/ 7 h 61"/>
                  <a:gd name="T10" fmla="*/ 0 w 85"/>
                  <a:gd name="T11" fmla="*/ 8 h 61"/>
                  <a:gd name="T12" fmla="*/ 0 w 85"/>
                  <a:gd name="T13" fmla="*/ 10 h 61"/>
                  <a:gd name="T14" fmla="*/ 0 w 85"/>
                  <a:gd name="T15" fmla="*/ 11 h 61"/>
                  <a:gd name="T16" fmla="*/ 0 w 85"/>
                  <a:gd name="T17" fmla="*/ 12 h 61"/>
                  <a:gd name="T18" fmla="*/ 1 w 85"/>
                  <a:gd name="T19" fmla="*/ 12 h 61"/>
                  <a:gd name="T20" fmla="*/ 2 w 85"/>
                  <a:gd name="T21" fmla="*/ 13 h 61"/>
                  <a:gd name="T22" fmla="*/ 3 w 85"/>
                  <a:gd name="T23" fmla="*/ 15 h 61"/>
                  <a:gd name="T24" fmla="*/ 6 w 85"/>
                  <a:gd name="T25" fmla="*/ 17 h 61"/>
                  <a:gd name="T26" fmla="*/ 8 w 85"/>
                  <a:gd name="T27" fmla="*/ 17 h 61"/>
                  <a:gd name="T28" fmla="*/ 11 w 85"/>
                  <a:gd name="T29" fmla="*/ 18 h 61"/>
                  <a:gd name="T30" fmla="*/ 14 w 85"/>
                  <a:gd name="T31" fmla="*/ 19 h 61"/>
                  <a:gd name="T32" fmla="*/ 16 w 85"/>
                  <a:gd name="T33" fmla="*/ 19 h 61"/>
                  <a:gd name="T34" fmla="*/ 17 w 85"/>
                  <a:gd name="T35" fmla="*/ 19 h 61"/>
                  <a:gd name="T36" fmla="*/ 18 w 85"/>
                  <a:gd name="T37" fmla="*/ 19 h 61"/>
                  <a:gd name="T38" fmla="*/ 19 w 85"/>
                  <a:gd name="T39" fmla="*/ 18 h 61"/>
                  <a:gd name="T40" fmla="*/ 20 w 85"/>
                  <a:gd name="T41" fmla="*/ 18 h 61"/>
                  <a:gd name="T42" fmla="*/ 22 w 85"/>
                  <a:gd name="T43" fmla="*/ 16 h 61"/>
                  <a:gd name="T44" fmla="*/ 24 w 85"/>
                  <a:gd name="T45" fmla="*/ 15 h 61"/>
                  <a:gd name="T46" fmla="*/ 24 w 85"/>
                  <a:gd name="T47" fmla="*/ 12 h 61"/>
                  <a:gd name="T48" fmla="*/ 25 w 85"/>
                  <a:gd name="T49" fmla="*/ 10 h 61"/>
                  <a:gd name="T50" fmla="*/ 26 w 85"/>
                  <a:gd name="T51" fmla="*/ 8 h 61"/>
                  <a:gd name="T52" fmla="*/ 26 w 85"/>
                  <a:gd name="T53" fmla="*/ 6 h 61"/>
                  <a:gd name="T54" fmla="*/ 10 w 85"/>
                  <a:gd name="T55" fmla="*/ 0 h 6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63" name="Freeform 410">
                <a:extLst>
                  <a:ext uri="{FF2B5EF4-FFF2-40B4-BE49-F238E27FC236}">
                    <a16:creationId xmlns:a16="http://schemas.microsoft.com/office/drawing/2014/main" id="{8C56E024-0C54-4E16-8870-CE4948D3ED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2 h 19"/>
                  <a:gd name="T2" fmla="*/ 2 w 100"/>
                  <a:gd name="T3" fmla="*/ 3 h 19"/>
                  <a:gd name="T4" fmla="*/ 4 w 100"/>
                  <a:gd name="T5" fmla="*/ 5 h 19"/>
                  <a:gd name="T6" fmla="*/ 7 w 100"/>
                  <a:gd name="T7" fmla="*/ 6 h 19"/>
                  <a:gd name="T8" fmla="*/ 8 w 100"/>
                  <a:gd name="T9" fmla="*/ 6 h 19"/>
                  <a:gd name="T10" fmla="*/ 31 w 100"/>
                  <a:gd name="T11" fmla="*/ 2 h 19"/>
                  <a:gd name="T12" fmla="*/ 23 w 100"/>
                  <a:gd name="T13" fmla="*/ 1 h 19"/>
                  <a:gd name="T14" fmla="*/ 15 w 100"/>
                  <a:gd name="T15" fmla="*/ 0 h 19"/>
                  <a:gd name="T16" fmla="*/ 11 w 100"/>
                  <a:gd name="T17" fmla="*/ 0 h 19"/>
                  <a:gd name="T18" fmla="*/ 7 w 100"/>
                  <a:gd name="T19" fmla="*/ 0 h 19"/>
                  <a:gd name="T20" fmla="*/ 4 w 100"/>
                  <a:gd name="T21" fmla="*/ 1 h 19"/>
                  <a:gd name="T22" fmla="*/ 0 w 100"/>
                  <a:gd name="T23" fmla="*/ 2 h 1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64" name="Freeform 411">
                <a:extLst>
                  <a:ext uri="{FF2B5EF4-FFF2-40B4-BE49-F238E27FC236}">
                    <a16:creationId xmlns:a16="http://schemas.microsoft.com/office/drawing/2014/main" id="{9A2DF072-7F85-462B-BB21-380FAC7EDD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9 h 45"/>
                  <a:gd name="T2" fmla="*/ 0 w 166"/>
                  <a:gd name="T3" fmla="*/ 10 h 45"/>
                  <a:gd name="T4" fmla="*/ 1 w 166"/>
                  <a:gd name="T5" fmla="*/ 10 h 45"/>
                  <a:gd name="T6" fmla="*/ 3 w 166"/>
                  <a:gd name="T7" fmla="*/ 11 h 45"/>
                  <a:gd name="T8" fmla="*/ 4 w 166"/>
                  <a:gd name="T9" fmla="*/ 12 h 45"/>
                  <a:gd name="T10" fmla="*/ 9 w 166"/>
                  <a:gd name="T11" fmla="*/ 13 h 45"/>
                  <a:gd name="T12" fmla="*/ 14 w 166"/>
                  <a:gd name="T13" fmla="*/ 14 h 45"/>
                  <a:gd name="T14" fmla="*/ 24 w 166"/>
                  <a:gd name="T15" fmla="*/ 15 h 45"/>
                  <a:gd name="T16" fmla="*/ 29 w 166"/>
                  <a:gd name="T17" fmla="*/ 15 h 45"/>
                  <a:gd name="T18" fmla="*/ 53 w 166"/>
                  <a:gd name="T19" fmla="*/ 9 h 45"/>
                  <a:gd name="T20" fmla="*/ 50 w 166"/>
                  <a:gd name="T21" fmla="*/ 8 h 45"/>
                  <a:gd name="T22" fmla="*/ 44 w 166"/>
                  <a:gd name="T23" fmla="*/ 6 h 45"/>
                  <a:gd name="T24" fmla="*/ 35 w 166"/>
                  <a:gd name="T25" fmla="*/ 4 h 45"/>
                  <a:gd name="T26" fmla="*/ 26 w 166"/>
                  <a:gd name="T27" fmla="*/ 1 h 45"/>
                  <a:gd name="T28" fmla="*/ 21 w 166"/>
                  <a:gd name="T29" fmla="*/ 1 h 45"/>
                  <a:gd name="T30" fmla="*/ 16 w 166"/>
                  <a:gd name="T31" fmla="*/ 0 h 45"/>
                  <a:gd name="T32" fmla="*/ 11 w 166"/>
                  <a:gd name="T33" fmla="*/ 0 h 45"/>
                  <a:gd name="T34" fmla="*/ 8 w 166"/>
                  <a:gd name="T35" fmla="*/ 1 h 45"/>
                  <a:gd name="T36" fmla="*/ 6 w 166"/>
                  <a:gd name="T37" fmla="*/ 1 h 45"/>
                  <a:gd name="T38" fmla="*/ 4 w 166"/>
                  <a:gd name="T39" fmla="*/ 2 h 45"/>
                  <a:gd name="T40" fmla="*/ 3 w 166"/>
                  <a:gd name="T41" fmla="*/ 2 h 45"/>
                  <a:gd name="T42" fmla="*/ 2 w 166"/>
                  <a:gd name="T43" fmla="*/ 3 h 45"/>
                  <a:gd name="T44" fmla="*/ 1 w 166"/>
                  <a:gd name="T45" fmla="*/ 4 h 45"/>
                  <a:gd name="T46" fmla="*/ 0 w 166"/>
                  <a:gd name="T47" fmla="*/ 6 h 45"/>
                  <a:gd name="T48" fmla="*/ 0 w 166"/>
                  <a:gd name="T49" fmla="*/ 7 h 45"/>
                  <a:gd name="T50" fmla="*/ 0 w 166"/>
                  <a:gd name="T51" fmla="*/ 9 h 4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65" name="Freeform 412">
                <a:extLst>
                  <a:ext uri="{FF2B5EF4-FFF2-40B4-BE49-F238E27FC236}">
                    <a16:creationId xmlns:a16="http://schemas.microsoft.com/office/drawing/2014/main" id="{2020708C-1ABD-49FF-B16A-2596FFBAFF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3 h 25"/>
                  <a:gd name="T4" fmla="*/ 1 w 33"/>
                  <a:gd name="T5" fmla="*/ 5 h 25"/>
                  <a:gd name="T6" fmla="*/ 2 w 33"/>
                  <a:gd name="T7" fmla="*/ 6 h 25"/>
                  <a:gd name="T8" fmla="*/ 4 w 33"/>
                  <a:gd name="T9" fmla="*/ 7 h 25"/>
                  <a:gd name="T10" fmla="*/ 5 w 33"/>
                  <a:gd name="T11" fmla="*/ 8 h 25"/>
                  <a:gd name="T12" fmla="*/ 7 w 33"/>
                  <a:gd name="T13" fmla="*/ 8 h 25"/>
                  <a:gd name="T14" fmla="*/ 9 w 33"/>
                  <a:gd name="T15" fmla="*/ 8 h 25"/>
                  <a:gd name="T16" fmla="*/ 11 w 33"/>
                  <a:gd name="T17" fmla="*/ 8 h 25"/>
                  <a:gd name="T18" fmla="*/ 11 w 33"/>
                  <a:gd name="T19" fmla="*/ 0 h 25"/>
                  <a:gd name="T20" fmla="*/ 8 w 33"/>
                  <a:gd name="T21" fmla="*/ 0 h 25"/>
                  <a:gd name="T22" fmla="*/ 5 w 33"/>
                  <a:gd name="T23" fmla="*/ 0 h 25"/>
                  <a:gd name="T24" fmla="*/ 3 w 33"/>
                  <a:gd name="T25" fmla="*/ 0 h 25"/>
                  <a:gd name="T26" fmla="*/ 0 w 33"/>
                  <a:gd name="T27" fmla="*/ 0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66" name="Freeform 413">
                <a:extLst>
                  <a:ext uri="{FF2B5EF4-FFF2-40B4-BE49-F238E27FC236}">
                    <a16:creationId xmlns:a16="http://schemas.microsoft.com/office/drawing/2014/main" id="{015B6C2E-B18A-47C7-8F68-4A7C074C2C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20 h 62"/>
                  <a:gd name="T2" fmla="*/ 4 w 48"/>
                  <a:gd name="T3" fmla="*/ 18 h 62"/>
                  <a:gd name="T4" fmla="*/ 7 w 48"/>
                  <a:gd name="T5" fmla="*/ 16 h 62"/>
                  <a:gd name="T6" fmla="*/ 10 w 48"/>
                  <a:gd name="T7" fmla="*/ 14 h 62"/>
                  <a:gd name="T8" fmla="*/ 12 w 48"/>
                  <a:gd name="T9" fmla="*/ 12 h 62"/>
                  <a:gd name="T10" fmla="*/ 14 w 48"/>
                  <a:gd name="T11" fmla="*/ 9 h 62"/>
                  <a:gd name="T12" fmla="*/ 15 w 48"/>
                  <a:gd name="T13" fmla="*/ 6 h 62"/>
                  <a:gd name="T14" fmla="*/ 16 w 48"/>
                  <a:gd name="T15" fmla="*/ 3 h 62"/>
                  <a:gd name="T16" fmla="*/ 16 w 48"/>
                  <a:gd name="T17" fmla="*/ 0 h 62"/>
                  <a:gd name="T18" fmla="*/ 13 w 48"/>
                  <a:gd name="T19" fmla="*/ 1 h 62"/>
                  <a:gd name="T20" fmla="*/ 11 w 48"/>
                  <a:gd name="T21" fmla="*/ 2 h 62"/>
                  <a:gd name="T22" fmla="*/ 8 w 48"/>
                  <a:gd name="T23" fmla="*/ 3 h 62"/>
                  <a:gd name="T24" fmla="*/ 6 w 48"/>
                  <a:gd name="T25" fmla="*/ 5 h 62"/>
                  <a:gd name="T26" fmla="*/ 3 w 48"/>
                  <a:gd name="T27" fmla="*/ 7 h 62"/>
                  <a:gd name="T28" fmla="*/ 2 w 48"/>
                  <a:gd name="T29" fmla="*/ 9 h 62"/>
                  <a:gd name="T30" fmla="*/ 1 w 48"/>
                  <a:gd name="T31" fmla="*/ 10 h 62"/>
                  <a:gd name="T32" fmla="*/ 1 w 48"/>
                  <a:gd name="T33" fmla="*/ 11 h 62"/>
                  <a:gd name="T34" fmla="*/ 0 w 48"/>
                  <a:gd name="T35" fmla="*/ 13 h 62"/>
                  <a:gd name="T36" fmla="*/ 0 w 48"/>
                  <a:gd name="T37" fmla="*/ 14 h 62"/>
                  <a:gd name="T38" fmla="*/ 0 w 48"/>
                  <a:gd name="T39" fmla="*/ 17 h 62"/>
                  <a:gd name="T40" fmla="*/ 0 w 48"/>
                  <a:gd name="T41" fmla="*/ 20 h 6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67" name="Freeform 414">
                <a:extLst>
                  <a:ext uri="{FF2B5EF4-FFF2-40B4-BE49-F238E27FC236}">
                    <a16:creationId xmlns:a16="http://schemas.microsoft.com/office/drawing/2014/main" id="{B5D422AB-38CD-4F77-A210-3C7C2C0D83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15 w 113"/>
                  <a:gd name="T1" fmla="*/ 0 h 62"/>
                  <a:gd name="T2" fmla="*/ 11 w 113"/>
                  <a:gd name="T3" fmla="*/ 2 h 62"/>
                  <a:gd name="T4" fmla="*/ 7 w 113"/>
                  <a:gd name="T5" fmla="*/ 5 h 62"/>
                  <a:gd name="T6" fmla="*/ 4 w 113"/>
                  <a:gd name="T7" fmla="*/ 9 h 62"/>
                  <a:gd name="T8" fmla="*/ 0 w 113"/>
                  <a:gd name="T9" fmla="*/ 12 h 62"/>
                  <a:gd name="T10" fmla="*/ 7 w 113"/>
                  <a:gd name="T11" fmla="*/ 15 h 62"/>
                  <a:gd name="T12" fmla="*/ 13 w 113"/>
                  <a:gd name="T13" fmla="*/ 17 h 62"/>
                  <a:gd name="T14" fmla="*/ 16 w 113"/>
                  <a:gd name="T15" fmla="*/ 18 h 62"/>
                  <a:gd name="T16" fmla="*/ 20 w 113"/>
                  <a:gd name="T17" fmla="*/ 19 h 62"/>
                  <a:gd name="T18" fmla="*/ 23 w 113"/>
                  <a:gd name="T19" fmla="*/ 20 h 62"/>
                  <a:gd name="T20" fmla="*/ 28 w 113"/>
                  <a:gd name="T21" fmla="*/ 20 h 62"/>
                  <a:gd name="T22" fmla="*/ 31 w 113"/>
                  <a:gd name="T23" fmla="*/ 20 h 62"/>
                  <a:gd name="T24" fmla="*/ 34 w 113"/>
                  <a:gd name="T25" fmla="*/ 19 h 62"/>
                  <a:gd name="T26" fmla="*/ 35 w 113"/>
                  <a:gd name="T27" fmla="*/ 18 h 62"/>
                  <a:gd name="T28" fmla="*/ 35 w 113"/>
                  <a:gd name="T29" fmla="*/ 17 h 62"/>
                  <a:gd name="T30" fmla="*/ 36 w 113"/>
                  <a:gd name="T31" fmla="*/ 17 h 62"/>
                  <a:gd name="T32" fmla="*/ 36 w 113"/>
                  <a:gd name="T33" fmla="*/ 16 h 62"/>
                  <a:gd name="T34" fmla="*/ 29 w 113"/>
                  <a:gd name="T35" fmla="*/ 13 h 62"/>
                  <a:gd name="T36" fmla="*/ 22 w 113"/>
                  <a:gd name="T37" fmla="*/ 10 h 62"/>
                  <a:gd name="T38" fmla="*/ 21 w 113"/>
                  <a:gd name="T39" fmla="*/ 9 h 62"/>
                  <a:gd name="T40" fmla="*/ 19 w 113"/>
                  <a:gd name="T41" fmla="*/ 8 h 62"/>
                  <a:gd name="T42" fmla="*/ 18 w 113"/>
                  <a:gd name="T43" fmla="*/ 7 h 62"/>
                  <a:gd name="T44" fmla="*/ 17 w 113"/>
                  <a:gd name="T45" fmla="*/ 6 h 62"/>
                  <a:gd name="T46" fmla="*/ 16 w 113"/>
                  <a:gd name="T47" fmla="*/ 5 h 62"/>
                  <a:gd name="T48" fmla="*/ 15 w 113"/>
                  <a:gd name="T49" fmla="*/ 3 h 62"/>
                  <a:gd name="T50" fmla="*/ 15 w 113"/>
                  <a:gd name="T51" fmla="*/ 2 h 62"/>
                  <a:gd name="T52" fmla="*/ 15 w 113"/>
                  <a:gd name="T53" fmla="*/ 0 h 6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68" name="Freeform 415">
                <a:extLst>
                  <a:ext uri="{FF2B5EF4-FFF2-40B4-BE49-F238E27FC236}">
                    <a16:creationId xmlns:a16="http://schemas.microsoft.com/office/drawing/2014/main" id="{3A5CD0E8-6668-4192-AF45-BD2AD93A52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5 w 93"/>
                  <a:gd name="T3" fmla="*/ 0 h 50"/>
                  <a:gd name="T4" fmla="*/ 9 w 93"/>
                  <a:gd name="T5" fmla="*/ 0 h 50"/>
                  <a:gd name="T6" fmla="*/ 14 w 93"/>
                  <a:gd name="T7" fmla="*/ 1 h 50"/>
                  <a:gd name="T8" fmla="*/ 18 w 93"/>
                  <a:gd name="T9" fmla="*/ 2 h 50"/>
                  <a:gd name="T10" fmla="*/ 20 w 93"/>
                  <a:gd name="T11" fmla="*/ 2 h 50"/>
                  <a:gd name="T12" fmla="*/ 22 w 93"/>
                  <a:gd name="T13" fmla="*/ 3 h 50"/>
                  <a:gd name="T14" fmla="*/ 23 w 93"/>
                  <a:gd name="T15" fmla="*/ 4 h 50"/>
                  <a:gd name="T16" fmla="*/ 25 w 93"/>
                  <a:gd name="T17" fmla="*/ 5 h 50"/>
                  <a:gd name="T18" fmla="*/ 27 w 93"/>
                  <a:gd name="T19" fmla="*/ 6 h 50"/>
                  <a:gd name="T20" fmla="*/ 28 w 93"/>
                  <a:gd name="T21" fmla="*/ 8 h 50"/>
                  <a:gd name="T22" fmla="*/ 28 w 93"/>
                  <a:gd name="T23" fmla="*/ 9 h 50"/>
                  <a:gd name="T24" fmla="*/ 29 w 93"/>
                  <a:gd name="T25" fmla="*/ 11 h 50"/>
                  <a:gd name="T26" fmla="*/ 25 w 93"/>
                  <a:gd name="T27" fmla="*/ 11 h 50"/>
                  <a:gd name="T28" fmla="*/ 21 w 93"/>
                  <a:gd name="T29" fmla="*/ 12 h 50"/>
                  <a:gd name="T30" fmla="*/ 19 w 93"/>
                  <a:gd name="T31" fmla="*/ 12 h 50"/>
                  <a:gd name="T32" fmla="*/ 16 w 93"/>
                  <a:gd name="T33" fmla="*/ 13 h 50"/>
                  <a:gd name="T34" fmla="*/ 13 w 93"/>
                  <a:gd name="T35" fmla="*/ 14 h 50"/>
                  <a:gd name="T36" fmla="*/ 10 w 93"/>
                  <a:gd name="T37" fmla="*/ 15 h 50"/>
                  <a:gd name="T38" fmla="*/ 9 w 93"/>
                  <a:gd name="T39" fmla="*/ 15 h 50"/>
                  <a:gd name="T40" fmla="*/ 9 w 93"/>
                  <a:gd name="T41" fmla="*/ 14 h 50"/>
                  <a:gd name="T42" fmla="*/ 8 w 93"/>
                  <a:gd name="T43" fmla="*/ 14 h 50"/>
                  <a:gd name="T44" fmla="*/ 8 w 93"/>
                  <a:gd name="T45" fmla="*/ 14 h 50"/>
                  <a:gd name="T46" fmla="*/ 7 w 93"/>
                  <a:gd name="T47" fmla="*/ 12 h 50"/>
                  <a:gd name="T48" fmla="*/ 7 w 93"/>
                  <a:gd name="T49" fmla="*/ 11 h 50"/>
                  <a:gd name="T50" fmla="*/ 7 w 93"/>
                  <a:gd name="T51" fmla="*/ 9 h 50"/>
                  <a:gd name="T52" fmla="*/ 7 w 93"/>
                  <a:gd name="T53" fmla="*/ 8 h 50"/>
                  <a:gd name="T54" fmla="*/ 7 w 93"/>
                  <a:gd name="T55" fmla="*/ 7 h 50"/>
                  <a:gd name="T56" fmla="*/ 8 w 93"/>
                  <a:gd name="T57" fmla="*/ 6 h 50"/>
                  <a:gd name="T58" fmla="*/ 0 w 93"/>
                  <a:gd name="T59" fmla="*/ 6 h 50"/>
                  <a:gd name="T60" fmla="*/ 0 w 93"/>
                  <a:gd name="T61" fmla="*/ 0 h 5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69" name="Freeform 416">
                <a:extLst>
                  <a:ext uri="{FF2B5EF4-FFF2-40B4-BE49-F238E27FC236}">
                    <a16:creationId xmlns:a16="http://schemas.microsoft.com/office/drawing/2014/main" id="{C23270BC-D6A6-49BA-B032-CCF2189739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6 w 1029"/>
                  <a:gd name="T1" fmla="*/ 37 h 604"/>
                  <a:gd name="T2" fmla="*/ 22 w 1029"/>
                  <a:gd name="T3" fmla="*/ 20 h 604"/>
                  <a:gd name="T4" fmla="*/ 86 w 1029"/>
                  <a:gd name="T5" fmla="*/ 0 h 604"/>
                  <a:gd name="T6" fmla="*/ 66 w 1029"/>
                  <a:gd name="T7" fmla="*/ 15 h 604"/>
                  <a:gd name="T8" fmla="*/ 58 w 1029"/>
                  <a:gd name="T9" fmla="*/ 34 h 604"/>
                  <a:gd name="T10" fmla="*/ 88 w 1029"/>
                  <a:gd name="T11" fmla="*/ 20 h 604"/>
                  <a:gd name="T12" fmla="*/ 128 w 1029"/>
                  <a:gd name="T13" fmla="*/ 5 h 604"/>
                  <a:gd name="T14" fmla="*/ 141 w 1029"/>
                  <a:gd name="T15" fmla="*/ 8 h 604"/>
                  <a:gd name="T16" fmla="*/ 139 w 1029"/>
                  <a:gd name="T17" fmla="*/ 23 h 604"/>
                  <a:gd name="T18" fmla="*/ 187 w 1029"/>
                  <a:gd name="T19" fmla="*/ 26 h 604"/>
                  <a:gd name="T20" fmla="*/ 217 w 1029"/>
                  <a:gd name="T21" fmla="*/ 29 h 604"/>
                  <a:gd name="T22" fmla="*/ 241 w 1029"/>
                  <a:gd name="T23" fmla="*/ 36 h 604"/>
                  <a:gd name="T24" fmla="*/ 241 w 1029"/>
                  <a:gd name="T25" fmla="*/ 44 h 604"/>
                  <a:gd name="T26" fmla="*/ 229 w 1029"/>
                  <a:gd name="T27" fmla="*/ 60 h 604"/>
                  <a:gd name="T28" fmla="*/ 257 w 1029"/>
                  <a:gd name="T29" fmla="*/ 55 h 604"/>
                  <a:gd name="T30" fmla="*/ 279 w 1029"/>
                  <a:gd name="T31" fmla="*/ 63 h 604"/>
                  <a:gd name="T32" fmla="*/ 275 w 1029"/>
                  <a:gd name="T33" fmla="*/ 78 h 604"/>
                  <a:gd name="T34" fmla="*/ 253 w 1029"/>
                  <a:gd name="T35" fmla="*/ 81 h 604"/>
                  <a:gd name="T36" fmla="*/ 276 w 1029"/>
                  <a:gd name="T37" fmla="*/ 93 h 604"/>
                  <a:gd name="T38" fmla="*/ 290 w 1029"/>
                  <a:gd name="T39" fmla="*/ 107 h 604"/>
                  <a:gd name="T40" fmla="*/ 314 w 1029"/>
                  <a:gd name="T41" fmla="*/ 108 h 604"/>
                  <a:gd name="T42" fmla="*/ 331 w 1029"/>
                  <a:gd name="T43" fmla="*/ 115 h 604"/>
                  <a:gd name="T44" fmla="*/ 302 w 1029"/>
                  <a:gd name="T45" fmla="*/ 134 h 604"/>
                  <a:gd name="T46" fmla="*/ 289 w 1029"/>
                  <a:gd name="T47" fmla="*/ 137 h 604"/>
                  <a:gd name="T48" fmla="*/ 281 w 1029"/>
                  <a:gd name="T49" fmla="*/ 145 h 604"/>
                  <a:gd name="T50" fmla="*/ 267 w 1029"/>
                  <a:gd name="T51" fmla="*/ 136 h 604"/>
                  <a:gd name="T52" fmla="*/ 274 w 1029"/>
                  <a:gd name="T53" fmla="*/ 129 h 604"/>
                  <a:gd name="T54" fmla="*/ 255 w 1029"/>
                  <a:gd name="T55" fmla="*/ 124 h 604"/>
                  <a:gd name="T56" fmla="*/ 244 w 1029"/>
                  <a:gd name="T57" fmla="*/ 119 h 604"/>
                  <a:gd name="T58" fmla="*/ 239 w 1029"/>
                  <a:gd name="T59" fmla="*/ 129 h 604"/>
                  <a:gd name="T60" fmla="*/ 240 w 1029"/>
                  <a:gd name="T61" fmla="*/ 146 h 604"/>
                  <a:gd name="T62" fmla="*/ 256 w 1029"/>
                  <a:gd name="T63" fmla="*/ 171 h 604"/>
                  <a:gd name="T64" fmla="*/ 248 w 1029"/>
                  <a:gd name="T65" fmla="*/ 179 h 604"/>
                  <a:gd name="T66" fmla="*/ 228 w 1029"/>
                  <a:gd name="T67" fmla="*/ 182 h 604"/>
                  <a:gd name="T68" fmla="*/ 199 w 1029"/>
                  <a:gd name="T69" fmla="*/ 169 h 604"/>
                  <a:gd name="T70" fmla="*/ 215 w 1029"/>
                  <a:gd name="T71" fmla="*/ 186 h 604"/>
                  <a:gd name="T72" fmla="*/ 214 w 1029"/>
                  <a:gd name="T73" fmla="*/ 198 h 604"/>
                  <a:gd name="T74" fmla="*/ 167 w 1029"/>
                  <a:gd name="T75" fmla="*/ 187 h 604"/>
                  <a:gd name="T76" fmla="*/ 152 w 1029"/>
                  <a:gd name="T77" fmla="*/ 171 h 604"/>
                  <a:gd name="T78" fmla="*/ 132 w 1029"/>
                  <a:gd name="T79" fmla="*/ 155 h 604"/>
                  <a:gd name="T80" fmla="*/ 118 w 1029"/>
                  <a:gd name="T81" fmla="*/ 149 h 604"/>
                  <a:gd name="T82" fmla="*/ 126 w 1029"/>
                  <a:gd name="T83" fmla="*/ 142 h 604"/>
                  <a:gd name="T84" fmla="*/ 148 w 1029"/>
                  <a:gd name="T85" fmla="*/ 131 h 604"/>
                  <a:gd name="T86" fmla="*/ 161 w 1029"/>
                  <a:gd name="T87" fmla="*/ 124 h 604"/>
                  <a:gd name="T88" fmla="*/ 186 w 1029"/>
                  <a:gd name="T89" fmla="*/ 125 h 604"/>
                  <a:gd name="T90" fmla="*/ 198 w 1029"/>
                  <a:gd name="T91" fmla="*/ 129 h 604"/>
                  <a:gd name="T92" fmla="*/ 221 w 1029"/>
                  <a:gd name="T93" fmla="*/ 127 h 604"/>
                  <a:gd name="T94" fmla="*/ 187 w 1029"/>
                  <a:gd name="T95" fmla="*/ 116 h 604"/>
                  <a:gd name="T96" fmla="*/ 174 w 1029"/>
                  <a:gd name="T97" fmla="*/ 118 h 604"/>
                  <a:gd name="T98" fmla="*/ 173 w 1029"/>
                  <a:gd name="T99" fmla="*/ 115 h 604"/>
                  <a:gd name="T100" fmla="*/ 185 w 1029"/>
                  <a:gd name="T101" fmla="*/ 100 h 604"/>
                  <a:gd name="T102" fmla="*/ 185 w 1029"/>
                  <a:gd name="T103" fmla="*/ 90 h 604"/>
                  <a:gd name="T104" fmla="*/ 169 w 1029"/>
                  <a:gd name="T105" fmla="*/ 83 h 604"/>
                  <a:gd name="T106" fmla="*/ 152 w 1029"/>
                  <a:gd name="T107" fmla="*/ 65 h 604"/>
                  <a:gd name="T108" fmla="*/ 140 w 1029"/>
                  <a:gd name="T109" fmla="*/ 55 h 604"/>
                  <a:gd name="T110" fmla="*/ 131 w 1029"/>
                  <a:gd name="T111" fmla="*/ 53 h 604"/>
                  <a:gd name="T112" fmla="*/ 122 w 1029"/>
                  <a:gd name="T113" fmla="*/ 67 h 604"/>
                  <a:gd name="T114" fmla="*/ 67 w 1029"/>
                  <a:gd name="T115" fmla="*/ 57 h 604"/>
                  <a:gd name="T116" fmla="*/ 37 w 1029"/>
                  <a:gd name="T117" fmla="*/ 62 h 604"/>
                  <a:gd name="T118" fmla="*/ 25 w 1029"/>
                  <a:gd name="T119" fmla="*/ 61 h 604"/>
                  <a:gd name="T120" fmla="*/ 5 w 1029"/>
                  <a:gd name="T121" fmla="*/ 59 h 604"/>
                  <a:gd name="T122" fmla="*/ 3 w 1029"/>
                  <a:gd name="T123" fmla="*/ 52 h 604"/>
                  <a:gd name="T124" fmla="*/ 24 w 1029"/>
                  <a:gd name="T125" fmla="*/ 49 h 60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70" name="Freeform 417">
                <a:extLst>
                  <a:ext uri="{FF2B5EF4-FFF2-40B4-BE49-F238E27FC236}">
                    <a16:creationId xmlns:a16="http://schemas.microsoft.com/office/drawing/2014/main" id="{2279B18A-B8D1-4D9C-9020-62ED1F1B1C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257 w 1268"/>
                  <a:gd name="T1" fmla="*/ 12 h 321"/>
                  <a:gd name="T2" fmla="*/ 262 w 1268"/>
                  <a:gd name="T3" fmla="*/ 5 h 321"/>
                  <a:gd name="T4" fmla="*/ 273 w 1268"/>
                  <a:gd name="T5" fmla="*/ 3 h 321"/>
                  <a:gd name="T6" fmla="*/ 279 w 1268"/>
                  <a:gd name="T7" fmla="*/ 8 h 321"/>
                  <a:gd name="T8" fmla="*/ 303 w 1268"/>
                  <a:gd name="T9" fmla="*/ 5 h 321"/>
                  <a:gd name="T10" fmla="*/ 329 w 1268"/>
                  <a:gd name="T11" fmla="*/ 0 h 321"/>
                  <a:gd name="T12" fmla="*/ 350 w 1268"/>
                  <a:gd name="T13" fmla="*/ 6 h 321"/>
                  <a:gd name="T14" fmla="*/ 365 w 1268"/>
                  <a:gd name="T15" fmla="*/ 7 h 321"/>
                  <a:gd name="T16" fmla="*/ 409 w 1268"/>
                  <a:gd name="T17" fmla="*/ 10 h 321"/>
                  <a:gd name="T18" fmla="*/ 401 w 1268"/>
                  <a:gd name="T19" fmla="*/ 16 h 321"/>
                  <a:gd name="T20" fmla="*/ 375 w 1268"/>
                  <a:gd name="T21" fmla="*/ 21 h 321"/>
                  <a:gd name="T22" fmla="*/ 340 w 1268"/>
                  <a:gd name="T23" fmla="*/ 25 h 321"/>
                  <a:gd name="T24" fmla="*/ 332 w 1268"/>
                  <a:gd name="T25" fmla="*/ 31 h 321"/>
                  <a:gd name="T26" fmla="*/ 322 w 1268"/>
                  <a:gd name="T27" fmla="*/ 34 h 321"/>
                  <a:gd name="T28" fmla="*/ 304 w 1268"/>
                  <a:gd name="T29" fmla="*/ 33 h 321"/>
                  <a:gd name="T30" fmla="*/ 300 w 1268"/>
                  <a:gd name="T31" fmla="*/ 39 h 321"/>
                  <a:gd name="T32" fmla="*/ 241 w 1268"/>
                  <a:gd name="T33" fmla="*/ 44 h 321"/>
                  <a:gd name="T34" fmla="*/ 215 w 1268"/>
                  <a:gd name="T35" fmla="*/ 51 h 321"/>
                  <a:gd name="T36" fmla="*/ 205 w 1268"/>
                  <a:gd name="T37" fmla="*/ 59 h 321"/>
                  <a:gd name="T38" fmla="*/ 191 w 1268"/>
                  <a:gd name="T39" fmla="*/ 55 h 321"/>
                  <a:gd name="T40" fmla="*/ 184 w 1268"/>
                  <a:gd name="T41" fmla="*/ 59 h 321"/>
                  <a:gd name="T42" fmla="*/ 190 w 1268"/>
                  <a:gd name="T43" fmla="*/ 68 h 321"/>
                  <a:gd name="T44" fmla="*/ 176 w 1268"/>
                  <a:gd name="T45" fmla="*/ 78 h 321"/>
                  <a:gd name="T46" fmla="*/ 156 w 1268"/>
                  <a:gd name="T47" fmla="*/ 77 h 321"/>
                  <a:gd name="T48" fmla="*/ 130 w 1268"/>
                  <a:gd name="T49" fmla="*/ 79 h 321"/>
                  <a:gd name="T50" fmla="*/ 131 w 1268"/>
                  <a:gd name="T51" fmla="*/ 84 h 321"/>
                  <a:gd name="T52" fmla="*/ 126 w 1268"/>
                  <a:gd name="T53" fmla="*/ 96 h 321"/>
                  <a:gd name="T54" fmla="*/ 107 w 1268"/>
                  <a:gd name="T55" fmla="*/ 105 h 321"/>
                  <a:gd name="T56" fmla="*/ 94 w 1268"/>
                  <a:gd name="T57" fmla="*/ 97 h 321"/>
                  <a:gd name="T58" fmla="*/ 82 w 1268"/>
                  <a:gd name="T59" fmla="*/ 93 h 321"/>
                  <a:gd name="T60" fmla="*/ 31 w 1268"/>
                  <a:gd name="T61" fmla="*/ 90 h 321"/>
                  <a:gd name="T62" fmla="*/ 0 w 1268"/>
                  <a:gd name="T63" fmla="*/ 93 h 321"/>
                  <a:gd name="T64" fmla="*/ 3 w 1268"/>
                  <a:gd name="T65" fmla="*/ 87 h 321"/>
                  <a:gd name="T66" fmla="*/ 18 w 1268"/>
                  <a:gd name="T67" fmla="*/ 80 h 321"/>
                  <a:gd name="T68" fmla="*/ 46 w 1268"/>
                  <a:gd name="T69" fmla="*/ 77 h 321"/>
                  <a:gd name="T70" fmla="*/ 55 w 1268"/>
                  <a:gd name="T71" fmla="*/ 74 h 321"/>
                  <a:gd name="T72" fmla="*/ 61 w 1268"/>
                  <a:gd name="T73" fmla="*/ 71 h 321"/>
                  <a:gd name="T74" fmla="*/ 71 w 1268"/>
                  <a:gd name="T75" fmla="*/ 76 h 321"/>
                  <a:gd name="T76" fmla="*/ 80 w 1268"/>
                  <a:gd name="T77" fmla="*/ 81 h 321"/>
                  <a:gd name="T78" fmla="*/ 67 w 1268"/>
                  <a:gd name="T79" fmla="*/ 68 h 321"/>
                  <a:gd name="T80" fmla="*/ 62 w 1268"/>
                  <a:gd name="T81" fmla="*/ 65 h 321"/>
                  <a:gd name="T82" fmla="*/ 64 w 1268"/>
                  <a:gd name="T83" fmla="*/ 59 h 321"/>
                  <a:gd name="T84" fmla="*/ 79 w 1268"/>
                  <a:gd name="T85" fmla="*/ 57 h 321"/>
                  <a:gd name="T86" fmla="*/ 118 w 1268"/>
                  <a:gd name="T87" fmla="*/ 61 h 321"/>
                  <a:gd name="T88" fmla="*/ 135 w 1268"/>
                  <a:gd name="T89" fmla="*/ 57 h 321"/>
                  <a:gd name="T90" fmla="*/ 104 w 1268"/>
                  <a:gd name="T91" fmla="*/ 55 h 321"/>
                  <a:gd name="T92" fmla="*/ 96 w 1268"/>
                  <a:gd name="T93" fmla="*/ 49 h 321"/>
                  <a:gd name="T94" fmla="*/ 122 w 1268"/>
                  <a:gd name="T95" fmla="*/ 45 h 321"/>
                  <a:gd name="T96" fmla="*/ 141 w 1268"/>
                  <a:gd name="T97" fmla="*/ 51 h 321"/>
                  <a:gd name="T98" fmla="*/ 154 w 1268"/>
                  <a:gd name="T99" fmla="*/ 41 h 321"/>
                  <a:gd name="T100" fmla="*/ 214 w 1268"/>
                  <a:gd name="T101" fmla="*/ 28 h 321"/>
                  <a:gd name="T102" fmla="*/ 190 w 1268"/>
                  <a:gd name="T103" fmla="*/ 36 h 321"/>
                  <a:gd name="T104" fmla="*/ 145 w 1268"/>
                  <a:gd name="T105" fmla="*/ 36 h 321"/>
                  <a:gd name="T106" fmla="*/ 101 w 1268"/>
                  <a:gd name="T107" fmla="*/ 38 h 321"/>
                  <a:gd name="T108" fmla="*/ 82 w 1268"/>
                  <a:gd name="T109" fmla="*/ 33 h 321"/>
                  <a:gd name="T110" fmla="*/ 71 w 1268"/>
                  <a:gd name="T111" fmla="*/ 26 h 321"/>
                  <a:gd name="T112" fmla="*/ 82 w 1268"/>
                  <a:gd name="T113" fmla="*/ 23 h 321"/>
                  <a:gd name="T114" fmla="*/ 144 w 1268"/>
                  <a:gd name="T115" fmla="*/ 15 h 321"/>
                  <a:gd name="T116" fmla="*/ 199 w 1268"/>
                  <a:gd name="T117" fmla="*/ 10 h 321"/>
                  <a:gd name="T118" fmla="*/ 217 w 1268"/>
                  <a:gd name="T119" fmla="*/ 7 h 321"/>
                  <a:gd name="T120" fmla="*/ 244 w 1268"/>
                  <a:gd name="T121" fmla="*/ 9 h 32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71" name="Freeform 418">
                <a:extLst>
                  <a:ext uri="{FF2B5EF4-FFF2-40B4-BE49-F238E27FC236}">
                    <a16:creationId xmlns:a16="http://schemas.microsoft.com/office/drawing/2014/main" id="{82DB6616-43CE-403A-8AE7-2B5016AB0E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0 w 160"/>
                  <a:gd name="T3" fmla="*/ 3 h 117"/>
                  <a:gd name="T4" fmla="*/ 1 w 160"/>
                  <a:gd name="T5" fmla="*/ 6 h 117"/>
                  <a:gd name="T6" fmla="*/ 3 w 160"/>
                  <a:gd name="T7" fmla="*/ 9 h 117"/>
                  <a:gd name="T8" fmla="*/ 5 w 160"/>
                  <a:gd name="T9" fmla="*/ 13 h 117"/>
                  <a:gd name="T10" fmla="*/ 7 w 160"/>
                  <a:gd name="T11" fmla="*/ 16 h 117"/>
                  <a:gd name="T12" fmla="*/ 10 w 160"/>
                  <a:gd name="T13" fmla="*/ 19 h 117"/>
                  <a:gd name="T14" fmla="*/ 13 w 160"/>
                  <a:gd name="T15" fmla="*/ 22 h 117"/>
                  <a:gd name="T16" fmla="*/ 16 w 160"/>
                  <a:gd name="T17" fmla="*/ 25 h 117"/>
                  <a:gd name="T18" fmla="*/ 20 w 160"/>
                  <a:gd name="T19" fmla="*/ 28 h 117"/>
                  <a:gd name="T20" fmla="*/ 23 w 160"/>
                  <a:gd name="T21" fmla="*/ 30 h 117"/>
                  <a:gd name="T22" fmla="*/ 27 w 160"/>
                  <a:gd name="T23" fmla="*/ 32 h 117"/>
                  <a:gd name="T24" fmla="*/ 30 w 160"/>
                  <a:gd name="T25" fmla="*/ 34 h 117"/>
                  <a:gd name="T26" fmla="*/ 34 w 160"/>
                  <a:gd name="T27" fmla="*/ 36 h 117"/>
                  <a:gd name="T28" fmla="*/ 37 w 160"/>
                  <a:gd name="T29" fmla="*/ 37 h 117"/>
                  <a:gd name="T30" fmla="*/ 40 w 160"/>
                  <a:gd name="T31" fmla="*/ 38 h 117"/>
                  <a:gd name="T32" fmla="*/ 42 w 160"/>
                  <a:gd name="T33" fmla="*/ 38 h 117"/>
                  <a:gd name="T34" fmla="*/ 44 w 160"/>
                  <a:gd name="T35" fmla="*/ 38 h 117"/>
                  <a:gd name="T36" fmla="*/ 47 w 160"/>
                  <a:gd name="T37" fmla="*/ 37 h 117"/>
                  <a:gd name="T38" fmla="*/ 49 w 160"/>
                  <a:gd name="T39" fmla="*/ 36 h 117"/>
                  <a:gd name="T40" fmla="*/ 51 w 160"/>
                  <a:gd name="T41" fmla="*/ 34 h 117"/>
                  <a:gd name="T42" fmla="*/ 48 w 160"/>
                  <a:gd name="T43" fmla="*/ 30 h 117"/>
                  <a:gd name="T44" fmla="*/ 45 w 160"/>
                  <a:gd name="T45" fmla="*/ 26 h 117"/>
                  <a:gd name="T46" fmla="*/ 44 w 160"/>
                  <a:gd name="T47" fmla="*/ 24 h 117"/>
                  <a:gd name="T48" fmla="*/ 43 w 160"/>
                  <a:gd name="T49" fmla="*/ 21 h 117"/>
                  <a:gd name="T50" fmla="*/ 42 w 160"/>
                  <a:gd name="T51" fmla="*/ 19 h 117"/>
                  <a:gd name="T52" fmla="*/ 42 w 160"/>
                  <a:gd name="T53" fmla="*/ 16 h 117"/>
                  <a:gd name="T54" fmla="*/ 40 w 160"/>
                  <a:gd name="T55" fmla="*/ 16 h 117"/>
                  <a:gd name="T56" fmla="*/ 38 w 160"/>
                  <a:gd name="T57" fmla="*/ 15 h 117"/>
                  <a:gd name="T58" fmla="*/ 34 w 160"/>
                  <a:gd name="T59" fmla="*/ 13 h 117"/>
                  <a:gd name="T60" fmla="*/ 31 w 160"/>
                  <a:gd name="T61" fmla="*/ 11 h 117"/>
                  <a:gd name="T62" fmla="*/ 28 w 160"/>
                  <a:gd name="T63" fmla="*/ 9 h 117"/>
                  <a:gd name="T64" fmla="*/ 25 w 160"/>
                  <a:gd name="T65" fmla="*/ 7 h 117"/>
                  <a:gd name="T66" fmla="*/ 24 w 160"/>
                  <a:gd name="T67" fmla="*/ 6 h 117"/>
                  <a:gd name="T68" fmla="*/ 23 w 160"/>
                  <a:gd name="T69" fmla="*/ 4 h 117"/>
                  <a:gd name="T70" fmla="*/ 22 w 160"/>
                  <a:gd name="T71" fmla="*/ 3 h 117"/>
                  <a:gd name="T72" fmla="*/ 21 w 160"/>
                  <a:gd name="T73" fmla="*/ 2 h 117"/>
                  <a:gd name="T74" fmla="*/ 19 w 160"/>
                  <a:gd name="T75" fmla="*/ 2 h 117"/>
                  <a:gd name="T76" fmla="*/ 17 w 160"/>
                  <a:gd name="T77" fmla="*/ 2 h 117"/>
                  <a:gd name="T78" fmla="*/ 14 w 160"/>
                  <a:gd name="T79" fmla="*/ 1 h 117"/>
                  <a:gd name="T80" fmla="*/ 11 w 160"/>
                  <a:gd name="T81" fmla="*/ 0 h 117"/>
                  <a:gd name="T82" fmla="*/ 0 w 160"/>
                  <a:gd name="T83" fmla="*/ 0 h 117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72" name="Freeform 419">
                <a:extLst>
                  <a:ext uri="{FF2B5EF4-FFF2-40B4-BE49-F238E27FC236}">
                    <a16:creationId xmlns:a16="http://schemas.microsoft.com/office/drawing/2014/main" id="{D7426B6D-5A8D-4FF3-8B05-04361A8E47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13 w 80"/>
                  <a:gd name="T1" fmla="*/ 40 h 141"/>
                  <a:gd name="T2" fmla="*/ 26 w 80"/>
                  <a:gd name="T3" fmla="*/ 12 h 141"/>
                  <a:gd name="T4" fmla="*/ 26 w 80"/>
                  <a:gd name="T5" fmla="*/ 6 h 141"/>
                  <a:gd name="T6" fmla="*/ 22 w 80"/>
                  <a:gd name="T7" fmla="*/ 6 h 141"/>
                  <a:gd name="T8" fmla="*/ 19 w 80"/>
                  <a:gd name="T9" fmla="*/ 5 h 141"/>
                  <a:gd name="T10" fmla="*/ 17 w 80"/>
                  <a:gd name="T11" fmla="*/ 5 h 141"/>
                  <a:gd name="T12" fmla="*/ 15 w 80"/>
                  <a:gd name="T13" fmla="*/ 4 h 141"/>
                  <a:gd name="T14" fmla="*/ 14 w 80"/>
                  <a:gd name="T15" fmla="*/ 3 h 141"/>
                  <a:gd name="T16" fmla="*/ 14 w 80"/>
                  <a:gd name="T17" fmla="*/ 2 h 141"/>
                  <a:gd name="T18" fmla="*/ 13 w 80"/>
                  <a:gd name="T19" fmla="*/ 1 h 141"/>
                  <a:gd name="T20" fmla="*/ 13 w 80"/>
                  <a:gd name="T21" fmla="*/ 0 h 141"/>
                  <a:gd name="T22" fmla="*/ 0 w 80"/>
                  <a:gd name="T23" fmla="*/ 0 h 141"/>
                  <a:gd name="T24" fmla="*/ 0 w 80"/>
                  <a:gd name="T25" fmla="*/ 8 h 141"/>
                  <a:gd name="T26" fmla="*/ 0 w 80"/>
                  <a:gd name="T27" fmla="*/ 13 h 141"/>
                  <a:gd name="T28" fmla="*/ 0 w 80"/>
                  <a:gd name="T29" fmla="*/ 17 h 141"/>
                  <a:gd name="T30" fmla="*/ 0 w 80"/>
                  <a:gd name="T31" fmla="*/ 20 h 141"/>
                  <a:gd name="T32" fmla="*/ 0 w 80"/>
                  <a:gd name="T33" fmla="*/ 23 h 141"/>
                  <a:gd name="T34" fmla="*/ 1 w 80"/>
                  <a:gd name="T35" fmla="*/ 25 h 141"/>
                  <a:gd name="T36" fmla="*/ 2 w 80"/>
                  <a:gd name="T37" fmla="*/ 29 h 141"/>
                  <a:gd name="T38" fmla="*/ 4 w 80"/>
                  <a:gd name="T39" fmla="*/ 32 h 141"/>
                  <a:gd name="T40" fmla="*/ 7 w 80"/>
                  <a:gd name="T41" fmla="*/ 39 h 141"/>
                  <a:gd name="T42" fmla="*/ 9 w 80"/>
                  <a:gd name="T43" fmla="*/ 46 h 141"/>
                  <a:gd name="T44" fmla="*/ 10 w 80"/>
                  <a:gd name="T45" fmla="*/ 44 h 141"/>
                  <a:gd name="T46" fmla="*/ 11 w 80"/>
                  <a:gd name="T47" fmla="*/ 42 h 141"/>
                  <a:gd name="T48" fmla="*/ 11 w 80"/>
                  <a:gd name="T49" fmla="*/ 41 h 141"/>
                  <a:gd name="T50" fmla="*/ 12 w 80"/>
                  <a:gd name="T51" fmla="*/ 41 h 141"/>
                  <a:gd name="T52" fmla="*/ 12 w 80"/>
                  <a:gd name="T53" fmla="*/ 40 h 141"/>
                  <a:gd name="T54" fmla="*/ 13 w 80"/>
                  <a:gd name="T55" fmla="*/ 40 h 14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73" name="Freeform 420">
                <a:extLst>
                  <a:ext uri="{FF2B5EF4-FFF2-40B4-BE49-F238E27FC236}">
                    <a16:creationId xmlns:a16="http://schemas.microsoft.com/office/drawing/2014/main" id="{E512B681-3312-4365-8F5C-1D8E159AB5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31 h 124"/>
                  <a:gd name="T2" fmla="*/ 0 w 259"/>
                  <a:gd name="T3" fmla="*/ 32 h 124"/>
                  <a:gd name="T4" fmla="*/ 1 w 259"/>
                  <a:gd name="T5" fmla="*/ 33 h 124"/>
                  <a:gd name="T6" fmla="*/ 1 w 259"/>
                  <a:gd name="T7" fmla="*/ 34 h 124"/>
                  <a:gd name="T8" fmla="*/ 2 w 259"/>
                  <a:gd name="T9" fmla="*/ 35 h 124"/>
                  <a:gd name="T10" fmla="*/ 4 w 259"/>
                  <a:gd name="T11" fmla="*/ 37 h 124"/>
                  <a:gd name="T12" fmla="*/ 7 w 259"/>
                  <a:gd name="T13" fmla="*/ 38 h 124"/>
                  <a:gd name="T14" fmla="*/ 10 w 259"/>
                  <a:gd name="T15" fmla="*/ 40 h 124"/>
                  <a:gd name="T16" fmla="*/ 13 w 259"/>
                  <a:gd name="T17" fmla="*/ 40 h 124"/>
                  <a:gd name="T18" fmla="*/ 16 w 259"/>
                  <a:gd name="T19" fmla="*/ 41 h 124"/>
                  <a:gd name="T20" fmla="*/ 19 w 259"/>
                  <a:gd name="T21" fmla="*/ 41 h 124"/>
                  <a:gd name="T22" fmla="*/ 22 w 259"/>
                  <a:gd name="T23" fmla="*/ 41 h 124"/>
                  <a:gd name="T24" fmla="*/ 24 w 259"/>
                  <a:gd name="T25" fmla="*/ 41 h 124"/>
                  <a:gd name="T26" fmla="*/ 26 w 259"/>
                  <a:gd name="T27" fmla="*/ 40 h 124"/>
                  <a:gd name="T28" fmla="*/ 28 w 259"/>
                  <a:gd name="T29" fmla="*/ 40 h 124"/>
                  <a:gd name="T30" fmla="*/ 31 w 259"/>
                  <a:gd name="T31" fmla="*/ 38 h 124"/>
                  <a:gd name="T32" fmla="*/ 34 w 259"/>
                  <a:gd name="T33" fmla="*/ 36 h 124"/>
                  <a:gd name="T34" fmla="*/ 37 w 259"/>
                  <a:gd name="T35" fmla="*/ 34 h 124"/>
                  <a:gd name="T36" fmla="*/ 40 w 259"/>
                  <a:gd name="T37" fmla="*/ 32 h 124"/>
                  <a:gd name="T38" fmla="*/ 42 w 259"/>
                  <a:gd name="T39" fmla="*/ 32 h 124"/>
                  <a:gd name="T40" fmla="*/ 44 w 259"/>
                  <a:gd name="T41" fmla="*/ 31 h 124"/>
                  <a:gd name="T42" fmla="*/ 46 w 259"/>
                  <a:gd name="T43" fmla="*/ 31 h 124"/>
                  <a:gd name="T44" fmla="*/ 49 w 259"/>
                  <a:gd name="T45" fmla="*/ 31 h 124"/>
                  <a:gd name="T46" fmla="*/ 52 w 259"/>
                  <a:gd name="T47" fmla="*/ 31 h 124"/>
                  <a:gd name="T48" fmla="*/ 55 w 259"/>
                  <a:gd name="T49" fmla="*/ 32 h 124"/>
                  <a:gd name="T50" fmla="*/ 58 w 259"/>
                  <a:gd name="T51" fmla="*/ 33 h 124"/>
                  <a:gd name="T52" fmla="*/ 60 w 259"/>
                  <a:gd name="T53" fmla="*/ 34 h 124"/>
                  <a:gd name="T54" fmla="*/ 65 w 259"/>
                  <a:gd name="T55" fmla="*/ 37 h 124"/>
                  <a:gd name="T56" fmla="*/ 70 w 259"/>
                  <a:gd name="T57" fmla="*/ 39 h 124"/>
                  <a:gd name="T58" fmla="*/ 83 w 259"/>
                  <a:gd name="T59" fmla="*/ 39 h 124"/>
                  <a:gd name="T60" fmla="*/ 83 w 259"/>
                  <a:gd name="T61" fmla="*/ 33 h 124"/>
                  <a:gd name="T62" fmla="*/ 81 w 259"/>
                  <a:gd name="T63" fmla="*/ 32 h 124"/>
                  <a:gd name="T64" fmla="*/ 78 w 259"/>
                  <a:gd name="T65" fmla="*/ 32 h 124"/>
                  <a:gd name="T66" fmla="*/ 76 w 259"/>
                  <a:gd name="T67" fmla="*/ 31 h 124"/>
                  <a:gd name="T68" fmla="*/ 72 w 259"/>
                  <a:gd name="T69" fmla="*/ 31 h 124"/>
                  <a:gd name="T70" fmla="*/ 74 w 259"/>
                  <a:gd name="T71" fmla="*/ 28 h 124"/>
                  <a:gd name="T72" fmla="*/ 76 w 259"/>
                  <a:gd name="T73" fmla="*/ 26 h 124"/>
                  <a:gd name="T74" fmla="*/ 77 w 259"/>
                  <a:gd name="T75" fmla="*/ 24 h 124"/>
                  <a:gd name="T76" fmla="*/ 79 w 259"/>
                  <a:gd name="T77" fmla="*/ 23 h 124"/>
                  <a:gd name="T78" fmla="*/ 76 w 259"/>
                  <a:gd name="T79" fmla="*/ 20 h 124"/>
                  <a:gd name="T80" fmla="*/ 74 w 259"/>
                  <a:gd name="T81" fmla="*/ 19 h 124"/>
                  <a:gd name="T82" fmla="*/ 71 w 259"/>
                  <a:gd name="T83" fmla="*/ 17 h 124"/>
                  <a:gd name="T84" fmla="*/ 69 w 259"/>
                  <a:gd name="T85" fmla="*/ 15 h 124"/>
                  <a:gd name="T86" fmla="*/ 63 w 259"/>
                  <a:gd name="T87" fmla="*/ 12 h 124"/>
                  <a:gd name="T88" fmla="*/ 58 w 259"/>
                  <a:gd name="T89" fmla="*/ 10 h 124"/>
                  <a:gd name="T90" fmla="*/ 53 w 259"/>
                  <a:gd name="T91" fmla="*/ 8 h 124"/>
                  <a:gd name="T92" fmla="*/ 49 w 259"/>
                  <a:gd name="T93" fmla="*/ 6 h 124"/>
                  <a:gd name="T94" fmla="*/ 47 w 259"/>
                  <a:gd name="T95" fmla="*/ 4 h 124"/>
                  <a:gd name="T96" fmla="*/ 45 w 259"/>
                  <a:gd name="T97" fmla="*/ 3 h 124"/>
                  <a:gd name="T98" fmla="*/ 44 w 259"/>
                  <a:gd name="T99" fmla="*/ 2 h 124"/>
                  <a:gd name="T100" fmla="*/ 42 w 259"/>
                  <a:gd name="T101" fmla="*/ 0 h 124"/>
                  <a:gd name="T102" fmla="*/ 40 w 259"/>
                  <a:gd name="T103" fmla="*/ 1 h 124"/>
                  <a:gd name="T104" fmla="*/ 37 w 259"/>
                  <a:gd name="T105" fmla="*/ 2 h 124"/>
                  <a:gd name="T106" fmla="*/ 34 w 259"/>
                  <a:gd name="T107" fmla="*/ 4 h 124"/>
                  <a:gd name="T108" fmla="*/ 30 w 259"/>
                  <a:gd name="T109" fmla="*/ 6 h 124"/>
                  <a:gd name="T110" fmla="*/ 24 w 259"/>
                  <a:gd name="T111" fmla="*/ 10 h 124"/>
                  <a:gd name="T112" fmla="*/ 18 w 259"/>
                  <a:gd name="T113" fmla="*/ 14 h 124"/>
                  <a:gd name="T114" fmla="*/ 12 w 259"/>
                  <a:gd name="T115" fmla="*/ 19 h 124"/>
                  <a:gd name="T116" fmla="*/ 7 w 259"/>
                  <a:gd name="T117" fmla="*/ 23 h 124"/>
                  <a:gd name="T118" fmla="*/ 3 w 259"/>
                  <a:gd name="T119" fmla="*/ 27 h 124"/>
                  <a:gd name="T120" fmla="*/ 0 w 259"/>
                  <a:gd name="T121" fmla="*/ 31 h 12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74" name="Freeform 421">
                <a:extLst>
                  <a:ext uri="{FF2B5EF4-FFF2-40B4-BE49-F238E27FC236}">
                    <a16:creationId xmlns:a16="http://schemas.microsoft.com/office/drawing/2014/main" id="{2DE62C02-AEB8-42C3-AF4A-AAD6354D1A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11 h 57"/>
                  <a:gd name="T2" fmla="*/ 2 w 119"/>
                  <a:gd name="T3" fmla="*/ 12 h 57"/>
                  <a:gd name="T4" fmla="*/ 4 w 119"/>
                  <a:gd name="T5" fmla="*/ 13 h 57"/>
                  <a:gd name="T6" fmla="*/ 6 w 119"/>
                  <a:gd name="T7" fmla="*/ 14 h 57"/>
                  <a:gd name="T8" fmla="*/ 8 w 119"/>
                  <a:gd name="T9" fmla="*/ 16 h 57"/>
                  <a:gd name="T10" fmla="*/ 10 w 119"/>
                  <a:gd name="T11" fmla="*/ 17 h 57"/>
                  <a:gd name="T12" fmla="*/ 11 w 119"/>
                  <a:gd name="T13" fmla="*/ 18 h 57"/>
                  <a:gd name="T14" fmla="*/ 13 w 119"/>
                  <a:gd name="T15" fmla="*/ 19 h 57"/>
                  <a:gd name="T16" fmla="*/ 15 w 119"/>
                  <a:gd name="T17" fmla="*/ 19 h 57"/>
                  <a:gd name="T18" fmla="*/ 18 w 119"/>
                  <a:gd name="T19" fmla="*/ 19 h 57"/>
                  <a:gd name="T20" fmla="*/ 20 w 119"/>
                  <a:gd name="T21" fmla="*/ 19 h 57"/>
                  <a:gd name="T22" fmla="*/ 22 w 119"/>
                  <a:gd name="T23" fmla="*/ 18 h 57"/>
                  <a:gd name="T24" fmla="*/ 25 w 119"/>
                  <a:gd name="T25" fmla="*/ 18 h 57"/>
                  <a:gd name="T26" fmla="*/ 27 w 119"/>
                  <a:gd name="T27" fmla="*/ 17 h 57"/>
                  <a:gd name="T28" fmla="*/ 28 w 119"/>
                  <a:gd name="T29" fmla="*/ 16 h 57"/>
                  <a:gd name="T30" fmla="*/ 30 w 119"/>
                  <a:gd name="T31" fmla="*/ 15 h 57"/>
                  <a:gd name="T32" fmla="*/ 31 w 119"/>
                  <a:gd name="T33" fmla="*/ 13 h 57"/>
                  <a:gd name="T34" fmla="*/ 34 w 119"/>
                  <a:gd name="T35" fmla="*/ 11 h 57"/>
                  <a:gd name="T36" fmla="*/ 36 w 119"/>
                  <a:gd name="T37" fmla="*/ 8 h 57"/>
                  <a:gd name="T38" fmla="*/ 37 w 119"/>
                  <a:gd name="T39" fmla="*/ 4 h 57"/>
                  <a:gd name="T40" fmla="*/ 38 w 119"/>
                  <a:gd name="T41" fmla="*/ 0 h 57"/>
                  <a:gd name="T42" fmla="*/ 32 w 119"/>
                  <a:gd name="T43" fmla="*/ 0 h 57"/>
                  <a:gd name="T44" fmla="*/ 26 w 119"/>
                  <a:gd name="T45" fmla="*/ 0 h 57"/>
                  <a:gd name="T46" fmla="*/ 20 w 119"/>
                  <a:gd name="T47" fmla="*/ 1 h 57"/>
                  <a:gd name="T48" fmla="*/ 14 w 119"/>
                  <a:gd name="T49" fmla="*/ 2 h 57"/>
                  <a:gd name="T50" fmla="*/ 11 w 119"/>
                  <a:gd name="T51" fmla="*/ 2 h 57"/>
                  <a:gd name="T52" fmla="*/ 9 w 119"/>
                  <a:gd name="T53" fmla="*/ 3 h 57"/>
                  <a:gd name="T54" fmla="*/ 7 w 119"/>
                  <a:gd name="T55" fmla="*/ 4 h 57"/>
                  <a:gd name="T56" fmla="*/ 5 w 119"/>
                  <a:gd name="T57" fmla="*/ 5 h 57"/>
                  <a:gd name="T58" fmla="*/ 3 w 119"/>
                  <a:gd name="T59" fmla="*/ 6 h 57"/>
                  <a:gd name="T60" fmla="*/ 2 w 119"/>
                  <a:gd name="T61" fmla="*/ 8 h 57"/>
                  <a:gd name="T62" fmla="*/ 1 w 119"/>
                  <a:gd name="T63" fmla="*/ 9 h 57"/>
                  <a:gd name="T64" fmla="*/ 0 w 119"/>
                  <a:gd name="T65" fmla="*/ 11 h 5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75" name="Freeform 422">
                <a:extLst>
                  <a:ext uri="{FF2B5EF4-FFF2-40B4-BE49-F238E27FC236}">
                    <a16:creationId xmlns:a16="http://schemas.microsoft.com/office/drawing/2014/main" id="{B784AA3B-1614-4067-8132-B0A88E62BF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16 h 52"/>
                  <a:gd name="T2" fmla="*/ 2 w 107"/>
                  <a:gd name="T3" fmla="*/ 17 h 52"/>
                  <a:gd name="T4" fmla="*/ 3 w 107"/>
                  <a:gd name="T5" fmla="*/ 17 h 52"/>
                  <a:gd name="T6" fmla="*/ 4 w 107"/>
                  <a:gd name="T7" fmla="*/ 17 h 52"/>
                  <a:gd name="T8" fmla="*/ 5 w 107"/>
                  <a:gd name="T9" fmla="*/ 17 h 52"/>
                  <a:gd name="T10" fmla="*/ 8 w 107"/>
                  <a:gd name="T11" fmla="*/ 16 h 52"/>
                  <a:gd name="T12" fmla="*/ 11 w 107"/>
                  <a:gd name="T13" fmla="*/ 16 h 52"/>
                  <a:gd name="T14" fmla="*/ 14 w 107"/>
                  <a:gd name="T15" fmla="*/ 16 h 52"/>
                  <a:gd name="T16" fmla="*/ 17 w 107"/>
                  <a:gd name="T17" fmla="*/ 16 h 52"/>
                  <a:gd name="T18" fmla="*/ 20 w 107"/>
                  <a:gd name="T19" fmla="*/ 15 h 52"/>
                  <a:gd name="T20" fmla="*/ 22 w 107"/>
                  <a:gd name="T21" fmla="*/ 14 h 52"/>
                  <a:gd name="T22" fmla="*/ 25 w 107"/>
                  <a:gd name="T23" fmla="*/ 13 h 52"/>
                  <a:gd name="T24" fmla="*/ 28 w 107"/>
                  <a:gd name="T25" fmla="*/ 12 h 52"/>
                  <a:gd name="T26" fmla="*/ 31 w 107"/>
                  <a:gd name="T27" fmla="*/ 10 h 52"/>
                  <a:gd name="T28" fmla="*/ 34 w 107"/>
                  <a:gd name="T29" fmla="*/ 8 h 52"/>
                  <a:gd name="T30" fmla="*/ 34 w 107"/>
                  <a:gd name="T31" fmla="*/ 0 h 52"/>
                  <a:gd name="T32" fmla="*/ 31 w 107"/>
                  <a:gd name="T33" fmla="*/ 0 h 52"/>
                  <a:gd name="T34" fmla="*/ 27 w 107"/>
                  <a:gd name="T35" fmla="*/ 1 h 52"/>
                  <a:gd name="T36" fmla="*/ 23 w 107"/>
                  <a:gd name="T37" fmla="*/ 2 h 52"/>
                  <a:gd name="T38" fmla="*/ 18 w 107"/>
                  <a:gd name="T39" fmla="*/ 4 h 52"/>
                  <a:gd name="T40" fmla="*/ 13 w 107"/>
                  <a:gd name="T41" fmla="*/ 7 h 52"/>
                  <a:gd name="T42" fmla="*/ 8 w 107"/>
                  <a:gd name="T43" fmla="*/ 9 h 52"/>
                  <a:gd name="T44" fmla="*/ 6 w 107"/>
                  <a:gd name="T45" fmla="*/ 11 h 52"/>
                  <a:gd name="T46" fmla="*/ 4 w 107"/>
                  <a:gd name="T47" fmla="*/ 12 h 52"/>
                  <a:gd name="T48" fmla="*/ 2 w 107"/>
                  <a:gd name="T49" fmla="*/ 14 h 52"/>
                  <a:gd name="T50" fmla="*/ 0 w 107"/>
                  <a:gd name="T51" fmla="*/ 16 h 5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76" name="Freeform 423">
                <a:extLst>
                  <a:ext uri="{FF2B5EF4-FFF2-40B4-BE49-F238E27FC236}">
                    <a16:creationId xmlns:a16="http://schemas.microsoft.com/office/drawing/2014/main" id="{F53CC9CE-D618-4D08-8FD8-0EAA22EE50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9 w 246"/>
                  <a:gd name="T1" fmla="*/ 32 h 99"/>
                  <a:gd name="T2" fmla="*/ 7 w 246"/>
                  <a:gd name="T3" fmla="*/ 31 h 99"/>
                  <a:gd name="T4" fmla="*/ 5 w 246"/>
                  <a:gd name="T5" fmla="*/ 31 h 99"/>
                  <a:gd name="T6" fmla="*/ 4 w 246"/>
                  <a:gd name="T7" fmla="*/ 30 h 99"/>
                  <a:gd name="T8" fmla="*/ 3 w 246"/>
                  <a:gd name="T9" fmla="*/ 29 h 99"/>
                  <a:gd name="T10" fmla="*/ 2 w 246"/>
                  <a:gd name="T11" fmla="*/ 28 h 99"/>
                  <a:gd name="T12" fmla="*/ 1 w 246"/>
                  <a:gd name="T13" fmla="*/ 27 h 99"/>
                  <a:gd name="T14" fmla="*/ 0 w 246"/>
                  <a:gd name="T15" fmla="*/ 25 h 99"/>
                  <a:gd name="T16" fmla="*/ 0 w 246"/>
                  <a:gd name="T17" fmla="*/ 24 h 99"/>
                  <a:gd name="T18" fmla="*/ 0 w 246"/>
                  <a:gd name="T19" fmla="*/ 22 h 99"/>
                  <a:gd name="T20" fmla="*/ 0 w 246"/>
                  <a:gd name="T21" fmla="*/ 21 h 99"/>
                  <a:gd name="T22" fmla="*/ 1 w 246"/>
                  <a:gd name="T23" fmla="*/ 19 h 99"/>
                  <a:gd name="T24" fmla="*/ 2 w 246"/>
                  <a:gd name="T25" fmla="*/ 18 h 99"/>
                  <a:gd name="T26" fmla="*/ 3 w 246"/>
                  <a:gd name="T27" fmla="*/ 16 h 99"/>
                  <a:gd name="T28" fmla="*/ 6 w 246"/>
                  <a:gd name="T29" fmla="*/ 13 h 99"/>
                  <a:gd name="T30" fmla="*/ 8 w 246"/>
                  <a:gd name="T31" fmla="*/ 11 h 99"/>
                  <a:gd name="T32" fmla="*/ 11 w 246"/>
                  <a:gd name="T33" fmla="*/ 9 h 99"/>
                  <a:gd name="T34" fmla="*/ 15 w 246"/>
                  <a:gd name="T35" fmla="*/ 7 h 99"/>
                  <a:gd name="T36" fmla="*/ 18 w 246"/>
                  <a:gd name="T37" fmla="*/ 6 h 99"/>
                  <a:gd name="T38" fmla="*/ 22 w 246"/>
                  <a:gd name="T39" fmla="*/ 5 h 99"/>
                  <a:gd name="T40" fmla="*/ 26 w 246"/>
                  <a:gd name="T41" fmla="*/ 3 h 99"/>
                  <a:gd name="T42" fmla="*/ 30 w 246"/>
                  <a:gd name="T43" fmla="*/ 2 h 99"/>
                  <a:gd name="T44" fmla="*/ 33 w 246"/>
                  <a:gd name="T45" fmla="*/ 1 h 99"/>
                  <a:gd name="T46" fmla="*/ 40 w 246"/>
                  <a:gd name="T47" fmla="*/ 0 h 99"/>
                  <a:gd name="T48" fmla="*/ 45 w 246"/>
                  <a:gd name="T49" fmla="*/ 0 h 99"/>
                  <a:gd name="T50" fmla="*/ 54 w 246"/>
                  <a:gd name="T51" fmla="*/ 0 h 99"/>
                  <a:gd name="T52" fmla="*/ 62 w 246"/>
                  <a:gd name="T53" fmla="*/ 0 h 99"/>
                  <a:gd name="T54" fmla="*/ 70 w 246"/>
                  <a:gd name="T55" fmla="*/ 1 h 99"/>
                  <a:gd name="T56" fmla="*/ 79 w 246"/>
                  <a:gd name="T57" fmla="*/ 2 h 99"/>
                  <a:gd name="T58" fmla="*/ 78 w 246"/>
                  <a:gd name="T59" fmla="*/ 4 h 99"/>
                  <a:gd name="T60" fmla="*/ 77 w 246"/>
                  <a:gd name="T61" fmla="*/ 5 h 99"/>
                  <a:gd name="T62" fmla="*/ 76 w 246"/>
                  <a:gd name="T63" fmla="*/ 6 h 99"/>
                  <a:gd name="T64" fmla="*/ 74 w 246"/>
                  <a:gd name="T65" fmla="*/ 8 h 99"/>
                  <a:gd name="T66" fmla="*/ 69 w 246"/>
                  <a:gd name="T67" fmla="*/ 12 h 99"/>
                  <a:gd name="T68" fmla="*/ 64 w 246"/>
                  <a:gd name="T69" fmla="*/ 15 h 99"/>
                  <a:gd name="T70" fmla="*/ 58 w 246"/>
                  <a:gd name="T71" fmla="*/ 18 h 99"/>
                  <a:gd name="T72" fmla="*/ 52 w 246"/>
                  <a:gd name="T73" fmla="*/ 20 h 99"/>
                  <a:gd name="T74" fmla="*/ 49 w 246"/>
                  <a:gd name="T75" fmla="*/ 21 h 99"/>
                  <a:gd name="T76" fmla="*/ 46 w 246"/>
                  <a:gd name="T77" fmla="*/ 21 h 99"/>
                  <a:gd name="T78" fmla="*/ 43 w 246"/>
                  <a:gd name="T79" fmla="*/ 22 h 99"/>
                  <a:gd name="T80" fmla="*/ 40 w 246"/>
                  <a:gd name="T81" fmla="*/ 22 h 99"/>
                  <a:gd name="T82" fmla="*/ 39 w 246"/>
                  <a:gd name="T83" fmla="*/ 22 h 99"/>
                  <a:gd name="T84" fmla="*/ 35 w 246"/>
                  <a:gd name="T85" fmla="*/ 22 h 99"/>
                  <a:gd name="T86" fmla="*/ 32 w 246"/>
                  <a:gd name="T87" fmla="*/ 22 h 99"/>
                  <a:gd name="T88" fmla="*/ 30 w 246"/>
                  <a:gd name="T89" fmla="*/ 22 h 99"/>
                  <a:gd name="T90" fmla="*/ 28 w 246"/>
                  <a:gd name="T91" fmla="*/ 22 h 99"/>
                  <a:gd name="T92" fmla="*/ 26 w 246"/>
                  <a:gd name="T93" fmla="*/ 23 h 99"/>
                  <a:gd name="T94" fmla="*/ 23 w 246"/>
                  <a:gd name="T95" fmla="*/ 25 h 99"/>
                  <a:gd name="T96" fmla="*/ 20 w 246"/>
                  <a:gd name="T97" fmla="*/ 27 h 99"/>
                  <a:gd name="T98" fmla="*/ 17 w 246"/>
                  <a:gd name="T99" fmla="*/ 28 h 99"/>
                  <a:gd name="T100" fmla="*/ 14 w 246"/>
                  <a:gd name="T101" fmla="*/ 30 h 99"/>
                  <a:gd name="T102" fmla="*/ 11 w 246"/>
                  <a:gd name="T103" fmla="*/ 31 h 99"/>
                  <a:gd name="T104" fmla="*/ 9 w 246"/>
                  <a:gd name="T105" fmla="*/ 32 h 9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77" name="Freeform 424">
                <a:extLst>
                  <a:ext uri="{FF2B5EF4-FFF2-40B4-BE49-F238E27FC236}">
                    <a16:creationId xmlns:a16="http://schemas.microsoft.com/office/drawing/2014/main" id="{4C717613-7D01-4088-AEE1-CBFA3A3A60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11 w 233"/>
                  <a:gd name="T1" fmla="*/ 29 h 123"/>
                  <a:gd name="T2" fmla="*/ 3 w 233"/>
                  <a:gd name="T3" fmla="*/ 25 h 123"/>
                  <a:gd name="T4" fmla="*/ 0 w 233"/>
                  <a:gd name="T5" fmla="*/ 18 h 123"/>
                  <a:gd name="T6" fmla="*/ 7 w 233"/>
                  <a:gd name="T7" fmla="*/ 12 h 123"/>
                  <a:gd name="T8" fmla="*/ 13 w 233"/>
                  <a:gd name="T9" fmla="*/ 12 h 123"/>
                  <a:gd name="T10" fmla="*/ 20 w 233"/>
                  <a:gd name="T11" fmla="*/ 12 h 123"/>
                  <a:gd name="T12" fmla="*/ 23 w 233"/>
                  <a:gd name="T13" fmla="*/ 12 h 123"/>
                  <a:gd name="T14" fmla="*/ 27 w 233"/>
                  <a:gd name="T15" fmla="*/ 11 h 123"/>
                  <a:gd name="T16" fmla="*/ 34 w 233"/>
                  <a:gd name="T17" fmla="*/ 7 h 123"/>
                  <a:gd name="T18" fmla="*/ 40 w 233"/>
                  <a:gd name="T19" fmla="*/ 4 h 123"/>
                  <a:gd name="T20" fmla="*/ 48 w 233"/>
                  <a:gd name="T21" fmla="*/ 0 h 123"/>
                  <a:gd name="T22" fmla="*/ 53 w 233"/>
                  <a:gd name="T23" fmla="*/ 3 h 123"/>
                  <a:gd name="T24" fmla="*/ 59 w 233"/>
                  <a:gd name="T25" fmla="*/ 4 h 123"/>
                  <a:gd name="T26" fmla="*/ 62 w 233"/>
                  <a:gd name="T27" fmla="*/ 3 h 123"/>
                  <a:gd name="T28" fmla="*/ 66 w 233"/>
                  <a:gd name="T29" fmla="*/ 2 h 123"/>
                  <a:gd name="T30" fmla="*/ 69 w 233"/>
                  <a:gd name="T31" fmla="*/ 0 h 123"/>
                  <a:gd name="T32" fmla="*/ 76 w 233"/>
                  <a:gd name="T33" fmla="*/ 2 h 123"/>
                  <a:gd name="T34" fmla="*/ 74 w 233"/>
                  <a:gd name="T35" fmla="*/ 6 h 123"/>
                  <a:gd name="T36" fmla="*/ 71 w 233"/>
                  <a:gd name="T37" fmla="*/ 8 h 123"/>
                  <a:gd name="T38" fmla="*/ 68 w 233"/>
                  <a:gd name="T39" fmla="*/ 10 h 123"/>
                  <a:gd name="T40" fmla="*/ 66 w 233"/>
                  <a:gd name="T41" fmla="*/ 14 h 123"/>
                  <a:gd name="T42" fmla="*/ 67 w 233"/>
                  <a:gd name="T43" fmla="*/ 20 h 123"/>
                  <a:gd name="T44" fmla="*/ 60 w 233"/>
                  <a:gd name="T45" fmla="*/ 28 h 123"/>
                  <a:gd name="T46" fmla="*/ 51 w 233"/>
                  <a:gd name="T47" fmla="*/ 31 h 123"/>
                  <a:gd name="T48" fmla="*/ 45 w 233"/>
                  <a:gd name="T49" fmla="*/ 32 h 123"/>
                  <a:gd name="T50" fmla="*/ 38 w 233"/>
                  <a:gd name="T51" fmla="*/ 33 h 123"/>
                  <a:gd name="T52" fmla="*/ 31 w 233"/>
                  <a:gd name="T53" fmla="*/ 34 h 123"/>
                  <a:gd name="T54" fmla="*/ 27 w 233"/>
                  <a:gd name="T55" fmla="*/ 37 h 123"/>
                  <a:gd name="T56" fmla="*/ 22 w 233"/>
                  <a:gd name="T57" fmla="*/ 40 h 123"/>
                  <a:gd name="T58" fmla="*/ 19 w 233"/>
                  <a:gd name="T59" fmla="*/ 40 h 123"/>
                  <a:gd name="T60" fmla="*/ 17 w 233"/>
                  <a:gd name="T61" fmla="*/ 37 h 123"/>
                  <a:gd name="T62" fmla="*/ 16 w 233"/>
                  <a:gd name="T63" fmla="*/ 33 h 123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78" name="Freeform 425">
                <a:extLst>
                  <a:ext uri="{FF2B5EF4-FFF2-40B4-BE49-F238E27FC236}">
                    <a16:creationId xmlns:a16="http://schemas.microsoft.com/office/drawing/2014/main" id="{D8FDE517-A7BB-4868-A0C6-867605126C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48 h 172"/>
                  <a:gd name="T2" fmla="*/ 1 w 484"/>
                  <a:gd name="T3" fmla="*/ 51 h 172"/>
                  <a:gd name="T4" fmla="*/ 3 w 484"/>
                  <a:gd name="T5" fmla="*/ 53 h 172"/>
                  <a:gd name="T6" fmla="*/ 6 w 484"/>
                  <a:gd name="T7" fmla="*/ 54 h 172"/>
                  <a:gd name="T8" fmla="*/ 10 w 484"/>
                  <a:gd name="T9" fmla="*/ 55 h 172"/>
                  <a:gd name="T10" fmla="*/ 17 w 484"/>
                  <a:gd name="T11" fmla="*/ 56 h 172"/>
                  <a:gd name="T12" fmla="*/ 24 w 484"/>
                  <a:gd name="T13" fmla="*/ 56 h 172"/>
                  <a:gd name="T14" fmla="*/ 32 w 484"/>
                  <a:gd name="T15" fmla="*/ 54 h 172"/>
                  <a:gd name="T16" fmla="*/ 45 w 484"/>
                  <a:gd name="T17" fmla="*/ 51 h 172"/>
                  <a:gd name="T18" fmla="*/ 61 w 484"/>
                  <a:gd name="T19" fmla="*/ 44 h 172"/>
                  <a:gd name="T20" fmla="*/ 78 w 484"/>
                  <a:gd name="T21" fmla="*/ 37 h 172"/>
                  <a:gd name="T22" fmla="*/ 93 w 484"/>
                  <a:gd name="T23" fmla="*/ 33 h 172"/>
                  <a:gd name="T24" fmla="*/ 114 w 484"/>
                  <a:gd name="T25" fmla="*/ 28 h 172"/>
                  <a:gd name="T26" fmla="*/ 130 w 484"/>
                  <a:gd name="T27" fmla="*/ 24 h 172"/>
                  <a:gd name="T28" fmla="*/ 141 w 484"/>
                  <a:gd name="T29" fmla="*/ 21 h 172"/>
                  <a:gd name="T30" fmla="*/ 150 w 484"/>
                  <a:gd name="T31" fmla="*/ 17 h 172"/>
                  <a:gd name="T32" fmla="*/ 154 w 484"/>
                  <a:gd name="T33" fmla="*/ 14 h 172"/>
                  <a:gd name="T34" fmla="*/ 156 w 484"/>
                  <a:gd name="T35" fmla="*/ 11 h 172"/>
                  <a:gd name="T36" fmla="*/ 146 w 484"/>
                  <a:gd name="T37" fmla="*/ 8 h 172"/>
                  <a:gd name="T38" fmla="*/ 126 w 484"/>
                  <a:gd name="T39" fmla="*/ 5 h 172"/>
                  <a:gd name="T40" fmla="*/ 107 w 484"/>
                  <a:gd name="T41" fmla="*/ 2 h 172"/>
                  <a:gd name="T42" fmla="*/ 88 w 484"/>
                  <a:gd name="T43" fmla="*/ 0 h 172"/>
                  <a:gd name="T44" fmla="*/ 73 w 484"/>
                  <a:gd name="T45" fmla="*/ 0 h 172"/>
                  <a:gd name="T46" fmla="*/ 66 w 484"/>
                  <a:gd name="T47" fmla="*/ 1 h 172"/>
                  <a:gd name="T48" fmla="*/ 60 w 484"/>
                  <a:gd name="T49" fmla="*/ 3 h 172"/>
                  <a:gd name="T50" fmla="*/ 57 w 484"/>
                  <a:gd name="T51" fmla="*/ 2 h 172"/>
                  <a:gd name="T52" fmla="*/ 55 w 484"/>
                  <a:gd name="T53" fmla="*/ 1 h 172"/>
                  <a:gd name="T54" fmla="*/ 54 w 484"/>
                  <a:gd name="T55" fmla="*/ 3 h 172"/>
                  <a:gd name="T56" fmla="*/ 52 w 484"/>
                  <a:gd name="T57" fmla="*/ 8 h 172"/>
                  <a:gd name="T58" fmla="*/ 50 w 484"/>
                  <a:gd name="T59" fmla="*/ 12 h 172"/>
                  <a:gd name="T60" fmla="*/ 47 w 484"/>
                  <a:gd name="T61" fmla="*/ 15 h 172"/>
                  <a:gd name="T62" fmla="*/ 41 w 484"/>
                  <a:gd name="T63" fmla="*/ 19 h 172"/>
                  <a:gd name="T64" fmla="*/ 31 w 484"/>
                  <a:gd name="T65" fmla="*/ 22 h 172"/>
                  <a:gd name="T66" fmla="*/ 21 w 484"/>
                  <a:gd name="T67" fmla="*/ 25 h 172"/>
                  <a:gd name="T68" fmla="*/ 12 w 484"/>
                  <a:gd name="T69" fmla="*/ 29 h 172"/>
                  <a:gd name="T70" fmla="*/ 6 w 484"/>
                  <a:gd name="T71" fmla="*/ 32 h 172"/>
                  <a:gd name="T72" fmla="*/ 3 w 484"/>
                  <a:gd name="T73" fmla="*/ 35 h 172"/>
                  <a:gd name="T74" fmla="*/ 1 w 484"/>
                  <a:gd name="T75" fmla="*/ 39 h 172"/>
                  <a:gd name="T76" fmla="*/ 0 w 484"/>
                  <a:gd name="T77" fmla="*/ 44 h 17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79" name="Freeform 426">
                <a:extLst>
                  <a:ext uri="{FF2B5EF4-FFF2-40B4-BE49-F238E27FC236}">
                    <a16:creationId xmlns:a16="http://schemas.microsoft.com/office/drawing/2014/main" id="{4BFE1E9B-3646-40AE-B16C-2AFA3681E0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102 w 684"/>
                  <a:gd name="T1" fmla="*/ 2 h 240"/>
                  <a:gd name="T2" fmla="*/ 98 w 684"/>
                  <a:gd name="T3" fmla="*/ 9 h 240"/>
                  <a:gd name="T4" fmla="*/ 96 w 684"/>
                  <a:gd name="T5" fmla="*/ 13 h 240"/>
                  <a:gd name="T6" fmla="*/ 97 w 684"/>
                  <a:gd name="T7" fmla="*/ 14 h 240"/>
                  <a:gd name="T8" fmla="*/ 109 w 684"/>
                  <a:gd name="T9" fmla="*/ 13 h 240"/>
                  <a:gd name="T10" fmla="*/ 120 w 684"/>
                  <a:gd name="T11" fmla="*/ 6 h 240"/>
                  <a:gd name="T12" fmla="*/ 122 w 684"/>
                  <a:gd name="T13" fmla="*/ 13 h 240"/>
                  <a:gd name="T14" fmla="*/ 122 w 684"/>
                  <a:gd name="T15" fmla="*/ 18 h 240"/>
                  <a:gd name="T16" fmla="*/ 131 w 684"/>
                  <a:gd name="T17" fmla="*/ 23 h 240"/>
                  <a:gd name="T18" fmla="*/ 165 w 684"/>
                  <a:gd name="T19" fmla="*/ 17 h 240"/>
                  <a:gd name="T20" fmla="*/ 166 w 684"/>
                  <a:gd name="T21" fmla="*/ 23 h 240"/>
                  <a:gd name="T22" fmla="*/ 175 w 684"/>
                  <a:gd name="T23" fmla="*/ 21 h 240"/>
                  <a:gd name="T24" fmla="*/ 180 w 684"/>
                  <a:gd name="T25" fmla="*/ 15 h 240"/>
                  <a:gd name="T26" fmla="*/ 180 w 684"/>
                  <a:gd name="T27" fmla="*/ 6 h 240"/>
                  <a:gd name="T28" fmla="*/ 182 w 684"/>
                  <a:gd name="T29" fmla="*/ 3 h 240"/>
                  <a:gd name="T30" fmla="*/ 187 w 684"/>
                  <a:gd name="T31" fmla="*/ 0 h 240"/>
                  <a:gd name="T32" fmla="*/ 202 w 684"/>
                  <a:gd name="T33" fmla="*/ 1 h 240"/>
                  <a:gd name="T34" fmla="*/ 208 w 684"/>
                  <a:gd name="T35" fmla="*/ 0 h 240"/>
                  <a:gd name="T36" fmla="*/ 212 w 684"/>
                  <a:gd name="T37" fmla="*/ 13 h 240"/>
                  <a:gd name="T38" fmla="*/ 211 w 684"/>
                  <a:gd name="T39" fmla="*/ 23 h 240"/>
                  <a:gd name="T40" fmla="*/ 206 w 684"/>
                  <a:gd name="T41" fmla="*/ 33 h 240"/>
                  <a:gd name="T42" fmla="*/ 200 w 684"/>
                  <a:gd name="T43" fmla="*/ 41 h 240"/>
                  <a:gd name="T44" fmla="*/ 209 w 684"/>
                  <a:gd name="T45" fmla="*/ 45 h 240"/>
                  <a:gd name="T46" fmla="*/ 217 w 684"/>
                  <a:gd name="T47" fmla="*/ 48 h 240"/>
                  <a:gd name="T48" fmla="*/ 221 w 684"/>
                  <a:gd name="T49" fmla="*/ 59 h 240"/>
                  <a:gd name="T50" fmla="*/ 206 w 684"/>
                  <a:gd name="T51" fmla="*/ 61 h 240"/>
                  <a:gd name="T52" fmla="*/ 196 w 684"/>
                  <a:gd name="T53" fmla="*/ 60 h 240"/>
                  <a:gd name="T54" fmla="*/ 185 w 684"/>
                  <a:gd name="T55" fmla="*/ 59 h 240"/>
                  <a:gd name="T56" fmla="*/ 182 w 684"/>
                  <a:gd name="T57" fmla="*/ 61 h 240"/>
                  <a:gd name="T58" fmla="*/ 175 w 684"/>
                  <a:gd name="T59" fmla="*/ 66 h 240"/>
                  <a:gd name="T60" fmla="*/ 169 w 684"/>
                  <a:gd name="T61" fmla="*/ 69 h 240"/>
                  <a:gd name="T62" fmla="*/ 159 w 684"/>
                  <a:gd name="T63" fmla="*/ 69 h 240"/>
                  <a:gd name="T64" fmla="*/ 146 w 684"/>
                  <a:gd name="T65" fmla="*/ 67 h 240"/>
                  <a:gd name="T66" fmla="*/ 136 w 684"/>
                  <a:gd name="T67" fmla="*/ 65 h 240"/>
                  <a:gd name="T68" fmla="*/ 109 w 684"/>
                  <a:gd name="T69" fmla="*/ 69 h 240"/>
                  <a:gd name="T70" fmla="*/ 75 w 684"/>
                  <a:gd name="T71" fmla="*/ 76 h 240"/>
                  <a:gd name="T72" fmla="*/ 55 w 684"/>
                  <a:gd name="T73" fmla="*/ 78 h 240"/>
                  <a:gd name="T74" fmla="*/ 40 w 684"/>
                  <a:gd name="T75" fmla="*/ 78 h 240"/>
                  <a:gd name="T76" fmla="*/ 32 w 684"/>
                  <a:gd name="T77" fmla="*/ 75 h 240"/>
                  <a:gd name="T78" fmla="*/ 22 w 684"/>
                  <a:gd name="T79" fmla="*/ 68 h 240"/>
                  <a:gd name="T80" fmla="*/ 9 w 684"/>
                  <a:gd name="T81" fmla="*/ 65 h 240"/>
                  <a:gd name="T82" fmla="*/ 0 w 684"/>
                  <a:gd name="T83" fmla="*/ 57 h 240"/>
                  <a:gd name="T84" fmla="*/ 21 w 684"/>
                  <a:gd name="T85" fmla="*/ 52 h 240"/>
                  <a:gd name="T86" fmla="*/ 32 w 684"/>
                  <a:gd name="T87" fmla="*/ 51 h 240"/>
                  <a:gd name="T88" fmla="*/ 50 w 684"/>
                  <a:gd name="T89" fmla="*/ 53 h 240"/>
                  <a:gd name="T90" fmla="*/ 65 w 684"/>
                  <a:gd name="T91" fmla="*/ 54 h 240"/>
                  <a:gd name="T92" fmla="*/ 72 w 684"/>
                  <a:gd name="T93" fmla="*/ 53 h 240"/>
                  <a:gd name="T94" fmla="*/ 8 w 684"/>
                  <a:gd name="T95" fmla="*/ 45 h 240"/>
                  <a:gd name="T96" fmla="*/ 17 w 684"/>
                  <a:gd name="T97" fmla="*/ 42 h 240"/>
                  <a:gd name="T98" fmla="*/ 35 w 684"/>
                  <a:gd name="T99" fmla="*/ 39 h 240"/>
                  <a:gd name="T100" fmla="*/ 53 w 684"/>
                  <a:gd name="T101" fmla="*/ 36 h 240"/>
                  <a:gd name="T102" fmla="*/ 60 w 684"/>
                  <a:gd name="T103" fmla="*/ 33 h 240"/>
                  <a:gd name="T104" fmla="*/ 54 w 684"/>
                  <a:gd name="T105" fmla="*/ 31 h 240"/>
                  <a:gd name="T106" fmla="*/ 40 w 684"/>
                  <a:gd name="T107" fmla="*/ 32 h 240"/>
                  <a:gd name="T108" fmla="*/ 23 w 684"/>
                  <a:gd name="T109" fmla="*/ 36 h 240"/>
                  <a:gd name="T110" fmla="*/ 17 w 684"/>
                  <a:gd name="T111" fmla="*/ 35 h 240"/>
                  <a:gd name="T112" fmla="*/ 18 w 684"/>
                  <a:gd name="T113" fmla="*/ 30 h 240"/>
                  <a:gd name="T114" fmla="*/ 17 w 684"/>
                  <a:gd name="T115" fmla="*/ 27 h 240"/>
                  <a:gd name="T116" fmla="*/ 19 w 684"/>
                  <a:gd name="T117" fmla="*/ 26 h 24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80" name="Freeform 427">
                <a:extLst>
                  <a:ext uri="{FF2B5EF4-FFF2-40B4-BE49-F238E27FC236}">
                    <a16:creationId xmlns:a16="http://schemas.microsoft.com/office/drawing/2014/main" id="{83865D4A-F10A-4CEE-B723-BECF43270B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59 w 332"/>
                  <a:gd name="T1" fmla="*/ 12 h 287"/>
                  <a:gd name="T2" fmla="*/ 66 w 332"/>
                  <a:gd name="T3" fmla="*/ 8 h 287"/>
                  <a:gd name="T4" fmla="*/ 74 w 332"/>
                  <a:gd name="T5" fmla="*/ 2 h 287"/>
                  <a:gd name="T6" fmla="*/ 78 w 332"/>
                  <a:gd name="T7" fmla="*/ 0 h 287"/>
                  <a:gd name="T8" fmla="*/ 80 w 332"/>
                  <a:gd name="T9" fmla="*/ 0 h 287"/>
                  <a:gd name="T10" fmla="*/ 80 w 332"/>
                  <a:gd name="T11" fmla="*/ 4 h 287"/>
                  <a:gd name="T12" fmla="*/ 76 w 332"/>
                  <a:gd name="T13" fmla="*/ 11 h 287"/>
                  <a:gd name="T14" fmla="*/ 71 w 332"/>
                  <a:gd name="T15" fmla="*/ 18 h 287"/>
                  <a:gd name="T16" fmla="*/ 66 w 332"/>
                  <a:gd name="T17" fmla="*/ 22 h 287"/>
                  <a:gd name="T18" fmla="*/ 62 w 332"/>
                  <a:gd name="T19" fmla="*/ 23 h 287"/>
                  <a:gd name="T20" fmla="*/ 62 w 332"/>
                  <a:gd name="T21" fmla="*/ 24 h 287"/>
                  <a:gd name="T22" fmla="*/ 65 w 332"/>
                  <a:gd name="T23" fmla="*/ 24 h 287"/>
                  <a:gd name="T24" fmla="*/ 70 w 332"/>
                  <a:gd name="T25" fmla="*/ 23 h 287"/>
                  <a:gd name="T26" fmla="*/ 73 w 332"/>
                  <a:gd name="T27" fmla="*/ 25 h 287"/>
                  <a:gd name="T28" fmla="*/ 71 w 332"/>
                  <a:gd name="T29" fmla="*/ 29 h 287"/>
                  <a:gd name="T30" fmla="*/ 70 w 332"/>
                  <a:gd name="T31" fmla="*/ 31 h 287"/>
                  <a:gd name="T32" fmla="*/ 71 w 332"/>
                  <a:gd name="T33" fmla="*/ 34 h 287"/>
                  <a:gd name="T34" fmla="*/ 81 w 332"/>
                  <a:gd name="T35" fmla="*/ 37 h 287"/>
                  <a:gd name="T36" fmla="*/ 100 w 332"/>
                  <a:gd name="T37" fmla="*/ 40 h 287"/>
                  <a:gd name="T38" fmla="*/ 105 w 332"/>
                  <a:gd name="T39" fmla="*/ 42 h 287"/>
                  <a:gd name="T40" fmla="*/ 102 w 332"/>
                  <a:gd name="T41" fmla="*/ 45 h 287"/>
                  <a:gd name="T42" fmla="*/ 99 w 332"/>
                  <a:gd name="T43" fmla="*/ 48 h 287"/>
                  <a:gd name="T44" fmla="*/ 97 w 332"/>
                  <a:gd name="T45" fmla="*/ 50 h 287"/>
                  <a:gd name="T46" fmla="*/ 98 w 332"/>
                  <a:gd name="T47" fmla="*/ 52 h 287"/>
                  <a:gd name="T48" fmla="*/ 100 w 332"/>
                  <a:gd name="T49" fmla="*/ 54 h 287"/>
                  <a:gd name="T50" fmla="*/ 104 w 332"/>
                  <a:gd name="T51" fmla="*/ 57 h 287"/>
                  <a:gd name="T52" fmla="*/ 107 w 332"/>
                  <a:gd name="T53" fmla="*/ 60 h 287"/>
                  <a:gd name="T54" fmla="*/ 94 w 332"/>
                  <a:gd name="T55" fmla="*/ 68 h 287"/>
                  <a:gd name="T56" fmla="*/ 78 w 332"/>
                  <a:gd name="T57" fmla="*/ 78 h 287"/>
                  <a:gd name="T58" fmla="*/ 67 w 332"/>
                  <a:gd name="T59" fmla="*/ 87 h 287"/>
                  <a:gd name="T60" fmla="*/ 56 w 332"/>
                  <a:gd name="T61" fmla="*/ 79 h 287"/>
                  <a:gd name="T62" fmla="*/ 59 w 332"/>
                  <a:gd name="T63" fmla="*/ 79 h 287"/>
                  <a:gd name="T64" fmla="*/ 61 w 332"/>
                  <a:gd name="T65" fmla="*/ 78 h 287"/>
                  <a:gd name="T66" fmla="*/ 65 w 332"/>
                  <a:gd name="T67" fmla="*/ 75 h 287"/>
                  <a:gd name="T68" fmla="*/ 48 w 332"/>
                  <a:gd name="T69" fmla="*/ 75 h 287"/>
                  <a:gd name="T70" fmla="*/ 33 w 332"/>
                  <a:gd name="T71" fmla="*/ 75 h 287"/>
                  <a:gd name="T72" fmla="*/ 19 w 332"/>
                  <a:gd name="T73" fmla="*/ 75 h 287"/>
                  <a:gd name="T74" fmla="*/ 9 w 332"/>
                  <a:gd name="T75" fmla="*/ 75 h 287"/>
                  <a:gd name="T76" fmla="*/ 4 w 332"/>
                  <a:gd name="T77" fmla="*/ 74 h 287"/>
                  <a:gd name="T78" fmla="*/ 1 w 332"/>
                  <a:gd name="T79" fmla="*/ 72 h 287"/>
                  <a:gd name="T80" fmla="*/ 0 w 332"/>
                  <a:gd name="T81" fmla="*/ 69 h 287"/>
                  <a:gd name="T82" fmla="*/ 1 w 332"/>
                  <a:gd name="T83" fmla="*/ 66 h 287"/>
                  <a:gd name="T84" fmla="*/ 4 w 332"/>
                  <a:gd name="T85" fmla="*/ 64 h 287"/>
                  <a:gd name="T86" fmla="*/ 13 w 332"/>
                  <a:gd name="T87" fmla="*/ 58 h 287"/>
                  <a:gd name="T88" fmla="*/ 24 w 332"/>
                  <a:gd name="T89" fmla="*/ 52 h 287"/>
                  <a:gd name="T90" fmla="*/ 28 w 332"/>
                  <a:gd name="T91" fmla="*/ 49 h 287"/>
                  <a:gd name="T92" fmla="*/ 30 w 332"/>
                  <a:gd name="T93" fmla="*/ 47 h 287"/>
                  <a:gd name="T94" fmla="*/ 34 w 332"/>
                  <a:gd name="T95" fmla="*/ 42 h 287"/>
                  <a:gd name="T96" fmla="*/ 38 w 332"/>
                  <a:gd name="T97" fmla="*/ 37 h 287"/>
                  <a:gd name="T98" fmla="*/ 42 w 332"/>
                  <a:gd name="T99" fmla="*/ 26 h 287"/>
                  <a:gd name="T100" fmla="*/ 45 w 332"/>
                  <a:gd name="T101" fmla="*/ 21 h 287"/>
                  <a:gd name="T102" fmla="*/ 48 w 332"/>
                  <a:gd name="T103" fmla="*/ 17 h 287"/>
                  <a:gd name="T104" fmla="*/ 51 w 332"/>
                  <a:gd name="T105" fmla="*/ 14 h 287"/>
                  <a:gd name="T106" fmla="*/ 56 w 332"/>
                  <a:gd name="T107" fmla="*/ 13 h 28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81" name="Freeform 428">
                <a:extLst>
                  <a:ext uri="{FF2B5EF4-FFF2-40B4-BE49-F238E27FC236}">
                    <a16:creationId xmlns:a16="http://schemas.microsoft.com/office/drawing/2014/main" id="{1D08A2F1-C2AE-4269-9242-23EFA27255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34 w 345"/>
                  <a:gd name="T1" fmla="*/ 27 h 86"/>
                  <a:gd name="T2" fmla="*/ 38 w 345"/>
                  <a:gd name="T3" fmla="*/ 25 h 86"/>
                  <a:gd name="T4" fmla="*/ 43 w 345"/>
                  <a:gd name="T5" fmla="*/ 24 h 86"/>
                  <a:gd name="T6" fmla="*/ 48 w 345"/>
                  <a:gd name="T7" fmla="*/ 23 h 86"/>
                  <a:gd name="T8" fmla="*/ 53 w 345"/>
                  <a:gd name="T9" fmla="*/ 22 h 86"/>
                  <a:gd name="T10" fmla="*/ 63 w 345"/>
                  <a:gd name="T11" fmla="*/ 20 h 86"/>
                  <a:gd name="T12" fmla="*/ 74 w 345"/>
                  <a:gd name="T13" fmla="*/ 18 h 86"/>
                  <a:gd name="T14" fmla="*/ 79 w 345"/>
                  <a:gd name="T15" fmla="*/ 17 h 86"/>
                  <a:gd name="T16" fmla="*/ 85 w 345"/>
                  <a:gd name="T17" fmla="*/ 16 h 86"/>
                  <a:gd name="T18" fmla="*/ 90 w 345"/>
                  <a:gd name="T19" fmla="*/ 14 h 86"/>
                  <a:gd name="T20" fmla="*/ 95 w 345"/>
                  <a:gd name="T21" fmla="*/ 13 h 86"/>
                  <a:gd name="T22" fmla="*/ 99 w 345"/>
                  <a:gd name="T23" fmla="*/ 11 h 86"/>
                  <a:gd name="T24" fmla="*/ 104 w 345"/>
                  <a:gd name="T25" fmla="*/ 9 h 86"/>
                  <a:gd name="T26" fmla="*/ 107 w 345"/>
                  <a:gd name="T27" fmla="*/ 7 h 86"/>
                  <a:gd name="T28" fmla="*/ 111 w 345"/>
                  <a:gd name="T29" fmla="*/ 4 h 86"/>
                  <a:gd name="T30" fmla="*/ 108 w 345"/>
                  <a:gd name="T31" fmla="*/ 4 h 86"/>
                  <a:gd name="T32" fmla="*/ 105 w 345"/>
                  <a:gd name="T33" fmla="*/ 3 h 86"/>
                  <a:gd name="T34" fmla="*/ 102 w 345"/>
                  <a:gd name="T35" fmla="*/ 3 h 86"/>
                  <a:gd name="T36" fmla="*/ 99 w 345"/>
                  <a:gd name="T37" fmla="*/ 2 h 86"/>
                  <a:gd name="T38" fmla="*/ 97 w 345"/>
                  <a:gd name="T39" fmla="*/ 1 h 86"/>
                  <a:gd name="T40" fmla="*/ 94 w 345"/>
                  <a:gd name="T41" fmla="*/ 1 h 86"/>
                  <a:gd name="T42" fmla="*/ 90 w 345"/>
                  <a:gd name="T43" fmla="*/ 0 h 86"/>
                  <a:gd name="T44" fmla="*/ 88 w 345"/>
                  <a:gd name="T45" fmla="*/ 0 h 86"/>
                  <a:gd name="T46" fmla="*/ 83 w 345"/>
                  <a:gd name="T47" fmla="*/ 0 h 86"/>
                  <a:gd name="T48" fmla="*/ 79 w 345"/>
                  <a:gd name="T49" fmla="*/ 1 h 86"/>
                  <a:gd name="T50" fmla="*/ 73 w 345"/>
                  <a:gd name="T51" fmla="*/ 2 h 86"/>
                  <a:gd name="T52" fmla="*/ 67 w 345"/>
                  <a:gd name="T53" fmla="*/ 3 h 86"/>
                  <a:gd name="T54" fmla="*/ 54 w 345"/>
                  <a:gd name="T55" fmla="*/ 6 h 86"/>
                  <a:gd name="T56" fmla="*/ 41 w 345"/>
                  <a:gd name="T57" fmla="*/ 9 h 86"/>
                  <a:gd name="T58" fmla="*/ 33 w 345"/>
                  <a:gd name="T59" fmla="*/ 11 h 86"/>
                  <a:gd name="T60" fmla="*/ 27 w 345"/>
                  <a:gd name="T61" fmla="*/ 13 h 86"/>
                  <a:gd name="T62" fmla="*/ 21 w 345"/>
                  <a:gd name="T63" fmla="*/ 16 h 86"/>
                  <a:gd name="T64" fmla="*/ 15 w 345"/>
                  <a:gd name="T65" fmla="*/ 18 h 86"/>
                  <a:gd name="T66" fmla="*/ 10 w 345"/>
                  <a:gd name="T67" fmla="*/ 20 h 86"/>
                  <a:gd name="T68" fmla="*/ 6 w 345"/>
                  <a:gd name="T69" fmla="*/ 23 h 86"/>
                  <a:gd name="T70" fmla="*/ 3 w 345"/>
                  <a:gd name="T71" fmla="*/ 25 h 86"/>
                  <a:gd name="T72" fmla="*/ 0 w 345"/>
                  <a:gd name="T73" fmla="*/ 27 h 86"/>
                  <a:gd name="T74" fmla="*/ 34 w 345"/>
                  <a:gd name="T75" fmla="*/ 27 h 8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82" name="Freeform 429">
                <a:extLst>
                  <a:ext uri="{FF2B5EF4-FFF2-40B4-BE49-F238E27FC236}">
                    <a16:creationId xmlns:a16="http://schemas.microsoft.com/office/drawing/2014/main" id="{C563E2CE-7A82-4319-BD3A-BE3C12F9B9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6 w 464"/>
                  <a:gd name="T1" fmla="*/ 28 h 130"/>
                  <a:gd name="T2" fmla="*/ 25 w 464"/>
                  <a:gd name="T3" fmla="*/ 27 h 130"/>
                  <a:gd name="T4" fmla="*/ 33 w 464"/>
                  <a:gd name="T5" fmla="*/ 27 h 130"/>
                  <a:gd name="T6" fmla="*/ 30 w 464"/>
                  <a:gd name="T7" fmla="*/ 29 h 130"/>
                  <a:gd name="T8" fmla="*/ 26 w 464"/>
                  <a:gd name="T9" fmla="*/ 33 h 130"/>
                  <a:gd name="T10" fmla="*/ 23 w 464"/>
                  <a:gd name="T11" fmla="*/ 37 h 130"/>
                  <a:gd name="T12" fmla="*/ 23 w 464"/>
                  <a:gd name="T13" fmla="*/ 39 h 130"/>
                  <a:gd name="T14" fmla="*/ 25 w 464"/>
                  <a:gd name="T15" fmla="*/ 41 h 130"/>
                  <a:gd name="T16" fmla="*/ 30 w 464"/>
                  <a:gd name="T17" fmla="*/ 43 h 130"/>
                  <a:gd name="T18" fmla="*/ 35 w 464"/>
                  <a:gd name="T19" fmla="*/ 43 h 130"/>
                  <a:gd name="T20" fmla="*/ 41 w 464"/>
                  <a:gd name="T21" fmla="*/ 42 h 130"/>
                  <a:gd name="T22" fmla="*/ 50 w 464"/>
                  <a:gd name="T23" fmla="*/ 39 h 130"/>
                  <a:gd name="T24" fmla="*/ 63 w 464"/>
                  <a:gd name="T25" fmla="*/ 36 h 130"/>
                  <a:gd name="T26" fmla="*/ 73 w 464"/>
                  <a:gd name="T27" fmla="*/ 33 h 130"/>
                  <a:gd name="T28" fmla="*/ 80 w 464"/>
                  <a:gd name="T29" fmla="*/ 33 h 130"/>
                  <a:gd name="T30" fmla="*/ 85 w 464"/>
                  <a:gd name="T31" fmla="*/ 33 h 130"/>
                  <a:gd name="T32" fmla="*/ 98 w 464"/>
                  <a:gd name="T33" fmla="*/ 33 h 130"/>
                  <a:gd name="T34" fmla="*/ 107 w 464"/>
                  <a:gd name="T35" fmla="*/ 32 h 130"/>
                  <a:gd name="T36" fmla="*/ 121 w 464"/>
                  <a:gd name="T37" fmla="*/ 31 h 130"/>
                  <a:gd name="T38" fmla="*/ 133 w 464"/>
                  <a:gd name="T39" fmla="*/ 27 h 130"/>
                  <a:gd name="T40" fmla="*/ 144 w 464"/>
                  <a:gd name="T41" fmla="*/ 22 h 130"/>
                  <a:gd name="T42" fmla="*/ 146 w 464"/>
                  <a:gd name="T43" fmla="*/ 17 h 130"/>
                  <a:gd name="T44" fmla="*/ 141 w 464"/>
                  <a:gd name="T45" fmla="*/ 16 h 130"/>
                  <a:gd name="T46" fmla="*/ 133 w 464"/>
                  <a:gd name="T47" fmla="*/ 16 h 130"/>
                  <a:gd name="T48" fmla="*/ 127 w 464"/>
                  <a:gd name="T49" fmla="*/ 15 h 130"/>
                  <a:gd name="T50" fmla="*/ 130 w 464"/>
                  <a:gd name="T51" fmla="*/ 12 h 130"/>
                  <a:gd name="T52" fmla="*/ 133 w 464"/>
                  <a:gd name="T53" fmla="*/ 7 h 130"/>
                  <a:gd name="T54" fmla="*/ 134 w 464"/>
                  <a:gd name="T55" fmla="*/ 2 h 130"/>
                  <a:gd name="T56" fmla="*/ 121 w 464"/>
                  <a:gd name="T57" fmla="*/ 0 h 130"/>
                  <a:gd name="T58" fmla="*/ 116 w 464"/>
                  <a:gd name="T59" fmla="*/ 6 h 130"/>
                  <a:gd name="T60" fmla="*/ 110 w 464"/>
                  <a:gd name="T61" fmla="*/ 14 h 130"/>
                  <a:gd name="T62" fmla="*/ 104 w 464"/>
                  <a:gd name="T63" fmla="*/ 20 h 130"/>
                  <a:gd name="T64" fmla="*/ 100 w 464"/>
                  <a:gd name="T65" fmla="*/ 22 h 130"/>
                  <a:gd name="T66" fmla="*/ 96 w 464"/>
                  <a:gd name="T67" fmla="*/ 22 h 130"/>
                  <a:gd name="T68" fmla="*/ 89 w 464"/>
                  <a:gd name="T69" fmla="*/ 22 h 130"/>
                  <a:gd name="T70" fmla="*/ 84 w 464"/>
                  <a:gd name="T71" fmla="*/ 21 h 130"/>
                  <a:gd name="T72" fmla="*/ 77 w 464"/>
                  <a:gd name="T73" fmla="*/ 18 h 130"/>
                  <a:gd name="T74" fmla="*/ 66 w 464"/>
                  <a:gd name="T75" fmla="*/ 10 h 130"/>
                  <a:gd name="T76" fmla="*/ 58 w 464"/>
                  <a:gd name="T77" fmla="*/ 10 h 130"/>
                  <a:gd name="T78" fmla="*/ 48 w 464"/>
                  <a:gd name="T79" fmla="*/ 10 h 130"/>
                  <a:gd name="T80" fmla="*/ 38 w 464"/>
                  <a:gd name="T81" fmla="*/ 12 h 130"/>
                  <a:gd name="T82" fmla="*/ 27 w 464"/>
                  <a:gd name="T83" fmla="*/ 15 h 130"/>
                  <a:gd name="T84" fmla="*/ 17 w 464"/>
                  <a:gd name="T85" fmla="*/ 18 h 130"/>
                  <a:gd name="T86" fmla="*/ 9 w 464"/>
                  <a:gd name="T87" fmla="*/ 22 h 130"/>
                  <a:gd name="T88" fmla="*/ 3 w 464"/>
                  <a:gd name="T89" fmla="*/ 25 h 130"/>
                  <a:gd name="T90" fmla="*/ 0 w 464"/>
                  <a:gd name="T91" fmla="*/ 28 h 13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83" name="Freeform 430">
                <a:extLst>
                  <a:ext uri="{FF2B5EF4-FFF2-40B4-BE49-F238E27FC236}">
                    <a16:creationId xmlns:a16="http://schemas.microsoft.com/office/drawing/2014/main" id="{E756B81C-4BA4-43A1-A0DA-413E0883B1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20 w 472"/>
                  <a:gd name="T1" fmla="*/ 0 h 92"/>
                  <a:gd name="T2" fmla="*/ 14 w 472"/>
                  <a:gd name="T3" fmla="*/ 0 h 92"/>
                  <a:gd name="T4" fmla="*/ 8 w 472"/>
                  <a:gd name="T5" fmla="*/ 0 h 92"/>
                  <a:gd name="T6" fmla="*/ 4 w 472"/>
                  <a:gd name="T7" fmla="*/ 1 h 92"/>
                  <a:gd name="T8" fmla="*/ 2 w 472"/>
                  <a:gd name="T9" fmla="*/ 3 h 92"/>
                  <a:gd name="T10" fmla="*/ 2 w 472"/>
                  <a:gd name="T11" fmla="*/ 5 h 92"/>
                  <a:gd name="T12" fmla="*/ 3 w 472"/>
                  <a:gd name="T13" fmla="*/ 8 h 92"/>
                  <a:gd name="T14" fmla="*/ 5 w 472"/>
                  <a:gd name="T15" fmla="*/ 11 h 92"/>
                  <a:gd name="T16" fmla="*/ 5 w 472"/>
                  <a:gd name="T17" fmla="*/ 14 h 92"/>
                  <a:gd name="T18" fmla="*/ 1 w 472"/>
                  <a:gd name="T19" fmla="*/ 17 h 92"/>
                  <a:gd name="T20" fmla="*/ 0 w 472"/>
                  <a:gd name="T21" fmla="*/ 19 h 92"/>
                  <a:gd name="T22" fmla="*/ 1 w 472"/>
                  <a:gd name="T23" fmla="*/ 22 h 92"/>
                  <a:gd name="T24" fmla="*/ 5 w 472"/>
                  <a:gd name="T25" fmla="*/ 23 h 92"/>
                  <a:gd name="T26" fmla="*/ 16 w 472"/>
                  <a:gd name="T27" fmla="*/ 26 h 92"/>
                  <a:gd name="T28" fmla="*/ 35 w 472"/>
                  <a:gd name="T29" fmla="*/ 29 h 92"/>
                  <a:gd name="T30" fmla="*/ 54 w 472"/>
                  <a:gd name="T31" fmla="*/ 31 h 92"/>
                  <a:gd name="T32" fmla="*/ 118 w 472"/>
                  <a:gd name="T33" fmla="*/ 31 h 92"/>
                  <a:gd name="T34" fmla="*/ 121 w 472"/>
                  <a:gd name="T35" fmla="*/ 27 h 92"/>
                  <a:gd name="T36" fmla="*/ 125 w 472"/>
                  <a:gd name="T37" fmla="*/ 25 h 92"/>
                  <a:gd name="T38" fmla="*/ 129 w 472"/>
                  <a:gd name="T39" fmla="*/ 25 h 92"/>
                  <a:gd name="T40" fmla="*/ 133 w 472"/>
                  <a:gd name="T41" fmla="*/ 25 h 92"/>
                  <a:gd name="T42" fmla="*/ 143 w 472"/>
                  <a:gd name="T43" fmla="*/ 26 h 92"/>
                  <a:gd name="T44" fmla="*/ 148 w 472"/>
                  <a:gd name="T45" fmla="*/ 26 h 92"/>
                  <a:gd name="T46" fmla="*/ 153 w 472"/>
                  <a:gd name="T47" fmla="*/ 25 h 92"/>
                  <a:gd name="T48" fmla="*/ 151 w 472"/>
                  <a:gd name="T49" fmla="*/ 11 h 92"/>
                  <a:gd name="T50" fmla="*/ 147 w 472"/>
                  <a:gd name="T51" fmla="*/ 9 h 92"/>
                  <a:gd name="T52" fmla="*/ 144 w 472"/>
                  <a:gd name="T53" fmla="*/ 6 h 92"/>
                  <a:gd name="T54" fmla="*/ 140 w 472"/>
                  <a:gd name="T55" fmla="*/ 4 h 92"/>
                  <a:gd name="T56" fmla="*/ 135 w 472"/>
                  <a:gd name="T57" fmla="*/ 4 h 92"/>
                  <a:gd name="T58" fmla="*/ 128 w 472"/>
                  <a:gd name="T59" fmla="*/ 5 h 92"/>
                  <a:gd name="T60" fmla="*/ 119 w 472"/>
                  <a:gd name="T61" fmla="*/ 7 h 92"/>
                  <a:gd name="T62" fmla="*/ 106 w 472"/>
                  <a:gd name="T63" fmla="*/ 11 h 92"/>
                  <a:gd name="T64" fmla="*/ 97 w 472"/>
                  <a:gd name="T65" fmla="*/ 13 h 92"/>
                  <a:gd name="T66" fmla="*/ 89 w 472"/>
                  <a:gd name="T67" fmla="*/ 14 h 92"/>
                  <a:gd name="T68" fmla="*/ 77 w 472"/>
                  <a:gd name="T69" fmla="*/ 14 h 92"/>
                  <a:gd name="T70" fmla="*/ 62 w 472"/>
                  <a:gd name="T71" fmla="*/ 14 h 92"/>
                  <a:gd name="T72" fmla="*/ 51 w 472"/>
                  <a:gd name="T73" fmla="*/ 14 h 92"/>
                  <a:gd name="T74" fmla="*/ 39 w 472"/>
                  <a:gd name="T75" fmla="*/ 14 h 92"/>
                  <a:gd name="T76" fmla="*/ 29 w 472"/>
                  <a:gd name="T77" fmla="*/ 14 h 92"/>
                  <a:gd name="T78" fmla="*/ 25 w 472"/>
                  <a:gd name="T79" fmla="*/ 12 h 92"/>
                  <a:gd name="T80" fmla="*/ 23 w 472"/>
                  <a:gd name="T81" fmla="*/ 9 h 92"/>
                  <a:gd name="T82" fmla="*/ 22 w 472"/>
                  <a:gd name="T83" fmla="*/ 6 h 92"/>
                  <a:gd name="T84" fmla="*/ 22 w 472"/>
                  <a:gd name="T85" fmla="*/ 3 h 92"/>
                  <a:gd name="T86" fmla="*/ 24 w 472"/>
                  <a:gd name="T87" fmla="*/ 1 h 92"/>
                  <a:gd name="T88" fmla="*/ 24 w 472"/>
                  <a:gd name="T89" fmla="*/ 0 h 92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84" name="Freeform 431">
                <a:extLst>
                  <a:ext uri="{FF2B5EF4-FFF2-40B4-BE49-F238E27FC236}">
                    <a16:creationId xmlns:a16="http://schemas.microsoft.com/office/drawing/2014/main" id="{CC5E5511-BF34-41EA-9EF0-7DDA293D1B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47 w 326"/>
                  <a:gd name="T1" fmla="*/ 36 h 135"/>
                  <a:gd name="T2" fmla="*/ 66 w 326"/>
                  <a:gd name="T3" fmla="*/ 32 h 135"/>
                  <a:gd name="T4" fmla="*/ 85 w 326"/>
                  <a:gd name="T5" fmla="*/ 28 h 135"/>
                  <a:gd name="T6" fmla="*/ 98 w 326"/>
                  <a:gd name="T7" fmla="*/ 25 h 135"/>
                  <a:gd name="T8" fmla="*/ 103 w 326"/>
                  <a:gd name="T9" fmla="*/ 22 h 135"/>
                  <a:gd name="T10" fmla="*/ 105 w 326"/>
                  <a:gd name="T11" fmla="*/ 19 h 135"/>
                  <a:gd name="T12" fmla="*/ 101 w 326"/>
                  <a:gd name="T13" fmla="*/ 16 h 135"/>
                  <a:gd name="T14" fmla="*/ 98 w 326"/>
                  <a:gd name="T15" fmla="*/ 14 h 135"/>
                  <a:gd name="T16" fmla="*/ 93 w 326"/>
                  <a:gd name="T17" fmla="*/ 12 h 135"/>
                  <a:gd name="T18" fmla="*/ 86 w 326"/>
                  <a:gd name="T19" fmla="*/ 11 h 135"/>
                  <a:gd name="T20" fmla="*/ 75 w 326"/>
                  <a:gd name="T21" fmla="*/ 10 h 135"/>
                  <a:gd name="T22" fmla="*/ 68 w 326"/>
                  <a:gd name="T23" fmla="*/ 10 h 135"/>
                  <a:gd name="T24" fmla="*/ 66 w 326"/>
                  <a:gd name="T25" fmla="*/ 8 h 135"/>
                  <a:gd name="T26" fmla="*/ 64 w 326"/>
                  <a:gd name="T27" fmla="*/ 6 h 135"/>
                  <a:gd name="T28" fmla="*/ 62 w 326"/>
                  <a:gd name="T29" fmla="*/ 3 h 135"/>
                  <a:gd name="T30" fmla="*/ 59 w 326"/>
                  <a:gd name="T31" fmla="*/ 2 h 135"/>
                  <a:gd name="T32" fmla="*/ 53 w 326"/>
                  <a:gd name="T33" fmla="*/ 0 h 135"/>
                  <a:gd name="T34" fmla="*/ 44 w 326"/>
                  <a:gd name="T35" fmla="*/ 0 h 135"/>
                  <a:gd name="T36" fmla="*/ 28 w 326"/>
                  <a:gd name="T37" fmla="*/ 3 h 135"/>
                  <a:gd name="T38" fmla="*/ 16 w 326"/>
                  <a:gd name="T39" fmla="*/ 6 h 135"/>
                  <a:gd name="T40" fmla="*/ 9 w 326"/>
                  <a:gd name="T41" fmla="*/ 9 h 135"/>
                  <a:gd name="T42" fmla="*/ 4 w 326"/>
                  <a:gd name="T43" fmla="*/ 12 h 135"/>
                  <a:gd name="T44" fmla="*/ 1 w 326"/>
                  <a:gd name="T45" fmla="*/ 15 h 135"/>
                  <a:gd name="T46" fmla="*/ 0 w 326"/>
                  <a:gd name="T47" fmla="*/ 17 h 135"/>
                  <a:gd name="T48" fmla="*/ 11 w 326"/>
                  <a:gd name="T49" fmla="*/ 25 h 135"/>
                  <a:gd name="T50" fmla="*/ 18 w 326"/>
                  <a:gd name="T51" fmla="*/ 27 h 135"/>
                  <a:gd name="T52" fmla="*/ 13 w 326"/>
                  <a:gd name="T53" fmla="*/ 30 h 135"/>
                  <a:gd name="T54" fmla="*/ 12 w 326"/>
                  <a:gd name="T55" fmla="*/ 33 h 135"/>
                  <a:gd name="T56" fmla="*/ 14 w 326"/>
                  <a:gd name="T57" fmla="*/ 38 h 135"/>
                  <a:gd name="T58" fmla="*/ 16 w 326"/>
                  <a:gd name="T59" fmla="*/ 43 h 135"/>
                  <a:gd name="T60" fmla="*/ 18 w 326"/>
                  <a:gd name="T61" fmla="*/ 45 h 135"/>
                  <a:gd name="T62" fmla="*/ 22 w 326"/>
                  <a:gd name="T63" fmla="*/ 45 h 135"/>
                  <a:gd name="T64" fmla="*/ 28 w 326"/>
                  <a:gd name="T65" fmla="*/ 44 h 135"/>
                  <a:gd name="T66" fmla="*/ 33 w 326"/>
                  <a:gd name="T67" fmla="*/ 42 h 135"/>
                  <a:gd name="T68" fmla="*/ 38 w 326"/>
                  <a:gd name="T69" fmla="*/ 41 h 135"/>
                  <a:gd name="T70" fmla="*/ 39 w 326"/>
                  <a:gd name="T71" fmla="*/ 37 h 135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85" name="Freeform 432">
                <a:extLst>
                  <a:ext uri="{FF2B5EF4-FFF2-40B4-BE49-F238E27FC236}">
                    <a16:creationId xmlns:a16="http://schemas.microsoft.com/office/drawing/2014/main" id="{07F61C20-2E46-4468-A939-1CF8BF56D1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15 w 159"/>
                  <a:gd name="T1" fmla="*/ 17 h 56"/>
                  <a:gd name="T2" fmla="*/ 13 w 159"/>
                  <a:gd name="T3" fmla="*/ 17 h 56"/>
                  <a:gd name="T4" fmla="*/ 11 w 159"/>
                  <a:gd name="T5" fmla="*/ 16 h 56"/>
                  <a:gd name="T6" fmla="*/ 8 w 159"/>
                  <a:gd name="T7" fmla="*/ 14 h 56"/>
                  <a:gd name="T8" fmla="*/ 6 w 159"/>
                  <a:gd name="T9" fmla="*/ 12 h 56"/>
                  <a:gd name="T10" fmla="*/ 3 w 159"/>
                  <a:gd name="T11" fmla="*/ 10 h 56"/>
                  <a:gd name="T12" fmla="*/ 2 w 159"/>
                  <a:gd name="T13" fmla="*/ 8 h 56"/>
                  <a:gd name="T14" fmla="*/ 1 w 159"/>
                  <a:gd name="T15" fmla="*/ 7 h 56"/>
                  <a:gd name="T16" fmla="*/ 0 w 159"/>
                  <a:gd name="T17" fmla="*/ 5 h 56"/>
                  <a:gd name="T18" fmla="*/ 0 w 159"/>
                  <a:gd name="T19" fmla="*/ 4 h 56"/>
                  <a:gd name="T20" fmla="*/ 0 w 159"/>
                  <a:gd name="T21" fmla="*/ 3 h 56"/>
                  <a:gd name="T22" fmla="*/ 7 w 159"/>
                  <a:gd name="T23" fmla="*/ 3 h 56"/>
                  <a:gd name="T24" fmla="*/ 13 w 159"/>
                  <a:gd name="T25" fmla="*/ 3 h 56"/>
                  <a:gd name="T26" fmla="*/ 17 w 159"/>
                  <a:gd name="T27" fmla="*/ 3 h 56"/>
                  <a:gd name="T28" fmla="*/ 19 w 159"/>
                  <a:gd name="T29" fmla="*/ 3 h 56"/>
                  <a:gd name="T30" fmla="*/ 27 w 159"/>
                  <a:gd name="T31" fmla="*/ 2 h 56"/>
                  <a:gd name="T32" fmla="*/ 38 w 159"/>
                  <a:gd name="T33" fmla="*/ 0 h 56"/>
                  <a:gd name="T34" fmla="*/ 40 w 159"/>
                  <a:gd name="T35" fmla="*/ 0 h 56"/>
                  <a:gd name="T36" fmla="*/ 42 w 159"/>
                  <a:gd name="T37" fmla="*/ 0 h 56"/>
                  <a:gd name="T38" fmla="*/ 45 w 159"/>
                  <a:gd name="T39" fmla="*/ 0 h 56"/>
                  <a:gd name="T40" fmla="*/ 47 w 159"/>
                  <a:gd name="T41" fmla="*/ 1 h 56"/>
                  <a:gd name="T42" fmla="*/ 48 w 159"/>
                  <a:gd name="T43" fmla="*/ 2 h 56"/>
                  <a:gd name="T44" fmla="*/ 50 w 159"/>
                  <a:gd name="T45" fmla="*/ 3 h 56"/>
                  <a:gd name="T46" fmla="*/ 51 w 159"/>
                  <a:gd name="T47" fmla="*/ 5 h 56"/>
                  <a:gd name="T48" fmla="*/ 51 w 159"/>
                  <a:gd name="T49" fmla="*/ 7 h 56"/>
                  <a:gd name="T50" fmla="*/ 51 w 159"/>
                  <a:gd name="T51" fmla="*/ 10 h 56"/>
                  <a:gd name="T52" fmla="*/ 50 w 159"/>
                  <a:gd name="T53" fmla="*/ 12 h 56"/>
                  <a:gd name="T54" fmla="*/ 48 w 159"/>
                  <a:gd name="T55" fmla="*/ 14 h 56"/>
                  <a:gd name="T56" fmla="*/ 47 w 159"/>
                  <a:gd name="T57" fmla="*/ 15 h 56"/>
                  <a:gd name="T58" fmla="*/ 45 w 159"/>
                  <a:gd name="T59" fmla="*/ 17 h 56"/>
                  <a:gd name="T60" fmla="*/ 42 w 159"/>
                  <a:gd name="T61" fmla="*/ 17 h 56"/>
                  <a:gd name="T62" fmla="*/ 40 w 159"/>
                  <a:gd name="T63" fmla="*/ 18 h 56"/>
                  <a:gd name="T64" fmla="*/ 37 w 159"/>
                  <a:gd name="T65" fmla="*/ 18 h 56"/>
                  <a:gd name="T66" fmla="*/ 25 w 159"/>
                  <a:gd name="T67" fmla="*/ 18 h 56"/>
                  <a:gd name="T68" fmla="*/ 15 w 159"/>
                  <a:gd name="T69" fmla="*/ 17 h 5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86" name="Freeform 433">
                <a:extLst>
                  <a:ext uri="{FF2B5EF4-FFF2-40B4-BE49-F238E27FC236}">
                    <a16:creationId xmlns:a16="http://schemas.microsoft.com/office/drawing/2014/main" id="{51031DE6-7B3D-498F-A038-75359A90A4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946 w 3734"/>
                  <a:gd name="T1" fmla="*/ 447 h 1644"/>
                  <a:gd name="T2" fmla="*/ 825 w 3734"/>
                  <a:gd name="T3" fmla="*/ 499 h 1644"/>
                  <a:gd name="T4" fmla="*/ 746 w 3734"/>
                  <a:gd name="T5" fmla="*/ 522 h 1644"/>
                  <a:gd name="T6" fmla="*/ 740 w 3734"/>
                  <a:gd name="T7" fmla="*/ 536 h 1644"/>
                  <a:gd name="T8" fmla="*/ 703 w 3734"/>
                  <a:gd name="T9" fmla="*/ 527 h 1644"/>
                  <a:gd name="T10" fmla="*/ 735 w 3734"/>
                  <a:gd name="T11" fmla="*/ 496 h 1644"/>
                  <a:gd name="T12" fmla="*/ 699 w 3734"/>
                  <a:gd name="T13" fmla="*/ 464 h 1644"/>
                  <a:gd name="T14" fmla="*/ 676 w 3734"/>
                  <a:gd name="T15" fmla="*/ 425 h 1644"/>
                  <a:gd name="T16" fmla="*/ 628 w 3734"/>
                  <a:gd name="T17" fmla="*/ 432 h 1644"/>
                  <a:gd name="T18" fmla="*/ 572 w 3734"/>
                  <a:gd name="T19" fmla="*/ 420 h 1644"/>
                  <a:gd name="T20" fmla="*/ 84 w 3734"/>
                  <a:gd name="T21" fmla="*/ 405 h 1644"/>
                  <a:gd name="T22" fmla="*/ 41 w 3734"/>
                  <a:gd name="T23" fmla="*/ 369 h 1644"/>
                  <a:gd name="T24" fmla="*/ 49 w 3734"/>
                  <a:gd name="T25" fmla="*/ 341 h 1644"/>
                  <a:gd name="T26" fmla="*/ 47 w 3734"/>
                  <a:gd name="T27" fmla="*/ 304 h 1644"/>
                  <a:gd name="T28" fmla="*/ 84 w 3734"/>
                  <a:gd name="T29" fmla="*/ 282 h 1644"/>
                  <a:gd name="T30" fmla="*/ 81 w 3734"/>
                  <a:gd name="T31" fmla="*/ 245 h 1644"/>
                  <a:gd name="T32" fmla="*/ 41 w 3734"/>
                  <a:gd name="T33" fmla="*/ 218 h 1644"/>
                  <a:gd name="T34" fmla="*/ 194 w 3734"/>
                  <a:gd name="T35" fmla="*/ 37 h 1644"/>
                  <a:gd name="T36" fmla="*/ 370 w 3734"/>
                  <a:gd name="T37" fmla="*/ 34 h 1644"/>
                  <a:gd name="T38" fmla="*/ 418 w 3734"/>
                  <a:gd name="T39" fmla="*/ 38 h 1644"/>
                  <a:gd name="T40" fmla="*/ 530 w 3734"/>
                  <a:gd name="T41" fmla="*/ 54 h 1644"/>
                  <a:gd name="T42" fmla="*/ 572 w 3734"/>
                  <a:gd name="T43" fmla="*/ 68 h 1644"/>
                  <a:gd name="T44" fmla="*/ 670 w 3734"/>
                  <a:gd name="T45" fmla="*/ 63 h 1644"/>
                  <a:gd name="T46" fmla="*/ 738 w 3734"/>
                  <a:gd name="T47" fmla="*/ 71 h 1644"/>
                  <a:gd name="T48" fmla="*/ 763 w 3734"/>
                  <a:gd name="T49" fmla="*/ 71 h 1644"/>
                  <a:gd name="T50" fmla="*/ 813 w 3734"/>
                  <a:gd name="T51" fmla="*/ 40 h 1644"/>
                  <a:gd name="T52" fmla="*/ 835 w 3734"/>
                  <a:gd name="T53" fmla="*/ 1 h 1644"/>
                  <a:gd name="T54" fmla="*/ 853 w 3734"/>
                  <a:gd name="T55" fmla="*/ 34 h 1644"/>
                  <a:gd name="T56" fmla="*/ 860 w 3734"/>
                  <a:gd name="T57" fmla="*/ 54 h 1644"/>
                  <a:gd name="T58" fmla="*/ 876 w 3734"/>
                  <a:gd name="T59" fmla="*/ 64 h 1644"/>
                  <a:gd name="T60" fmla="*/ 933 w 3734"/>
                  <a:gd name="T61" fmla="*/ 40 h 1644"/>
                  <a:gd name="T62" fmla="*/ 980 w 3734"/>
                  <a:gd name="T63" fmla="*/ 44 h 1644"/>
                  <a:gd name="T64" fmla="*/ 930 w 3734"/>
                  <a:gd name="T65" fmla="*/ 89 h 1644"/>
                  <a:gd name="T66" fmla="*/ 900 w 3734"/>
                  <a:gd name="T67" fmla="*/ 95 h 1644"/>
                  <a:gd name="T68" fmla="*/ 829 w 3734"/>
                  <a:gd name="T69" fmla="*/ 100 h 1644"/>
                  <a:gd name="T70" fmla="*/ 807 w 3734"/>
                  <a:gd name="T71" fmla="*/ 132 h 1644"/>
                  <a:gd name="T72" fmla="*/ 753 w 3734"/>
                  <a:gd name="T73" fmla="*/ 154 h 1644"/>
                  <a:gd name="T74" fmla="*/ 673 w 3734"/>
                  <a:gd name="T75" fmla="*/ 205 h 1644"/>
                  <a:gd name="T76" fmla="*/ 680 w 3734"/>
                  <a:gd name="T77" fmla="*/ 260 h 1644"/>
                  <a:gd name="T78" fmla="*/ 762 w 3734"/>
                  <a:gd name="T79" fmla="*/ 297 h 1644"/>
                  <a:gd name="T80" fmla="*/ 788 w 3734"/>
                  <a:gd name="T81" fmla="*/ 347 h 1644"/>
                  <a:gd name="T82" fmla="*/ 844 w 3734"/>
                  <a:gd name="T83" fmla="*/ 324 h 1644"/>
                  <a:gd name="T84" fmla="*/ 919 w 3734"/>
                  <a:gd name="T85" fmla="*/ 257 h 1644"/>
                  <a:gd name="T86" fmla="*/ 935 w 3734"/>
                  <a:gd name="T87" fmla="*/ 196 h 1644"/>
                  <a:gd name="T88" fmla="*/ 1018 w 3734"/>
                  <a:gd name="T89" fmla="*/ 164 h 1644"/>
                  <a:gd name="T90" fmla="*/ 1057 w 3734"/>
                  <a:gd name="T91" fmla="*/ 194 h 1644"/>
                  <a:gd name="T92" fmla="*/ 1041 w 3734"/>
                  <a:gd name="T93" fmla="*/ 241 h 1644"/>
                  <a:gd name="T94" fmla="*/ 1127 w 3734"/>
                  <a:gd name="T95" fmla="*/ 201 h 1644"/>
                  <a:gd name="T96" fmla="*/ 1144 w 3734"/>
                  <a:gd name="T97" fmla="*/ 254 h 1644"/>
                  <a:gd name="T98" fmla="*/ 1182 w 3734"/>
                  <a:gd name="T99" fmla="*/ 303 h 1644"/>
                  <a:gd name="T100" fmla="*/ 1167 w 3734"/>
                  <a:gd name="T101" fmla="*/ 315 h 1644"/>
                  <a:gd name="T102" fmla="*/ 1192 w 3734"/>
                  <a:gd name="T103" fmla="*/ 337 h 1644"/>
                  <a:gd name="T104" fmla="*/ 1148 w 3734"/>
                  <a:gd name="T105" fmla="*/ 363 h 1644"/>
                  <a:gd name="T106" fmla="*/ 1017 w 3734"/>
                  <a:gd name="T107" fmla="*/ 383 h 1644"/>
                  <a:gd name="T108" fmla="*/ 921 w 3734"/>
                  <a:gd name="T109" fmla="*/ 438 h 1644"/>
                  <a:gd name="T110" fmla="*/ 937 w 3734"/>
                  <a:gd name="T111" fmla="*/ 438 h 1644"/>
                  <a:gd name="T112" fmla="*/ 1038 w 3734"/>
                  <a:gd name="T113" fmla="*/ 412 h 1644"/>
                  <a:gd name="T114" fmla="*/ 989 w 3734"/>
                  <a:gd name="T115" fmla="*/ 426 h 1644"/>
                  <a:gd name="T116" fmla="*/ 1013 w 3734"/>
                  <a:gd name="T117" fmla="*/ 456 h 1644"/>
                  <a:gd name="T118" fmla="*/ 1048 w 3734"/>
                  <a:gd name="T119" fmla="*/ 483 h 1644"/>
                  <a:gd name="T120" fmla="*/ 974 w 3734"/>
                  <a:gd name="T121" fmla="*/ 513 h 1644"/>
                  <a:gd name="T122" fmla="*/ 1029 w 3734"/>
                  <a:gd name="T123" fmla="*/ 481 h 1644"/>
                  <a:gd name="T124" fmla="*/ 973 w 3734"/>
                  <a:gd name="T125" fmla="*/ 487 h 164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828" name="Freeform 434">
              <a:extLst>
                <a:ext uri="{FF2B5EF4-FFF2-40B4-BE49-F238E27FC236}">
                  <a16:creationId xmlns:a16="http://schemas.microsoft.com/office/drawing/2014/main" id="{7FCC067F-827D-440E-BD3A-B5CBEDF6A5FA}"/>
                </a:ext>
              </a:extLst>
            </p:cNvPr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6281738" y="3541713"/>
              <a:ext cx="127000" cy="158750"/>
            </a:xfrm>
            <a:custGeom>
              <a:avLst/>
              <a:gdLst>
                <a:gd name="T0" fmla="*/ 115257 w 292"/>
                <a:gd name="T1" fmla="*/ 5154 h 308"/>
                <a:gd name="T2" fmla="*/ 120041 w 292"/>
                <a:gd name="T3" fmla="*/ 19071 h 308"/>
                <a:gd name="T4" fmla="*/ 124390 w 292"/>
                <a:gd name="T5" fmla="*/ 46903 h 308"/>
                <a:gd name="T6" fmla="*/ 127000 w 292"/>
                <a:gd name="T7" fmla="*/ 74221 h 308"/>
                <a:gd name="T8" fmla="*/ 126565 w 292"/>
                <a:gd name="T9" fmla="*/ 82983 h 308"/>
                <a:gd name="T10" fmla="*/ 124390 w 292"/>
                <a:gd name="T11" fmla="*/ 92261 h 308"/>
                <a:gd name="T12" fmla="*/ 116997 w 292"/>
                <a:gd name="T13" fmla="*/ 106177 h 308"/>
                <a:gd name="T14" fmla="*/ 100469 w 292"/>
                <a:gd name="T15" fmla="*/ 95353 h 308"/>
                <a:gd name="T16" fmla="*/ 71764 w 292"/>
                <a:gd name="T17" fmla="*/ 132979 h 308"/>
                <a:gd name="T18" fmla="*/ 57411 w 292"/>
                <a:gd name="T19" fmla="*/ 143287 h 308"/>
                <a:gd name="T20" fmla="*/ 25661 w 292"/>
                <a:gd name="T21" fmla="*/ 152565 h 308"/>
                <a:gd name="T22" fmla="*/ 13918 w 292"/>
                <a:gd name="T23" fmla="*/ 158750 h 308"/>
                <a:gd name="T24" fmla="*/ 2610 w 292"/>
                <a:gd name="T25" fmla="*/ 158750 h 308"/>
                <a:gd name="T26" fmla="*/ 3914 w 292"/>
                <a:gd name="T27" fmla="*/ 153080 h 308"/>
                <a:gd name="T28" fmla="*/ 4784 w 292"/>
                <a:gd name="T29" fmla="*/ 147411 h 308"/>
                <a:gd name="T30" fmla="*/ 3045 w 292"/>
                <a:gd name="T31" fmla="*/ 136587 h 308"/>
                <a:gd name="T32" fmla="*/ 870 w 292"/>
                <a:gd name="T33" fmla="*/ 126794 h 308"/>
                <a:gd name="T34" fmla="*/ 0 w 292"/>
                <a:gd name="T35" fmla="*/ 117516 h 308"/>
                <a:gd name="T36" fmla="*/ 1305 w 292"/>
                <a:gd name="T37" fmla="*/ 105662 h 308"/>
                <a:gd name="T38" fmla="*/ 5219 w 292"/>
                <a:gd name="T39" fmla="*/ 96899 h 308"/>
                <a:gd name="T40" fmla="*/ 11308 w 292"/>
                <a:gd name="T41" fmla="*/ 89683 h 308"/>
                <a:gd name="T42" fmla="*/ 18267 w 292"/>
                <a:gd name="T43" fmla="*/ 82983 h 308"/>
                <a:gd name="T44" fmla="*/ 33490 w 292"/>
                <a:gd name="T45" fmla="*/ 69582 h 308"/>
                <a:gd name="T46" fmla="*/ 40449 w 292"/>
                <a:gd name="T47" fmla="*/ 61335 h 308"/>
                <a:gd name="T48" fmla="*/ 45668 w 292"/>
                <a:gd name="T49" fmla="*/ 50511 h 308"/>
                <a:gd name="T50" fmla="*/ 42623 w 292"/>
                <a:gd name="T51" fmla="*/ 49481 h 308"/>
                <a:gd name="T52" fmla="*/ 40014 w 292"/>
                <a:gd name="T53" fmla="*/ 46903 h 308"/>
                <a:gd name="T54" fmla="*/ 35664 w 292"/>
                <a:gd name="T55" fmla="*/ 37626 h 308"/>
                <a:gd name="T56" fmla="*/ 32185 w 292"/>
                <a:gd name="T57" fmla="*/ 25771 h 308"/>
                <a:gd name="T58" fmla="*/ 31315 w 292"/>
                <a:gd name="T59" fmla="*/ 12370 h 308"/>
                <a:gd name="T60" fmla="*/ 39144 w 292"/>
                <a:gd name="T61" fmla="*/ 9793 h 308"/>
                <a:gd name="T62" fmla="*/ 45668 w 292"/>
                <a:gd name="T63" fmla="*/ 10308 h 308"/>
                <a:gd name="T64" fmla="*/ 57411 w 292"/>
                <a:gd name="T65" fmla="*/ 12370 h 308"/>
                <a:gd name="T66" fmla="*/ 73503 w 292"/>
                <a:gd name="T67" fmla="*/ 10824 h 308"/>
                <a:gd name="T68" fmla="*/ 91336 w 292"/>
                <a:gd name="T69" fmla="*/ 6185 h 308"/>
                <a:gd name="T70" fmla="*/ 112647 w 292"/>
                <a:gd name="T71" fmla="*/ 0 h 30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29" name="Freeform 435">
              <a:extLst>
                <a:ext uri="{FF2B5EF4-FFF2-40B4-BE49-F238E27FC236}">
                  <a16:creationId xmlns:a16="http://schemas.microsoft.com/office/drawing/2014/main" id="{E96D89AC-ABBE-4515-BF06-D84DF39F877F}"/>
                </a:ext>
              </a:extLst>
            </p:cNvPr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6388100" y="3692525"/>
              <a:ext cx="6350" cy="57150"/>
            </a:xfrm>
            <a:custGeom>
              <a:avLst/>
              <a:gdLst>
                <a:gd name="T0" fmla="*/ 4989 w 14"/>
                <a:gd name="T1" fmla="*/ 0 h 7"/>
                <a:gd name="T2" fmla="*/ 5896 w 14"/>
                <a:gd name="T3" fmla="*/ 24493 h 7"/>
                <a:gd name="T4" fmla="*/ 6350 w 14"/>
                <a:gd name="T5" fmla="*/ 57150 h 7"/>
                <a:gd name="T6" fmla="*/ 0 w 14"/>
                <a:gd name="T7" fmla="*/ 57150 h 7"/>
                <a:gd name="T8" fmla="*/ 4989 w 1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30" name="Freeform 436">
              <a:extLst>
                <a:ext uri="{FF2B5EF4-FFF2-40B4-BE49-F238E27FC236}">
                  <a16:creationId xmlns:a16="http://schemas.microsoft.com/office/drawing/2014/main" id="{A571CBAA-B111-4F3A-93F2-6FD2AE96D2B6}"/>
                </a:ext>
              </a:extLst>
            </p:cNvPr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5878514" y="2928938"/>
              <a:ext cx="249237" cy="500062"/>
            </a:xfrm>
            <a:custGeom>
              <a:avLst/>
              <a:gdLst>
                <a:gd name="T0" fmla="*/ 34747 w 581"/>
                <a:gd name="T1" fmla="*/ 60217 h 955"/>
                <a:gd name="T2" fmla="*/ 44614 w 581"/>
                <a:gd name="T3" fmla="*/ 79591 h 955"/>
                <a:gd name="T4" fmla="*/ 47617 w 581"/>
                <a:gd name="T5" fmla="*/ 94253 h 955"/>
                <a:gd name="T6" fmla="*/ 40753 w 581"/>
                <a:gd name="T7" fmla="*/ 122528 h 955"/>
                <a:gd name="T8" fmla="*/ 41182 w 581"/>
                <a:gd name="T9" fmla="*/ 170178 h 955"/>
                <a:gd name="T10" fmla="*/ 39895 w 581"/>
                <a:gd name="T11" fmla="*/ 190076 h 955"/>
                <a:gd name="T12" fmla="*/ 35176 w 581"/>
                <a:gd name="T13" fmla="*/ 207356 h 955"/>
                <a:gd name="T14" fmla="*/ 25310 w 581"/>
                <a:gd name="T15" fmla="*/ 224635 h 955"/>
                <a:gd name="T16" fmla="*/ 13298 w 581"/>
                <a:gd name="T17" fmla="*/ 241391 h 955"/>
                <a:gd name="T18" fmla="*/ 7293 w 581"/>
                <a:gd name="T19" fmla="*/ 251864 h 955"/>
                <a:gd name="T20" fmla="*/ 858 w 581"/>
                <a:gd name="T21" fmla="*/ 283805 h 955"/>
                <a:gd name="T22" fmla="*/ 29600 w 581"/>
                <a:gd name="T23" fmla="*/ 322553 h 955"/>
                <a:gd name="T24" fmla="*/ 29600 w 581"/>
                <a:gd name="T25" fmla="*/ 331978 h 955"/>
                <a:gd name="T26" fmla="*/ 31744 w 581"/>
                <a:gd name="T27" fmla="*/ 348211 h 955"/>
                <a:gd name="T28" fmla="*/ 31744 w 581"/>
                <a:gd name="T29" fmla="*/ 364443 h 955"/>
                <a:gd name="T30" fmla="*/ 33460 w 581"/>
                <a:gd name="T31" fmla="*/ 383817 h 955"/>
                <a:gd name="T32" fmla="*/ 40324 w 581"/>
                <a:gd name="T33" fmla="*/ 407380 h 955"/>
                <a:gd name="T34" fmla="*/ 45043 w 581"/>
                <a:gd name="T35" fmla="*/ 414711 h 955"/>
                <a:gd name="T36" fmla="*/ 29171 w 581"/>
                <a:gd name="T37" fmla="*/ 415758 h 955"/>
                <a:gd name="T38" fmla="*/ 18017 w 581"/>
                <a:gd name="T39" fmla="*/ 419947 h 955"/>
                <a:gd name="T40" fmla="*/ 15443 w 581"/>
                <a:gd name="T41" fmla="*/ 425184 h 955"/>
                <a:gd name="T42" fmla="*/ 18017 w 581"/>
                <a:gd name="T43" fmla="*/ 440892 h 955"/>
                <a:gd name="T44" fmla="*/ 29600 w 581"/>
                <a:gd name="T45" fmla="*/ 458696 h 955"/>
                <a:gd name="T46" fmla="*/ 37321 w 581"/>
                <a:gd name="T47" fmla="*/ 470739 h 955"/>
                <a:gd name="T48" fmla="*/ 42898 w 581"/>
                <a:gd name="T49" fmla="*/ 485400 h 955"/>
                <a:gd name="T50" fmla="*/ 66921 w 581"/>
                <a:gd name="T51" fmla="*/ 500062 h 955"/>
                <a:gd name="T52" fmla="*/ 81077 w 581"/>
                <a:gd name="T53" fmla="*/ 493255 h 955"/>
                <a:gd name="T54" fmla="*/ 106387 w 581"/>
                <a:gd name="T55" fmla="*/ 486448 h 955"/>
                <a:gd name="T56" fmla="*/ 119685 w 581"/>
                <a:gd name="T57" fmla="*/ 482259 h 955"/>
                <a:gd name="T58" fmla="*/ 127407 w 581"/>
                <a:gd name="T59" fmla="*/ 473357 h 955"/>
                <a:gd name="T60" fmla="*/ 129552 w 581"/>
                <a:gd name="T61" fmla="*/ 467074 h 955"/>
                <a:gd name="T62" fmla="*/ 129552 w 581"/>
                <a:gd name="T63" fmla="*/ 454507 h 955"/>
                <a:gd name="T64" fmla="*/ 144995 w 581"/>
                <a:gd name="T65" fmla="*/ 456077 h 955"/>
                <a:gd name="T66" fmla="*/ 157435 w 581"/>
                <a:gd name="T67" fmla="*/ 453459 h 955"/>
                <a:gd name="T68" fmla="*/ 166873 w 581"/>
                <a:gd name="T69" fmla="*/ 448223 h 955"/>
                <a:gd name="T70" fmla="*/ 173737 w 581"/>
                <a:gd name="T71" fmla="*/ 440892 h 955"/>
                <a:gd name="T72" fmla="*/ 185319 w 581"/>
                <a:gd name="T73" fmla="*/ 422565 h 955"/>
                <a:gd name="T74" fmla="*/ 197330 w 581"/>
                <a:gd name="T75" fmla="*/ 404762 h 955"/>
                <a:gd name="T76" fmla="*/ 204623 w 581"/>
                <a:gd name="T77" fmla="*/ 397955 h 955"/>
                <a:gd name="T78" fmla="*/ 215348 w 581"/>
                <a:gd name="T79" fmla="*/ 393766 h 955"/>
                <a:gd name="T80" fmla="*/ 223498 w 581"/>
                <a:gd name="T81" fmla="*/ 390101 h 955"/>
                <a:gd name="T82" fmla="*/ 214061 w 581"/>
                <a:gd name="T83" fmla="*/ 364967 h 955"/>
                <a:gd name="T84" fmla="*/ 207626 w 581"/>
                <a:gd name="T85" fmla="*/ 341927 h 955"/>
                <a:gd name="T86" fmla="*/ 202478 w 581"/>
                <a:gd name="T87" fmla="*/ 326218 h 955"/>
                <a:gd name="T88" fmla="*/ 206339 w 581"/>
                <a:gd name="T89" fmla="*/ 319411 h 955"/>
                <a:gd name="T90" fmla="*/ 208913 w 581"/>
                <a:gd name="T91" fmla="*/ 303179 h 955"/>
                <a:gd name="T92" fmla="*/ 211916 w 581"/>
                <a:gd name="T93" fmla="*/ 283281 h 955"/>
                <a:gd name="T94" fmla="*/ 216635 w 581"/>
                <a:gd name="T95" fmla="*/ 271761 h 955"/>
                <a:gd name="T96" fmla="*/ 228217 w 581"/>
                <a:gd name="T97" fmla="*/ 254482 h 955"/>
                <a:gd name="T98" fmla="*/ 244518 w 581"/>
                <a:gd name="T99" fmla="*/ 241391 h 955"/>
                <a:gd name="T100" fmla="*/ 55338 w 581"/>
                <a:gd name="T101" fmla="*/ 0 h 955"/>
                <a:gd name="T102" fmla="*/ 42040 w 581"/>
                <a:gd name="T103" fmla="*/ 2618 h 955"/>
                <a:gd name="T104" fmla="*/ 29600 w 581"/>
                <a:gd name="T105" fmla="*/ 12567 h 95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31" name="Freeform 437">
              <a:extLst>
                <a:ext uri="{FF2B5EF4-FFF2-40B4-BE49-F238E27FC236}">
                  <a16:creationId xmlns:a16="http://schemas.microsoft.com/office/drawing/2014/main" id="{EDC40926-3C10-43BC-8F16-017A89A2146F}"/>
                </a:ext>
              </a:extLst>
            </p:cNvPr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5554664" y="2311400"/>
              <a:ext cx="15875" cy="57150"/>
            </a:xfrm>
            <a:custGeom>
              <a:avLst/>
              <a:gdLst>
                <a:gd name="T0" fmla="*/ 9172 w 45"/>
                <a:gd name="T1" fmla="*/ 0 h 36"/>
                <a:gd name="T2" fmla="*/ 0 w 45"/>
                <a:gd name="T3" fmla="*/ 28575 h 36"/>
                <a:gd name="T4" fmla="*/ 8114 w 45"/>
                <a:gd name="T5" fmla="*/ 57150 h 36"/>
                <a:gd name="T6" fmla="*/ 15875 w 45"/>
                <a:gd name="T7" fmla="*/ 23813 h 36"/>
                <a:gd name="T8" fmla="*/ 9172 w 45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832" name="Group 438">
              <a:extLst>
                <a:ext uri="{FF2B5EF4-FFF2-40B4-BE49-F238E27FC236}">
                  <a16:creationId xmlns:a16="http://schemas.microsoft.com/office/drawing/2014/main" id="{CDAB49E2-E4E8-41E4-A107-EC70CE6EB0BC}"/>
                </a:ext>
              </a:extLst>
            </p:cNvPr>
            <p:cNvGrpSpPr>
              <a:grpSpLocks/>
            </p:cNvGrpSpPr>
            <p:nvPr>
              <p:custDataLst>
                <p:tags r:id="rId279"/>
              </p:custDataLst>
            </p:nvPr>
          </p:nvGrpSpPr>
          <p:grpSpPr bwMode="auto">
            <a:xfrm>
              <a:off x="3854451" y="4371976"/>
              <a:ext cx="384175" cy="1031875"/>
              <a:chOff x="1589" y="3126"/>
              <a:chExt cx="290" cy="657"/>
            </a:xfrm>
          </p:grpSpPr>
          <p:sp>
            <p:nvSpPr>
              <p:cNvPr id="942" name="Freeform 439">
                <a:extLst>
                  <a:ext uri="{FF2B5EF4-FFF2-40B4-BE49-F238E27FC236}">
                    <a16:creationId xmlns:a16="http://schemas.microsoft.com/office/drawing/2014/main" id="{BC70C5CD-0756-4D41-AFED-0650402FD7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15 w 46"/>
                  <a:gd name="T1" fmla="*/ 4 h 51"/>
                  <a:gd name="T2" fmla="*/ 6 w 46"/>
                  <a:gd name="T3" fmla="*/ 0 h 51"/>
                  <a:gd name="T4" fmla="*/ 4 w 46"/>
                  <a:gd name="T5" fmla="*/ 2 h 51"/>
                  <a:gd name="T6" fmla="*/ 2 w 46"/>
                  <a:gd name="T7" fmla="*/ 3 h 51"/>
                  <a:gd name="T8" fmla="*/ 1 w 46"/>
                  <a:gd name="T9" fmla="*/ 4 h 51"/>
                  <a:gd name="T10" fmla="*/ 1 w 46"/>
                  <a:gd name="T11" fmla="*/ 5 h 51"/>
                  <a:gd name="T12" fmla="*/ 0 w 46"/>
                  <a:gd name="T13" fmla="*/ 5 h 51"/>
                  <a:gd name="T14" fmla="*/ 0 w 46"/>
                  <a:gd name="T15" fmla="*/ 6 h 51"/>
                  <a:gd name="T16" fmla="*/ 0 w 46"/>
                  <a:gd name="T17" fmla="*/ 8 h 51"/>
                  <a:gd name="T18" fmla="*/ 1 w 46"/>
                  <a:gd name="T19" fmla="*/ 10 h 51"/>
                  <a:gd name="T20" fmla="*/ 1 w 46"/>
                  <a:gd name="T21" fmla="*/ 12 h 51"/>
                  <a:gd name="T22" fmla="*/ 2 w 46"/>
                  <a:gd name="T23" fmla="*/ 14 h 51"/>
                  <a:gd name="T24" fmla="*/ 3 w 46"/>
                  <a:gd name="T25" fmla="*/ 15 h 51"/>
                  <a:gd name="T26" fmla="*/ 4 w 46"/>
                  <a:gd name="T27" fmla="*/ 16 h 51"/>
                  <a:gd name="T28" fmla="*/ 5 w 46"/>
                  <a:gd name="T29" fmla="*/ 17 h 51"/>
                  <a:gd name="T30" fmla="*/ 5 w 46"/>
                  <a:gd name="T31" fmla="*/ 17 h 51"/>
                  <a:gd name="T32" fmla="*/ 6 w 46"/>
                  <a:gd name="T33" fmla="*/ 17 h 51"/>
                  <a:gd name="T34" fmla="*/ 6 w 46"/>
                  <a:gd name="T35" fmla="*/ 17 h 51"/>
                  <a:gd name="T36" fmla="*/ 11 w 46"/>
                  <a:gd name="T37" fmla="*/ 17 h 51"/>
                  <a:gd name="T38" fmla="*/ 15 w 46"/>
                  <a:gd name="T39" fmla="*/ 17 h 51"/>
                  <a:gd name="T40" fmla="*/ 15 w 46"/>
                  <a:gd name="T41" fmla="*/ 12 h 51"/>
                  <a:gd name="T42" fmla="*/ 15 w 46"/>
                  <a:gd name="T43" fmla="*/ 9 h 51"/>
                  <a:gd name="T44" fmla="*/ 15 w 46"/>
                  <a:gd name="T45" fmla="*/ 6 h 51"/>
                  <a:gd name="T46" fmla="*/ 15 w 46"/>
                  <a:gd name="T47" fmla="*/ 4 h 5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43" name="Freeform 440">
                <a:extLst>
                  <a:ext uri="{FF2B5EF4-FFF2-40B4-BE49-F238E27FC236}">
                    <a16:creationId xmlns:a16="http://schemas.microsoft.com/office/drawing/2014/main" id="{2D88B6FE-EBD6-438A-826B-B6292502DE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5 h 158"/>
                  <a:gd name="T4" fmla="*/ 1 w 192"/>
                  <a:gd name="T5" fmla="*/ 9 h 158"/>
                  <a:gd name="T6" fmla="*/ 1 w 192"/>
                  <a:gd name="T7" fmla="*/ 13 h 158"/>
                  <a:gd name="T8" fmla="*/ 2 w 192"/>
                  <a:gd name="T9" fmla="*/ 17 h 158"/>
                  <a:gd name="T10" fmla="*/ 4 w 192"/>
                  <a:gd name="T11" fmla="*/ 20 h 158"/>
                  <a:gd name="T12" fmla="*/ 5 w 192"/>
                  <a:gd name="T13" fmla="*/ 24 h 158"/>
                  <a:gd name="T14" fmla="*/ 7 w 192"/>
                  <a:gd name="T15" fmla="*/ 27 h 158"/>
                  <a:gd name="T16" fmla="*/ 8 w 192"/>
                  <a:gd name="T17" fmla="*/ 30 h 158"/>
                  <a:gd name="T18" fmla="*/ 15 w 192"/>
                  <a:gd name="T19" fmla="*/ 41 h 158"/>
                  <a:gd name="T20" fmla="*/ 22 w 192"/>
                  <a:gd name="T21" fmla="*/ 50 h 158"/>
                  <a:gd name="T22" fmla="*/ 24 w 192"/>
                  <a:gd name="T23" fmla="*/ 51 h 158"/>
                  <a:gd name="T24" fmla="*/ 26 w 192"/>
                  <a:gd name="T25" fmla="*/ 51 h 158"/>
                  <a:gd name="T26" fmla="*/ 28 w 192"/>
                  <a:gd name="T27" fmla="*/ 52 h 158"/>
                  <a:gd name="T28" fmla="*/ 30 w 192"/>
                  <a:gd name="T29" fmla="*/ 52 h 158"/>
                  <a:gd name="T30" fmla="*/ 34 w 192"/>
                  <a:gd name="T31" fmla="*/ 53 h 158"/>
                  <a:gd name="T32" fmla="*/ 39 w 192"/>
                  <a:gd name="T33" fmla="*/ 53 h 158"/>
                  <a:gd name="T34" fmla="*/ 50 w 192"/>
                  <a:gd name="T35" fmla="*/ 52 h 158"/>
                  <a:gd name="T36" fmla="*/ 63 w 192"/>
                  <a:gd name="T37" fmla="*/ 52 h 158"/>
                  <a:gd name="T38" fmla="*/ 60 w 192"/>
                  <a:gd name="T39" fmla="*/ 51 h 158"/>
                  <a:gd name="T40" fmla="*/ 58 w 192"/>
                  <a:gd name="T41" fmla="*/ 51 h 158"/>
                  <a:gd name="T42" fmla="*/ 55 w 192"/>
                  <a:gd name="T43" fmla="*/ 51 h 158"/>
                  <a:gd name="T44" fmla="*/ 53 w 192"/>
                  <a:gd name="T45" fmla="*/ 50 h 158"/>
                  <a:gd name="T46" fmla="*/ 48 w 192"/>
                  <a:gd name="T47" fmla="*/ 48 h 158"/>
                  <a:gd name="T48" fmla="*/ 42 w 192"/>
                  <a:gd name="T49" fmla="*/ 46 h 158"/>
                  <a:gd name="T50" fmla="*/ 38 w 192"/>
                  <a:gd name="T51" fmla="*/ 44 h 158"/>
                  <a:gd name="T52" fmla="*/ 33 w 192"/>
                  <a:gd name="T53" fmla="*/ 40 h 158"/>
                  <a:gd name="T54" fmla="*/ 29 w 192"/>
                  <a:gd name="T55" fmla="*/ 37 h 158"/>
                  <a:gd name="T56" fmla="*/ 25 w 192"/>
                  <a:gd name="T57" fmla="*/ 33 h 158"/>
                  <a:gd name="T58" fmla="*/ 21 w 192"/>
                  <a:gd name="T59" fmla="*/ 29 h 158"/>
                  <a:gd name="T60" fmla="*/ 17 w 192"/>
                  <a:gd name="T61" fmla="*/ 25 h 158"/>
                  <a:gd name="T62" fmla="*/ 14 w 192"/>
                  <a:gd name="T63" fmla="*/ 21 h 158"/>
                  <a:gd name="T64" fmla="*/ 11 w 192"/>
                  <a:gd name="T65" fmla="*/ 17 h 158"/>
                  <a:gd name="T66" fmla="*/ 9 w 192"/>
                  <a:gd name="T67" fmla="*/ 13 h 158"/>
                  <a:gd name="T68" fmla="*/ 7 w 192"/>
                  <a:gd name="T69" fmla="*/ 9 h 158"/>
                  <a:gd name="T70" fmla="*/ 5 w 192"/>
                  <a:gd name="T71" fmla="*/ 5 h 158"/>
                  <a:gd name="T72" fmla="*/ 4 w 192"/>
                  <a:gd name="T73" fmla="*/ 2 h 158"/>
                  <a:gd name="T74" fmla="*/ 0 w 192"/>
                  <a:gd name="T75" fmla="*/ 0 h 15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44" name="Freeform 441">
                <a:extLst>
                  <a:ext uri="{FF2B5EF4-FFF2-40B4-BE49-F238E27FC236}">
                    <a16:creationId xmlns:a16="http://schemas.microsoft.com/office/drawing/2014/main" id="{57258AEE-564E-46EA-B228-A8C73BAFBC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253 w 884"/>
                  <a:gd name="T1" fmla="*/ 138 h 1818"/>
                  <a:gd name="T2" fmla="*/ 286 w 884"/>
                  <a:gd name="T3" fmla="*/ 114 h 1818"/>
                  <a:gd name="T4" fmla="*/ 290 w 884"/>
                  <a:gd name="T5" fmla="*/ 77 h 1818"/>
                  <a:gd name="T6" fmla="*/ 276 w 884"/>
                  <a:gd name="T7" fmla="*/ 64 h 1818"/>
                  <a:gd name="T8" fmla="*/ 276 w 884"/>
                  <a:gd name="T9" fmla="*/ 87 h 1818"/>
                  <a:gd name="T10" fmla="*/ 254 w 884"/>
                  <a:gd name="T11" fmla="*/ 109 h 1818"/>
                  <a:gd name="T12" fmla="*/ 219 w 884"/>
                  <a:gd name="T13" fmla="*/ 110 h 1818"/>
                  <a:gd name="T14" fmla="*/ 205 w 884"/>
                  <a:gd name="T15" fmla="*/ 97 h 1818"/>
                  <a:gd name="T16" fmla="*/ 216 w 884"/>
                  <a:gd name="T17" fmla="*/ 72 h 1818"/>
                  <a:gd name="T18" fmla="*/ 178 w 884"/>
                  <a:gd name="T19" fmla="*/ 49 h 1818"/>
                  <a:gd name="T20" fmla="*/ 139 w 884"/>
                  <a:gd name="T21" fmla="*/ 29 h 1818"/>
                  <a:gd name="T22" fmla="*/ 122 w 884"/>
                  <a:gd name="T23" fmla="*/ 3 h 1818"/>
                  <a:gd name="T24" fmla="*/ 94 w 884"/>
                  <a:gd name="T25" fmla="*/ 7 h 1818"/>
                  <a:gd name="T26" fmla="*/ 77 w 884"/>
                  <a:gd name="T27" fmla="*/ 8 h 1818"/>
                  <a:gd name="T28" fmla="*/ 56 w 884"/>
                  <a:gd name="T29" fmla="*/ 3 h 1818"/>
                  <a:gd name="T30" fmla="*/ 32 w 884"/>
                  <a:gd name="T31" fmla="*/ 18 h 1818"/>
                  <a:gd name="T32" fmla="*/ 22 w 884"/>
                  <a:gd name="T33" fmla="*/ 39 h 1818"/>
                  <a:gd name="T34" fmla="*/ 9 w 884"/>
                  <a:gd name="T35" fmla="*/ 60 h 1818"/>
                  <a:gd name="T36" fmla="*/ 18 w 884"/>
                  <a:gd name="T37" fmla="*/ 84 h 1818"/>
                  <a:gd name="T38" fmla="*/ 17 w 884"/>
                  <a:gd name="T39" fmla="*/ 106 h 1818"/>
                  <a:gd name="T40" fmla="*/ 0 w 884"/>
                  <a:gd name="T41" fmla="*/ 144 h 1818"/>
                  <a:gd name="T42" fmla="*/ 4 w 884"/>
                  <a:gd name="T43" fmla="*/ 203 h 1818"/>
                  <a:gd name="T44" fmla="*/ 25 w 884"/>
                  <a:gd name="T45" fmla="*/ 232 h 1818"/>
                  <a:gd name="T46" fmla="*/ 20 w 884"/>
                  <a:gd name="T47" fmla="*/ 251 h 1818"/>
                  <a:gd name="T48" fmla="*/ 20 w 884"/>
                  <a:gd name="T49" fmla="*/ 269 h 1818"/>
                  <a:gd name="T50" fmla="*/ 27 w 884"/>
                  <a:gd name="T51" fmla="*/ 283 h 1818"/>
                  <a:gd name="T52" fmla="*/ 17 w 884"/>
                  <a:gd name="T53" fmla="*/ 300 h 1818"/>
                  <a:gd name="T54" fmla="*/ 27 w 884"/>
                  <a:gd name="T55" fmla="*/ 328 h 1818"/>
                  <a:gd name="T56" fmla="*/ 27 w 884"/>
                  <a:gd name="T57" fmla="*/ 352 h 1818"/>
                  <a:gd name="T58" fmla="*/ 26 w 884"/>
                  <a:gd name="T59" fmla="*/ 384 h 1818"/>
                  <a:gd name="T60" fmla="*/ 45 w 884"/>
                  <a:gd name="T61" fmla="*/ 422 h 1818"/>
                  <a:gd name="T62" fmla="*/ 65 w 884"/>
                  <a:gd name="T63" fmla="*/ 465 h 1818"/>
                  <a:gd name="T64" fmla="*/ 71 w 884"/>
                  <a:gd name="T65" fmla="*/ 488 h 1818"/>
                  <a:gd name="T66" fmla="*/ 75 w 884"/>
                  <a:gd name="T67" fmla="*/ 509 h 1818"/>
                  <a:gd name="T68" fmla="*/ 70 w 884"/>
                  <a:gd name="T69" fmla="*/ 530 h 1818"/>
                  <a:gd name="T70" fmla="*/ 66 w 884"/>
                  <a:gd name="T71" fmla="*/ 548 h 1818"/>
                  <a:gd name="T72" fmla="*/ 75 w 884"/>
                  <a:gd name="T73" fmla="*/ 573 h 1818"/>
                  <a:gd name="T74" fmla="*/ 102 w 884"/>
                  <a:gd name="T75" fmla="*/ 591 h 1818"/>
                  <a:gd name="T76" fmla="*/ 129 w 884"/>
                  <a:gd name="T77" fmla="*/ 599 h 1818"/>
                  <a:gd name="T78" fmla="*/ 148 w 884"/>
                  <a:gd name="T79" fmla="*/ 595 h 1818"/>
                  <a:gd name="T80" fmla="*/ 149 w 884"/>
                  <a:gd name="T81" fmla="*/ 568 h 1818"/>
                  <a:gd name="T82" fmla="*/ 154 w 884"/>
                  <a:gd name="T83" fmla="*/ 537 h 1818"/>
                  <a:gd name="T84" fmla="*/ 162 w 884"/>
                  <a:gd name="T85" fmla="*/ 503 h 1818"/>
                  <a:gd name="T86" fmla="*/ 138 w 884"/>
                  <a:gd name="T87" fmla="*/ 495 h 1818"/>
                  <a:gd name="T88" fmla="*/ 132 w 884"/>
                  <a:gd name="T89" fmla="*/ 477 h 1818"/>
                  <a:gd name="T90" fmla="*/ 149 w 884"/>
                  <a:gd name="T91" fmla="*/ 465 h 1818"/>
                  <a:gd name="T92" fmla="*/ 159 w 884"/>
                  <a:gd name="T93" fmla="*/ 444 h 1818"/>
                  <a:gd name="T94" fmla="*/ 149 w 884"/>
                  <a:gd name="T95" fmla="*/ 408 h 1818"/>
                  <a:gd name="T96" fmla="*/ 139 w 884"/>
                  <a:gd name="T97" fmla="*/ 380 h 1818"/>
                  <a:gd name="T98" fmla="*/ 170 w 884"/>
                  <a:gd name="T99" fmla="*/ 389 h 1818"/>
                  <a:gd name="T100" fmla="*/ 186 w 884"/>
                  <a:gd name="T101" fmla="*/ 384 h 1818"/>
                  <a:gd name="T102" fmla="*/ 183 w 884"/>
                  <a:gd name="T103" fmla="*/ 359 h 1818"/>
                  <a:gd name="T104" fmla="*/ 185 w 884"/>
                  <a:gd name="T105" fmla="*/ 343 h 1818"/>
                  <a:gd name="T106" fmla="*/ 222 w 884"/>
                  <a:gd name="T107" fmla="*/ 341 h 1818"/>
                  <a:gd name="T108" fmla="*/ 261 w 884"/>
                  <a:gd name="T109" fmla="*/ 324 h 1818"/>
                  <a:gd name="T110" fmla="*/ 268 w 884"/>
                  <a:gd name="T111" fmla="*/ 294 h 1818"/>
                  <a:gd name="T112" fmla="*/ 256 w 884"/>
                  <a:gd name="T113" fmla="*/ 284 h 1818"/>
                  <a:gd name="T114" fmla="*/ 249 w 884"/>
                  <a:gd name="T115" fmla="*/ 270 h 1818"/>
                  <a:gd name="T116" fmla="*/ 227 w 884"/>
                  <a:gd name="T117" fmla="*/ 251 h 1818"/>
                  <a:gd name="T118" fmla="*/ 230 w 884"/>
                  <a:gd name="T119" fmla="*/ 177 h 181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833" name="Freeform 442">
              <a:extLst>
                <a:ext uri="{FF2B5EF4-FFF2-40B4-BE49-F238E27FC236}">
                  <a16:creationId xmlns:a16="http://schemas.microsoft.com/office/drawing/2014/main" id="{9FAE3726-2935-4075-A7FD-070239587A46}"/>
                </a:ext>
              </a:extLst>
            </p:cNvPr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6564314" y="2324100"/>
              <a:ext cx="123825" cy="109538"/>
            </a:xfrm>
            <a:custGeom>
              <a:avLst/>
              <a:gdLst>
                <a:gd name="T0" fmla="*/ 14646 w 279"/>
                <a:gd name="T1" fmla="*/ 46715 h 204"/>
                <a:gd name="T2" fmla="*/ 26185 w 279"/>
                <a:gd name="T3" fmla="*/ 76247 h 204"/>
                <a:gd name="T4" fmla="*/ 26185 w 279"/>
                <a:gd name="T5" fmla="*/ 96114 h 204"/>
                <a:gd name="T6" fmla="*/ 45269 w 279"/>
                <a:gd name="T7" fmla="*/ 105242 h 204"/>
                <a:gd name="T8" fmla="*/ 54146 w 279"/>
                <a:gd name="T9" fmla="*/ 108464 h 204"/>
                <a:gd name="T10" fmla="*/ 61691 w 279"/>
                <a:gd name="T11" fmla="*/ 109538 h 204"/>
                <a:gd name="T12" fmla="*/ 64797 w 279"/>
                <a:gd name="T13" fmla="*/ 107927 h 204"/>
                <a:gd name="T14" fmla="*/ 67016 w 279"/>
                <a:gd name="T15" fmla="*/ 104168 h 204"/>
                <a:gd name="T16" fmla="*/ 71011 w 279"/>
                <a:gd name="T17" fmla="*/ 92356 h 204"/>
                <a:gd name="T18" fmla="*/ 76337 w 279"/>
                <a:gd name="T19" fmla="*/ 80006 h 204"/>
                <a:gd name="T20" fmla="*/ 80331 w 279"/>
                <a:gd name="T21" fmla="*/ 75710 h 204"/>
                <a:gd name="T22" fmla="*/ 85213 w 279"/>
                <a:gd name="T23" fmla="*/ 73025 h 204"/>
                <a:gd name="T24" fmla="*/ 92758 w 279"/>
                <a:gd name="T25" fmla="*/ 74099 h 204"/>
                <a:gd name="T26" fmla="*/ 97640 w 279"/>
                <a:gd name="T27" fmla="*/ 76247 h 204"/>
                <a:gd name="T28" fmla="*/ 101190 w 279"/>
                <a:gd name="T29" fmla="*/ 79469 h 204"/>
                <a:gd name="T30" fmla="*/ 102522 w 279"/>
                <a:gd name="T31" fmla="*/ 82690 h 204"/>
                <a:gd name="T32" fmla="*/ 103853 w 279"/>
                <a:gd name="T33" fmla="*/ 88060 h 204"/>
                <a:gd name="T34" fmla="*/ 102522 w 279"/>
                <a:gd name="T35" fmla="*/ 89671 h 204"/>
                <a:gd name="T36" fmla="*/ 103853 w 279"/>
                <a:gd name="T37" fmla="*/ 82154 h 204"/>
                <a:gd name="T38" fmla="*/ 105628 w 279"/>
                <a:gd name="T39" fmla="*/ 75173 h 204"/>
                <a:gd name="T40" fmla="*/ 108735 w 279"/>
                <a:gd name="T41" fmla="*/ 62823 h 204"/>
                <a:gd name="T42" fmla="*/ 112730 w 279"/>
                <a:gd name="T43" fmla="*/ 61749 h 204"/>
                <a:gd name="T44" fmla="*/ 117168 w 279"/>
                <a:gd name="T45" fmla="*/ 59065 h 204"/>
                <a:gd name="T46" fmla="*/ 123825 w 279"/>
                <a:gd name="T47" fmla="*/ 53158 h 204"/>
                <a:gd name="T48" fmla="*/ 111842 w 279"/>
                <a:gd name="T49" fmla="*/ 40271 h 204"/>
                <a:gd name="T50" fmla="*/ 100747 w 279"/>
                <a:gd name="T51" fmla="*/ 31143 h 204"/>
                <a:gd name="T52" fmla="*/ 90539 w 279"/>
                <a:gd name="T53" fmla="*/ 23626 h 204"/>
                <a:gd name="T54" fmla="*/ 82106 w 279"/>
                <a:gd name="T55" fmla="*/ 16645 h 204"/>
                <a:gd name="T56" fmla="*/ 64797 w 279"/>
                <a:gd name="T57" fmla="*/ 36513 h 204"/>
                <a:gd name="T58" fmla="*/ 35062 w 279"/>
                <a:gd name="T59" fmla="*/ 13424 h 204"/>
                <a:gd name="T60" fmla="*/ 23078 w 279"/>
                <a:gd name="T61" fmla="*/ 6443 h 204"/>
                <a:gd name="T62" fmla="*/ 20416 w 279"/>
                <a:gd name="T63" fmla="*/ 33291 h 204"/>
                <a:gd name="T64" fmla="*/ 0 w 279"/>
                <a:gd name="T65" fmla="*/ 30069 h 2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34" name="Freeform 443">
              <a:extLst>
                <a:ext uri="{FF2B5EF4-FFF2-40B4-BE49-F238E27FC236}">
                  <a16:creationId xmlns:a16="http://schemas.microsoft.com/office/drawing/2014/main" id="{F0A94817-B5CF-411D-8CBC-27A6AFBC9C9E}"/>
                </a:ext>
              </a:extLst>
            </p:cNvPr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6030913" y="1897063"/>
              <a:ext cx="209550" cy="150812"/>
            </a:xfrm>
            <a:custGeom>
              <a:avLst/>
              <a:gdLst>
                <a:gd name="T0" fmla="*/ 108880 w 485"/>
                <a:gd name="T1" fmla="*/ 10365 h 291"/>
                <a:gd name="T2" fmla="*/ 129619 w 485"/>
                <a:gd name="T3" fmla="*/ 22803 h 291"/>
                <a:gd name="T4" fmla="*/ 160727 w 485"/>
                <a:gd name="T5" fmla="*/ 22803 h 291"/>
                <a:gd name="T6" fmla="*/ 183626 w 485"/>
                <a:gd name="T7" fmla="*/ 67891 h 291"/>
                <a:gd name="T8" fmla="*/ 209550 w 485"/>
                <a:gd name="T9" fmla="*/ 86548 h 291"/>
                <a:gd name="T10" fmla="*/ 178009 w 485"/>
                <a:gd name="T11" fmla="*/ 89658 h 291"/>
                <a:gd name="T12" fmla="*/ 187083 w 485"/>
                <a:gd name="T13" fmla="*/ 108833 h 291"/>
                <a:gd name="T14" fmla="*/ 169368 w 485"/>
                <a:gd name="T15" fmla="*/ 124899 h 291"/>
                <a:gd name="T16" fmla="*/ 166344 w 485"/>
                <a:gd name="T17" fmla="*/ 150812 h 291"/>
                <a:gd name="T18" fmla="*/ 123138 w 485"/>
                <a:gd name="T19" fmla="*/ 137856 h 291"/>
                <a:gd name="T20" fmla="*/ 74747 w 485"/>
                <a:gd name="T21" fmla="*/ 131637 h 291"/>
                <a:gd name="T22" fmla="*/ 25924 w 485"/>
                <a:gd name="T23" fmla="*/ 137856 h 291"/>
                <a:gd name="T24" fmla="*/ 6481 w 485"/>
                <a:gd name="T25" fmla="*/ 140447 h 291"/>
                <a:gd name="T26" fmla="*/ 3456 w 485"/>
                <a:gd name="T27" fmla="*/ 133191 h 291"/>
                <a:gd name="T28" fmla="*/ 1296 w 485"/>
                <a:gd name="T29" fmla="*/ 126454 h 291"/>
                <a:gd name="T30" fmla="*/ 0 w 485"/>
                <a:gd name="T31" fmla="*/ 118680 h 291"/>
                <a:gd name="T32" fmla="*/ 2160 w 485"/>
                <a:gd name="T33" fmla="*/ 113498 h 291"/>
                <a:gd name="T34" fmla="*/ 6049 w 485"/>
                <a:gd name="T35" fmla="*/ 107279 h 291"/>
                <a:gd name="T36" fmla="*/ 9937 w 485"/>
                <a:gd name="T37" fmla="*/ 97950 h 291"/>
                <a:gd name="T38" fmla="*/ 13394 w 485"/>
                <a:gd name="T39" fmla="*/ 86030 h 291"/>
                <a:gd name="T40" fmla="*/ 17715 w 485"/>
                <a:gd name="T41" fmla="*/ 71001 h 291"/>
                <a:gd name="T42" fmla="*/ 20739 w 485"/>
                <a:gd name="T43" fmla="*/ 65300 h 291"/>
                <a:gd name="T44" fmla="*/ 25924 w 485"/>
                <a:gd name="T45" fmla="*/ 61672 h 291"/>
                <a:gd name="T46" fmla="*/ 37589 w 485"/>
                <a:gd name="T47" fmla="*/ 57526 h 291"/>
                <a:gd name="T48" fmla="*/ 38454 w 485"/>
                <a:gd name="T49" fmla="*/ 54935 h 291"/>
                <a:gd name="T50" fmla="*/ 40614 w 485"/>
                <a:gd name="T51" fmla="*/ 51825 h 291"/>
                <a:gd name="T52" fmla="*/ 43638 w 485"/>
                <a:gd name="T53" fmla="*/ 49234 h 291"/>
                <a:gd name="T54" fmla="*/ 45799 w 485"/>
                <a:gd name="T55" fmla="*/ 48198 h 291"/>
                <a:gd name="T56" fmla="*/ 45799 w 485"/>
                <a:gd name="T57" fmla="*/ 39387 h 291"/>
                <a:gd name="T58" fmla="*/ 47095 w 485"/>
                <a:gd name="T59" fmla="*/ 36278 h 291"/>
                <a:gd name="T60" fmla="*/ 48823 w 485"/>
                <a:gd name="T61" fmla="*/ 34723 h 291"/>
                <a:gd name="T62" fmla="*/ 52712 w 485"/>
                <a:gd name="T63" fmla="*/ 35760 h 291"/>
                <a:gd name="T64" fmla="*/ 55304 w 485"/>
                <a:gd name="T65" fmla="*/ 35760 h 291"/>
                <a:gd name="T66" fmla="*/ 57032 w 485"/>
                <a:gd name="T67" fmla="*/ 34205 h 291"/>
                <a:gd name="T68" fmla="*/ 57896 w 485"/>
                <a:gd name="T69" fmla="*/ 29022 h 291"/>
                <a:gd name="T70" fmla="*/ 60057 w 485"/>
                <a:gd name="T71" fmla="*/ 22803 h 291"/>
                <a:gd name="T72" fmla="*/ 62217 w 485"/>
                <a:gd name="T73" fmla="*/ 20212 h 291"/>
                <a:gd name="T74" fmla="*/ 92029 w 485"/>
                <a:gd name="T75" fmla="*/ 0 h 29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35" name="Freeform 444">
              <a:extLst>
                <a:ext uri="{FF2B5EF4-FFF2-40B4-BE49-F238E27FC236}">
                  <a16:creationId xmlns:a16="http://schemas.microsoft.com/office/drawing/2014/main" id="{E7B65613-FE1D-454C-8EBC-EC0241C20424}"/>
                </a:ext>
              </a:extLst>
            </p:cNvPr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5888038" y="2228851"/>
              <a:ext cx="82550" cy="87313"/>
            </a:xfrm>
            <a:custGeom>
              <a:avLst/>
              <a:gdLst>
                <a:gd name="T0" fmla="*/ 38168 w 186"/>
                <a:gd name="T1" fmla="*/ 77319 h 166"/>
                <a:gd name="T2" fmla="*/ 36837 w 186"/>
                <a:gd name="T3" fmla="*/ 71534 h 166"/>
                <a:gd name="T4" fmla="*/ 34618 w 186"/>
                <a:gd name="T5" fmla="*/ 66800 h 166"/>
                <a:gd name="T6" fmla="*/ 32842 w 186"/>
                <a:gd name="T7" fmla="*/ 62066 h 166"/>
                <a:gd name="T8" fmla="*/ 31067 w 186"/>
                <a:gd name="T9" fmla="*/ 57858 h 166"/>
                <a:gd name="T10" fmla="*/ 26629 w 186"/>
                <a:gd name="T11" fmla="*/ 49968 h 166"/>
                <a:gd name="T12" fmla="*/ 21747 w 186"/>
                <a:gd name="T13" fmla="*/ 43131 h 166"/>
                <a:gd name="T14" fmla="*/ 16421 w 186"/>
                <a:gd name="T15" fmla="*/ 36819 h 166"/>
                <a:gd name="T16" fmla="*/ 11095 w 186"/>
                <a:gd name="T17" fmla="*/ 29455 h 166"/>
                <a:gd name="T18" fmla="*/ 5770 w 186"/>
                <a:gd name="T19" fmla="*/ 19987 h 166"/>
                <a:gd name="T20" fmla="*/ 0 w 186"/>
                <a:gd name="T21" fmla="*/ 9468 h 166"/>
                <a:gd name="T22" fmla="*/ 0 w 186"/>
                <a:gd name="T23" fmla="*/ 0 h 166"/>
                <a:gd name="T24" fmla="*/ 3107 w 186"/>
                <a:gd name="T25" fmla="*/ 1052 h 166"/>
                <a:gd name="T26" fmla="*/ 6213 w 186"/>
                <a:gd name="T27" fmla="*/ 1578 h 166"/>
                <a:gd name="T28" fmla="*/ 8876 w 186"/>
                <a:gd name="T29" fmla="*/ 2104 h 166"/>
                <a:gd name="T30" fmla="*/ 11983 w 186"/>
                <a:gd name="T31" fmla="*/ 2104 h 166"/>
                <a:gd name="T32" fmla="*/ 14646 w 186"/>
                <a:gd name="T33" fmla="*/ 2104 h 166"/>
                <a:gd name="T34" fmla="*/ 17753 w 186"/>
                <a:gd name="T35" fmla="*/ 1578 h 166"/>
                <a:gd name="T36" fmla="*/ 20859 w 186"/>
                <a:gd name="T37" fmla="*/ 1052 h 166"/>
                <a:gd name="T38" fmla="*/ 23522 w 186"/>
                <a:gd name="T39" fmla="*/ 0 h 166"/>
                <a:gd name="T40" fmla="*/ 62134 w 186"/>
                <a:gd name="T41" fmla="*/ 6312 h 166"/>
                <a:gd name="T42" fmla="*/ 82550 w 186"/>
                <a:gd name="T43" fmla="*/ 47864 h 166"/>
                <a:gd name="T44" fmla="*/ 75893 w 186"/>
                <a:gd name="T45" fmla="*/ 58910 h 166"/>
                <a:gd name="T46" fmla="*/ 68792 w 186"/>
                <a:gd name="T47" fmla="*/ 67852 h 166"/>
                <a:gd name="T48" fmla="*/ 66129 w 186"/>
                <a:gd name="T49" fmla="*/ 72060 h 166"/>
                <a:gd name="T50" fmla="*/ 63910 w 186"/>
                <a:gd name="T51" fmla="*/ 76267 h 166"/>
                <a:gd name="T52" fmla="*/ 63022 w 186"/>
                <a:gd name="T53" fmla="*/ 78897 h 166"/>
                <a:gd name="T54" fmla="*/ 62578 w 186"/>
                <a:gd name="T55" fmla="*/ 82053 h 166"/>
                <a:gd name="T56" fmla="*/ 62134 w 186"/>
                <a:gd name="T57" fmla="*/ 84683 h 166"/>
                <a:gd name="T58" fmla="*/ 62134 w 186"/>
                <a:gd name="T59" fmla="*/ 87313 h 166"/>
                <a:gd name="T60" fmla="*/ 38168 w 186"/>
                <a:gd name="T61" fmla="*/ 77319 h 16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36" name="Freeform 445">
              <a:extLst>
                <a:ext uri="{FF2B5EF4-FFF2-40B4-BE49-F238E27FC236}">
                  <a16:creationId xmlns:a16="http://schemas.microsoft.com/office/drawing/2014/main" id="{A79A8E34-0566-4161-A05B-5DFF2C91B027}"/>
                </a:ext>
              </a:extLst>
            </p:cNvPr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4252913" y="3665538"/>
              <a:ext cx="82550" cy="57150"/>
            </a:xfrm>
            <a:custGeom>
              <a:avLst/>
              <a:gdLst>
                <a:gd name="T0" fmla="*/ 67904 w 186"/>
                <a:gd name="T1" fmla="*/ 11540 h 104"/>
                <a:gd name="T2" fmla="*/ 64797 w 186"/>
                <a:gd name="T3" fmla="*/ 11540 h 104"/>
                <a:gd name="T4" fmla="*/ 62578 w 186"/>
                <a:gd name="T5" fmla="*/ 10990 h 104"/>
                <a:gd name="T6" fmla="*/ 60359 w 186"/>
                <a:gd name="T7" fmla="*/ 9891 h 104"/>
                <a:gd name="T8" fmla="*/ 59028 w 186"/>
                <a:gd name="T9" fmla="*/ 8243 h 104"/>
                <a:gd name="T10" fmla="*/ 57696 w 186"/>
                <a:gd name="T11" fmla="*/ 7144 h 104"/>
                <a:gd name="T12" fmla="*/ 55477 w 186"/>
                <a:gd name="T13" fmla="*/ 6045 h 104"/>
                <a:gd name="T14" fmla="*/ 53258 w 186"/>
                <a:gd name="T15" fmla="*/ 5495 h 104"/>
                <a:gd name="T16" fmla="*/ 50151 w 186"/>
                <a:gd name="T17" fmla="*/ 4946 h 104"/>
                <a:gd name="T18" fmla="*/ 44382 w 186"/>
                <a:gd name="T19" fmla="*/ 4396 h 104"/>
                <a:gd name="T20" fmla="*/ 39056 w 186"/>
                <a:gd name="T21" fmla="*/ 3297 h 104"/>
                <a:gd name="T22" fmla="*/ 33286 w 186"/>
                <a:gd name="T23" fmla="*/ 1649 h 104"/>
                <a:gd name="T24" fmla="*/ 28404 w 186"/>
                <a:gd name="T25" fmla="*/ 550 h 104"/>
                <a:gd name="T26" fmla="*/ 26629 w 186"/>
                <a:gd name="T27" fmla="*/ 0 h 104"/>
                <a:gd name="T28" fmla="*/ 23966 w 186"/>
                <a:gd name="T29" fmla="*/ 0 h 104"/>
                <a:gd name="T30" fmla="*/ 22635 w 186"/>
                <a:gd name="T31" fmla="*/ 550 h 104"/>
                <a:gd name="T32" fmla="*/ 20416 w 186"/>
                <a:gd name="T33" fmla="*/ 1099 h 104"/>
                <a:gd name="T34" fmla="*/ 19528 w 186"/>
                <a:gd name="T35" fmla="*/ 2198 h 104"/>
                <a:gd name="T36" fmla="*/ 18640 w 186"/>
                <a:gd name="T37" fmla="*/ 3297 h 104"/>
                <a:gd name="T38" fmla="*/ 18197 w 186"/>
                <a:gd name="T39" fmla="*/ 5495 h 104"/>
                <a:gd name="T40" fmla="*/ 17753 w 186"/>
                <a:gd name="T41" fmla="*/ 8243 h 104"/>
                <a:gd name="T42" fmla="*/ 15090 w 186"/>
                <a:gd name="T43" fmla="*/ 14837 h 104"/>
                <a:gd name="T44" fmla="*/ 8876 w 186"/>
                <a:gd name="T45" fmla="*/ 25827 h 104"/>
                <a:gd name="T46" fmla="*/ 3107 w 186"/>
                <a:gd name="T47" fmla="*/ 36268 h 104"/>
                <a:gd name="T48" fmla="*/ 0 w 186"/>
                <a:gd name="T49" fmla="*/ 42313 h 104"/>
                <a:gd name="T50" fmla="*/ 3551 w 186"/>
                <a:gd name="T51" fmla="*/ 42313 h 104"/>
                <a:gd name="T52" fmla="*/ 7101 w 186"/>
                <a:gd name="T53" fmla="*/ 42862 h 104"/>
                <a:gd name="T54" fmla="*/ 9320 w 186"/>
                <a:gd name="T55" fmla="*/ 43412 h 104"/>
                <a:gd name="T56" fmla="*/ 11095 w 186"/>
                <a:gd name="T57" fmla="*/ 44511 h 104"/>
                <a:gd name="T58" fmla="*/ 14646 w 186"/>
                <a:gd name="T59" fmla="*/ 46709 h 104"/>
                <a:gd name="T60" fmla="*/ 17753 w 186"/>
                <a:gd name="T61" fmla="*/ 48907 h 104"/>
                <a:gd name="T62" fmla="*/ 19972 w 186"/>
                <a:gd name="T63" fmla="*/ 51655 h 104"/>
                <a:gd name="T64" fmla="*/ 23078 w 186"/>
                <a:gd name="T65" fmla="*/ 53853 h 104"/>
                <a:gd name="T66" fmla="*/ 24854 w 186"/>
                <a:gd name="T67" fmla="*/ 54952 h 104"/>
                <a:gd name="T68" fmla="*/ 27073 w 186"/>
                <a:gd name="T69" fmla="*/ 55501 h 104"/>
                <a:gd name="T70" fmla="*/ 29292 w 186"/>
                <a:gd name="T71" fmla="*/ 56051 h 104"/>
                <a:gd name="T72" fmla="*/ 32842 w 186"/>
                <a:gd name="T73" fmla="*/ 56051 h 104"/>
                <a:gd name="T74" fmla="*/ 47488 w 186"/>
                <a:gd name="T75" fmla="*/ 56600 h 104"/>
                <a:gd name="T76" fmla="*/ 58140 w 186"/>
                <a:gd name="T77" fmla="*/ 57150 h 104"/>
                <a:gd name="T78" fmla="*/ 59915 w 186"/>
                <a:gd name="T79" fmla="*/ 56600 h 104"/>
                <a:gd name="T80" fmla="*/ 61691 w 186"/>
                <a:gd name="T81" fmla="*/ 56051 h 104"/>
                <a:gd name="T82" fmla="*/ 63022 w 186"/>
                <a:gd name="T83" fmla="*/ 54952 h 104"/>
                <a:gd name="T84" fmla="*/ 64353 w 186"/>
                <a:gd name="T85" fmla="*/ 53303 h 104"/>
                <a:gd name="T86" fmla="*/ 65241 w 186"/>
                <a:gd name="T87" fmla="*/ 51655 h 104"/>
                <a:gd name="T88" fmla="*/ 66573 w 186"/>
                <a:gd name="T89" fmla="*/ 48358 h 104"/>
                <a:gd name="T90" fmla="*/ 67460 w 186"/>
                <a:gd name="T91" fmla="*/ 45610 h 104"/>
                <a:gd name="T92" fmla="*/ 67904 w 186"/>
                <a:gd name="T93" fmla="*/ 42313 h 104"/>
                <a:gd name="T94" fmla="*/ 82550 w 186"/>
                <a:gd name="T95" fmla="*/ 14837 h 104"/>
                <a:gd name="T96" fmla="*/ 67904 w 186"/>
                <a:gd name="T97" fmla="*/ 11540 h 1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37" name="Freeform 446">
              <a:extLst>
                <a:ext uri="{FF2B5EF4-FFF2-40B4-BE49-F238E27FC236}">
                  <a16:creationId xmlns:a16="http://schemas.microsoft.com/office/drawing/2014/main" id="{5E3F6AF8-146F-4D7F-9759-DB7B64CED254}"/>
                </a:ext>
              </a:extLst>
            </p:cNvPr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6046788" y="2263775"/>
              <a:ext cx="133350" cy="96838"/>
            </a:xfrm>
            <a:custGeom>
              <a:avLst/>
              <a:gdLst>
                <a:gd name="T0" fmla="*/ 33873 w 311"/>
                <a:gd name="T1" fmla="*/ 20558 h 179"/>
                <a:gd name="T2" fmla="*/ 49309 w 311"/>
                <a:gd name="T3" fmla="*/ 14066 h 179"/>
                <a:gd name="T4" fmla="*/ 63459 w 311"/>
                <a:gd name="T5" fmla="*/ 7574 h 179"/>
                <a:gd name="T6" fmla="*/ 76323 w 311"/>
                <a:gd name="T7" fmla="*/ 2164 h 179"/>
                <a:gd name="T8" fmla="*/ 90472 w 311"/>
                <a:gd name="T9" fmla="*/ 0 h 179"/>
                <a:gd name="T10" fmla="*/ 101192 w 311"/>
                <a:gd name="T11" fmla="*/ 1082 h 179"/>
                <a:gd name="T12" fmla="*/ 109767 w 311"/>
                <a:gd name="T13" fmla="*/ 3246 h 179"/>
                <a:gd name="T14" fmla="*/ 125203 w 311"/>
                <a:gd name="T15" fmla="*/ 6492 h 179"/>
                <a:gd name="T16" fmla="*/ 123059 w 311"/>
                <a:gd name="T17" fmla="*/ 15148 h 179"/>
                <a:gd name="T18" fmla="*/ 119200 w 311"/>
                <a:gd name="T19" fmla="*/ 22722 h 179"/>
                <a:gd name="T20" fmla="*/ 115341 w 311"/>
                <a:gd name="T21" fmla="*/ 28673 h 179"/>
                <a:gd name="T22" fmla="*/ 113626 w 311"/>
                <a:gd name="T23" fmla="*/ 33542 h 179"/>
                <a:gd name="T24" fmla="*/ 114055 w 311"/>
                <a:gd name="T25" fmla="*/ 35706 h 179"/>
                <a:gd name="T26" fmla="*/ 116199 w 311"/>
                <a:gd name="T27" fmla="*/ 38411 h 179"/>
                <a:gd name="T28" fmla="*/ 122202 w 311"/>
                <a:gd name="T29" fmla="*/ 42739 h 179"/>
                <a:gd name="T30" fmla="*/ 133350 w 311"/>
                <a:gd name="T31" fmla="*/ 50312 h 179"/>
                <a:gd name="T32" fmla="*/ 123059 w 311"/>
                <a:gd name="T33" fmla="*/ 57886 h 179"/>
                <a:gd name="T34" fmla="*/ 120487 w 311"/>
                <a:gd name="T35" fmla="*/ 62214 h 179"/>
                <a:gd name="T36" fmla="*/ 119200 w 311"/>
                <a:gd name="T37" fmla="*/ 69788 h 179"/>
                <a:gd name="T38" fmla="*/ 108052 w 311"/>
                <a:gd name="T39" fmla="*/ 73575 h 179"/>
                <a:gd name="T40" fmla="*/ 90472 w 311"/>
                <a:gd name="T41" fmla="*/ 80067 h 179"/>
                <a:gd name="T42" fmla="*/ 81897 w 311"/>
                <a:gd name="T43" fmla="*/ 90887 h 179"/>
                <a:gd name="T44" fmla="*/ 76323 w 311"/>
                <a:gd name="T45" fmla="*/ 95215 h 179"/>
                <a:gd name="T46" fmla="*/ 70748 w 311"/>
                <a:gd name="T47" fmla="*/ 96838 h 179"/>
                <a:gd name="T48" fmla="*/ 64745 w 311"/>
                <a:gd name="T49" fmla="*/ 94674 h 179"/>
                <a:gd name="T50" fmla="*/ 58743 w 311"/>
                <a:gd name="T51" fmla="*/ 90346 h 179"/>
                <a:gd name="T52" fmla="*/ 51453 w 311"/>
                <a:gd name="T53" fmla="*/ 85477 h 179"/>
                <a:gd name="T54" fmla="*/ 42020 w 311"/>
                <a:gd name="T55" fmla="*/ 83854 h 179"/>
                <a:gd name="T56" fmla="*/ 28299 w 311"/>
                <a:gd name="T57" fmla="*/ 83854 h 179"/>
                <a:gd name="T58" fmla="*/ 21868 w 311"/>
                <a:gd name="T59" fmla="*/ 84936 h 179"/>
                <a:gd name="T60" fmla="*/ 16722 w 311"/>
                <a:gd name="T61" fmla="*/ 87100 h 179"/>
                <a:gd name="T62" fmla="*/ 15436 w 311"/>
                <a:gd name="T63" fmla="*/ 76821 h 179"/>
                <a:gd name="T64" fmla="*/ 13721 w 311"/>
                <a:gd name="T65" fmla="*/ 66542 h 179"/>
                <a:gd name="T66" fmla="*/ 9004 w 311"/>
                <a:gd name="T67" fmla="*/ 69247 h 179"/>
                <a:gd name="T68" fmla="*/ 5574 w 311"/>
                <a:gd name="T69" fmla="*/ 69788 h 179"/>
                <a:gd name="T70" fmla="*/ 3001 w 311"/>
                <a:gd name="T71" fmla="*/ 68165 h 179"/>
                <a:gd name="T72" fmla="*/ 1286 w 311"/>
                <a:gd name="T73" fmla="*/ 65460 h 179"/>
                <a:gd name="T74" fmla="*/ 0 w 311"/>
                <a:gd name="T75" fmla="*/ 56804 h 179"/>
                <a:gd name="T76" fmla="*/ 0 w 311"/>
                <a:gd name="T77" fmla="*/ 47067 h 179"/>
                <a:gd name="T78" fmla="*/ 1286 w 311"/>
                <a:gd name="T79" fmla="*/ 44362 h 179"/>
                <a:gd name="T80" fmla="*/ 5574 w 311"/>
                <a:gd name="T81" fmla="*/ 42198 h 179"/>
                <a:gd name="T82" fmla="*/ 9004 w 311"/>
                <a:gd name="T83" fmla="*/ 38952 h 179"/>
                <a:gd name="T84" fmla="*/ 10719 w 311"/>
                <a:gd name="T85" fmla="*/ 36788 h 179"/>
                <a:gd name="T86" fmla="*/ 11148 w 311"/>
                <a:gd name="T87" fmla="*/ 33542 h 179"/>
                <a:gd name="T88" fmla="*/ 10291 w 311"/>
                <a:gd name="T89" fmla="*/ 27591 h 179"/>
                <a:gd name="T90" fmla="*/ 8147 w 311"/>
                <a:gd name="T91" fmla="*/ 23263 h 179"/>
                <a:gd name="T92" fmla="*/ 3430 w 311"/>
                <a:gd name="T93" fmla="*/ 15689 h 179"/>
                <a:gd name="T94" fmla="*/ 429 w 311"/>
                <a:gd name="T95" fmla="*/ 9738 h 179"/>
                <a:gd name="T96" fmla="*/ 429 w 311"/>
                <a:gd name="T97" fmla="*/ 7033 h 179"/>
                <a:gd name="T98" fmla="*/ 2573 w 311"/>
                <a:gd name="T99" fmla="*/ 3246 h 179"/>
                <a:gd name="T100" fmla="*/ 0 w 311"/>
                <a:gd name="T101" fmla="*/ 3246 h 17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38" name="Freeform 447">
              <a:extLst>
                <a:ext uri="{FF2B5EF4-FFF2-40B4-BE49-F238E27FC236}">
                  <a16:creationId xmlns:a16="http://schemas.microsoft.com/office/drawing/2014/main" id="{03D3F1AE-21DF-4AA7-9C8F-98BC1A81BF9E}"/>
                </a:ext>
              </a:extLst>
            </p:cNvPr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5402263" y="3190875"/>
              <a:ext cx="177800" cy="165100"/>
            </a:xfrm>
            <a:custGeom>
              <a:avLst/>
              <a:gdLst>
                <a:gd name="T0" fmla="*/ 2634 w 405"/>
                <a:gd name="T1" fmla="*/ 136707 h 314"/>
                <a:gd name="T2" fmla="*/ 5707 w 405"/>
                <a:gd name="T3" fmla="*/ 124614 h 314"/>
                <a:gd name="T4" fmla="*/ 7463 w 405"/>
                <a:gd name="T5" fmla="*/ 106211 h 314"/>
                <a:gd name="T6" fmla="*/ 10097 w 405"/>
                <a:gd name="T7" fmla="*/ 90963 h 314"/>
                <a:gd name="T8" fmla="*/ 14048 w 405"/>
                <a:gd name="T9" fmla="*/ 85179 h 314"/>
                <a:gd name="T10" fmla="*/ 21073 w 405"/>
                <a:gd name="T11" fmla="*/ 78869 h 314"/>
                <a:gd name="T12" fmla="*/ 31609 w 405"/>
                <a:gd name="T13" fmla="*/ 74137 h 314"/>
                <a:gd name="T14" fmla="*/ 40828 w 405"/>
                <a:gd name="T15" fmla="*/ 70457 h 314"/>
                <a:gd name="T16" fmla="*/ 45657 w 405"/>
                <a:gd name="T17" fmla="*/ 65725 h 314"/>
                <a:gd name="T18" fmla="*/ 49608 w 405"/>
                <a:gd name="T19" fmla="*/ 59941 h 314"/>
                <a:gd name="T20" fmla="*/ 53999 w 405"/>
                <a:gd name="T21" fmla="*/ 48899 h 314"/>
                <a:gd name="T22" fmla="*/ 59706 w 405"/>
                <a:gd name="T23" fmla="*/ 36280 h 314"/>
                <a:gd name="T24" fmla="*/ 64535 w 405"/>
                <a:gd name="T25" fmla="*/ 28919 h 314"/>
                <a:gd name="T26" fmla="*/ 68047 w 405"/>
                <a:gd name="T27" fmla="*/ 26816 h 314"/>
                <a:gd name="T28" fmla="*/ 74632 w 405"/>
                <a:gd name="T29" fmla="*/ 26816 h 314"/>
                <a:gd name="T30" fmla="*/ 82973 w 405"/>
                <a:gd name="T31" fmla="*/ 25238 h 314"/>
                <a:gd name="T32" fmla="*/ 93510 w 405"/>
                <a:gd name="T33" fmla="*/ 18403 h 314"/>
                <a:gd name="T34" fmla="*/ 104046 w 405"/>
                <a:gd name="T35" fmla="*/ 10516 h 314"/>
                <a:gd name="T36" fmla="*/ 112826 w 405"/>
                <a:gd name="T37" fmla="*/ 5784 h 314"/>
                <a:gd name="T38" fmla="*/ 123801 w 405"/>
                <a:gd name="T39" fmla="*/ 2103 h 314"/>
                <a:gd name="T40" fmla="*/ 137850 w 405"/>
                <a:gd name="T41" fmla="*/ 0 h 314"/>
                <a:gd name="T42" fmla="*/ 145752 w 405"/>
                <a:gd name="T43" fmla="*/ 7361 h 314"/>
                <a:gd name="T44" fmla="*/ 147947 w 405"/>
                <a:gd name="T45" fmla="*/ 17877 h 314"/>
                <a:gd name="T46" fmla="*/ 150581 w 405"/>
                <a:gd name="T47" fmla="*/ 26290 h 314"/>
                <a:gd name="T48" fmla="*/ 154532 w 405"/>
                <a:gd name="T49" fmla="*/ 32599 h 314"/>
                <a:gd name="T50" fmla="*/ 161557 w 405"/>
                <a:gd name="T51" fmla="*/ 38909 h 314"/>
                <a:gd name="T52" fmla="*/ 167703 w 405"/>
                <a:gd name="T53" fmla="*/ 44693 h 314"/>
                <a:gd name="T54" fmla="*/ 171215 w 405"/>
                <a:gd name="T55" fmla="*/ 48899 h 314"/>
                <a:gd name="T56" fmla="*/ 173849 w 405"/>
                <a:gd name="T57" fmla="*/ 60467 h 314"/>
                <a:gd name="T58" fmla="*/ 174727 w 405"/>
                <a:gd name="T59" fmla="*/ 75189 h 314"/>
                <a:gd name="T60" fmla="*/ 174727 w 405"/>
                <a:gd name="T61" fmla="*/ 89385 h 314"/>
                <a:gd name="T62" fmla="*/ 176483 w 405"/>
                <a:gd name="T63" fmla="*/ 103056 h 314"/>
                <a:gd name="T64" fmla="*/ 174727 w 405"/>
                <a:gd name="T65" fmla="*/ 114098 h 314"/>
                <a:gd name="T66" fmla="*/ 167703 w 405"/>
                <a:gd name="T67" fmla="*/ 118830 h 314"/>
                <a:gd name="T68" fmla="*/ 160240 w 405"/>
                <a:gd name="T69" fmla="*/ 126717 h 314"/>
                <a:gd name="T70" fmla="*/ 159361 w 405"/>
                <a:gd name="T71" fmla="*/ 124614 h 314"/>
                <a:gd name="T72" fmla="*/ 157166 w 405"/>
                <a:gd name="T73" fmla="*/ 122511 h 314"/>
                <a:gd name="T74" fmla="*/ 150142 w 405"/>
                <a:gd name="T75" fmla="*/ 119356 h 314"/>
                <a:gd name="T76" fmla="*/ 140045 w 405"/>
                <a:gd name="T77" fmla="*/ 117253 h 314"/>
                <a:gd name="T78" fmla="*/ 66730 w 405"/>
                <a:gd name="T79" fmla="*/ 126717 h 314"/>
                <a:gd name="T80" fmla="*/ 65852 w 405"/>
                <a:gd name="T81" fmla="*/ 135130 h 314"/>
                <a:gd name="T82" fmla="*/ 65852 w 405"/>
                <a:gd name="T83" fmla="*/ 144068 h 314"/>
                <a:gd name="T84" fmla="*/ 66730 w 405"/>
                <a:gd name="T85" fmla="*/ 165100 h 314"/>
                <a:gd name="T86" fmla="*/ 61023 w 405"/>
                <a:gd name="T87" fmla="*/ 164048 h 314"/>
                <a:gd name="T88" fmla="*/ 55316 w 405"/>
                <a:gd name="T89" fmla="*/ 160368 h 314"/>
                <a:gd name="T90" fmla="*/ 43901 w 405"/>
                <a:gd name="T91" fmla="*/ 152481 h 314"/>
                <a:gd name="T92" fmla="*/ 39072 w 405"/>
                <a:gd name="T93" fmla="*/ 161419 h 314"/>
                <a:gd name="T94" fmla="*/ 35999 w 405"/>
                <a:gd name="T95" fmla="*/ 164048 h 314"/>
                <a:gd name="T96" fmla="*/ 32048 w 405"/>
                <a:gd name="T97" fmla="*/ 165100 h 314"/>
                <a:gd name="T98" fmla="*/ 26341 w 405"/>
                <a:gd name="T99" fmla="*/ 163523 h 314"/>
                <a:gd name="T100" fmla="*/ 20634 w 405"/>
                <a:gd name="T101" fmla="*/ 158790 h 314"/>
                <a:gd name="T102" fmla="*/ 12292 w 405"/>
                <a:gd name="T103" fmla="*/ 153007 h 314"/>
                <a:gd name="T104" fmla="*/ 0 w 405"/>
                <a:gd name="T105" fmla="*/ 149326 h 31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39" name="Freeform 448">
              <a:extLst>
                <a:ext uri="{FF2B5EF4-FFF2-40B4-BE49-F238E27FC236}">
                  <a16:creationId xmlns:a16="http://schemas.microsoft.com/office/drawing/2014/main" id="{36ED053C-F658-4A35-9741-1E27FAD12155}"/>
                </a:ext>
              </a:extLst>
            </p:cNvPr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5749926" y="3259138"/>
              <a:ext cx="193675" cy="349250"/>
            </a:xfrm>
            <a:custGeom>
              <a:avLst/>
              <a:gdLst>
                <a:gd name="T0" fmla="*/ 143225 w 453"/>
                <a:gd name="T1" fmla="*/ 19021 h 661"/>
                <a:gd name="T2" fmla="*/ 137240 w 453"/>
                <a:gd name="T3" fmla="*/ 51780 h 661"/>
                <a:gd name="T4" fmla="*/ 118428 w 453"/>
                <a:gd name="T5" fmla="*/ 85595 h 661"/>
                <a:gd name="T6" fmla="*/ 108167 w 453"/>
                <a:gd name="T7" fmla="*/ 115712 h 661"/>
                <a:gd name="T8" fmla="*/ 99189 w 453"/>
                <a:gd name="T9" fmla="*/ 143716 h 661"/>
                <a:gd name="T10" fmla="*/ 89356 w 453"/>
                <a:gd name="T11" fmla="*/ 173832 h 661"/>
                <a:gd name="T12" fmla="*/ 83798 w 453"/>
                <a:gd name="T13" fmla="*/ 191269 h 661"/>
                <a:gd name="T14" fmla="*/ 76957 w 453"/>
                <a:gd name="T15" fmla="*/ 200779 h 661"/>
                <a:gd name="T16" fmla="*/ 71399 w 453"/>
                <a:gd name="T17" fmla="*/ 206063 h 661"/>
                <a:gd name="T18" fmla="*/ 60283 w 453"/>
                <a:gd name="T19" fmla="*/ 201836 h 661"/>
                <a:gd name="T20" fmla="*/ 51732 w 453"/>
                <a:gd name="T21" fmla="*/ 195495 h 661"/>
                <a:gd name="T22" fmla="*/ 40189 w 453"/>
                <a:gd name="T23" fmla="*/ 193910 h 661"/>
                <a:gd name="T24" fmla="*/ 27362 w 453"/>
                <a:gd name="T25" fmla="*/ 200779 h 661"/>
                <a:gd name="T26" fmla="*/ 18812 w 453"/>
                <a:gd name="T27" fmla="*/ 212932 h 661"/>
                <a:gd name="T28" fmla="*/ 8978 w 453"/>
                <a:gd name="T29" fmla="*/ 239878 h 661"/>
                <a:gd name="T30" fmla="*/ 2993 w 453"/>
                <a:gd name="T31" fmla="*/ 254672 h 661"/>
                <a:gd name="T32" fmla="*/ 428 w 453"/>
                <a:gd name="T33" fmla="*/ 264183 h 661"/>
                <a:gd name="T34" fmla="*/ 3420 w 453"/>
                <a:gd name="T35" fmla="*/ 273165 h 661"/>
                <a:gd name="T36" fmla="*/ 8551 w 453"/>
                <a:gd name="T37" fmla="*/ 277921 h 661"/>
                <a:gd name="T38" fmla="*/ 23515 w 453"/>
                <a:gd name="T39" fmla="*/ 277921 h 661"/>
                <a:gd name="T40" fmla="*/ 30355 w 453"/>
                <a:gd name="T41" fmla="*/ 289545 h 661"/>
                <a:gd name="T42" fmla="*/ 31210 w 453"/>
                <a:gd name="T43" fmla="*/ 311736 h 661"/>
                <a:gd name="T44" fmla="*/ 28645 w 453"/>
                <a:gd name="T45" fmla="*/ 332871 h 661"/>
                <a:gd name="T46" fmla="*/ 185124 w 453"/>
                <a:gd name="T47" fmla="*/ 349250 h 661"/>
                <a:gd name="T48" fmla="*/ 188972 w 453"/>
                <a:gd name="T49" fmla="*/ 307509 h 661"/>
                <a:gd name="T50" fmla="*/ 177429 w 453"/>
                <a:gd name="T51" fmla="*/ 300112 h 661"/>
                <a:gd name="T52" fmla="*/ 159472 w 453"/>
                <a:gd name="T53" fmla="*/ 294300 h 661"/>
                <a:gd name="T54" fmla="*/ 150921 w 453"/>
                <a:gd name="T55" fmla="*/ 290073 h 661"/>
                <a:gd name="T56" fmla="*/ 145363 w 453"/>
                <a:gd name="T57" fmla="*/ 283733 h 661"/>
                <a:gd name="T58" fmla="*/ 142370 w 453"/>
                <a:gd name="T59" fmla="*/ 272109 h 661"/>
                <a:gd name="T60" fmla="*/ 142370 w 453"/>
                <a:gd name="T61" fmla="*/ 245162 h 661"/>
                <a:gd name="T62" fmla="*/ 144081 w 453"/>
                <a:gd name="T63" fmla="*/ 226141 h 661"/>
                <a:gd name="T64" fmla="*/ 150066 w 453"/>
                <a:gd name="T65" fmla="*/ 209761 h 661"/>
                <a:gd name="T66" fmla="*/ 159472 w 453"/>
                <a:gd name="T67" fmla="*/ 192325 h 661"/>
                <a:gd name="T68" fmla="*/ 167595 w 453"/>
                <a:gd name="T69" fmla="*/ 174361 h 661"/>
                <a:gd name="T70" fmla="*/ 170588 w 453"/>
                <a:gd name="T71" fmla="*/ 156925 h 661"/>
                <a:gd name="T72" fmla="*/ 166313 w 453"/>
                <a:gd name="T73" fmla="*/ 141074 h 661"/>
                <a:gd name="T74" fmla="*/ 159472 w 453"/>
                <a:gd name="T75" fmla="*/ 129978 h 661"/>
                <a:gd name="T76" fmla="*/ 146646 w 453"/>
                <a:gd name="T77" fmla="*/ 114655 h 661"/>
                <a:gd name="T78" fmla="*/ 142370 w 453"/>
                <a:gd name="T79" fmla="*/ 101446 h 661"/>
                <a:gd name="T80" fmla="*/ 143225 w 453"/>
                <a:gd name="T81" fmla="*/ 91407 h 661"/>
                <a:gd name="T82" fmla="*/ 150921 w 453"/>
                <a:gd name="T83" fmla="*/ 86652 h 661"/>
                <a:gd name="T84" fmla="*/ 173581 w 453"/>
                <a:gd name="T85" fmla="*/ 85595 h 661"/>
                <a:gd name="T86" fmla="*/ 168878 w 453"/>
                <a:gd name="T87" fmla="*/ 79783 h 661"/>
                <a:gd name="T88" fmla="*/ 162037 w 453"/>
                <a:gd name="T89" fmla="*/ 61819 h 661"/>
                <a:gd name="T90" fmla="*/ 158617 w 453"/>
                <a:gd name="T91" fmla="*/ 38571 h 661"/>
                <a:gd name="T92" fmla="*/ 159472 w 453"/>
                <a:gd name="T93" fmla="*/ 23776 h 661"/>
                <a:gd name="T94" fmla="*/ 156907 w 453"/>
                <a:gd name="T95" fmla="*/ 5812 h 661"/>
                <a:gd name="T96" fmla="*/ 148356 w 453"/>
                <a:gd name="T97" fmla="*/ 0 h 66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40" name="Freeform 449">
              <a:extLst>
                <a:ext uri="{FF2B5EF4-FFF2-40B4-BE49-F238E27FC236}">
                  <a16:creationId xmlns:a16="http://schemas.microsoft.com/office/drawing/2014/main" id="{8C8E1490-25C9-435D-9430-4555C0B28F2E}"/>
                </a:ext>
              </a:extLst>
            </p:cNvPr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8201026" y="3017838"/>
              <a:ext cx="55563" cy="57150"/>
            </a:xfrm>
            <a:custGeom>
              <a:avLst/>
              <a:gdLst>
                <a:gd name="T0" fmla="*/ 0 w 126"/>
                <a:gd name="T1" fmla="*/ 30480 h 105"/>
                <a:gd name="T2" fmla="*/ 1764 w 126"/>
                <a:gd name="T3" fmla="*/ 26670 h 105"/>
                <a:gd name="T4" fmla="*/ 4410 w 126"/>
                <a:gd name="T5" fmla="*/ 22316 h 105"/>
                <a:gd name="T6" fmla="*/ 7056 w 126"/>
                <a:gd name="T7" fmla="*/ 17961 h 105"/>
                <a:gd name="T8" fmla="*/ 10583 w 126"/>
                <a:gd name="T9" fmla="*/ 13607 h 105"/>
                <a:gd name="T10" fmla="*/ 16316 w 126"/>
                <a:gd name="T11" fmla="*/ 5987 h 105"/>
                <a:gd name="T12" fmla="*/ 20726 w 126"/>
                <a:gd name="T13" fmla="*/ 0 h 105"/>
                <a:gd name="T14" fmla="*/ 49830 w 126"/>
                <a:gd name="T15" fmla="*/ 0 h 105"/>
                <a:gd name="T16" fmla="*/ 50271 w 126"/>
                <a:gd name="T17" fmla="*/ 2177 h 105"/>
                <a:gd name="T18" fmla="*/ 50712 w 126"/>
                <a:gd name="T19" fmla="*/ 4354 h 105"/>
                <a:gd name="T20" fmla="*/ 51594 w 126"/>
                <a:gd name="T21" fmla="*/ 6531 h 105"/>
                <a:gd name="T22" fmla="*/ 52476 w 126"/>
                <a:gd name="T23" fmla="*/ 7620 h 105"/>
                <a:gd name="T24" fmla="*/ 54681 w 126"/>
                <a:gd name="T25" fmla="*/ 10886 h 105"/>
                <a:gd name="T26" fmla="*/ 55563 w 126"/>
                <a:gd name="T27" fmla="*/ 13063 h 105"/>
                <a:gd name="T28" fmla="*/ 55563 w 126"/>
                <a:gd name="T29" fmla="*/ 17417 h 105"/>
                <a:gd name="T30" fmla="*/ 55122 w 126"/>
                <a:gd name="T31" fmla="*/ 22316 h 105"/>
                <a:gd name="T32" fmla="*/ 54681 w 126"/>
                <a:gd name="T33" fmla="*/ 26126 h 105"/>
                <a:gd name="T34" fmla="*/ 53799 w 126"/>
                <a:gd name="T35" fmla="*/ 29936 h 105"/>
                <a:gd name="T36" fmla="*/ 52476 w 126"/>
                <a:gd name="T37" fmla="*/ 33746 h 105"/>
                <a:gd name="T38" fmla="*/ 51153 w 126"/>
                <a:gd name="T39" fmla="*/ 37556 h 105"/>
                <a:gd name="T40" fmla="*/ 49389 w 126"/>
                <a:gd name="T41" fmla="*/ 40821 h 105"/>
                <a:gd name="T42" fmla="*/ 47625 w 126"/>
                <a:gd name="T43" fmla="*/ 44087 h 105"/>
                <a:gd name="T44" fmla="*/ 45862 w 126"/>
                <a:gd name="T45" fmla="*/ 46809 h 105"/>
                <a:gd name="T46" fmla="*/ 43657 w 126"/>
                <a:gd name="T47" fmla="*/ 48986 h 105"/>
                <a:gd name="T48" fmla="*/ 41011 w 126"/>
                <a:gd name="T49" fmla="*/ 51163 h 105"/>
                <a:gd name="T50" fmla="*/ 38806 w 126"/>
                <a:gd name="T51" fmla="*/ 53884 h 105"/>
                <a:gd name="T52" fmla="*/ 35719 w 126"/>
                <a:gd name="T53" fmla="*/ 54973 h 105"/>
                <a:gd name="T54" fmla="*/ 32632 w 126"/>
                <a:gd name="T55" fmla="*/ 56061 h 105"/>
                <a:gd name="T56" fmla="*/ 29545 w 126"/>
                <a:gd name="T57" fmla="*/ 57150 h 105"/>
                <a:gd name="T58" fmla="*/ 26459 w 126"/>
                <a:gd name="T59" fmla="*/ 57150 h 105"/>
                <a:gd name="T60" fmla="*/ 21167 w 126"/>
                <a:gd name="T61" fmla="*/ 56606 h 105"/>
                <a:gd name="T62" fmla="*/ 16757 w 126"/>
                <a:gd name="T63" fmla="*/ 55517 h 105"/>
                <a:gd name="T64" fmla="*/ 13670 w 126"/>
                <a:gd name="T65" fmla="*/ 53340 h 105"/>
                <a:gd name="T66" fmla="*/ 10583 w 126"/>
                <a:gd name="T67" fmla="*/ 50074 h 105"/>
                <a:gd name="T68" fmla="*/ 8820 w 126"/>
                <a:gd name="T69" fmla="*/ 46809 h 105"/>
                <a:gd name="T70" fmla="*/ 7056 w 126"/>
                <a:gd name="T71" fmla="*/ 42454 h 105"/>
                <a:gd name="T72" fmla="*/ 6174 w 126"/>
                <a:gd name="T73" fmla="*/ 38100 h 105"/>
                <a:gd name="T74" fmla="*/ 5733 w 126"/>
                <a:gd name="T75" fmla="*/ 33746 h 105"/>
                <a:gd name="T76" fmla="*/ 0 w 126"/>
                <a:gd name="T77" fmla="*/ 30480 h 10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41" name="Freeform 450">
              <a:extLst>
                <a:ext uri="{FF2B5EF4-FFF2-40B4-BE49-F238E27FC236}">
                  <a16:creationId xmlns:a16="http://schemas.microsoft.com/office/drawing/2014/main" id="{EACFFE27-1AAE-4F14-828C-26E0CC75EA9F}"/>
                </a:ext>
              </a:extLst>
            </p:cNvPr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3556000" y="3281364"/>
              <a:ext cx="298450" cy="523875"/>
            </a:xfrm>
            <a:custGeom>
              <a:avLst/>
              <a:gdLst>
                <a:gd name="T0" fmla="*/ 292778 w 684"/>
                <a:gd name="T1" fmla="*/ 300782 h 998"/>
                <a:gd name="T2" fmla="*/ 296705 w 684"/>
                <a:gd name="T3" fmla="*/ 288709 h 998"/>
                <a:gd name="T4" fmla="*/ 292778 w 684"/>
                <a:gd name="T5" fmla="*/ 257738 h 998"/>
                <a:gd name="T6" fmla="*/ 287542 w 684"/>
                <a:gd name="T7" fmla="*/ 222043 h 998"/>
                <a:gd name="T8" fmla="*/ 295832 w 684"/>
                <a:gd name="T9" fmla="*/ 204196 h 998"/>
                <a:gd name="T10" fmla="*/ 243036 w 684"/>
                <a:gd name="T11" fmla="*/ 189498 h 998"/>
                <a:gd name="T12" fmla="*/ 232564 w 684"/>
                <a:gd name="T13" fmla="*/ 171126 h 998"/>
                <a:gd name="T14" fmla="*/ 201585 w 684"/>
                <a:gd name="T15" fmla="*/ 162727 h 998"/>
                <a:gd name="T16" fmla="*/ 175405 w 684"/>
                <a:gd name="T17" fmla="*/ 141730 h 998"/>
                <a:gd name="T18" fmla="*/ 163624 w 684"/>
                <a:gd name="T19" fmla="*/ 105510 h 998"/>
                <a:gd name="T20" fmla="*/ 163624 w 684"/>
                <a:gd name="T21" fmla="*/ 69815 h 998"/>
                <a:gd name="T22" fmla="*/ 172351 w 684"/>
                <a:gd name="T23" fmla="*/ 44094 h 998"/>
                <a:gd name="T24" fmla="*/ 189804 w 684"/>
                <a:gd name="T25" fmla="*/ 25196 h 998"/>
                <a:gd name="T26" fmla="*/ 202021 w 684"/>
                <a:gd name="T27" fmla="*/ 5774 h 998"/>
                <a:gd name="T28" fmla="*/ 169733 w 684"/>
                <a:gd name="T29" fmla="*/ 20472 h 998"/>
                <a:gd name="T30" fmla="*/ 146171 w 684"/>
                <a:gd name="T31" fmla="*/ 35695 h 998"/>
                <a:gd name="T32" fmla="*/ 132644 w 684"/>
                <a:gd name="T33" fmla="*/ 40944 h 998"/>
                <a:gd name="T34" fmla="*/ 121300 w 684"/>
                <a:gd name="T35" fmla="*/ 44094 h 998"/>
                <a:gd name="T36" fmla="*/ 105156 w 684"/>
                <a:gd name="T37" fmla="*/ 42519 h 998"/>
                <a:gd name="T38" fmla="*/ 94684 w 684"/>
                <a:gd name="T39" fmla="*/ 56692 h 998"/>
                <a:gd name="T40" fmla="*/ 85521 w 684"/>
                <a:gd name="T41" fmla="*/ 91862 h 998"/>
                <a:gd name="T42" fmla="*/ 68504 w 684"/>
                <a:gd name="T43" fmla="*/ 119158 h 998"/>
                <a:gd name="T44" fmla="*/ 46687 w 684"/>
                <a:gd name="T45" fmla="*/ 149079 h 998"/>
                <a:gd name="T46" fmla="*/ 39270 w 684"/>
                <a:gd name="T47" fmla="*/ 166401 h 998"/>
                <a:gd name="T48" fmla="*/ 37524 w 684"/>
                <a:gd name="T49" fmla="*/ 186873 h 998"/>
                <a:gd name="T50" fmla="*/ 42324 w 684"/>
                <a:gd name="T51" fmla="*/ 200521 h 998"/>
                <a:gd name="T52" fmla="*/ 42324 w 684"/>
                <a:gd name="T53" fmla="*/ 236741 h 998"/>
                <a:gd name="T54" fmla="*/ 41451 w 684"/>
                <a:gd name="T55" fmla="*/ 275586 h 998"/>
                <a:gd name="T56" fmla="*/ 31416 w 684"/>
                <a:gd name="T57" fmla="*/ 295533 h 998"/>
                <a:gd name="T58" fmla="*/ 16144 w 684"/>
                <a:gd name="T59" fmla="*/ 310756 h 998"/>
                <a:gd name="T60" fmla="*/ 4800 w 684"/>
                <a:gd name="T61" fmla="*/ 321254 h 998"/>
                <a:gd name="T62" fmla="*/ 13090 w 684"/>
                <a:gd name="T63" fmla="*/ 350650 h 998"/>
                <a:gd name="T64" fmla="*/ 53669 w 684"/>
                <a:gd name="T65" fmla="*/ 380571 h 998"/>
                <a:gd name="T66" fmla="*/ 76358 w 684"/>
                <a:gd name="T67" fmla="*/ 382145 h 998"/>
                <a:gd name="T68" fmla="*/ 102101 w 684"/>
                <a:gd name="T69" fmla="*/ 391594 h 998"/>
                <a:gd name="T70" fmla="*/ 130463 w 684"/>
                <a:gd name="T71" fmla="*/ 417315 h 998"/>
                <a:gd name="T72" fmla="*/ 147043 w 684"/>
                <a:gd name="T73" fmla="*/ 446186 h 998"/>
                <a:gd name="T74" fmla="*/ 160133 w 684"/>
                <a:gd name="T75" fmla="*/ 462459 h 998"/>
                <a:gd name="T76" fmla="*/ 179768 w 684"/>
                <a:gd name="T77" fmla="*/ 465083 h 998"/>
                <a:gd name="T78" fmla="*/ 201585 w 684"/>
                <a:gd name="T79" fmla="*/ 459834 h 998"/>
                <a:gd name="T80" fmla="*/ 214675 w 684"/>
                <a:gd name="T81" fmla="*/ 460884 h 998"/>
                <a:gd name="T82" fmla="*/ 224710 w 684"/>
                <a:gd name="T83" fmla="*/ 474532 h 998"/>
                <a:gd name="T84" fmla="*/ 223838 w 684"/>
                <a:gd name="T85" fmla="*/ 483981 h 998"/>
                <a:gd name="T86" fmla="*/ 212929 w 684"/>
                <a:gd name="T87" fmla="*/ 491855 h 998"/>
                <a:gd name="T88" fmla="*/ 212929 w 684"/>
                <a:gd name="T89" fmla="*/ 505503 h 998"/>
                <a:gd name="T90" fmla="*/ 222965 w 684"/>
                <a:gd name="T91" fmla="*/ 521775 h 998"/>
                <a:gd name="T92" fmla="*/ 236491 w 684"/>
                <a:gd name="T93" fmla="*/ 504978 h 998"/>
                <a:gd name="T94" fmla="*/ 246963 w 684"/>
                <a:gd name="T95" fmla="*/ 451960 h 998"/>
                <a:gd name="T96" fmla="*/ 249145 w 684"/>
                <a:gd name="T97" fmla="*/ 421515 h 998"/>
                <a:gd name="T98" fmla="*/ 242163 w 684"/>
                <a:gd name="T99" fmla="*/ 404717 h 998"/>
                <a:gd name="T100" fmla="*/ 228201 w 684"/>
                <a:gd name="T101" fmla="*/ 393169 h 998"/>
                <a:gd name="T102" fmla="*/ 227328 w 684"/>
                <a:gd name="T103" fmla="*/ 379521 h 998"/>
                <a:gd name="T104" fmla="*/ 246963 w 684"/>
                <a:gd name="T105" fmla="*/ 367447 h 998"/>
                <a:gd name="T106" fmla="*/ 242600 w 684"/>
                <a:gd name="T107" fmla="*/ 349075 h 998"/>
                <a:gd name="T108" fmla="*/ 242600 w 684"/>
                <a:gd name="T109" fmla="*/ 340676 h 998"/>
                <a:gd name="T110" fmla="*/ 285796 w 684"/>
                <a:gd name="T111" fmla="*/ 329653 h 99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42" name="Freeform 451">
              <a:extLst>
                <a:ext uri="{FF2B5EF4-FFF2-40B4-BE49-F238E27FC236}">
                  <a16:creationId xmlns:a16="http://schemas.microsoft.com/office/drawing/2014/main" id="{CF030D69-0A19-407C-8C5D-B02186376AE1}"/>
                </a:ext>
              </a:extLst>
            </p:cNvPr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5808664" y="3549650"/>
              <a:ext cx="187325" cy="274638"/>
            </a:xfrm>
            <a:custGeom>
              <a:avLst/>
              <a:gdLst>
                <a:gd name="T0" fmla="*/ 187325 w 429"/>
                <a:gd name="T1" fmla="*/ 11531 h 524"/>
                <a:gd name="T2" fmla="*/ 186888 w 429"/>
                <a:gd name="T3" fmla="*/ 22537 h 524"/>
                <a:gd name="T4" fmla="*/ 185142 w 429"/>
                <a:gd name="T5" fmla="*/ 28302 h 524"/>
                <a:gd name="T6" fmla="*/ 181212 w 429"/>
                <a:gd name="T7" fmla="*/ 35116 h 524"/>
                <a:gd name="T8" fmla="*/ 180339 w 429"/>
                <a:gd name="T9" fmla="*/ 42454 h 524"/>
                <a:gd name="T10" fmla="*/ 180775 w 429"/>
                <a:gd name="T11" fmla="*/ 83859 h 524"/>
                <a:gd name="T12" fmla="*/ 178155 w 429"/>
                <a:gd name="T13" fmla="*/ 108492 h 524"/>
                <a:gd name="T14" fmla="*/ 172915 w 429"/>
                <a:gd name="T15" fmla="*/ 126313 h 524"/>
                <a:gd name="T16" fmla="*/ 162436 w 429"/>
                <a:gd name="T17" fmla="*/ 145705 h 524"/>
                <a:gd name="T18" fmla="*/ 147589 w 429"/>
                <a:gd name="T19" fmla="*/ 161953 h 524"/>
                <a:gd name="T20" fmla="*/ 139293 w 429"/>
                <a:gd name="T21" fmla="*/ 174531 h 524"/>
                <a:gd name="T22" fmla="*/ 136236 w 429"/>
                <a:gd name="T23" fmla="*/ 215937 h 524"/>
                <a:gd name="T24" fmla="*/ 132743 w 429"/>
                <a:gd name="T25" fmla="*/ 230088 h 524"/>
                <a:gd name="T26" fmla="*/ 126630 w 429"/>
                <a:gd name="T27" fmla="*/ 234805 h 524"/>
                <a:gd name="T28" fmla="*/ 117460 w 429"/>
                <a:gd name="T29" fmla="*/ 238474 h 524"/>
                <a:gd name="T30" fmla="*/ 110474 w 429"/>
                <a:gd name="T31" fmla="*/ 247384 h 524"/>
                <a:gd name="T32" fmla="*/ 102177 w 429"/>
                <a:gd name="T33" fmla="*/ 262059 h 524"/>
                <a:gd name="T34" fmla="*/ 97374 w 429"/>
                <a:gd name="T35" fmla="*/ 264680 h 524"/>
                <a:gd name="T36" fmla="*/ 87768 w 429"/>
                <a:gd name="T37" fmla="*/ 264156 h 524"/>
                <a:gd name="T38" fmla="*/ 82528 w 429"/>
                <a:gd name="T39" fmla="*/ 261011 h 524"/>
                <a:gd name="T40" fmla="*/ 63315 w 429"/>
                <a:gd name="T41" fmla="*/ 262059 h 524"/>
                <a:gd name="T42" fmla="*/ 53709 w 429"/>
                <a:gd name="T43" fmla="*/ 262059 h 524"/>
                <a:gd name="T44" fmla="*/ 49342 w 429"/>
                <a:gd name="T45" fmla="*/ 258914 h 524"/>
                <a:gd name="T46" fmla="*/ 41482 w 429"/>
                <a:gd name="T47" fmla="*/ 258390 h 524"/>
                <a:gd name="T48" fmla="*/ 34059 w 429"/>
                <a:gd name="T49" fmla="*/ 263107 h 524"/>
                <a:gd name="T50" fmla="*/ 27073 w 429"/>
                <a:gd name="T51" fmla="*/ 272017 h 524"/>
                <a:gd name="T52" fmla="*/ 11790 w 429"/>
                <a:gd name="T53" fmla="*/ 257342 h 524"/>
                <a:gd name="T54" fmla="*/ 2620 w 429"/>
                <a:gd name="T55" fmla="*/ 234281 h 524"/>
                <a:gd name="T56" fmla="*/ 10916 w 429"/>
                <a:gd name="T57" fmla="*/ 225371 h 524"/>
                <a:gd name="T58" fmla="*/ 18340 w 429"/>
                <a:gd name="T59" fmla="*/ 222226 h 524"/>
                <a:gd name="T60" fmla="*/ 26636 w 429"/>
                <a:gd name="T61" fmla="*/ 224323 h 524"/>
                <a:gd name="T62" fmla="*/ 25326 w 429"/>
                <a:gd name="T63" fmla="*/ 219081 h 524"/>
                <a:gd name="T64" fmla="*/ 19649 w 429"/>
                <a:gd name="T65" fmla="*/ 202310 h 524"/>
                <a:gd name="T66" fmla="*/ 20523 w 429"/>
                <a:gd name="T67" fmla="*/ 191827 h 524"/>
                <a:gd name="T68" fmla="*/ 24889 w 429"/>
                <a:gd name="T69" fmla="*/ 186586 h 524"/>
                <a:gd name="T70" fmla="*/ 31003 w 429"/>
                <a:gd name="T71" fmla="*/ 184490 h 524"/>
                <a:gd name="T72" fmla="*/ 38862 w 429"/>
                <a:gd name="T73" fmla="*/ 176628 h 524"/>
                <a:gd name="T74" fmla="*/ 45412 w 429"/>
                <a:gd name="T75" fmla="*/ 174531 h 524"/>
                <a:gd name="T76" fmla="*/ 50215 w 429"/>
                <a:gd name="T77" fmla="*/ 179248 h 524"/>
                <a:gd name="T78" fmla="*/ 58948 w 429"/>
                <a:gd name="T79" fmla="*/ 188158 h 524"/>
                <a:gd name="T80" fmla="*/ 67245 w 429"/>
                <a:gd name="T81" fmla="*/ 183966 h 524"/>
                <a:gd name="T82" fmla="*/ 79035 w 429"/>
                <a:gd name="T83" fmla="*/ 185014 h 524"/>
                <a:gd name="T84" fmla="*/ 86894 w 429"/>
                <a:gd name="T85" fmla="*/ 178200 h 524"/>
                <a:gd name="T86" fmla="*/ 91698 w 429"/>
                <a:gd name="T87" fmla="*/ 165097 h 524"/>
                <a:gd name="T88" fmla="*/ 93008 w 429"/>
                <a:gd name="T89" fmla="*/ 151994 h 524"/>
                <a:gd name="T90" fmla="*/ 93881 w 429"/>
                <a:gd name="T91" fmla="*/ 140988 h 524"/>
                <a:gd name="T92" fmla="*/ 87768 w 429"/>
                <a:gd name="T93" fmla="*/ 123692 h 524"/>
                <a:gd name="T94" fmla="*/ 82091 w 429"/>
                <a:gd name="T95" fmla="*/ 106396 h 524"/>
                <a:gd name="T96" fmla="*/ 90388 w 429"/>
                <a:gd name="T97" fmla="*/ 92769 h 524"/>
                <a:gd name="T98" fmla="*/ 91698 w 429"/>
                <a:gd name="T99" fmla="*/ 85955 h 524"/>
                <a:gd name="T100" fmla="*/ 87331 w 429"/>
                <a:gd name="T101" fmla="*/ 81238 h 524"/>
                <a:gd name="T102" fmla="*/ 86021 w 429"/>
                <a:gd name="T103" fmla="*/ 71804 h 524"/>
                <a:gd name="T104" fmla="*/ 82091 w 429"/>
                <a:gd name="T105" fmla="*/ 67611 h 524"/>
                <a:gd name="T106" fmla="*/ 70301 w 429"/>
                <a:gd name="T107" fmla="*/ 69184 h 524"/>
                <a:gd name="T108" fmla="*/ 59822 w 429"/>
                <a:gd name="T109" fmla="*/ 68660 h 524"/>
                <a:gd name="T110" fmla="*/ 54582 w 429"/>
                <a:gd name="T111" fmla="*/ 62370 h 524"/>
                <a:gd name="T112" fmla="*/ 53709 w 429"/>
                <a:gd name="T113" fmla="*/ 53984 h 524"/>
                <a:gd name="T114" fmla="*/ 57638 w 429"/>
                <a:gd name="T115" fmla="*/ 39833 h 524"/>
                <a:gd name="T116" fmla="*/ 133616 w 429"/>
                <a:gd name="T117" fmla="*/ 19916 h 524"/>
                <a:gd name="T118" fmla="*/ 141040 w 429"/>
                <a:gd name="T119" fmla="*/ 8910 h 524"/>
                <a:gd name="T120" fmla="*/ 149773 w 429"/>
                <a:gd name="T121" fmla="*/ 3669 h 524"/>
                <a:gd name="T122" fmla="*/ 163309 w 429"/>
                <a:gd name="T123" fmla="*/ 2621 h 524"/>
                <a:gd name="T124" fmla="*/ 178155 w 429"/>
                <a:gd name="T125" fmla="*/ 2096 h 52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43" name="Freeform 452">
              <a:extLst>
                <a:ext uri="{FF2B5EF4-FFF2-40B4-BE49-F238E27FC236}">
                  <a16:creationId xmlns:a16="http://schemas.microsoft.com/office/drawing/2014/main" id="{05826808-951D-4E72-B143-603DA73B3EE5}"/>
                </a:ext>
              </a:extLst>
            </p:cNvPr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5840413" y="2192338"/>
              <a:ext cx="127000" cy="114300"/>
            </a:xfrm>
            <a:custGeom>
              <a:avLst/>
              <a:gdLst>
                <a:gd name="T0" fmla="*/ 112647 w 292"/>
                <a:gd name="T1" fmla="*/ 47668 h 223"/>
                <a:gd name="T2" fmla="*/ 72199 w 292"/>
                <a:gd name="T3" fmla="*/ 39467 h 223"/>
                <a:gd name="T4" fmla="*/ 66110 w 292"/>
                <a:gd name="T5" fmla="*/ 40492 h 223"/>
                <a:gd name="T6" fmla="*/ 60455 w 292"/>
                <a:gd name="T7" fmla="*/ 40492 h 223"/>
                <a:gd name="T8" fmla="*/ 54801 w 292"/>
                <a:gd name="T9" fmla="*/ 39467 h 223"/>
                <a:gd name="T10" fmla="*/ 51757 w 292"/>
                <a:gd name="T11" fmla="*/ 47668 h 223"/>
                <a:gd name="T12" fmla="*/ 62630 w 292"/>
                <a:gd name="T13" fmla="*/ 67145 h 223"/>
                <a:gd name="T14" fmla="*/ 73068 w 292"/>
                <a:gd name="T15" fmla="*/ 80471 h 223"/>
                <a:gd name="T16" fmla="*/ 82202 w 292"/>
                <a:gd name="T17" fmla="*/ 94823 h 223"/>
                <a:gd name="T18" fmla="*/ 85682 w 292"/>
                <a:gd name="T19" fmla="*/ 103536 h 223"/>
                <a:gd name="T20" fmla="*/ 89161 w 292"/>
                <a:gd name="T21" fmla="*/ 113787 h 223"/>
                <a:gd name="T22" fmla="*/ 76113 w 292"/>
                <a:gd name="T23" fmla="*/ 114300 h 223"/>
                <a:gd name="T24" fmla="*/ 70024 w 292"/>
                <a:gd name="T25" fmla="*/ 113787 h 223"/>
                <a:gd name="T26" fmla="*/ 63500 w 292"/>
                <a:gd name="T27" fmla="*/ 110712 h 223"/>
                <a:gd name="T28" fmla="*/ 58281 w 292"/>
                <a:gd name="T29" fmla="*/ 107124 h 223"/>
                <a:gd name="T30" fmla="*/ 55236 w 292"/>
                <a:gd name="T31" fmla="*/ 101486 h 223"/>
                <a:gd name="T32" fmla="*/ 52627 w 292"/>
                <a:gd name="T33" fmla="*/ 95848 h 223"/>
                <a:gd name="T34" fmla="*/ 49147 w 292"/>
                <a:gd name="T35" fmla="*/ 92260 h 223"/>
                <a:gd name="T36" fmla="*/ 39579 w 292"/>
                <a:gd name="T37" fmla="*/ 74321 h 223"/>
                <a:gd name="T38" fmla="*/ 29575 w 292"/>
                <a:gd name="T39" fmla="*/ 57919 h 223"/>
                <a:gd name="T40" fmla="*/ 23921 w 292"/>
                <a:gd name="T41" fmla="*/ 50743 h 223"/>
                <a:gd name="T42" fmla="*/ 18267 w 292"/>
                <a:gd name="T43" fmla="*/ 44592 h 223"/>
                <a:gd name="T44" fmla="*/ 11743 w 292"/>
                <a:gd name="T45" fmla="*/ 40492 h 223"/>
                <a:gd name="T46" fmla="*/ 5654 w 292"/>
                <a:gd name="T47" fmla="*/ 38442 h 223"/>
                <a:gd name="T48" fmla="*/ 1740 w 292"/>
                <a:gd name="T49" fmla="*/ 33316 h 223"/>
                <a:gd name="T50" fmla="*/ 435 w 292"/>
                <a:gd name="T51" fmla="*/ 29728 h 223"/>
                <a:gd name="T52" fmla="*/ 0 w 292"/>
                <a:gd name="T53" fmla="*/ 25115 h 223"/>
                <a:gd name="T54" fmla="*/ 17397 w 292"/>
                <a:gd name="T55" fmla="*/ 28191 h 223"/>
                <a:gd name="T56" fmla="*/ 30445 w 292"/>
                <a:gd name="T57" fmla="*/ 28191 h 223"/>
                <a:gd name="T58" fmla="*/ 39579 w 292"/>
                <a:gd name="T59" fmla="*/ 25628 h 223"/>
                <a:gd name="T60" fmla="*/ 46103 w 292"/>
                <a:gd name="T61" fmla="*/ 21015 h 223"/>
                <a:gd name="T62" fmla="*/ 55236 w 292"/>
                <a:gd name="T63" fmla="*/ 10251 h 223"/>
                <a:gd name="T64" fmla="*/ 60021 w 292"/>
                <a:gd name="T65" fmla="*/ 4613 h 223"/>
                <a:gd name="T66" fmla="*/ 66110 w 292"/>
                <a:gd name="T67" fmla="*/ 0 h 223"/>
                <a:gd name="T68" fmla="*/ 74808 w 292"/>
                <a:gd name="T69" fmla="*/ 7176 h 223"/>
                <a:gd name="T70" fmla="*/ 84377 w 292"/>
                <a:gd name="T71" fmla="*/ 13326 h 223"/>
                <a:gd name="T72" fmla="*/ 94815 w 292"/>
                <a:gd name="T73" fmla="*/ 17427 h 223"/>
                <a:gd name="T74" fmla="*/ 106993 w 292"/>
                <a:gd name="T75" fmla="*/ 18965 h 223"/>
                <a:gd name="T76" fmla="*/ 113952 w 292"/>
                <a:gd name="T77" fmla="*/ 17427 h 223"/>
                <a:gd name="T78" fmla="*/ 121346 w 292"/>
                <a:gd name="T79" fmla="*/ 15889 h 223"/>
                <a:gd name="T80" fmla="*/ 123955 w 292"/>
                <a:gd name="T81" fmla="*/ 24090 h 223"/>
                <a:gd name="T82" fmla="*/ 124825 w 292"/>
                <a:gd name="T83" fmla="*/ 25115 h 223"/>
                <a:gd name="T84" fmla="*/ 127000 w 292"/>
                <a:gd name="T85" fmla="*/ 35366 h 22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44" name="Freeform 453">
              <a:extLst>
                <a:ext uri="{FF2B5EF4-FFF2-40B4-BE49-F238E27FC236}">
                  <a16:creationId xmlns:a16="http://schemas.microsoft.com/office/drawing/2014/main" id="{65703C21-101A-41AC-91DE-8B36FE5923C8}"/>
                </a:ext>
              </a:extLst>
            </p:cNvPr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5791201" y="2051050"/>
              <a:ext cx="168275" cy="77788"/>
            </a:xfrm>
            <a:custGeom>
              <a:avLst/>
              <a:gdLst>
                <a:gd name="T0" fmla="*/ 166499 w 379"/>
                <a:gd name="T1" fmla="*/ 49742 h 147"/>
                <a:gd name="T2" fmla="*/ 159839 w 379"/>
                <a:gd name="T3" fmla="*/ 53446 h 147"/>
                <a:gd name="T4" fmla="*/ 157175 w 379"/>
                <a:gd name="T5" fmla="*/ 57150 h 147"/>
                <a:gd name="T6" fmla="*/ 154067 w 379"/>
                <a:gd name="T7" fmla="*/ 61913 h 147"/>
                <a:gd name="T8" fmla="*/ 147851 w 379"/>
                <a:gd name="T9" fmla="*/ 67205 h 147"/>
                <a:gd name="T10" fmla="*/ 142079 w 379"/>
                <a:gd name="T11" fmla="*/ 69321 h 147"/>
                <a:gd name="T12" fmla="*/ 138083 w 379"/>
                <a:gd name="T13" fmla="*/ 69850 h 147"/>
                <a:gd name="T14" fmla="*/ 133643 w 379"/>
                <a:gd name="T15" fmla="*/ 68792 h 147"/>
                <a:gd name="T16" fmla="*/ 129203 w 379"/>
                <a:gd name="T17" fmla="*/ 66675 h 147"/>
                <a:gd name="T18" fmla="*/ 124763 w 379"/>
                <a:gd name="T19" fmla="*/ 62971 h 147"/>
                <a:gd name="T20" fmla="*/ 122099 w 379"/>
                <a:gd name="T21" fmla="*/ 61384 h 147"/>
                <a:gd name="T22" fmla="*/ 119435 w 379"/>
                <a:gd name="T23" fmla="*/ 62442 h 147"/>
                <a:gd name="T24" fmla="*/ 118547 w 379"/>
                <a:gd name="T25" fmla="*/ 65088 h 147"/>
                <a:gd name="T26" fmla="*/ 118103 w 379"/>
                <a:gd name="T27" fmla="*/ 74084 h 147"/>
                <a:gd name="T28" fmla="*/ 114107 w 379"/>
                <a:gd name="T29" fmla="*/ 76730 h 147"/>
                <a:gd name="T30" fmla="*/ 108335 w 379"/>
                <a:gd name="T31" fmla="*/ 74084 h 147"/>
                <a:gd name="T32" fmla="*/ 101675 w 379"/>
                <a:gd name="T33" fmla="*/ 69321 h 147"/>
                <a:gd name="T34" fmla="*/ 50172 w 379"/>
                <a:gd name="T35" fmla="*/ 74613 h 147"/>
                <a:gd name="T36" fmla="*/ 35520 w 379"/>
                <a:gd name="T37" fmla="*/ 65617 h 147"/>
                <a:gd name="T38" fmla="*/ 25752 w 379"/>
                <a:gd name="T39" fmla="*/ 57680 h 147"/>
                <a:gd name="T40" fmla="*/ 19980 w 379"/>
                <a:gd name="T41" fmla="*/ 49742 h 147"/>
                <a:gd name="T42" fmla="*/ 16428 w 379"/>
                <a:gd name="T43" fmla="*/ 43392 h 147"/>
                <a:gd name="T44" fmla="*/ 11544 w 379"/>
                <a:gd name="T45" fmla="*/ 31221 h 147"/>
                <a:gd name="T46" fmla="*/ 7104 w 379"/>
                <a:gd name="T47" fmla="*/ 25400 h 147"/>
                <a:gd name="T48" fmla="*/ 0 w 379"/>
                <a:gd name="T49" fmla="*/ 19050 h 147"/>
                <a:gd name="T50" fmla="*/ 12876 w 379"/>
                <a:gd name="T51" fmla="*/ 21167 h 147"/>
                <a:gd name="T52" fmla="*/ 23088 w 379"/>
                <a:gd name="T53" fmla="*/ 20108 h 147"/>
                <a:gd name="T54" fmla="*/ 31968 w 379"/>
                <a:gd name="T55" fmla="*/ 17463 h 147"/>
                <a:gd name="T56" fmla="*/ 38628 w 379"/>
                <a:gd name="T57" fmla="*/ 13229 h 147"/>
                <a:gd name="T58" fmla="*/ 52836 w 379"/>
                <a:gd name="T59" fmla="*/ 4233 h 147"/>
                <a:gd name="T60" fmla="*/ 61272 w 379"/>
                <a:gd name="T61" fmla="*/ 1058 h 147"/>
                <a:gd name="T62" fmla="*/ 70596 w 379"/>
                <a:gd name="T63" fmla="*/ 0 h 147"/>
                <a:gd name="T64" fmla="*/ 88799 w 379"/>
                <a:gd name="T65" fmla="*/ 12171 h 147"/>
                <a:gd name="T66" fmla="*/ 108335 w 379"/>
                <a:gd name="T67" fmla="*/ 23813 h 147"/>
                <a:gd name="T68" fmla="*/ 129647 w 379"/>
                <a:gd name="T69" fmla="*/ 35454 h 147"/>
                <a:gd name="T70" fmla="*/ 147851 w 379"/>
                <a:gd name="T71" fmla="*/ 42334 h 147"/>
                <a:gd name="T72" fmla="*/ 157175 w 379"/>
                <a:gd name="T73" fmla="*/ 45509 h 147"/>
                <a:gd name="T74" fmla="*/ 168275 w 379"/>
                <a:gd name="T75" fmla="*/ 48684 h 14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45" name="Freeform 454">
              <a:extLst>
                <a:ext uri="{FF2B5EF4-FFF2-40B4-BE49-F238E27FC236}">
                  <a16:creationId xmlns:a16="http://schemas.microsoft.com/office/drawing/2014/main" id="{7C6462BC-1762-4D52-9751-9D95F694490B}"/>
                </a:ext>
              </a:extLst>
            </p:cNvPr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5754688" y="1906589"/>
              <a:ext cx="30162" cy="60325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8103 h 67"/>
                <a:gd name="T4" fmla="*/ 0 w 61"/>
                <a:gd name="T5" fmla="*/ 16207 h 67"/>
                <a:gd name="T6" fmla="*/ 494 w 61"/>
                <a:gd name="T7" fmla="*/ 21609 h 67"/>
                <a:gd name="T8" fmla="*/ 989 w 61"/>
                <a:gd name="T9" fmla="*/ 27011 h 67"/>
                <a:gd name="T10" fmla="*/ 1483 w 61"/>
                <a:gd name="T11" fmla="*/ 32413 h 67"/>
                <a:gd name="T12" fmla="*/ 2967 w 61"/>
                <a:gd name="T13" fmla="*/ 37816 h 67"/>
                <a:gd name="T14" fmla="*/ 5934 w 61"/>
                <a:gd name="T15" fmla="*/ 49521 h 67"/>
                <a:gd name="T16" fmla="*/ 10384 w 61"/>
                <a:gd name="T17" fmla="*/ 60325 h 67"/>
                <a:gd name="T18" fmla="*/ 13845 w 61"/>
                <a:gd name="T19" fmla="*/ 58524 h 67"/>
                <a:gd name="T20" fmla="*/ 17306 w 61"/>
                <a:gd name="T21" fmla="*/ 54923 h 67"/>
                <a:gd name="T22" fmla="*/ 20767 w 61"/>
                <a:gd name="T23" fmla="*/ 52222 h 67"/>
                <a:gd name="T24" fmla="*/ 23734 w 61"/>
                <a:gd name="T25" fmla="*/ 47720 h 67"/>
                <a:gd name="T26" fmla="*/ 26206 w 61"/>
                <a:gd name="T27" fmla="*/ 42318 h 67"/>
                <a:gd name="T28" fmla="*/ 28184 w 61"/>
                <a:gd name="T29" fmla="*/ 36015 h 67"/>
                <a:gd name="T30" fmla="*/ 29173 w 61"/>
                <a:gd name="T31" fmla="*/ 28812 h 67"/>
                <a:gd name="T32" fmla="*/ 30162 w 61"/>
                <a:gd name="T33" fmla="*/ 21609 h 67"/>
                <a:gd name="T34" fmla="*/ 26206 w 61"/>
                <a:gd name="T35" fmla="*/ 12605 h 67"/>
                <a:gd name="T36" fmla="*/ 20273 w 61"/>
                <a:gd name="T37" fmla="*/ 0 h 67"/>
                <a:gd name="T38" fmla="*/ 13845 w 61"/>
                <a:gd name="T39" fmla="*/ 2701 h 67"/>
                <a:gd name="T40" fmla="*/ 8900 w 61"/>
                <a:gd name="T41" fmla="*/ 3601 h 67"/>
                <a:gd name="T42" fmla="*/ 6428 w 61"/>
                <a:gd name="T43" fmla="*/ 3601 h 67"/>
                <a:gd name="T44" fmla="*/ 4945 w 61"/>
                <a:gd name="T45" fmla="*/ 2701 h 67"/>
                <a:gd name="T46" fmla="*/ 2967 w 61"/>
                <a:gd name="T47" fmla="*/ 1801 h 67"/>
                <a:gd name="T48" fmla="*/ 0 w 61"/>
                <a:gd name="T49" fmla="*/ 0 h 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46" name="Freeform 455">
              <a:extLst>
                <a:ext uri="{FF2B5EF4-FFF2-40B4-BE49-F238E27FC236}">
                  <a16:creationId xmlns:a16="http://schemas.microsoft.com/office/drawing/2014/main" id="{570D2E85-130A-43F9-8CE7-096D99F0C576}"/>
                </a:ext>
              </a:extLst>
            </p:cNvPr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5726113" y="1911350"/>
              <a:ext cx="25400" cy="58738"/>
            </a:xfrm>
            <a:custGeom>
              <a:avLst/>
              <a:gdLst>
                <a:gd name="T0" fmla="*/ 0 w 60"/>
                <a:gd name="T1" fmla="*/ 6408 h 55"/>
                <a:gd name="T2" fmla="*/ 0 w 60"/>
                <a:gd name="T3" fmla="*/ 25631 h 55"/>
                <a:gd name="T4" fmla="*/ 2117 w 60"/>
                <a:gd name="T5" fmla="*/ 34175 h 55"/>
                <a:gd name="T6" fmla="*/ 4233 w 60"/>
                <a:gd name="T7" fmla="*/ 42719 h 55"/>
                <a:gd name="T8" fmla="*/ 6773 w 60"/>
                <a:gd name="T9" fmla="*/ 48058 h 55"/>
                <a:gd name="T10" fmla="*/ 8890 w 60"/>
                <a:gd name="T11" fmla="*/ 52330 h 55"/>
                <a:gd name="T12" fmla="*/ 11430 w 60"/>
                <a:gd name="T13" fmla="*/ 55534 h 55"/>
                <a:gd name="T14" fmla="*/ 13970 w 60"/>
                <a:gd name="T15" fmla="*/ 57670 h 55"/>
                <a:gd name="T16" fmla="*/ 16933 w 60"/>
                <a:gd name="T17" fmla="*/ 58738 h 55"/>
                <a:gd name="T18" fmla="*/ 19473 w 60"/>
                <a:gd name="T19" fmla="*/ 58738 h 55"/>
                <a:gd name="T20" fmla="*/ 22437 w 60"/>
                <a:gd name="T21" fmla="*/ 55534 h 55"/>
                <a:gd name="T22" fmla="*/ 25400 w 60"/>
                <a:gd name="T23" fmla="*/ 52330 h 55"/>
                <a:gd name="T24" fmla="*/ 21167 w 60"/>
                <a:gd name="T25" fmla="*/ 36311 h 55"/>
                <a:gd name="T26" fmla="*/ 17780 w 60"/>
                <a:gd name="T27" fmla="*/ 23495 h 55"/>
                <a:gd name="T28" fmla="*/ 16510 w 60"/>
                <a:gd name="T29" fmla="*/ 18155 h 55"/>
                <a:gd name="T30" fmla="*/ 14817 w 60"/>
                <a:gd name="T31" fmla="*/ 12816 h 55"/>
                <a:gd name="T32" fmla="*/ 14393 w 60"/>
                <a:gd name="T33" fmla="*/ 6408 h 55"/>
                <a:gd name="T34" fmla="*/ 13970 w 60"/>
                <a:gd name="T35" fmla="*/ 0 h 55"/>
                <a:gd name="T36" fmla="*/ 9737 w 60"/>
                <a:gd name="T37" fmla="*/ 1068 h 55"/>
                <a:gd name="T38" fmla="*/ 6350 w 60"/>
                <a:gd name="T39" fmla="*/ 3204 h 55"/>
                <a:gd name="T40" fmla="*/ 2963 w 60"/>
                <a:gd name="T41" fmla="*/ 5340 h 55"/>
                <a:gd name="T42" fmla="*/ 0 w 60"/>
                <a:gd name="T43" fmla="*/ 6408 h 5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47" name="Freeform 456">
              <a:extLst>
                <a:ext uri="{FF2B5EF4-FFF2-40B4-BE49-F238E27FC236}">
                  <a16:creationId xmlns:a16="http://schemas.microsoft.com/office/drawing/2014/main" id="{DDF8F092-2B64-40DD-AF1B-90E98E88A403}"/>
                </a:ext>
              </a:extLst>
            </p:cNvPr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5695950" y="1857375"/>
              <a:ext cx="52388" cy="77788"/>
            </a:xfrm>
            <a:custGeom>
              <a:avLst/>
              <a:gdLst>
                <a:gd name="T0" fmla="*/ 32306 w 120"/>
                <a:gd name="T1" fmla="*/ 67802 h 148"/>
                <a:gd name="T2" fmla="*/ 30560 w 120"/>
                <a:gd name="T3" fmla="*/ 68853 h 148"/>
                <a:gd name="T4" fmla="*/ 29250 w 120"/>
                <a:gd name="T5" fmla="*/ 69378 h 148"/>
                <a:gd name="T6" fmla="*/ 27940 w 120"/>
                <a:gd name="T7" fmla="*/ 69904 h 148"/>
                <a:gd name="T8" fmla="*/ 26194 w 120"/>
                <a:gd name="T9" fmla="*/ 69904 h 148"/>
                <a:gd name="T10" fmla="*/ 24448 w 120"/>
                <a:gd name="T11" fmla="*/ 69904 h 148"/>
                <a:gd name="T12" fmla="*/ 23138 w 120"/>
                <a:gd name="T13" fmla="*/ 69378 h 148"/>
                <a:gd name="T14" fmla="*/ 21828 w 120"/>
                <a:gd name="T15" fmla="*/ 68853 h 148"/>
                <a:gd name="T16" fmla="*/ 20519 w 120"/>
                <a:gd name="T17" fmla="*/ 67802 h 148"/>
                <a:gd name="T18" fmla="*/ 17899 w 120"/>
                <a:gd name="T19" fmla="*/ 67276 h 148"/>
                <a:gd name="T20" fmla="*/ 14843 w 120"/>
                <a:gd name="T21" fmla="*/ 65699 h 148"/>
                <a:gd name="T22" fmla="*/ 11351 w 120"/>
                <a:gd name="T23" fmla="*/ 63071 h 148"/>
                <a:gd name="T24" fmla="*/ 8295 w 120"/>
                <a:gd name="T25" fmla="*/ 60443 h 148"/>
                <a:gd name="T26" fmla="*/ 4802 w 120"/>
                <a:gd name="T27" fmla="*/ 56764 h 148"/>
                <a:gd name="T28" fmla="*/ 2619 w 120"/>
                <a:gd name="T29" fmla="*/ 53085 h 148"/>
                <a:gd name="T30" fmla="*/ 1310 w 120"/>
                <a:gd name="T31" fmla="*/ 50983 h 148"/>
                <a:gd name="T32" fmla="*/ 873 w 120"/>
                <a:gd name="T33" fmla="*/ 49406 h 148"/>
                <a:gd name="T34" fmla="*/ 437 w 120"/>
                <a:gd name="T35" fmla="*/ 47304 h 148"/>
                <a:gd name="T36" fmla="*/ 0 w 120"/>
                <a:gd name="T37" fmla="*/ 45727 h 148"/>
                <a:gd name="T38" fmla="*/ 873 w 120"/>
                <a:gd name="T39" fmla="*/ 38368 h 148"/>
                <a:gd name="T40" fmla="*/ 3493 w 120"/>
                <a:gd name="T41" fmla="*/ 28908 h 148"/>
                <a:gd name="T42" fmla="*/ 6112 w 120"/>
                <a:gd name="T43" fmla="*/ 18396 h 148"/>
                <a:gd name="T44" fmla="*/ 8731 w 120"/>
                <a:gd name="T45" fmla="*/ 9461 h 148"/>
                <a:gd name="T46" fmla="*/ 13970 w 120"/>
                <a:gd name="T47" fmla="*/ 8935 h 148"/>
                <a:gd name="T48" fmla="*/ 18336 w 120"/>
                <a:gd name="T49" fmla="*/ 8410 h 148"/>
                <a:gd name="T50" fmla="*/ 22265 w 120"/>
                <a:gd name="T51" fmla="*/ 7358 h 148"/>
                <a:gd name="T52" fmla="*/ 25321 w 120"/>
                <a:gd name="T53" fmla="*/ 5782 h 148"/>
                <a:gd name="T54" fmla="*/ 30560 w 120"/>
                <a:gd name="T55" fmla="*/ 2628 h 148"/>
                <a:gd name="T56" fmla="*/ 34925 w 120"/>
                <a:gd name="T57" fmla="*/ 0 h 148"/>
                <a:gd name="T58" fmla="*/ 37108 w 120"/>
                <a:gd name="T59" fmla="*/ 1051 h 148"/>
                <a:gd name="T60" fmla="*/ 40601 w 120"/>
                <a:gd name="T61" fmla="*/ 3679 h 148"/>
                <a:gd name="T62" fmla="*/ 42784 w 120"/>
                <a:gd name="T63" fmla="*/ 5256 h 148"/>
                <a:gd name="T64" fmla="*/ 44530 w 120"/>
                <a:gd name="T65" fmla="*/ 6833 h 148"/>
                <a:gd name="T66" fmla="*/ 46276 w 120"/>
                <a:gd name="T67" fmla="*/ 8410 h 148"/>
                <a:gd name="T68" fmla="*/ 46713 w 120"/>
                <a:gd name="T69" fmla="*/ 9461 h 148"/>
                <a:gd name="T70" fmla="*/ 43657 w 120"/>
                <a:gd name="T71" fmla="*/ 14717 h 148"/>
                <a:gd name="T72" fmla="*/ 40601 w 120"/>
                <a:gd name="T73" fmla="*/ 19447 h 148"/>
                <a:gd name="T74" fmla="*/ 41474 w 120"/>
                <a:gd name="T75" fmla="*/ 22075 h 148"/>
                <a:gd name="T76" fmla="*/ 42784 w 120"/>
                <a:gd name="T77" fmla="*/ 25754 h 148"/>
                <a:gd name="T78" fmla="*/ 44530 w 120"/>
                <a:gd name="T79" fmla="*/ 29433 h 148"/>
                <a:gd name="T80" fmla="*/ 46713 w 120"/>
                <a:gd name="T81" fmla="*/ 33112 h 148"/>
                <a:gd name="T82" fmla="*/ 50205 w 120"/>
                <a:gd name="T83" fmla="*/ 39420 h 148"/>
                <a:gd name="T84" fmla="*/ 52388 w 120"/>
                <a:gd name="T85" fmla="*/ 41522 h 148"/>
                <a:gd name="T86" fmla="*/ 49332 w 120"/>
                <a:gd name="T87" fmla="*/ 42573 h 148"/>
                <a:gd name="T88" fmla="*/ 46713 w 120"/>
                <a:gd name="T89" fmla="*/ 44150 h 148"/>
                <a:gd name="T90" fmla="*/ 43657 w 120"/>
                <a:gd name="T91" fmla="*/ 45727 h 148"/>
                <a:gd name="T92" fmla="*/ 41910 w 120"/>
                <a:gd name="T93" fmla="*/ 47829 h 148"/>
                <a:gd name="T94" fmla="*/ 39291 w 120"/>
                <a:gd name="T95" fmla="*/ 49931 h 148"/>
                <a:gd name="T96" fmla="*/ 37981 w 120"/>
                <a:gd name="T97" fmla="*/ 52034 h 148"/>
                <a:gd name="T98" fmla="*/ 35798 w 120"/>
                <a:gd name="T99" fmla="*/ 54662 h 148"/>
                <a:gd name="T100" fmla="*/ 34925 w 120"/>
                <a:gd name="T101" fmla="*/ 57290 h 148"/>
                <a:gd name="T102" fmla="*/ 34052 w 120"/>
                <a:gd name="T103" fmla="*/ 59918 h 148"/>
                <a:gd name="T104" fmla="*/ 33616 w 120"/>
                <a:gd name="T105" fmla="*/ 63071 h 148"/>
                <a:gd name="T106" fmla="*/ 33179 w 120"/>
                <a:gd name="T107" fmla="*/ 65699 h 148"/>
                <a:gd name="T108" fmla="*/ 32743 w 120"/>
                <a:gd name="T109" fmla="*/ 68327 h 148"/>
                <a:gd name="T110" fmla="*/ 33179 w 120"/>
                <a:gd name="T111" fmla="*/ 70955 h 148"/>
                <a:gd name="T112" fmla="*/ 33616 w 120"/>
                <a:gd name="T113" fmla="*/ 73583 h 148"/>
                <a:gd name="T114" fmla="*/ 34052 w 120"/>
                <a:gd name="T115" fmla="*/ 75686 h 148"/>
                <a:gd name="T116" fmla="*/ 34925 w 120"/>
                <a:gd name="T117" fmla="*/ 77788 h 148"/>
                <a:gd name="T118" fmla="*/ 32306 w 120"/>
                <a:gd name="T119" fmla="*/ 67802 h 14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48" name="Freeform 457">
              <a:extLst>
                <a:ext uri="{FF2B5EF4-FFF2-40B4-BE49-F238E27FC236}">
                  <a16:creationId xmlns:a16="http://schemas.microsoft.com/office/drawing/2014/main" id="{839857BC-BBD1-457A-9FA2-4D61654FB688}"/>
                </a:ext>
              </a:extLst>
            </p:cNvPr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6127750" y="2662239"/>
              <a:ext cx="273050" cy="307975"/>
            </a:xfrm>
            <a:custGeom>
              <a:avLst/>
              <a:gdLst>
                <a:gd name="T0" fmla="*/ 9087 w 631"/>
                <a:gd name="T1" fmla="*/ 1040 h 592"/>
                <a:gd name="T2" fmla="*/ 13847 w 631"/>
                <a:gd name="T3" fmla="*/ 2081 h 592"/>
                <a:gd name="T4" fmla="*/ 23367 w 631"/>
                <a:gd name="T5" fmla="*/ 4162 h 592"/>
                <a:gd name="T6" fmla="*/ 33753 w 631"/>
                <a:gd name="T7" fmla="*/ 5723 h 592"/>
                <a:gd name="T8" fmla="*/ 45003 w 631"/>
                <a:gd name="T9" fmla="*/ 9884 h 592"/>
                <a:gd name="T10" fmla="*/ 56254 w 631"/>
                <a:gd name="T11" fmla="*/ 16647 h 592"/>
                <a:gd name="T12" fmla="*/ 63178 w 631"/>
                <a:gd name="T13" fmla="*/ 20809 h 592"/>
                <a:gd name="T14" fmla="*/ 68803 w 631"/>
                <a:gd name="T15" fmla="*/ 22370 h 592"/>
                <a:gd name="T16" fmla="*/ 81785 w 631"/>
                <a:gd name="T17" fmla="*/ 22370 h 592"/>
                <a:gd name="T18" fmla="*/ 98229 w 631"/>
                <a:gd name="T19" fmla="*/ 19248 h 592"/>
                <a:gd name="T20" fmla="*/ 119865 w 631"/>
                <a:gd name="T21" fmla="*/ 11965 h 592"/>
                <a:gd name="T22" fmla="*/ 172658 w 631"/>
                <a:gd name="T23" fmla="*/ 19769 h 592"/>
                <a:gd name="T24" fmla="*/ 174389 w 631"/>
                <a:gd name="T25" fmla="*/ 35896 h 592"/>
                <a:gd name="T26" fmla="*/ 177418 w 631"/>
                <a:gd name="T27" fmla="*/ 49422 h 592"/>
                <a:gd name="T28" fmla="*/ 180447 w 631"/>
                <a:gd name="T29" fmla="*/ 61907 h 592"/>
                <a:gd name="T30" fmla="*/ 184774 w 631"/>
                <a:gd name="T31" fmla="*/ 72832 h 592"/>
                <a:gd name="T32" fmla="*/ 194727 w 631"/>
                <a:gd name="T33" fmla="*/ 91040 h 592"/>
                <a:gd name="T34" fmla="*/ 204247 w 631"/>
                <a:gd name="T35" fmla="*/ 106127 h 592"/>
                <a:gd name="T36" fmla="*/ 208574 w 631"/>
                <a:gd name="T37" fmla="*/ 115491 h 592"/>
                <a:gd name="T38" fmla="*/ 209872 w 631"/>
                <a:gd name="T39" fmla="*/ 124855 h 592"/>
                <a:gd name="T40" fmla="*/ 212468 w 631"/>
                <a:gd name="T41" fmla="*/ 132658 h 592"/>
                <a:gd name="T42" fmla="*/ 214632 w 631"/>
                <a:gd name="T43" fmla="*/ 135780 h 592"/>
                <a:gd name="T44" fmla="*/ 218527 w 631"/>
                <a:gd name="T45" fmla="*/ 138381 h 592"/>
                <a:gd name="T46" fmla="*/ 221988 w 631"/>
                <a:gd name="T47" fmla="*/ 140462 h 592"/>
                <a:gd name="T48" fmla="*/ 224585 w 631"/>
                <a:gd name="T49" fmla="*/ 144623 h 592"/>
                <a:gd name="T50" fmla="*/ 230643 w 631"/>
                <a:gd name="T51" fmla="*/ 157629 h 592"/>
                <a:gd name="T52" fmla="*/ 234105 w 631"/>
                <a:gd name="T53" fmla="*/ 172195 h 592"/>
                <a:gd name="T54" fmla="*/ 235836 w 631"/>
                <a:gd name="T55" fmla="*/ 186242 h 592"/>
                <a:gd name="T56" fmla="*/ 237134 w 631"/>
                <a:gd name="T57" fmla="*/ 191444 h 592"/>
                <a:gd name="T58" fmla="*/ 241028 w 631"/>
                <a:gd name="T59" fmla="*/ 198207 h 592"/>
                <a:gd name="T60" fmla="*/ 252279 w 631"/>
                <a:gd name="T61" fmla="*/ 215895 h 592"/>
                <a:gd name="T62" fmla="*/ 264828 w 631"/>
                <a:gd name="T63" fmla="*/ 232542 h 592"/>
                <a:gd name="T64" fmla="*/ 273050 w 631"/>
                <a:gd name="T65" fmla="*/ 240866 h 592"/>
                <a:gd name="T66" fmla="*/ 264828 w 631"/>
                <a:gd name="T67" fmla="*/ 250230 h 592"/>
                <a:gd name="T68" fmla="*/ 270021 w 631"/>
                <a:gd name="T69" fmla="*/ 258033 h 592"/>
                <a:gd name="T70" fmla="*/ 270886 w 631"/>
                <a:gd name="T71" fmla="*/ 263756 h 592"/>
                <a:gd name="T72" fmla="*/ 270886 w 631"/>
                <a:gd name="T73" fmla="*/ 268438 h 592"/>
                <a:gd name="T74" fmla="*/ 273050 w 631"/>
                <a:gd name="T75" fmla="*/ 276241 h 592"/>
                <a:gd name="T76" fmla="*/ 270886 w 631"/>
                <a:gd name="T77" fmla="*/ 280403 h 592"/>
                <a:gd name="T78" fmla="*/ 266992 w 631"/>
                <a:gd name="T79" fmla="*/ 285085 h 592"/>
                <a:gd name="T80" fmla="*/ 256174 w 631"/>
                <a:gd name="T81" fmla="*/ 296010 h 592"/>
                <a:gd name="T82" fmla="*/ 241461 w 631"/>
                <a:gd name="T83" fmla="*/ 307975 h 592"/>
                <a:gd name="T84" fmla="*/ 19905 w 631"/>
                <a:gd name="T85" fmla="*/ 90520 h 592"/>
                <a:gd name="T86" fmla="*/ 10818 w 631"/>
                <a:gd name="T87" fmla="*/ 81676 h 592"/>
                <a:gd name="T88" fmla="*/ 4760 w 631"/>
                <a:gd name="T89" fmla="*/ 71791 h 592"/>
                <a:gd name="T90" fmla="*/ 865 w 631"/>
                <a:gd name="T91" fmla="*/ 60867 h 592"/>
                <a:gd name="T92" fmla="*/ 0 w 631"/>
                <a:gd name="T93" fmla="*/ 48381 h 592"/>
                <a:gd name="T94" fmla="*/ 1298 w 631"/>
                <a:gd name="T95" fmla="*/ 46300 h 592"/>
                <a:gd name="T96" fmla="*/ 4327 w 631"/>
                <a:gd name="T97" fmla="*/ 43179 h 592"/>
                <a:gd name="T98" fmla="*/ 7356 w 631"/>
                <a:gd name="T99" fmla="*/ 40058 h 592"/>
                <a:gd name="T100" fmla="*/ 8655 w 631"/>
                <a:gd name="T101" fmla="*/ 35896 h 592"/>
                <a:gd name="T102" fmla="*/ 7789 w 631"/>
                <a:gd name="T103" fmla="*/ 27572 h 592"/>
                <a:gd name="T104" fmla="*/ 5625 w 631"/>
                <a:gd name="T105" fmla="*/ 21850 h 592"/>
                <a:gd name="T106" fmla="*/ 3895 w 631"/>
                <a:gd name="T107" fmla="*/ 17688 h 592"/>
                <a:gd name="T108" fmla="*/ 3029 w 631"/>
                <a:gd name="T109" fmla="*/ 13526 h 592"/>
                <a:gd name="T110" fmla="*/ 5625 w 631"/>
                <a:gd name="T111" fmla="*/ 0 h 59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49" name="Freeform 458">
              <a:extLst>
                <a:ext uri="{FF2B5EF4-FFF2-40B4-BE49-F238E27FC236}">
                  <a16:creationId xmlns:a16="http://schemas.microsoft.com/office/drawing/2014/main" id="{914EC48A-7A80-4C93-AB1D-24B593B8583F}"/>
                </a:ext>
              </a:extLst>
            </p:cNvPr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5722938" y="2297113"/>
              <a:ext cx="17462" cy="57150"/>
            </a:xfrm>
            <a:custGeom>
              <a:avLst/>
              <a:gdLst>
                <a:gd name="T0" fmla="*/ 3056 w 40"/>
                <a:gd name="T1" fmla="*/ 19050 h 93"/>
                <a:gd name="T2" fmla="*/ 4366 w 40"/>
                <a:gd name="T3" fmla="*/ 18435 h 93"/>
                <a:gd name="T4" fmla="*/ 6112 w 40"/>
                <a:gd name="T5" fmla="*/ 15977 h 93"/>
                <a:gd name="T6" fmla="*/ 8731 w 40"/>
                <a:gd name="T7" fmla="*/ 12290 h 93"/>
                <a:gd name="T8" fmla="*/ 10914 w 40"/>
                <a:gd name="T9" fmla="*/ 9218 h 93"/>
                <a:gd name="T10" fmla="*/ 15279 w 40"/>
                <a:gd name="T11" fmla="*/ 2458 h 93"/>
                <a:gd name="T12" fmla="*/ 17462 w 40"/>
                <a:gd name="T13" fmla="*/ 0 h 93"/>
                <a:gd name="T14" fmla="*/ 16152 w 40"/>
                <a:gd name="T15" fmla="*/ 15977 h 93"/>
                <a:gd name="T16" fmla="*/ 15279 w 40"/>
                <a:gd name="T17" fmla="*/ 32569 h 93"/>
                <a:gd name="T18" fmla="*/ 14843 w 40"/>
                <a:gd name="T19" fmla="*/ 39944 h 93"/>
                <a:gd name="T20" fmla="*/ 14843 w 40"/>
                <a:gd name="T21" fmla="*/ 47318 h 93"/>
                <a:gd name="T22" fmla="*/ 15279 w 40"/>
                <a:gd name="T23" fmla="*/ 50390 h 93"/>
                <a:gd name="T24" fmla="*/ 15716 w 40"/>
                <a:gd name="T25" fmla="*/ 52848 h 93"/>
                <a:gd name="T26" fmla="*/ 16152 w 40"/>
                <a:gd name="T27" fmla="*/ 55306 h 93"/>
                <a:gd name="T28" fmla="*/ 17462 w 40"/>
                <a:gd name="T29" fmla="*/ 57150 h 93"/>
                <a:gd name="T30" fmla="*/ 11350 w 40"/>
                <a:gd name="T31" fmla="*/ 57150 h 93"/>
                <a:gd name="T32" fmla="*/ 5675 w 40"/>
                <a:gd name="T33" fmla="*/ 57150 h 93"/>
                <a:gd name="T34" fmla="*/ 4802 w 40"/>
                <a:gd name="T35" fmla="*/ 56535 h 93"/>
                <a:gd name="T36" fmla="*/ 3492 w 40"/>
                <a:gd name="T37" fmla="*/ 55921 h 93"/>
                <a:gd name="T38" fmla="*/ 2619 w 40"/>
                <a:gd name="T39" fmla="*/ 54077 h 93"/>
                <a:gd name="T40" fmla="*/ 1746 w 40"/>
                <a:gd name="T41" fmla="*/ 52848 h 93"/>
                <a:gd name="T42" fmla="*/ 437 w 40"/>
                <a:gd name="T43" fmla="*/ 49161 h 93"/>
                <a:gd name="T44" fmla="*/ 0 w 40"/>
                <a:gd name="T45" fmla="*/ 44860 h 93"/>
                <a:gd name="T46" fmla="*/ 437 w 40"/>
                <a:gd name="T47" fmla="*/ 39329 h 93"/>
                <a:gd name="T48" fmla="*/ 1310 w 40"/>
                <a:gd name="T49" fmla="*/ 30726 h 93"/>
                <a:gd name="T50" fmla="*/ 2619 w 40"/>
                <a:gd name="T51" fmla="*/ 22737 h 93"/>
                <a:gd name="T52" fmla="*/ 3056 w 40"/>
                <a:gd name="T53" fmla="*/ 19050 h 9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50" name="Freeform 459">
              <a:extLst>
                <a:ext uri="{FF2B5EF4-FFF2-40B4-BE49-F238E27FC236}">
                  <a16:creationId xmlns:a16="http://schemas.microsoft.com/office/drawing/2014/main" id="{DA909B1B-FDA5-43B3-9659-8400F2F358AF}"/>
                </a:ext>
              </a:extLst>
            </p:cNvPr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5362576" y="2047875"/>
              <a:ext cx="295275" cy="273050"/>
            </a:xfrm>
            <a:custGeom>
              <a:avLst/>
              <a:gdLst>
                <a:gd name="T0" fmla="*/ 66259 w 664"/>
                <a:gd name="T1" fmla="*/ 234570 h 518"/>
                <a:gd name="T2" fmla="*/ 67148 w 664"/>
                <a:gd name="T3" fmla="*/ 227190 h 518"/>
                <a:gd name="T4" fmla="*/ 64925 w 664"/>
                <a:gd name="T5" fmla="*/ 210849 h 518"/>
                <a:gd name="T6" fmla="*/ 67148 w 664"/>
                <a:gd name="T7" fmla="*/ 186075 h 518"/>
                <a:gd name="T8" fmla="*/ 64925 w 664"/>
                <a:gd name="T9" fmla="*/ 157083 h 518"/>
                <a:gd name="T10" fmla="*/ 59589 w 664"/>
                <a:gd name="T11" fmla="*/ 132308 h 518"/>
                <a:gd name="T12" fmla="*/ 48471 w 664"/>
                <a:gd name="T13" fmla="*/ 127037 h 518"/>
                <a:gd name="T14" fmla="*/ 8894 w 664"/>
                <a:gd name="T15" fmla="*/ 101208 h 518"/>
                <a:gd name="T16" fmla="*/ 10673 w 664"/>
                <a:gd name="T17" fmla="*/ 90138 h 518"/>
                <a:gd name="T18" fmla="*/ 16009 w 664"/>
                <a:gd name="T19" fmla="*/ 83813 h 518"/>
                <a:gd name="T20" fmla="*/ 21345 w 664"/>
                <a:gd name="T21" fmla="*/ 78014 h 518"/>
                <a:gd name="T22" fmla="*/ 44469 w 664"/>
                <a:gd name="T23" fmla="*/ 81704 h 518"/>
                <a:gd name="T24" fmla="*/ 55586 w 664"/>
                <a:gd name="T25" fmla="*/ 80123 h 518"/>
                <a:gd name="T26" fmla="*/ 65370 w 664"/>
                <a:gd name="T27" fmla="*/ 82758 h 518"/>
                <a:gd name="T28" fmla="*/ 73374 w 664"/>
                <a:gd name="T29" fmla="*/ 49550 h 518"/>
                <a:gd name="T30" fmla="*/ 82268 w 664"/>
                <a:gd name="T31" fmla="*/ 57456 h 518"/>
                <a:gd name="T32" fmla="*/ 92051 w 664"/>
                <a:gd name="T33" fmla="*/ 57984 h 518"/>
                <a:gd name="T34" fmla="*/ 104947 w 664"/>
                <a:gd name="T35" fmla="*/ 52185 h 518"/>
                <a:gd name="T36" fmla="*/ 117398 w 664"/>
                <a:gd name="T37" fmla="*/ 42170 h 518"/>
                <a:gd name="T38" fmla="*/ 128516 w 664"/>
                <a:gd name="T39" fmla="*/ 30046 h 518"/>
                <a:gd name="T40" fmla="*/ 136965 w 664"/>
                <a:gd name="T41" fmla="*/ 16868 h 518"/>
                <a:gd name="T42" fmla="*/ 141412 w 664"/>
                <a:gd name="T43" fmla="*/ 6325 h 518"/>
                <a:gd name="T44" fmla="*/ 164536 w 664"/>
                <a:gd name="T45" fmla="*/ 2108 h 518"/>
                <a:gd name="T46" fmla="*/ 179655 w 664"/>
                <a:gd name="T47" fmla="*/ 16868 h 518"/>
                <a:gd name="T48" fmla="*/ 203224 w 664"/>
                <a:gd name="T49" fmla="*/ 32155 h 518"/>
                <a:gd name="T50" fmla="*/ 227237 w 664"/>
                <a:gd name="T51" fmla="*/ 47441 h 518"/>
                <a:gd name="T52" fmla="*/ 245470 w 664"/>
                <a:gd name="T53" fmla="*/ 56402 h 518"/>
                <a:gd name="T54" fmla="*/ 257032 w 664"/>
                <a:gd name="T55" fmla="*/ 61146 h 518"/>
                <a:gd name="T56" fmla="*/ 277043 w 664"/>
                <a:gd name="T57" fmla="*/ 63782 h 518"/>
                <a:gd name="T58" fmla="*/ 292607 w 664"/>
                <a:gd name="T59" fmla="*/ 71689 h 518"/>
                <a:gd name="T60" fmla="*/ 286826 w 664"/>
                <a:gd name="T61" fmla="*/ 87503 h 518"/>
                <a:gd name="T62" fmla="*/ 275709 w 664"/>
                <a:gd name="T63" fmla="*/ 124401 h 518"/>
                <a:gd name="T64" fmla="*/ 265925 w 664"/>
                <a:gd name="T65" fmla="*/ 143378 h 518"/>
                <a:gd name="T66" fmla="*/ 260144 w 664"/>
                <a:gd name="T67" fmla="*/ 150757 h 518"/>
                <a:gd name="T68" fmla="*/ 266370 w 664"/>
                <a:gd name="T69" fmla="*/ 157083 h 518"/>
                <a:gd name="T70" fmla="*/ 274819 w 664"/>
                <a:gd name="T71" fmla="*/ 161827 h 518"/>
                <a:gd name="T72" fmla="*/ 277043 w 664"/>
                <a:gd name="T73" fmla="*/ 176059 h 518"/>
                <a:gd name="T74" fmla="*/ 275709 w 664"/>
                <a:gd name="T75" fmla="*/ 182912 h 518"/>
                <a:gd name="T76" fmla="*/ 274819 w 664"/>
                <a:gd name="T77" fmla="*/ 196090 h 518"/>
                <a:gd name="T78" fmla="*/ 276598 w 664"/>
                <a:gd name="T79" fmla="*/ 210322 h 518"/>
                <a:gd name="T80" fmla="*/ 281045 w 664"/>
                <a:gd name="T81" fmla="*/ 222973 h 518"/>
                <a:gd name="T82" fmla="*/ 270372 w 664"/>
                <a:gd name="T83" fmla="*/ 240895 h 518"/>
                <a:gd name="T84" fmla="*/ 253029 w 664"/>
                <a:gd name="T85" fmla="*/ 255128 h 518"/>
                <a:gd name="T86" fmla="*/ 241023 w 664"/>
                <a:gd name="T87" fmla="*/ 257763 h 518"/>
                <a:gd name="T88" fmla="*/ 226348 w 664"/>
                <a:gd name="T89" fmla="*/ 253546 h 518"/>
                <a:gd name="T90" fmla="*/ 212118 w 664"/>
                <a:gd name="T91" fmla="*/ 242477 h 518"/>
                <a:gd name="T92" fmla="*/ 205892 w 664"/>
                <a:gd name="T93" fmla="*/ 240368 h 518"/>
                <a:gd name="T94" fmla="*/ 196998 w 664"/>
                <a:gd name="T95" fmla="*/ 240895 h 518"/>
                <a:gd name="T96" fmla="*/ 188104 w 664"/>
                <a:gd name="T97" fmla="*/ 245112 h 518"/>
                <a:gd name="T98" fmla="*/ 180545 w 664"/>
                <a:gd name="T99" fmla="*/ 251438 h 518"/>
                <a:gd name="T100" fmla="*/ 172540 w 664"/>
                <a:gd name="T101" fmla="*/ 265143 h 518"/>
                <a:gd name="T102" fmla="*/ 171206 w 664"/>
                <a:gd name="T103" fmla="*/ 272523 h 518"/>
                <a:gd name="T104" fmla="*/ 148082 w 664"/>
                <a:gd name="T105" fmla="*/ 271469 h 518"/>
                <a:gd name="T106" fmla="*/ 140967 w 664"/>
                <a:gd name="T107" fmla="*/ 267252 h 518"/>
                <a:gd name="T108" fmla="*/ 136520 w 664"/>
                <a:gd name="T109" fmla="*/ 263562 h 518"/>
                <a:gd name="T110" fmla="*/ 131629 w 664"/>
                <a:gd name="T111" fmla="*/ 267779 h 518"/>
                <a:gd name="T112" fmla="*/ 127626 w 664"/>
                <a:gd name="T113" fmla="*/ 271996 h 518"/>
                <a:gd name="T114" fmla="*/ 119177 w 664"/>
                <a:gd name="T115" fmla="*/ 271996 h 518"/>
                <a:gd name="T116" fmla="*/ 100945 w 664"/>
                <a:gd name="T117" fmla="*/ 266725 h 518"/>
                <a:gd name="T118" fmla="*/ 82268 w 664"/>
                <a:gd name="T119" fmla="*/ 256709 h 518"/>
                <a:gd name="T120" fmla="*/ 71151 w 664"/>
                <a:gd name="T121" fmla="*/ 247221 h 518"/>
                <a:gd name="T122" fmla="*/ 64925 w 664"/>
                <a:gd name="T123" fmla="*/ 237206 h 51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51" name="Freeform 460">
              <a:extLst>
                <a:ext uri="{FF2B5EF4-FFF2-40B4-BE49-F238E27FC236}">
                  <a16:creationId xmlns:a16="http://schemas.microsoft.com/office/drawing/2014/main" id="{299D9CBC-4641-4C0C-B79A-27852DAD0F93}"/>
                </a:ext>
              </a:extLst>
            </p:cNvPr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6443663" y="2282825"/>
              <a:ext cx="150812" cy="82550"/>
            </a:xfrm>
            <a:custGeom>
              <a:avLst/>
              <a:gdLst>
                <a:gd name="T0" fmla="*/ 142243 w 352"/>
                <a:gd name="T1" fmla="*/ 49098 h 153"/>
                <a:gd name="T2" fmla="*/ 150812 w 352"/>
                <a:gd name="T3" fmla="*/ 82550 h 153"/>
                <a:gd name="T4" fmla="*/ 139672 w 352"/>
                <a:gd name="T5" fmla="*/ 76075 h 153"/>
                <a:gd name="T6" fmla="*/ 128105 w 352"/>
                <a:gd name="T7" fmla="*/ 69601 h 153"/>
                <a:gd name="T8" fmla="*/ 113966 w 352"/>
                <a:gd name="T9" fmla="*/ 76075 h 153"/>
                <a:gd name="T10" fmla="*/ 99399 w 352"/>
                <a:gd name="T11" fmla="*/ 76075 h 153"/>
                <a:gd name="T12" fmla="*/ 97257 w 352"/>
                <a:gd name="T13" fmla="*/ 72838 h 153"/>
                <a:gd name="T14" fmla="*/ 96828 w 352"/>
                <a:gd name="T15" fmla="*/ 72838 h 153"/>
                <a:gd name="T16" fmla="*/ 93829 w 352"/>
                <a:gd name="T17" fmla="*/ 69601 h 153"/>
                <a:gd name="T18" fmla="*/ 91258 w 352"/>
                <a:gd name="T19" fmla="*/ 67443 h 153"/>
                <a:gd name="T20" fmla="*/ 87831 w 352"/>
                <a:gd name="T21" fmla="*/ 65285 h 153"/>
                <a:gd name="T22" fmla="*/ 84403 w 352"/>
                <a:gd name="T23" fmla="*/ 63666 h 153"/>
                <a:gd name="T24" fmla="*/ 77548 w 352"/>
                <a:gd name="T25" fmla="*/ 60968 h 153"/>
                <a:gd name="T26" fmla="*/ 69836 w 352"/>
                <a:gd name="T27" fmla="*/ 59350 h 153"/>
                <a:gd name="T28" fmla="*/ 53984 w 352"/>
                <a:gd name="T29" fmla="*/ 57731 h 153"/>
                <a:gd name="T30" fmla="*/ 36846 w 352"/>
                <a:gd name="T31" fmla="*/ 56112 h 153"/>
                <a:gd name="T32" fmla="*/ 36418 w 352"/>
                <a:gd name="T33" fmla="*/ 50717 h 153"/>
                <a:gd name="T34" fmla="*/ 35132 w 352"/>
                <a:gd name="T35" fmla="*/ 45322 h 153"/>
                <a:gd name="T36" fmla="*/ 34275 w 352"/>
                <a:gd name="T37" fmla="*/ 40466 h 153"/>
                <a:gd name="T38" fmla="*/ 32133 w 352"/>
                <a:gd name="T39" fmla="*/ 36149 h 153"/>
                <a:gd name="T40" fmla="*/ 30419 w 352"/>
                <a:gd name="T41" fmla="*/ 31833 h 153"/>
                <a:gd name="T42" fmla="*/ 28706 w 352"/>
                <a:gd name="T43" fmla="*/ 28056 h 153"/>
                <a:gd name="T44" fmla="*/ 26135 w 352"/>
                <a:gd name="T45" fmla="*/ 23740 h 153"/>
                <a:gd name="T46" fmla="*/ 23993 w 352"/>
                <a:gd name="T47" fmla="*/ 19963 h 153"/>
                <a:gd name="T48" fmla="*/ 18852 w 352"/>
                <a:gd name="T49" fmla="*/ 14028 h 153"/>
                <a:gd name="T50" fmla="*/ 12425 w 352"/>
                <a:gd name="T51" fmla="*/ 8633 h 153"/>
                <a:gd name="T52" fmla="*/ 6427 w 352"/>
                <a:gd name="T53" fmla="*/ 3777 h 153"/>
                <a:gd name="T54" fmla="*/ 0 w 352"/>
                <a:gd name="T55" fmla="*/ 0 h 153"/>
                <a:gd name="T56" fmla="*/ 2999 w 352"/>
                <a:gd name="T57" fmla="*/ 0 h 153"/>
                <a:gd name="T58" fmla="*/ 25707 w 352"/>
                <a:gd name="T59" fmla="*/ 9712 h 153"/>
                <a:gd name="T60" fmla="*/ 45415 w 352"/>
                <a:gd name="T61" fmla="*/ 16186 h 153"/>
                <a:gd name="T62" fmla="*/ 57411 w 352"/>
                <a:gd name="T63" fmla="*/ 9712 h 153"/>
                <a:gd name="T64" fmla="*/ 77120 w 352"/>
                <a:gd name="T65" fmla="*/ 19424 h 153"/>
                <a:gd name="T66" fmla="*/ 88259 w 352"/>
                <a:gd name="T67" fmla="*/ 29675 h 153"/>
                <a:gd name="T68" fmla="*/ 105397 w 352"/>
                <a:gd name="T69" fmla="*/ 26438 h 153"/>
                <a:gd name="T70" fmla="*/ 122535 w 352"/>
                <a:gd name="T71" fmla="*/ 32912 h 153"/>
                <a:gd name="T72" fmla="*/ 134103 w 352"/>
                <a:gd name="T73" fmla="*/ 42624 h 153"/>
                <a:gd name="T74" fmla="*/ 142243 w 352"/>
                <a:gd name="T75" fmla="*/ 49098 h 15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52" name="Freeform 461">
              <a:extLst>
                <a:ext uri="{FF2B5EF4-FFF2-40B4-BE49-F238E27FC236}">
                  <a16:creationId xmlns:a16="http://schemas.microsoft.com/office/drawing/2014/main" id="{F8573748-2EA3-4644-9124-198FC3EEDEFD}"/>
                </a:ext>
              </a:extLst>
            </p:cNvPr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5992814" y="2343150"/>
              <a:ext cx="147637" cy="173038"/>
            </a:xfrm>
            <a:custGeom>
              <a:avLst/>
              <a:gdLst>
                <a:gd name="T0" fmla="*/ 102588 w 331"/>
                <a:gd name="T1" fmla="*/ 21167 h 327"/>
                <a:gd name="T2" fmla="*/ 86084 w 331"/>
                <a:gd name="T3" fmla="*/ 29633 h 327"/>
                <a:gd name="T4" fmla="*/ 81178 w 331"/>
                <a:gd name="T5" fmla="*/ 35454 h 327"/>
                <a:gd name="T6" fmla="*/ 80732 w 331"/>
                <a:gd name="T7" fmla="*/ 42863 h 327"/>
                <a:gd name="T8" fmla="*/ 82070 w 331"/>
                <a:gd name="T9" fmla="*/ 49742 h 327"/>
                <a:gd name="T10" fmla="*/ 78948 w 331"/>
                <a:gd name="T11" fmla="*/ 53975 h 327"/>
                <a:gd name="T12" fmla="*/ 74934 w 331"/>
                <a:gd name="T13" fmla="*/ 55563 h 327"/>
                <a:gd name="T14" fmla="*/ 71365 w 331"/>
                <a:gd name="T15" fmla="*/ 51858 h 327"/>
                <a:gd name="T16" fmla="*/ 66459 w 331"/>
                <a:gd name="T17" fmla="*/ 44979 h 327"/>
                <a:gd name="T18" fmla="*/ 56200 w 331"/>
                <a:gd name="T19" fmla="*/ 39158 h 327"/>
                <a:gd name="T20" fmla="*/ 56646 w 331"/>
                <a:gd name="T21" fmla="*/ 50800 h 327"/>
                <a:gd name="T22" fmla="*/ 61999 w 331"/>
                <a:gd name="T23" fmla="*/ 61384 h 327"/>
                <a:gd name="T24" fmla="*/ 68689 w 331"/>
                <a:gd name="T25" fmla="*/ 68263 h 327"/>
                <a:gd name="T26" fmla="*/ 70919 w 331"/>
                <a:gd name="T27" fmla="*/ 68792 h 327"/>
                <a:gd name="T28" fmla="*/ 70919 w 331"/>
                <a:gd name="T29" fmla="*/ 93663 h 327"/>
                <a:gd name="T30" fmla="*/ 70919 w 331"/>
                <a:gd name="T31" fmla="*/ 125413 h 327"/>
                <a:gd name="T32" fmla="*/ 69581 w 331"/>
                <a:gd name="T33" fmla="*/ 132821 h 327"/>
                <a:gd name="T34" fmla="*/ 65567 w 331"/>
                <a:gd name="T35" fmla="*/ 137055 h 327"/>
                <a:gd name="T36" fmla="*/ 64675 w 331"/>
                <a:gd name="T37" fmla="*/ 139700 h 327"/>
                <a:gd name="T38" fmla="*/ 72257 w 331"/>
                <a:gd name="T39" fmla="*/ 146050 h 327"/>
                <a:gd name="T40" fmla="*/ 74488 w 331"/>
                <a:gd name="T41" fmla="*/ 151342 h 327"/>
                <a:gd name="T42" fmla="*/ 69135 w 331"/>
                <a:gd name="T43" fmla="*/ 156105 h 327"/>
                <a:gd name="T44" fmla="*/ 62445 w 331"/>
                <a:gd name="T45" fmla="*/ 157163 h 327"/>
                <a:gd name="T46" fmla="*/ 57984 w 331"/>
                <a:gd name="T47" fmla="*/ 162455 h 327"/>
                <a:gd name="T48" fmla="*/ 56200 w 331"/>
                <a:gd name="T49" fmla="*/ 169863 h 327"/>
                <a:gd name="T50" fmla="*/ 53970 w 331"/>
                <a:gd name="T51" fmla="*/ 158750 h 327"/>
                <a:gd name="T52" fmla="*/ 55308 w 331"/>
                <a:gd name="T53" fmla="*/ 152400 h 327"/>
                <a:gd name="T54" fmla="*/ 48618 w 331"/>
                <a:gd name="T55" fmla="*/ 151342 h 327"/>
                <a:gd name="T56" fmla="*/ 41481 w 331"/>
                <a:gd name="T57" fmla="*/ 154517 h 327"/>
                <a:gd name="T58" fmla="*/ 35237 w 331"/>
                <a:gd name="T59" fmla="*/ 156634 h 327"/>
                <a:gd name="T60" fmla="*/ 32560 w 331"/>
                <a:gd name="T61" fmla="*/ 128059 h 327"/>
                <a:gd name="T62" fmla="*/ 35237 w 331"/>
                <a:gd name="T63" fmla="*/ 114300 h 327"/>
                <a:gd name="T64" fmla="*/ 21410 w 331"/>
                <a:gd name="T65" fmla="*/ 111654 h 327"/>
                <a:gd name="T66" fmla="*/ 12489 w 331"/>
                <a:gd name="T67" fmla="*/ 104775 h 327"/>
                <a:gd name="T68" fmla="*/ 5798 w 331"/>
                <a:gd name="T69" fmla="*/ 91546 h 327"/>
                <a:gd name="T70" fmla="*/ 0 w 331"/>
                <a:gd name="T71" fmla="*/ 68792 h 327"/>
                <a:gd name="T72" fmla="*/ 12489 w 331"/>
                <a:gd name="T73" fmla="*/ 58738 h 327"/>
                <a:gd name="T74" fmla="*/ 22302 w 331"/>
                <a:gd name="T75" fmla="*/ 42863 h 327"/>
                <a:gd name="T76" fmla="*/ 32560 w 331"/>
                <a:gd name="T77" fmla="*/ 29104 h 327"/>
                <a:gd name="T78" fmla="*/ 51294 w 331"/>
                <a:gd name="T79" fmla="*/ 21696 h 327"/>
                <a:gd name="T80" fmla="*/ 80286 w 331"/>
                <a:gd name="T81" fmla="*/ 7408 h 327"/>
                <a:gd name="T82" fmla="*/ 97235 w 331"/>
                <a:gd name="T83" fmla="*/ 3704 h 327"/>
                <a:gd name="T84" fmla="*/ 111062 w 331"/>
                <a:gd name="T85" fmla="*/ 7408 h 327"/>
                <a:gd name="T86" fmla="*/ 120875 w 331"/>
                <a:gd name="T87" fmla="*/ 14288 h 327"/>
                <a:gd name="T88" fmla="*/ 130242 w 331"/>
                <a:gd name="T89" fmla="*/ 15875 h 327"/>
                <a:gd name="T90" fmla="*/ 136932 w 331"/>
                <a:gd name="T91" fmla="*/ 10583 h 327"/>
                <a:gd name="T92" fmla="*/ 145853 w 331"/>
                <a:gd name="T93" fmla="*/ 3175 h 327"/>
                <a:gd name="T94" fmla="*/ 147191 w 331"/>
                <a:gd name="T95" fmla="*/ 16933 h 3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53" name="Freeform 462">
              <a:extLst>
                <a:ext uri="{FF2B5EF4-FFF2-40B4-BE49-F238E27FC236}">
                  <a16:creationId xmlns:a16="http://schemas.microsoft.com/office/drawing/2014/main" id="{3C74811A-914D-4B82-A15A-AB6E6E3BD6F1}"/>
                </a:ext>
              </a:extLst>
            </p:cNvPr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6076950" y="2535238"/>
              <a:ext cx="69850" cy="57150"/>
            </a:xfrm>
            <a:custGeom>
              <a:avLst/>
              <a:gdLst>
                <a:gd name="T0" fmla="*/ 0 w 153"/>
                <a:gd name="T1" fmla="*/ 0 h 49"/>
                <a:gd name="T2" fmla="*/ 20088 w 153"/>
                <a:gd name="T3" fmla="*/ 2333 h 49"/>
                <a:gd name="T4" fmla="*/ 37892 w 153"/>
                <a:gd name="T5" fmla="*/ 6998 h 49"/>
                <a:gd name="T6" fmla="*/ 47023 w 153"/>
                <a:gd name="T7" fmla="*/ 9331 h 49"/>
                <a:gd name="T8" fmla="*/ 55241 w 153"/>
                <a:gd name="T9" fmla="*/ 8164 h 49"/>
                <a:gd name="T10" fmla="*/ 59350 w 153"/>
                <a:gd name="T11" fmla="*/ 6998 h 49"/>
                <a:gd name="T12" fmla="*/ 62545 w 153"/>
                <a:gd name="T13" fmla="*/ 5832 h 49"/>
                <a:gd name="T14" fmla="*/ 66198 w 153"/>
                <a:gd name="T15" fmla="*/ 3499 h 49"/>
                <a:gd name="T16" fmla="*/ 69850 w 153"/>
                <a:gd name="T17" fmla="*/ 0 h 49"/>
                <a:gd name="T18" fmla="*/ 69850 w 153"/>
                <a:gd name="T19" fmla="*/ 10497 h 49"/>
                <a:gd name="T20" fmla="*/ 69850 w 153"/>
                <a:gd name="T21" fmla="*/ 29158 h 49"/>
                <a:gd name="T22" fmla="*/ 65285 w 153"/>
                <a:gd name="T23" fmla="*/ 36156 h 49"/>
                <a:gd name="T24" fmla="*/ 60719 w 153"/>
                <a:gd name="T25" fmla="*/ 41988 h 49"/>
                <a:gd name="T26" fmla="*/ 56610 w 153"/>
                <a:gd name="T27" fmla="*/ 46653 h 49"/>
                <a:gd name="T28" fmla="*/ 52045 w 153"/>
                <a:gd name="T29" fmla="*/ 51318 h 49"/>
                <a:gd name="T30" fmla="*/ 48393 w 153"/>
                <a:gd name="T31" fmla="*/ 53651 h 49"/>
                <a:gd name="T32" fmla="*/ 45197 w 153"/>
                <a:gd name="T33" fmla="*/ 55984 h 49"/>
                <a:gd name="T34" fmla="*/ 42001 w 153"/>
                <a:gd name="T35" fmla="*/ 57150 h 49"/>
                <a:gd name="T36" fmla="*/ 39719 w 153"/>
                <a:gd name="T37" fmla="*/ 57150 h 49"/>
                <a:gd name="T38" fmla="*/ 32871 w 153"/>
                <a:gd name="T39" fmla="*/ 55984 h 49"/>
                <a:gd name="T40" fmla="*/ 27392 w 153"/>
                <a:gd name="T41" fmla="*/ 53651 h 49"/>
                <a:gd name="T42" fmla="*/ 22827 w 153"/>
                <a:gd name="T43" fmla="*/ 50152 h 49"/>
                <a:gd name="T44" fmla="*/ 18718 w 153"/>
                <a:gd name="T45" fmla="*/ 44320 h 49"/>
                <a:gd name="T46" fmla="*/ 10044 w 153"/>
                <a:gd name="T47" fmla="*/ 33823 h 49"/>
                <a:gd name="T48" fmla="*/ 0 w 153"/>
                <a:gd name="T49" fmla="*/ 22160 h 49"/>
                <a:gd name="T50" fmla="*/ 0 w 153"/>
                <a:gd name="T51" fmla="*/ 0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54" name="Freeform 463">
              <a:extLst>
                <a:ext uri="{FF2B5EF4-FFF2-40B4-BE49-F238E27FC236}">
                  <a16:creationId xmlns:a16="http://schemas.microsoft.com/office/drawing/2014/main" id="{BA21FCB9-0081-4E85-9B72-CF7D95BF3519}"/>
                </a:ext>
              </a:extLst>
            </p:cNvPr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5156201" y="3267075"/>
              <a:ext cx="187325" cy="158750"/>
            </a:xfrm>
            <a:custGeom>
              <a:avLst/>
              <a:gdLst>
                <a:gd name="T0" fmla="*/ 85308 w 426"/>
                <a:gd name="T1" fmla="*/ 8495 h 299"/>
                <a:gd name="T2" fmla="*/ 94982 w 426"/>
                <a:gd name="T3" fmla="*/ 11681 h 299"/>
                <a:gd name="T4" fmla="*/ 101138 w 426"/>
                <a:gd name="T5" fmla="*/ 15397 h 299"/>
                <a:gd name="T6" fmla="*/ 111252 w 426"/>
                <a:gd name="T7" fmla="*/ 18583 h 299"/>
                <a:gd name="T8" fmla="*/ 122685 w 426"/>
                <a:gd name="T9" fmla="*/ 19645 h 299"/>
                <a:gd name="T10" fmla="*/ 131919 w 426"/>
                <a:gd name="T11" fmla="*/ 19645 h 299"/>
                <a:gd name="T12" fmla="*/ 140274 w 426"/>
                <a:gd name="T13" fmla="*/ 18052 h 299"/>
                <a:gd name="T14" fmla="*/ 144671 w 426"/>
                <a:gd name="T15" fmla="*/ 15397 h 299"/>
                <a:gd name="T16" fmla="*/ 160501 w 426"/>
                <a:gd name="T17" fmla="*/ 13273 h 299"/>
                <a:gd name="T18" fmla="*/ 163580 w 426"/>
                <a:gd name="T19" fmla="*/ 26016 h 299"/>
                <a:gd name="T20" fmla="*/ 168417 w 426"/>
                <a:gd name="T21" fmla="*/ 39289 h 299"/>
                <a:gd name="T22" fmla="*/ 171934 w 426"/>
                <a:gd name="T23" fmla="*/ 44599 h 299"/>
                <a:gd name="T24" fmla="*/ 175892 w 426"/>
                <a:gd name="T25" fmla="*/ 48846 h 299"/>
                <a:gd name="T26" fmla="*/ 181169 w 426"/>
                <a:gd name="T27" fmla="*/ 51501 h 299"/>
                <a:gd name="T28" fmla="*/ 186885 w 426"/>
                <a:gd name="T29" fmla="*/ 52563 h 299"/>
                <a:gd name="T30" fmla="*/ 186885 w 426"/>
                <a:gd name="T31" fmla="*/ 63712 h 299"/>
                <a:gd name="T32" fmla="*/ 186885 w 426"/>
                <a:gd name="T33" fmla="*/ 75393 h 299"/>
                <a:gd name="T34" fmla="*/ 182928 w 426"/>
                <a:gd name="T35" fmla="*/ 83888 h 299"/>
                <a:gd name="T36" fmla="*/ 181169 w 426"/>
                <a:gd name="T37" fmla="*/ 90259 h 299"/>
                <a:gd name="T38" fmla="*/ 181169 w 426"/>
                <a:gd name="T39" fmla="*/ 96099 h 299"/>
                <a:gd name="T40" fmla="*/ 182488 w 426"/>
                <a:gd name="T41" fmla="*/ 100878 h 299"/>
                <a:gd name="T42" fmla="*/ 186006 w 426"/>
                <a:gd name="T43" fmla="*/ 112028 h 299"/>
                <a:gd name="T44" fmla="*/ 187325 w 426"/>
                <a:gd name="T45" fmla="*/ 119992 h 299"/>
                <a:gd name="T46" fmla="*/ 186885 w 426"/>
                <a:gd name="T47" fmla="*/ 131141 h 299"/>
                <a:gd name="T48" fmla="*/ 187325 w 426"/>
                <a:gd name="T49" fmla="*/ 145477 h 299"/>
                <a:gd name="T50" fmla="*/ 186006 w 426"/>
                <a:gd name="T51" fmla="*/ 151317 h 299"/>
                <a:gd name="T52" fmla="*/ 181169 w 426"/>
                <a:gd name="T53" fmla="*/ 157157 h 299"/>
                <a:gd name="T54" fmla="*/ 167097 w 426"/>
                <a:gd name="T55" fmla="*/ 158219 h 299"/>
                <a:gd name="T56" fmla="*/ 162700 w 426"/>
                <a:gd name="T57" fmla="*/ 158750 h 299"/>
                <a:gd name="T58" fmla="*/ 158303 w 426"/>
                <a:gd name="T59" fmla="*/ 157157 h 299"/>
                <a:gd name="T60" fmla="*/ 154345 w 426"/>
                <a:gd name="T61" fmla="*/ 153972 h 299"/>
                <a:gd name="T62" fmla="*/ 148629 w 426"/>
                <a:gd name="T63" fmla="*/ 147600 h 299"/>
                <a:gd name="T64" fmla="*/ 142473 w 426"/>
                <a:gd name="T65" fmla="*/ 138574 h 299"/>
                <a:gd name="T66" fmla="*/ 136756 w 426"/>
                <a:gd name="T67" fmla="*/ 134327 h 299"/>
                <a:gd name="T68" fmla="*/ 129281 w 426"/>
                <a:gd name="T69" fmla="*/ 133265 h 299"/>
                <a:gd name="T70" fmla="*/ 122245 w 426"/>
                <a:gd name="T71" fmla="*/ 123177 h 299"/>
                <a:gd name="T72" fmla="*/ 120486 w 426"/>
                <a:gd name="T73" fmla="*/ 111497 h 299"/>
                <a:gd name="T74" fmla="*/ 118287 w 426"/>
                <a:gd name="T75" fmla="*/ 104594 h 299"/>
                <a:gd name="T76" fmla="*/ 114770 w 426"/>
                <a:gd name="T77" fmla="*/ 97692 h 299"/>
                <a:gd name="T78" fmla="*/ 110372 w 426"/>
                <a:gd name="T79" fmla="*/ 91852 h 299"/>
                <a:gd name="T80" fmla="*/ 104656 w 426"/>
                <a:gd name="T81" fmla="*/ 87605 h 299"/>
                <a:gd name="T82" fmla="*/ 97620 w 426"/>
                <a:gd name="T83" fmla="*/ 85481 h 299"/>
                <a:gd name="T84" fmla="*/ 89705 w 426"/>
                <a:gd name="T85" fmla="*/ 85481 h 299"/>
                <a:gd name="T86" fmla="*/ 82669 w 426"/>
                <a:gd name="T87" fmla="*/ 86543 h 299"/>
                <a:gd name="T88" fmla="*/ 76073 w 426"/>
                <a:gd name="T89" fmla="*/ 89197 h 299"/>
                <a:gd name="T90" fmla="*/ 70357 w 426"/>
                <a:gd name="T91" fmla="*/ 93445 h 299"/>
                <a:gd name="T92" fmla="*/ 62002 w 426"/>
                <a:gd name="T93" fmla="*/ 101409 h 299"/>
                <a:gd name="T94" fmla="*/ 51888 w 426"/>
                <a:gd name="T95" fmla="*/ 114151 h 299"/>
                <a:gd name="T96" fmla="*/ 46172 w 426"/>
                <a:gd name="T97" fmla="*/ 115744 h 299"/>
                <a:gd name="T98" fmla="*/ 43973 w 426"/>
                <a:gd name="T99" fmla="*/ 106718 h 299"/>
                <a:gd name="T100" fmla="*/ 39576 w 426"/>
                <a:gd name="T101" fmla="*/ 98754 h 299"/>
                <a:gd name="T102" fmla="*/ 33419 w 426"/>
                <a:gd name="T103" fmla="*/ 90790 h 299"/>
                <a:gd name="T104" fmla="*/ 21987 w 426"/>
                <a:gd name="T105" fmla="*/ 81233 h 299"/>
                <a:gd name="T106" fmla="*/ 10554 w 426"/>
                <a:gd name="T107" fmla="*/ 71145 h 299"/>
                <a:gd name="T108" fmla="*/ 3518 w 426"/>
                <a:gd name="T109" fmla="*/ 63181 h 299"/>
                <a:gd name="T110" fmla="*/ 6596 w 426"/>
                <a:gd name="T111" fmla="*/ 53625 h 299"/>
                <a:gd name="T112" fmla="*/ 20228 w 426"/>
                <a:gd name="T113" fmla="*/ 40882 h 299"/>
                <a:gd name="T114" fmla="*/ 32980 w 426"/>
                <a:gd name="T115" fmla="*/ 25485 h 299"/>
                <a:gd name="T116" fmla="*/ 43094 w 426"/>
                <a:gd name="T117" fmla="*/ 9026 h 299"/>
                <a:gd name="T118" fmla="*/ 78712 w 426"/>
                <a:gd name="T119" fmla="*/ 6902 h 29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55" name="Freeform 464">
              <a:extLst>
                <a:ext uri="{FF2B5EF4-FFF2-40B4-BE49-F238E27FC236}">
                  <a16:creationId xmlns:a16="http://schemas.microsoft.com/office/drawing/2014/main" id="{7A704D73-2BE3-4F1B-A7C3-EB10E0F3789A}"/>
                </a:ext>
              </a:extLst>
            </p:cNvPr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7200900" y="2530476"/>
              <a:ext cx="692150" cy="874713"/>
            </a:xfrm>
            <a:custGeom>
              <a:avLst/>
              <a:gdLst>
                <a:gd name="T0" fmla="*/ 207124 w 1594"/>
                <a:gd name="T1" fmla="*/ 56044 h 1670"/>
                <a:gd name="T2" fmla="*/ 210598 w 1594"/>
                <a:gd name="T3" fmla="*/ 96899 h 1670"/>
                <a:gd name="T4" fmla="*/ 250980 w 1594"/>
                <a:gd name="T5" fmla="*/ 150325 h 1670"/>
                <a:gd name="T6" fmla="*/ 304390 w 1594"/>
                <a:gd name="T7" fmla="*/ 240415 h 1670"/>
                <a:gd name="T8" fmla="*/ 345207 w 1594"/>
                <a:gd name="T9" fmla="*/ 261366 h 1670"/>
                <a:gd name="T10" fmla="*/ 380813 w 1594"/>
                <a:gd name="T11" fmla="*/ 258224 h 1670"/>
                <a:gd name="T12" fmla="*/ 403827 w 1594"/>
                <a:gd name="T13" fmla="*/ 281270 h 1670"/>
                <a:gd name="T14" fmla="*/ 478513 w 1594"/>
                <a:gd name="T15" fmla="*/ 296983 h 1670"/>
                <a:gd name="T16" fmla="*/ 486763 w 1594"/>
                <a:gd name="T17" fmla="*/ 241463 h 1670"/>
                <a:gd name="T18" fmla="*/ 511948 w 1594"/>
                <a:gd name="T19" fmla="*/ 282318 h 1670"/>
                <a:gd name="T20" fmla="*/ 539738 w 1594"/>
                <a:gd name="T21" fmla="*/ 293841 h 1670"/>
                <a:gd name="T22" fmla="*/ 564054 w 1594"/>
                <a:gd name="T23" fmla="*/ 260843 h 1670"/>
                <a:gd name="T24" fmla="*/ 609648 w 1594"/>
                <a:gd name="T25" fmla="*/ 214226 h 1670"/>
                <a:gd name="T26" fmla="*/ 672610 w 1594"/>
                <a:gd name="T27" fmla="*/ 224178 h 1670"/>
                <a:gd name="T28" fmla="*/ 685637 w 1594"/>
                <a:gd name="T29" fmla="*/ 260843 h 1670"/>
                <a:gd name="T30" fmla="*/ 653070 w 1594"/>
                <a:gd name="T31" fmla="*/ 283889 h 1670"/>
                <a:gd name="T32" fmla="*/ 644820 w 1594"/>
                <a:gd name="T33" fmla="*/ 355647 h 1670"/>
                <a:gd name="T34" fmla="*/ 620503 w 1594"/>
                <a:gd name="T35" fmla="*/ 368741 h 1670"/>
                <a:gd name="T36" fmla="*/ 611385 w 1594"/>
                <a:gd name="T37" fmla="*/ 426357 h 1670"/>
                <a:gd name="T38" fmla="*/ 573607 w 1594"/>
                <a:gd name="T39" fmla="*/ 394930 h 1670"/>
                <a:gd name="T40" fmla="*/ 574476 w 1594"/>
                <a:gd name="T41" fmla="*/ 365599 h 1670"/>
                <a:gd name="T42" fmla="*/ 531922 w 1594"/>
                <a:gd name="T43" fmla="*/ 334172 h 1670"/>
                <a:gd name="T44" fmla="*/ 515422 w 1594"/>
                <a:gd name="T45" fmla="*/ 307983 h 1670"/>
                <a:gd name="T46" fmla="*/ 491105 w 1594"/>
                <a:gd name="T47" fmla="*/ 301174 h 1670"/>
                <a:gd name="T48" fmla="*/ 489368 w 1594"/>
                <a:gd name="T49" fmla="*/ 327363 h 1670"/>
                <a:gd name="T50" fmla="*/ 485026 w 1594"/>
                <a:gd name="T51" fmla="*/ 357742 h 1670"/>
                <a:gd name="T52" fmla="*/ 503698 w 1594"/>
                <a:gd name="T53" fmla="*/ 384978 h 1670"/>
                <a:gd name="T54" fmla="*/ 498921 w 1594"/>
                <a:gd name="T55" fmla="*/ 441547 h 1670"/>
                <a:gd name="T56" fmla="*/ 466789 w 1594"/>
                <a:gd name="T57" fmla="*/ 452546 h 1670"/>
                <a:gd name="T58" fmla="*/ 455499 w 1594"/>
                <a:gd name="T59" fmla="*/ 490782 h 1670"/>
                <a:gd name="T60" fmla="*/ 414248 w 1594"/>
                <a:gd name="T61" fmla="*/ 524304 h 1670"/>
                <a:gd name="T62" fmla="*/ 396011 w 1594"/>
                <a:gd name="T63" fmla="*/ 549969 h 1670"/>
                <a:gd name="T64" fmla="*/ 338693 w 1594"/>
                <a:gd name="T65" fmla="*/ 622251 h 1670"/>
                <a:gd name="T66" fmla="*/ 313943 w 1594"/>
                <a:gd name="T67" fmla="*/ 645821 h 1670"/>
                <a:gd name="T68" fmla="*/ 323061 w 1594"/>
                <a:gd name="T69" fmla="*/ 703961 h 1670"/>
                <a:gd name="T70" fmla="*/ 309166 w 1594"/>
                <a:gd name="T71" fmla="*/ 756862 h 1670"/>
                <a:gd name="T72" fmla="*/ 313508 w 1594"/>
                <a:gd name="T73" fmla="*/ 798241 h 1670"/>
                <a:gd name="T74" fmla="*/ 300916 w 1594"/>
                <a:gd name="T75" fmla="*/ 825478 h 1670"/>
                <a:gd name="T76" fmla="*/ 258362 w 1594"/>
                <a:gd name="T77" fmla="*/ 871047 h 1670"/>
                <a:gd name="T78" fmla="*/ 224059 w 1594"/>
                <a:gd name="T79" fmla="*/ 800860 h 1670"/>
                <a:gd name="T80" fmla="*/ 181939 w 1594"/>
                <a:gd name="T81" fmla="*/ 698723 h 1670"/>
                <a:gd name="T82" fmla="*/ 130701 w 1594"/>
                <a:gd name="T83" fmla="*/ 583491 h 1670"/>
                <a:gd name="T84" fmla="*/ 112464 w 1594"/>
                <a:gd name="T85" fmla="*/ 450975 h 1670"/>
                <a:gd name="T86" fmla="*/ 99871 w 1594"/>
                <a:gd name="T87" fmla="*/ 426357 h 1670"/>
                <a:gd name="T88" fmla="*/ 71212 w 1594"/>
                <a:gd name="T89" fmla="*/ 471402 h 1670"/>
                <a:gd name="T90" fmla="*/ 39080 w 1594"/>
                <a:gd name="T91" fmla="*/ 458831 h 1670"/>
                <a:gd name="T92" fmla="*/ 22145 w 1594"/>
                <a:gd name="T93" fmla="*/ 417977 h 1670"/>
                <a:gd name="T94" fmla="*/ 13027 w 1594"/>
                <a:gd name="T95" fmla="*/ 403835 h 1670"/>
                <a:gd name="T96" fmla="*/ 13895 w 1594"/>
                <a:gd name="T97" fmla="*/ 370836 h 1670"/>
                <a:gd name="T98" fmla="*/ 69041 w 1594"/>
                <a:gd name="T99" fmla="*/ 345171 h 1670"/>
                <a:gd name="T100" fmla="*/ 39948 w 1594"/>
                <a:gd name="T101" fmla="*/ 298031 h 1670"/>
                <a:gd name="T102" fmla="*/ 25619 w 1594"/>
                <a:gd name="T103" fmla="*/ 261890 h 1670"/>
                <a:gd name="T104" fmla="*/ 70344 w 1594"/>
                <a:gd name="T105" fmla="*/ 240415 h 1670"/>
                <a:gd name="T106" fmla="*/ 117240 w 1594"/>
                <a:gd name="T107" fmla="*/ 153991 h 1670"/>
                <a:gd name="T108" fmla="*/ 118977 w 1594"/>
                <a:gd name="T109" fmla="*/ 120469 h 1670"/>
                <a:gd name="T110" fmla="*/ 98568 w 1594"/>
                <a:gd name="T111" fmla="*/ 74377 h 1670"/>
                <a:gd name="T112" fmla="*/ 139820 w 1594"/>
                <a:gd name="T113" fmla="*/ 28284 h 16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solidFill>
              <a:srgbClr val="007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856" name="Freeform 465">
              <a:extLst>
                <a:ext uri="{FF2B5EF4-FFF2-40B4-BE49-F238E27FC236}">
                  <a16:creationId xmlns:a16="http://schemas.microsoft.com/office/drawing/2014/main" id="{A030A107-20AB-4E4D-8AC5-EFFFFB52C695}"/>
                </a:ext>
              </a:extLst>
            </p:cNvPr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5322888" y="3325814"/>
              <a:ext cx="158750" cy="206375"/>
            </a:xfrm>
            <a:custGeom>
              <a:avLst/>
              <a:gdLst>
                <a:gd name="T0" fmla="*/ 23437 w 359"/>
                <a:gd name="T1" fmla="*/ 200089 h 394"/>
                <a:gd name="T2" fmla="*/ 23437 w 359"/>
                <a:gd name="T3" fmla="*/ 187518 h 394"/>
                <a:gd name="T4" fmla="*/ 23437 w 359"/>
                <a:gd name="T5" fmla="*/ 174424 h 394"/>
                <a:gd name="T6" fmla="*/ 22110 w 359"/>
                <a:gd name="T7" fmla="*/ 163424 h 394"/>
                <a:gd name="T8" fmla="*/ 19015 w 359"/>
                <a:gd name="T9" fmla="*/ 153472 h 394"/>
                <a:gd name="T10" fmla="*/ 15477 w 359"/>
                <a:gd name="T11" fmla="*/ 145091 h 394"/>
                <a:gd name="T12" fmla="*/ 5749 w 359"/>
                <a:gd name="T13" fmla="*/ 128330 h 394"/>
                <a:gd name="T14" fmla="*/ 0 w 359"/>
                <a:gd name="T15" fmla="*/ 96902 h 394"/>
                <a:gd name="T16" fmla="*/ 14593 w 359"/>
                <a:gd name="T17" fmla="*/ 94807 h 394"/>
                <a:gd name="T18" fmla="*/ 17688 w 359"/>
                <a:gd name="T19" fmla="*/ 88521 h 394"/>
                <a:gd name="T20" fmla="*/ 18130 w 359"/>
                <a:gd name="T21" fmla="*/ 78569 h 394"/>
                <a:gd name="T22" fmla="*/ 16804 w 359"/>
                <a:gd name="T23" fmla="*/ 56046 h 394"/>
                <a:gd name="T24" fmla="*/ 13708 w 359"/>
                <a:gd name="T25" fmla="*/ 34047 h 394"/>
                <a:gd name="T26" fmla="*/ 14150 w 359"/>
                <a:gd name="T27" fmla="*/ 24618 h 394"/>
                <a:gd name="T28" fmla="*/ 15919 w 359"/>
                <a:gd name="T29" fmla="*/ 18857 h 394"/>
                <a:gd name="T30" fmla="*/ 53064 w 359"/>
                <a:gd name="T31" fmla="*/ 16238 h 394"/>
                <a:gd name="T32" fmla="*/ 53948 w 359"/>
                <a:gd name="T33" fmla="*/ 11523 h 394"/>
                <a:gd name="T34" fmla="*/ 56602 w 359"/>
                <a:gd name="T35" fmla="*/ 7333 h 394"/>
                <a:gd name="T36" fmla="*/ 61908 w 359"/>
                <a:gd name="T37" fmla="*/ 0 h 394"/>
                <a:gd name="T38" fmla="*/ 62792 w 359"/>
                <a:gd name="T39" fmla="*/ 9428 h 394"/>
                <a:gd name="T40" fmla="*/ 62792 w 359"/>
                <a:gd name="T41" fmla="*/ 13619 h 394"/>
                <a:gd name="T42" fmla="*/ 61908 w 359"/>
                <a:gd name="T43" fmla="*/ 16238 h 394"/>
                <a:gd name="T44" fmla="*/ 74290 w 359"/>
                <a:gd name="T45" fmla="*/ 16238 h 394"/>
                <a:gd name="T46" fmla="*/ 82249 w 359"/>
                <a:gd name="T47" fmla="*/ 16238 h 394"/>
                <a:gd name="T48" fmla="*/ 94631 w 359"/>
                <a:gd name="T49" fmla="*/ 19904 h 394"/>
                <a:gd name="T50" fmla="*/ 103033 w 359"/>
                <a:gd name="T51" fmla="*/ 25666 h 394"/>
                <a:gd name="T52" fmla="*/ 108781 w 359"/>
                <a:gd name="T53" fmla="*/ 30380 h 394"/>
                <a:gd name="T54" fmla="*/ 114530 w 359"/>
                <a:gd name="T55" fmla="*/ 31951 h 394"/>
                <a:gd name="T56" fmla="*/ 118510 w 359"/>
                <a:gd name="T57" fmla="*/ 30904 h 394"/>
                <a:gd name="T58" fmla="*/ 121605 w 359"/>
                <a:gd name="T59" fmla="*/ 28285 h 394"/>
                <a:gd name="T60" fmla="*/ 126469 w 359"/>
                <a:gd name="T61" fmla="*/ 19380 h 394"/>
                <a:gd name="T62" fmla="*/ 137967 w 359"/>
                <a:gd name="T63" fmla="*/ 27237 h 394"/>
                <a:gd name="T64" fmla="*/ 143715 w 359"/>
                <a:gd name="T65" fmla="*/ 30904 h 394"/>
                <a:gd name="T66" fmla="*/ 149464 w 359"/>
                <a:gd name="T67" fmla="*/ 31951 h 394"/>
                <a:gd name="T68" fmla="*/ 156097 w 359"/>
                <a:gd name="T69" fmla="*/ 84331 h 394"/>
                <a:gd name="T70" fmla="*/ 149464 w 359"/>
                <a:gd name="T71" fmla="*/ 96902 h 394"/>
                <a:gd name="T72" fmla="*/ 142831 w 359"/>
                <a:gd name="T73" fmla="*/ 107902 h 394"/>
                <a:gd name="T74" fmla="*/ 139293 w 359"/>
                <a:gd name="T75" fmla="*/ 117330 h 394"/>
                <a:gd name="T76" fmla="*/ 138409 w 359"/>
                <a:gd name="T77" fmla="*/ 125187 h 394"/>
                <a:gd name="T78" fmla="*/ 138409 w 359"/>
                <a:gd name="T79" fmla="*/ 133568 h 394"/>
                <a:gd name="T80" fmla="*/ 141946 w 359"/>
                <a:gd name="T81" fmla="*/ 142996 h 394"/>
                <a:gd name="T82" fmla="*/ 146368 w 359"/>
                <a:gd name="T83" fmla="*/ 153472 h 394"/>
                <a:gd name="T84" fmla="*/ 149022 w 359"/>
                <a:gd name="T85" fmla="*/ 161852 h 394"/>
                <a:gd name="T86" fmla="*/ 149022 w 359"/>
                <a:gd name="T87" fmla="*/ 168138 h 394"/>
                <a:gd name="T88" fmla="*/ 145926 w 359"/>
                <a:gd name="T89" fmla="*/ 176519 h 394"/>
                <a:gd name="T90" fmla="*/ 144157 w 359"/>
                <a:gd name="T91" fmla="*/ 183852 h 394"/>
                <a:gd name="T92" fmla="*/ 141062 w 359"/>
                <a:gd name="T93" fmla="*/ 187518 h 394"/>
                <a:gd name="T94" fmla="*/ 136198 w 359"/>
                <a:gd name="T95" fmla="*/ 186471 h 394"/>
                <a:gd name="T96" fmla="*/ 131776 w 359"/>
                <a:gd name="T97" fmla="*/ 183328 h 394"/>
                <a:gd name="T98" fmla="*/ 126912 w 359"/>
                <a:gd name="T99" fmla="*/ 178090 h 394"/>
                <a:gd name="T100" fmla="*/ 122490 w 359"/>
                <a:gd name="T101" fmla="*/ 175471 h 394"/>
                <a:gd name="T102" fmla="*/ 117625 w 359"/>
                <a:gd name="T103" fmla="*/ 174424 h 394"/>
                <a:gd name="T104" fmla="*/ 108781 w 359"/>
                <a:gd name="T105" fmla="*/ 174424 h 394"/>
                <a:gd name="T106" fmla="*/ 97726 w 359"/>
                <a:gd name="T107" fmla="*/ 175995 h 394"/>
                <a:gd name="T108" fmla="*/ 80038 w 359"/>
                <a:gd name="T109" fmla="*/ 179661 h 394"/>
                <a:gd name="T110" fmla="*/ 57928 w 359"/>
                <a:gd name="T111" fmla="*/ 188042 h 394"/>
                <a:gd name="T112" fmla="*/ 38029 w 359"/>
                <a:gd name="T113" fmla="*/ 196423 h 394"/>
                <a:gd name="T114" fmla="*/ 23437 w 359"/>
                <a:gd name="T115" fmla="*/ 206375 h 39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57" name="Freeform 466">
              <a:extLst>
                <a:ext uri="{FF2B5EF4-FFF2-40B4-BE49-F238E27FC236}">
                  <a16:creationId xmlns:a16="http://schemas.microsoft.com/office/drawing/2014/main" id="{58790FDA-01C3-4A6C-8A5D-AD058180E442}"/>
                </a:ext>
              </a:extLst>
            </p:cNvPr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6391275" y="3521076"/>
              <a:ext cx="192088" cy="271463"/>
            </a:xfrm>
            <a:custGeom>
              <a:avLst/>
              <a:gdLst>
                <a:gd name="T0" fmla="*/ 175403 w 449"/>
                <a:gd name="T1" fmla="*/ 54500 h 523"/>
                <a:gd name="T2" fmla="*/ 173264 w 449"/>
                <a:gd name="T3" fmla="*/ 50867 h 523"/>
                <a:gd name="T4" fmla="*/ 174548 w 449"/>
                <a:gd name="T5" fmla="*/ 47753 h 523"/>
                <a:gd name="T6" fmla="*/ 180537 w 449"/>
                <a:gd name="T7" fmla="*/ 39967 h 523"/>
                <a:gd name="T8" fmla="*/ 188665 w 449"/>
                <a:gd name="T9" fmla="*/ 31143 h 523"/>
                <a:gd name="T10" fmla="*/ 191232 w 449"/>
                <a:gd name="T11" fmla="*/ 25952 h 523"/>
                <a:gd name="T12" fmla="*/ 192088 w 449"/>
                <a:gd name="T13" fmla="*/ 19205 h 523"/>
                <a:gd name="T14" fmla="*/ 184815 w 449"/>
                <a:gd name="T15" fmla="*/ 17648 h 523"/>
                <a:gd name="T16" fmla="*/ 180537 w 449"/>
                <a:gd name="T17" fmla="*/ 14014 h 523"/>
                <a:gd name="T18" fmla="*/ 175831 w 449"/>
                <a:gd name="T19" fmla="*/ 10900 h 523"/>
                <a:gd name="T20" fmla="*/ 166847 w 449"/>
                <a:gd name="T21" fmla="*/ 9343 h 523"/>
                <a:gd name="T22" fmla="*/ 161285 w 449"/>
                <a:gd name="T23" fmla="*/ 10381 h 523"/>
                <a:gd name="T24" fmla="*/ 157435 w 449"/>
                <a:gd name="T25" fmla="*/ 12457 h 523"/>
                <a:gd name="T26" fmla="*/ 151874 w 449"/>
                <a:gd name="T27" fmla="*/ 19205 h 523"/>
                <a:gd name="T28" fmla="*/ 145456 w 449"/>
                <a:gd name="T29" fmla="*/ 25952 h 523"/>
                <a:gd name="T30" fmla="*/ 139467 w 449"/>
                <a:gd name="T31" fmla="*/ 28029 h 523"/>
                <a:gd name="T32" fmla="*/ 132622 w 449"/>
                <a:gd name="T33" fmla="*/ 28548 h 523"/>
                <a:gd name="T34" fmla="*/ 122782 w 449"/>
                <a:gd name="T35" fmla="*/ 28029 h 523"/>
                <a:gd name="T36" fmla="*/ 114226 w 449"/>
                <a:gd name="T37" fmla="*/ 25952 h 523"/>
                <a:gd name="T38" fmla="*/ 100536 w 449"/>
                <a:gd name="T39" fmla="*/ 18686 h 523"/>
                <a:gd name="T40" fmla="*/ 88129 w 449"/>
                <a:gd name="T41" fmla="*/ 9862 h 523"/>
                <a:gd name="T42" fmla="*/ 80857 w 449"/>
                <a:gd name="T43" fmla="*/ 6229 h 523"/>
                <a:gd name="T44" fmla="*/ 72728 w 449"/>
                <a:gd name="T45" fmla="*/ 3114 h 523"/>
                <a:gd name="T46" fmla="*/ 57327 w 449"/>
                <a:gd name="T47" fmla="*/ 4152 h 523"/>
                <a:gd name="T48" fmla="*/ 50910 w 449"/>
                <a:gd name="T49" fmla="*/ 3114 h 523"/>
                <a:gd name="T50" fmla="*/ 44065 w 449"/>
                <a:gd name="T51" fmla="*/ 0 h 523"/>
                <a:gd name="T52" fmla="*/ 22246 w 449"/>
                <a:gd name="T53" fmla="*/ 0 h 523"/>
                <a:gd name="T54" fmla="*/ 2139 w 449"/>
                <a:gd name="T55" fmla="*/ 0 h 523"/>
                <a:gd name="T56" fmla="*/ 2139 w 449"/>
                <a:gd name="T57" fmla="*/ 9343 h 523"/>
                <a:gd name="T58" fmla="*/ 2139 w 449"/>
                <a:gd name="T59" fmla="*/ 19205 h 523"/>
                <a:gd name="T60" fmla="*/ 6417 w 449"/>
                <a:gd name="T61" fmla="*/ 31143 h 523"/>
                <a:gd name="T62" fmla="*/ 9840 w 449"/>
                <a:gd name="T63" fmla="*/ 47234 h 523"/>
                <a:gd name="T64" fmla="*/ 13262 w 449"/>
                <a:gd name="T65" fmla="*/ 66438 h 523"/>
                <a:gd name="T66" fmla="*/ 16257 w 449"/>
                <a:gd name="T67" fmla="*/ 89277 h 523"/>
                <a:gd name="T68" fmla="*/ 15829 w 449"/>
                <a:gd name="T69" fmla="*/ 106924 h 523"/>
                <a:gd name="T70" fmla="*/ 12407 w 449"/>
                <a:gd name="T71" fmla="*/ 119381 h 523"/>
                <a:gd name="T72" fmla="*/ 2995 w 449"/>
                <a:gd name="T73" fmla="*/ 139624 h 523"/>
                <a:gd name="T74" fmla="*/ 4278 w 449"/>
                <a:gd name="T75" fmla="*/ 166615 h 523"/>
                <a:gd name="T76" fmla="*/ 11979 w 449"/>
                <a:gd name="T77" fmla="*/ 175958 h 523"/>
                <a:gd name="T78" fmla="*/ 35936 w 449"/>
                <a:gd name="T79" fmla="*/ 190491 h 523"/>
                <a:gd name="T80" fmla="*/ 58183 w 449"/>
                <a:gd name="T81" fmla="*/ 205544 h 523"/>
                <a:gd name="T82" fmla="*/ 72728 w 449"/>
                <a:gd name="T83" fmla="*/ 218001 h 523"/>
                <a:gd name="T84" fmla="*/ 80857 w 449"/>
                <a:gd name="T85" fmla="*/ 226306 h 523"/>
                <a:gd name="T86" fmla="*/ 84707 w 449"/>
                <a:gd name="T87" fmla="*/ 234091 h 523"/>
                <a:gd name="T88" fmla="*/ 85990 w 449"/>
                <a:gd name="T89" fmla="*/ 240839 h 523"/>
                <a:gd name="T90" fmla="*/ 89413 w 449"/>
                <a:gd name="T91" fmla="*/ 248625 h 523"/>
                <a:gd name="T92" fmla="*/ 94119 w 449"/>
                <a:gd name="T93" fmla="*/ 255372 h 523"/>
                <a:gd name="T94" fmla="*/ 99680 w 449"/>
                <a:gd name="T95" fmla="*/ 261082 h 523"/>
                <a:gd name="T96" fmla="*/ 105670 w 449"/>
                <a:gd name="T97" fmla="*/ 265753 h 523"/>
                <a:gd name="T98" fmla="*/ 112943 w 449"/>
                <a:gd name="T99" fmla="*/ 269387 h 523"/>
                <a:gd name="T100" fmla="*/ 120215 w 449"/>
                <a:gd name="T101" fmla="*/ 271463 h 523"/>
                <a:gd name="T102" fmla="*/ 130055 w 449"/>
                <a:gd name="T103" fmla="*/ 260563 h 523"/>
                <a:gd name="T104" fmla="*/ 143317 w 449"/>
                <a:gd name="T105" fmla="*/ 239801 h 523"/>
                <a:gd name="T106" fmla="*/ 156152 w 449"/>
                <a:gd name="T107" fmla="*/ 221634 h 523"/>
                <a:gd name="T108" fmla="*/ 168558 w 449"/>
                <a:gd name="T109" fmla="*/ 202429 h 52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58" name="Freeform 467">
              <a:extLst>
                <a:ext uri="{FF2B5EF4-FFF2-40B4-BE49-F238E27FC236}">
                  <a16:creationId xmlns:a16="http://schemas.microsoft.com/office/drawing/2014/main" id="{66AD97DC-A7C8-4381-A2EF-09541FA74040}"/>
                </a:ext>
              </a:extLst>
            </p:cNvPr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6373813" y="2606676"/>
              <a:ext cx="101600" cy="130175"/>
            </a:xfrm>
            <a:custGeom>
              <a:avLst/>
              <a:gdLst>
                <a:gd name="T0" fmla="*/ 5395 w 226"/>
                <a:gd name="T1" fmla="*/ 120650 h 246"/>
                <a:gd name="T2" fmla="*/ 16184 w 226"/>
                <a:gd name="T3" fmla="*/ 127000 h 246"/>
                <a:gd name="T4" fmla="*/ 23827 w 226"/>
                <a:gd name="T5" fmla="*/ 129646 h 246"/>
                <a:gd name="T6" fmla="*/ 30570 w 226"/>
                <a:gd name="T7" fmla="*/ 129646 h 246"/>
                <a:gd name="T8" fmla="*/ 38212 w 226"/>
                <a:gd name="T9" fmla="*/ 127529 h 246"/>
                <a:gd name="T10" fmla="*/ 49451 w 226"/>
                <a:gd name="T11" fmla="*/ 120650 h 246"/>
                <a:gd name="T12" fmla="*/ 63388 w 226"/>
                <a:gd name="T13" fmla="*/ 108479 h 246"/>
                <a:gd name="T14" fmla="*/ 72379 w 226"/>
                <a:gd name="T15" fmla="*/ 97367 h 246"/>
                <a:gd name="T16" fmla="*/ 71480 w 226"/>
                <a:gd name="T17" fmla="*/ 91546 h 246"/>
                <a:gd name="T18" fmla="*/ 66984 w 226"/>
                <a:gd name="T19" fmla="*/ 84667 h 246"/>
                <a:gd name="T20" fmla="*/ 64287 w 226"/>
                <a:gd name="T21" fmla="*/ 76729 h 246"/>
                <a:gd name="T22" fmla="*/ 63388 w 226"/>
                <a:gd name="T23" fmla="*/ 68792 h 246"/>
                <a:gd name="T24" fmla="*/ 63388 w 226"/>
                <a:gd name="T25" fmla="*/ 61383 h 246"/>
                <a:gd name="T26" fmla="*/ 65635 w 226"/>
                <a:gd name="T27" fmla="*/ 55562 h 246"/>
                <a:gd name="T28" fmla="*/ 70131 w 226"/>
                <a:gd name="T29" fmla="*/ 49742 h 246"/>
                <a:gd name="T30" fmla="*/ 75526 w 226"/>
                <a:gd name="T31" fmla="*/ 45508 h 246"/>
                <a:gd name="T32" fmla="*/ 91710 w 226"/>
                <a:gd name="T33" fmla="*/ 37571 h 246"/>
                <a:gd name="T34" fmla="*/ 101150 w 226"/>
                <a:gd name="T35" fmla="*/ 25929 h 246"/>
                <a:gd name="T36" fmla="*/ 99352 w 226"/>
                <a:gd name="T37" fmla="*/ 15875 h 246"/>
                <a:gd name="T38" fmla="*/ 96205 w 226"/>
                <a:gd name="T39" fmla="*/ 8996 h 246"/>
                <a:gd name="T40" fmla="*/ 95306 w 226"/>
                <a:gd name="T41" fmla="*/ 3175 h 246"/>
                <a:gd name="T42" fmla="*/ 90811 w 226"/>
                <a:gd name="T43" fmla="*/ 529 h 246"/>
                <a:gd name="T44" fmla="*/ 81370 w 226"/>
                <a:gd name="T45" fmla="*/ 3704 h 246"/>
                <a:gd name="T46" fmla="*/ 69232 w 226"/>
                <a:gd name="T47" fmla="*/ 10583 h 246"/>
                <a:gd name="T48" fmla="*/ 54396 w 226"/>
                <a:gd name="T49" fmla="*/ 20108 h 246"/>
                <a:gd name="T50" fmla="*/ 44956 w 226"/>
                <a:gd name="T51" fmla="*/ 26987 h 246"/>
                <a:gd name="T52" fmla="*/ 39112 w 226"/>
                <a:gd name="T53" fmla="*/ 29104 h 246"/>
                <a:gd name="T54" fmla="*/ 33717 w 226"/>
                <a:gd name="T55" fmla="*/ 28575 h 246"/>
                <a:gd name="T56" fmla="*/ 26524 w 226"/>
                <a:gd name="T57" fmla="*/ 24871 h 246"/>
                <a:gd name="T58" fmla="*/ 16184 w 226"/>
                <a:gd name="T59" fmla="*/ 16404 h 246"/>
                <a:gd name="T60" fmla="*/ 10789 w 226"/>
                <a:gd name="T61" fmla="*/ 20638 h 246"/>
                <a:gd name="T62" fmla="*/ 8092 w 226"/>
                <a:gd name="T63" fmla="*/ 50271 h 246"/>
                <a:gd name="T64" fmla="*/ 4496 w 226"/>
                <a:gd name="T65" fmla="*/ 86254 h 246"/>
                <a:gd name="T66" fmla="*/ 1349 w 226"/>
                <a:gd name="T67" fmla="*/ 112183 h 24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59" name="Freeform 468">
              <a:extLst>
                <a:ext uri="{FF2B5EF4-FFF2-40B4-BE49-F238E27FC236}">
                  <a16:creationId xmlns:a16="http://schemas.microsoft.com/office/drawing/2014/main" id="{095DBDD2-2772-40CC-B360-F61EB4C81759}"/>
                </a:ext>
              </a:extLst>
            </p:cNvPr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6672264" y="2709863"/>
              <a:ext cx="22225" cy="55562"/>
            </a:xfrm>
            <a:custGeom>
              <a:avLst/>
              <a:gdLst>
                <a:gd name="T0" fmla="*/ 10001 w 60"/>
                <a:gd name="T1" fmla="*/ 0 h 81"/>
                <a:gd name="T2" fmla="*/ 10742 w 60"/>
                <a:gd name="T3" fmla="*/ 1372 h 81"/>
                <a:gd name="T4" fmla="*/ 11853 w 60"/>
                <a:gd name="T5" fmla="*/ 2058 h 81"/>
                <a:gd name="T6" fmla="*/ 13335 w 60"/>
                <a:gd name="T7" fmla="*/ 2058 h 81"/>
                <a:gd name="T8" fmla="*/ 14817 w 60"/>
                <a:gd name="T9" fmla="*/ 1372 h 81"/>
                <a:gd name="T10" fmla="*/ 17410 w 60"/>
                <a:gd name="T11" fmla="*/ 686 h 81"/>
                <a:gd name="T12" fmla="*/ 19632 w 60"/>
                <a:gd name="T13" fmla="*/ 0 h 81"/>
                <a:gd name="T14" fmla="*/ 19632 w 60"/>
                <a:gd name="T15" fmla="*/ 17835 h 81"/>
                <a:gd name="T16" fmla="*/ 20003 w 60"/>
                <a:gd name="T17" fmla="*/ 32240 h 81"/>
                <a:gd name="T18" fmla="*/ 20003 w 60"/>
                <a:gd name="T19" fmla="*/ 39099 h 81"/>
                <a:gd name="T20" fmla="*/ 20743 w 60"/>
                <a:gd name="T21" fmla="*/ 44587 h 81"/>
                <a:gd name="T22" fmla="*/ 21484 w 60"/>
                <a:gd name="T23" fmla="*/ 50074 h 81"/>
                <a:gd name="T24" fmla="*/ 22225 w 60"/>
                <a:gd name="T25" fmla="*/ 55562 h 81"/>
                <a:gd name="T26" fmla="*/ 7408 w 60"/>
                <a:gd name="T27" fmla="*/ 55562 h 81"/>
                <a:gd name="T28" fmla="*/ 5186 w 60"/>
                <a:gd name="T29" fmla="*/ 54876 h 81"/>
                <a:gd name="T30" fmla="*/ 2593 w 60"/>
                <a:gd name="T31" fmla="*/ 52818 h 81"/>
                <a:gd name="T32" fmla="*/ 1852 w 60"/>
                <a:gd name="T33" fmla="*/ 50760 h 81"/>
                <a:gd name="T34" fmla="*/ 741 w 60"/>
                <a:gd name="T35" fmla="*/ 49388 h 81"/>
                <a:gd name="T36" fmla="*/ 370 w 60"/>
                <a:gd name="T37" fmla="*/ 48017 h 81"/>
                <a:gd name="T38" fmla="*/ 0 w 60"/>
                <a:gd name="T39" fmla="*/ 46645 h 81"/>
                <a:gd name="T40" fmla="*/ 2593 w 60"/>
                <a:gd name="T41" fmla="*/ 8231 h 81"/>
                <a:gd name="T42" fmla="*/ 7408 w 60"/>
                <a:gd name="T43" fmla="*/ 4116 h 81"/>
                <a:gd name="T44" fmla="*/ 12594 w 60"/>
                <a:gd name="T45" fmla="*/ 0 h 81"/>
                <a:gd name="T46" fmla="*/ 10001 w 60"/>
                <a:gd name="T47" fmla="*/ 0 h 8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60" name="Freeform 469">
              <a:extLst>
                <a:ext uri="{FF2B5EF4-FFF2-40B4-BE49-F238E27FC236}">
                  <a16:creationId xmlns:a16="http://schemas.microsoft.com/office/drawing/2014/main" id="{B1164EC4-C82A-4938-91A4-FAE57EF338EB}"/>
                </a:ext>
              </a:extLst>
            </p:cNvPr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5959476" y="1844676"/>
              <a:ext cx="161925" cy="66675"/>
            </a:xfrm>
            <a:custGeom>
              <a:avLst/>
              <a:gdLst>
                <a:gd name="T0" fmla="*/ 109409 w 370"/>
                <a:gd name="T1" fmla="*/ 60473 h 129"/>
                <a:gd name="T2" fmla="*/ 112910 w 370"/>
                <a:gd name="T3" fmla="*/ 61506 h 129"/>
                <a:gd name="T4" fmla="*/ 121225 w 370"/>
                <a:gd name="T5" fmla="*/ 63574 h 129"/>
                <a:gd name="T6" fmla="*/ 129102 w 370"/>
                <a:gd name="T7" fmla="*/ 65641 h 129"/>
                <a:gd name="T8" fmla="*/ 132603 w 370"/>
                <a:gd name="T9" fmla="*/ 66675 h 129"/>
                <a:gd name="T10" fmla="*/ 161925 w 370"/>
                <a:gd name="T11" fmla="*/ 50135 h 129"/>
                <a:gd name="T12" fmla="*/ 156673 w 370"/>
                <a:gd name="T13" fmla="*/ 38765 h 129"/>
                <a:gd name="T14" fmla="*/ 150984 w 370"/>
                <a:gd name="T15" fmla="*/ 24809 h 129"/>
                <a:gd name="T16" fmla="*/ 146608 w 370"/>
                <a:gd name="T17" fmla="*/ 13955 h 129"/>
                <a:gd name="T18" fmla="*/ 144420 w 370"/>
                <a:gd name="T19" fmla="*/ 9303 h 129"/>
                <a:gd name="T20" fmla="*/ 131291 w 370"/>
                <a:gd name="T21" fmla="*/ 7753 h 129"/>
                <a:gd name="T22" fmla="*/ 112472 w 370"/>
                <a:gd name="T23" fmla="*/ 4652 h 129"/>
                <a:gd name="T24" fmla="*/ 93654 w 370"/>
                <a:gd name="T25" fmla="*/ 1034 h 129"/>
                <a:gd name="T26" fmla="*/ 80087 w 370"/>
                <a:gd name="T27" fmla="*/ 0 h 129"/>
                <a:gd name="T28" fmla="*/ 78337 w 370"/>
                <a:gd name="T29" fmla="*/ 0 h 129"/>
                <a:gd name="T30" fmla="*/ 77024 w 370"/>
                <a:gd name="T31" fmla="*/ 517 h 129"/>
                <a:gd name="T32" fmla="*/ 75273 w 370"/>
                <a:gd name="T33" fmla="*/ 1034 h 129"/>
                <a:gd name="T34" fmla="*/ 74398 w 370"/>
                <a:gd name="T35" fmla="*/ 1551 h 129"/>
                <a:gd name="T36" fmla="*/ 70897 w 370"/>
                <a:gd name="T37" fmla="*/ 3618 h 129"/>
                <a:gd name="T38" fmla="*/ 65645 w 370"/>
                <a:gd name="T39" fmla="*/ 6202 h 129"/>
                <a:gd name="T40" fmla="*/ 64332 w 370"/>
                <a:gd name="T41" fmla="*/ 10854 h 129"/>
                <a:gd name="T42" fmla="*/ 61269 w 370"/>
                <a:gd name="T43" fmla="*/ 18090 h 129"/>
                <a:gd name="T44" fmla="*/ 58643 w 370"/>
                <a:gd name="T45" fmla="*/ 24809 h 129"/>
                <a:gd name="T46" fmla="*/ 57330 w 370"/>
                <a:gd name="T47" fmla="*/ 28427 h 129"/>
                <a:gd name="T48" fmla="*/ 53391 w 370"/>
                <a:gd name="T49" fmla="*/ 27910 h 129"/>
                <a:gd name="T50" fmla="*/ 48578 w 370"/>
                <a:gd name="T51" fmla="*/ 25326 h 129"/>
                <a:gd name="T52" fmla="*/ 42888 w 370"/>
                <a:gd name="T53" fmla="*/ 22742 h 129"/>
                <a:gd name="T54" fmla="*/ 36761 w 370"/>
                <a:gd name="T55" fmla="*/ 19641 h 129"/>
                <a:gd name="T56" fmla="*/ 26258 w 370"/>
                <a:gd name="T57" fmla="*/ 13438 h 129"/>
                <a:gd name="T58" fmla="*/ 19256 w 370"/>
                <a:gd name="T59" fmla="*/ 9303 h 129"/>
                <a:gd name="T60" fmla="*/ 14004 w 370"/>
                <a:gd name="T61" fmla="*/ 12922 h 129"/>
                <a:gd name="T62" fmla="*/ 9190 w 370"/>
                <a:gd name="T63" fmla="*/ 17056 h 129"/>
                <a:gd name="T64" fmla="*/ 7002 w 370"/>
                <a:gd name="T65" fmla="*/ 19124 h 129"/>
                <a:gd name="T66" fmla="*/ 5252 w 370"/>
                <a:gd name="T67" fmla="*/ 21191 h 129"/>
                <a:gd name="T68" fmla="*/ 3939 w 370"/>
                <a:gd name="T69" fmla="*/ 23776 h 129"/>
                <a:gd name="T70" fmla="*/ 2188 w 370"/>
                <a:gd name="T71" fmla="*/ 26877 h 129"/>
                <a:gd name="T72" fmla="*/ 1313 w 370"/>
                <a:gd name="T73" fmla="*/ 29461 h 129"/>
                <a:gd name="T74" fmla="*/ 438 w 370"/>
                <a:gd name="T75" fmla="*/ 32562 h 129"/>
                <a:gd name="T76" fmla="*/ 0 w 370"/>
                <a:gd name="T77" fmla="*/ 35663 h 129"/>
                <a:gd name="T78" fmla="*/ 0 w 370"/>
                <a:gd name="T79" fmla="*/ 38765 h 129"/>
                <a:gd name="T80" fmla="*/ 438 w 370"/>
                <a:gd name="T81" fmla="*/ 42383 h 129"/>
                <a:gd name="T82" fmla="*/ 1313 w 370"/>
                <a:gd name="T83" fmla="*/ 45484 h 129"/>
                <a:gd name="T84" fmla="*/ 2626 w 370"/>
                <a:gd name="T85" fmla="*/ 49619 h 129"/>
                <a:gd name="T86" fmla="*/ 4814 w 370"/>
                <a:gd name="T87" fmla="*/ 53237 h 129"/>
                <a:gd name="T88" fmla="*/ 8753 w 370"/>
                <a:gd name="T89" fmla="*/ 52203 h 129"/>
                <a:gd name="T90" fmla="*/ 14442 w 370"/>
                <a:gd name="T91" fmla="*/ 51169 h 129"/>
                <a:gd name="T92" fmla="*/ 21882 w 370"/>
                <a:gd name="T93" fmla="*/ 50135 h 129"/>
                <a:gd name="T94" fmla="*/ 30197 w 370"/>
                <a:gd name="T95" fmla="*/ 49102 h 129"/>
                <a:gd name="T96" fmla="*/ 44639 w 370"/>
                <a:gd name="T97" fmla="*/ 47551 h 129"/>
                <a:gd name="T98" fmla="*/ 51203 w 370"/>
                <a:gd name="T99" fmla="*/ 47034 h 129"/>
                <a:gd name="T100" fmla="*/ 59956 w 370"/>
                <a:gd name="T101" fmla="*/ 47551 h 129"/>
                <a:gd name="T102" fmla="*/ 66521 w 370"/>
                <a:gd name="T103" fmla="*/ 48585 h 129"/>
                <a:gd name="T104" fmla="*/ 72647 w 370"/>
                <a:gd name="T105" fmla="*/ 50135 h 129"/>
                <a:gd name="T106" fmla="*/ 77461 w 370"/>
                <a:gd name="T107" fmla="*/ 51686 h 129"/>
                <a:gd name="T108" fmla="*/ 82713 w 370"/>
                <a:gd name="T109" fmla="*/ 53753 h 129"/>
                <a:gd name="T110" fmla="*/ 87965 w 370"/>
                <a:gd name="T111" fmla="*/ 55821 h 129"/>
                <a:gd name="T112" fmla="*/ 94967 w 370"/>
                <a:gd name="T113" fmla="*/ 56855 h 129"/>
                <a:gd name="T114" fmla="*/ 103720 w 370"/>
                <a:gd name="T115" fmla="*/ 57372 h 129"/>
                <a:gd name="T116" fmla="*/ 103720 w 370"/>
                <a:gd name="T117" fmla="*/ 60473 h 129"/>
                <a:gd name="T118" fmla="*/ 109409 w 370"/>
                <a:gd name="T119" fmla="*/ 60473 h 12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61" name="Freeform 470">
              <a:extLst>
                <a:ext uri="{FF2B5EF4-FFF2-40B4-BE49-F238E27FC236}">
                  <a16:creationId xmlns:a16="http://schemas.microsoft.com/office/drawing/2014/main" id="{5F769A5F-A93A-44B3-8709-3D2C1B85194C}"/>
                </a:ext>
              </a:extLst>
            </p:cNvPr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6370638" y="2565400"/>
              <a:ext cx="30162" cy="57150"/>
            </a:xfrm>
            <a:custGeom>
              <a:avLst/>
              <a:gdLst>
                <a:gd name="T0" fmla="*/ 10180 w 80"/>
                <a:gd name="T1" fmla="*/ 608 h 94"/>
                <a:gd name="T2" fmla="*/ 12819 w 80"/>
                <a:gd name="T3" fmla="*/ 0 h 94"/>
                <a:gd name="T4" fmla="*/ 15458 w 80"/>
                <a:gd name="T5" fmla="*/ 0 h 94"/>
                <a:gd name="T6" fmla="*/ 17720 w 80"/>
                <a:gd name="T7" fmla="*/ 1216 h 94"/>
                <a:gd name="T8" fmla="*/ 20359 w 80"/>
                <a:gd name="T9" fmla="*/ 2432 h 94"/>
                <a:gd name="T10" fmla="*/ 22622 w 80"/>
                <a:gd name="T11" fmla="*/ 3648 h 94"/>
                <a:gd name="T12" fmla="*/ 24884 w 80"/>
                <a:gd name="T13" fmla="*/ 4864 h 94"/>
                <a:gd name="T14" fmla="*/ 27523 w 80"/>
                <a:gd name="T15" fmla="*/ 4864 h 94"/>
                <a:gd name="T16" fmla="*/ 30162 w 80"/>
                <a:gd name="T17" fmla="*/ 4256 h 94"/>
                <a:gd name="T18" fmla="*/ 30162 w 80"/>
                <a:gd name="T19" fmla="*/ 23103 h 94"/>
                <a:gd name="T20" fmla="*/ 28277 w 80"/>
                <a:gd name="T21" fmla="*/ 26751 h 94"/>
                <a:gd name="T22" fmla="*/ 26015 w 80"/>
                <a:gd name="T23" fmla="*/ 31007 h 94"/>
                <a:gd name="T24" fmla="*/ 24130 w 80"/>
                <a:gd name="T25" fmla="*/ 35871 h 94"/>
                <a:gd name="T26" fmla="*/ 21867 w 80"/>
                <a:gd name="T27" fmla="*/ 41343 h 94"/>
                <a:gd name="T28" fmla="*/ 19228 w 80"/>
                <a:gd name="T29" fmla="*/ 51070 h 94"/>
                <a:gd name="T30" fmla="*/ 17720 w 80"/>
                <a:gd name="T31" fmla="*/ 57150 h 94"/>
                <a:gd name="T32" fmla="*/ 16212 w 80"/>
                <a:gd name="T33" fmla="*/ 56542 h 94"/>
                <a:gd name="T34" fmla="*/ 15081 w 80"/>
                <a:gd name="T35" fmla="*/ 55934 h 94"/>
                <a:gd name="T36" fmla="*/ 13950 w 80"/>
                <a:gd name="T37" fmla="*/ 55326 h 94"/>
                <a:gd name="T38" fmla="*/ 12819 w 80"/>
                <a:gd name="T39" fmla="*/ 54110 h 94"/>
                <a:gd name="T40" fmla="*/ 10934 w 80"/>
                <a:gd name="T41" fmla="*/ 51070 h 94"/>
                <a:gd name="T42" fmla="*/ 8672 w 80"/>
                <a:gd name="T43" fmla="*/ 47422 h 94"/>
                <a:gd name="T44" fmla="*/ 7163 w 80"/>
                <a:gd name="T45" fmla="*/ 43774 h 94"/>
                <a:gd name="T46" fmla="*/ 4901 w 80"/>
                <a:gd name="T47" fmla="*/ 39519 h 94"/>
                <a:gd name="T48" fmla="*/ 2639 w 80"/>
                <a:gd name="T49" fmla="*/ 36479 h 94"/>
                <a:gd name="T50" fmla="*/ 0 w 80"/>
                <a:gd name="T51" fmla="*/ 34047 h 94"/>
                <a:gd name="T52" fmla="*/ 3016 w 80"/>
                <a:gd name="T53" fmla="*/ 24927 h 94"/>
                <a:gd name="T54" fmla="*/ 4901 w 80"/>
                <a:gd name="T55" fmla="*/ 17631 h 94"/>
                <a:gd name="T56" fmla="*/ 7163 w 80"/>
                <a:gd name="T57" fmla="*/ 10336 h 94"/>
                <a:gd name="T58" fmla="*/ 10180 w 80"/>
                <a:gd name="T59" fmla="*/ 608 h 9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62" name="Freeform 471">
              <a:extLst>
                <a:ext uri="{FF2B5EF4-FFF2-40B4-BE49-F238E27FC236}">
                  <a16:creationId xmlns:a16="http://schemas.microsoft.com/office/drawing/2014/main" id="{9590065C-9BC5-4AF4-A1F1-C7FC33A1386B}"/>
                </a:ext>
              </a:extLst>
            </p:cNvPr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6186488" y="4576763"/>
              <a:ext cx="61912" cy="57150"/>
            </a:xfrm>
            <a:custGeom>
              <a:avLst/>
              <a:gdLst>
                <a:gd name="T0" fmla="*/ 1376 w 135"/>
                <a:gd name="T1" fmla="*/ 32074 h 98"/>
                <a:gd name="T2" fmla="*/ 5045 w 135"/>
                <a:gd name="T3" fmla="*/ 31491 h 98"/>
                <a:gd name="T4" fmla="*/ 8255 w 135"/>
                <a:gd name="T5" fmla="*/ 30908 h 98"/>
                <a:gd name="T6" fmla="*/ 11007 w 135"/>
                <a:gd name="T7" fmla="*/ 29158 h 98"/>
                <a:gd name="T8" fmla="*/ 14217 w 135"/>
                <a:gd name="T9" fmla="*/ 27409 h 98"/>
                <a:gd name="T10" fmla="*/ 19262 w 135"/>
                <a:gd name="T11" fmla="*/ 22160 h 98"/>
                <a:gd name="T12" fmla="*/ 23848 w 135"/>
                <a:gd name="T13" fmla="*/ 16329 h 98"/>
                <a:gd name="T14" fmla="*/ 27975 w 135"/>
                <a:gd name="T15" fmla="*/ 10497 h 98"/>
                <a:gd name="T16" fmla="*/ 32561 w 135"/>
                <a:gd name="T17" fmla="*/ 4665 h 98"/>
                <a:gd name="T18" fmla="*/ 34854 w 135"/>
                <a:gd name="T19" fmla="*/ 2916 h 98"/>
                <a:gd name="T20" fmla="*/ 37606 w 135"/>
                <a:gd name="T21" fmla="*/ 1166 h 98"/>
                <a:gd name="T22" fmla="*/ 40357 w 135"/>
                <a:gd name="T23" fmla="*/ 0 h 98"/>
                <a:gd name="T24" fmla="*/ 44026 w 135"/>
                <a:gd name="T25" fmla="*/ 0 h 98"/>
                <a:gd name="T26" fmla="*/ 46778 w 135"/>
                <a:gd name="T27" fmla="*/ 0 h 98"/>
                <a:gd name="T28" fmla="*/ 50447 w 135"/>
                <a:gd name="T29" fmla="*/ 1749 h 98"/>
                <a:gd name="T30" fmla="*/ 53657 w 135"/>
                <a:gd name="T31" fmla="*/ 3499 h 98"/>
                <a:gd name="T32" fmla="*/ 56409 w 135"/>
                <a:gd name="T33" fmla="*/ 6415 h 98"/>
                <a:gd name="T34" fmla="*/ 58702 w 135"/>
                <a:gd name="T35" fmla="*/ 9331 h 98"/>
                <a:gd name="T36" fmla="*/ 60536 w 135"/>
                <a:gd name="T37" fmla="*/ 13996 h 98"/>
                <a:gd name="T38" fmla="*/ 61453 w 135"/>
                <a:gd name="T39" fmla="*/ 17495 h 98"/>
                <a:gd name="T40" fmla="*/ 61912 w 135"/>
                <a:gd name="T41" fmla="*/ 21577 h 98"/>
                <a:gd name="T42" fmla="*/ 61453 w 135"/>
                <a:gd name="T43" fmla="*/ 23327 h 98"/>
                <a:gd name="T44" fmla="*/ 60536 w 135"/>
                <a:gd name="T45" fmla="*/ 25076 h 98"/>
                <a:gd name="T46" fmla="*/ 59160 w 135"/>
                <a:gd name="T47" fmla="*/ 27409 h 98"/>
                <a:gd name="T48" fmla="*/ 56867 w 135"/>
                <a:gd name="T49" fmla="*/ 29741 h 98"/>
                <a:gd name="T50" fmla="*/ 51823 w 135"/>
                <a:gd name="T51" fmla="*/ 35573 h 98"/>
                <a:gd name="T52" fmla="*/ 45861 w 135"/>
                <a:gd name="T53" fmla="*/ 41988 h 98"/>
                <a:gd name="T54" fmla="*/ 39899 w 135"/>
                <a:gd name="T55" fmla="*/ 47819 h 98"/>
                <a:gd name="T56" fmla="*/ 33937 w 135"/>
                <a:gd name="T57" fmla="*/ 53068 h 98"/>
                <a:gd name="T58" fmla="*/ 28892 w 135"/>
                <a:gd name="T59" fmla="*/ 55984 h 98"/>
                <a:gd name="T60" fmla="*/ 25223 w 135"/>
                <a:gd name="T61" fmla="*/ 57150 h 98"/>
                <a:gd name="T62" fmla="*/ 23389 w 135"/>
                <a:gd name="T63" fmla="*/ 56567 h 98"/>
                <a:gd name="T64" fmla="*/ 19720 w 135"/>
                <a:gd name="T65" fmla="*/ 53651 h 98"/>
                <a:gd name="T66" fmla="*/ 14675 w 135"/>
                <a:gd name="T67" fmla="*/ 49569 h 98"/>
                <a:gd name="T68" fmla="*/ 9631 w 135"/>
                <a:gd name="T69" fmla="*/ 44904 h 98"/>
                <a:gd name="T70" fmla="*/ 5045 w 135"/>
                <a:gd name="T71" fmla="*/ 39655 h 98"/>
                <a:gd name="T72" fmla="*/ 2293 w 135"/>
                <a:gd name="T73" fmla="*/ 36156 h 98"/>
                <a:gd name="T74" fmla="*/ 459 w 135"/>
                <a:gd name="T75" fmla="*/ 34407 h 98"/>
                <a:gd name="T76" fmla="*/ 0 w 135"/>
                <a:gd name="T77" fmla="*/ 33240 h 98"/>
                <a:gd name="T78" fmla="*/ 0 w 135"/>
                <a:gd name="T79" fmla="*/ 32657 h 98"/>
                <a:gd name="T80" fmla="*/ 1376 w 135"/>
                <a:gd name="T81" fmla="*/ 32074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63" name="Freeform 472">
              <a:extLst>
                <a:ext uri="{FF2B5EF4-FFF2-40B4-BE49-F238E27FC236}">
                  <a16:creationId xmlns:a16="http://schemas.microsoft.com/office/drawing/2014/main" id="{5E42EBB0-B27C-468A-B650-D9120A246ECE}"/>
                </a:ext>
              </a:extLst>
            </p:cNvPr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5957888" y="1892300"/>
              <a:ext cx="131762" cy="84138"/>
            </a:xfrm>
            <a:custGeom>
              <a:avLst/>
              <a:gdLst>
                <a:gd name="T0" fmla="*/ 81084 w 312"/>
                <a:gd name="T1" fmla="*/ 84138 h 155"/>
                <a:gd name="T2" fmla="*/ 81929 w 312"/>
                <a:gd name="T3" fmla="*/ 81967 h 155"/>
                <a:gd name="T4" fmla="*/ 83196 w 312"/>
                <a:gd name="T5" fmla="*/ 80338 h 155"/>
                <a:gd name="T6" fmla="*/ 84463 w 312"/>
                <a:gd name="T7" fmla="*/ 78710 h 155"/>
                <a:gd name="T8" fmla="*/ 85730 w 312"/>
                <a:gd name="T9" fmla="*/ 77081 h 155"/>
                <a:gd name="T10" fmla="*/ 89108 w 312"/>
                <a:gd name="T11" fmla="*/ 74367 h 155"/>
                <a:gd name="T12" fmla="*/ 92909 w 312"/>
                <a:gd name="T13" fmla="*/ 71653 h 155"/>
                <a:gd name="T14" fmla="*/ 100511 w 312"/>
                <a:gd name="T15" fmla="*/ 66768 h 155"/>
                <a:gd name="T16" fmla="*/ 106845 w 312"/>
                <a:gd name="T17" fmla="*/ 63511 h 155"/>
                <a:gd name="T18" fmla="*/ 107690 w 312"/>
                <a:gd name="T19" fmla="*/ 59168 h 155"/>
                <a:gd name="T20" fmla="*/ 109802 w 312"/>
                <a:gd name="T21" fmla="*/ 52654 h 155"/>
                <a:gd name="T22" fmla="*/ 111491 w 312"/>
                <a:gd name="T23" fmla="*/ 49397 h 155"/>
                <a:gd name="T24" fmla="*/ 112758 w 312"/>
                <a:gd name="T25" fmla="*/ 46683 h 155"/>
                <a:gd name="T26" fmla="*/ 113602 w 312"/>
                <a:gd name="T27" fmla="*/ 44512 h 155"/>
                <a:gd name="T28" fmla="*/ 114869 w 312"/>
                <a:gd name="T29" fmla="*/ 43969 h 155"/>
                <a:gd name="T30" fmla="*/ 131762 w 312"/>
                <a:gd name="T31" fmla="*/ 23884 h 155"/>
                <a:gd name="T32" fmla="*/ 131762 w 312"/>
                <a:gd name="T33" fmla="*/ 21170 h 155"/>
                <a:gd name="T34" fmla="*/ 130917 w 312"/>
                <a:gd name="T35" fmla="*/ 18999 h 155"/>
                <a:gd name="T36" fmla="*/ 129228 w 312"/>
                <a:gd name="T37" fmla="*/ 17370 h 155"/>
                <a:gd name="T38" fmla="*/ 127539 w 312"/>
                <a:gd name="T39" fmla="*/ 16285 h 155"/>
                <a:gd name="T40" fmla="*/ 122893 w 312"/>
                <a:gd name="T41" fmla="*/ 15199 h 155"/>
                <a:gd name="T42" fmla="*/ 118248 w 312"/>
                <a:gd name="T43" fmla="*/ 14656 h 155"/>
                <a:gd name="T44" fmla="*/ 113180 w 312"/>
                <a:gd name="T45" fmla="*/ 14656 h 155"/>
                <a:gd name="T46" fmla="*/ 109379 w 312"/>
                <a:gd name="T47" fmla="*/ 14656 h 155"/>
                <a:gd name="T48" fmla="*/ 108112 w 312"/>
                <a:gd name="T49" fmla="*/ 14113 h 155"/>
                <a:gd name="T50" fmla="*/ 106845 w 312"/>
                <a:gd name="T51" fmla="*/ 13571 h 155"/>
                <a:gd name="T52" fmla="*/ 106423 w 312"/>
                <a:gd name="T53" fmla="*/ 12485 h 155"/>
                <a:gd name="T54" fmla="*/ 106845 w 312"/>
                <a:gd name="T55" fmla="*/ 10857 h 155"/>
                <a:gd name="T56" fmla="*/ 97977 w 312"/>
                <a:gd name="T57" fmla="*/ 10314 h 155"/>
                <a:gd name="T58" fmla="*/ 91220 w 312"/>
                <a:gd name="T59" fmla="*/ 9228 h 155"/>
                <a:gd name="T60" fmla="*/ 85307 w 312"/>
                <a:gd name="T61" fmla="*/ 7057 h 155"/>
                <a:gd name="T62" fmla="*/ 79817 w 312"/>
                <a:gd name="T63" fmla="*/ 4885 h 155"/>
                <a:gd name="T64" fmla="*/ 74750 w 312"/>
                <a:gd name="T65" fmla="*/ 3257 h 155"/>
                <a:gd name="T66" fmla="*/ 68837 w 312"/>
                <a:gd name="T67" fmla="*/ 1628 h 155"/>
                <a:gd name="T68" fmla="*/ 61658 w 312"/>
                <a:gd name="T69" fmla="*/ 543 h 155"/>
                <a:gd name="T70" fmla="*/ 53212 w 312"/>
                <a:gd name="T71" fmla="*/ 0 h 155"/>
                <a:gd name="T72" fmla="*/ 46455 w 312"/>
                <a:gd name="T73" fmla="*/ 543 h 155"/>
                <a:gd name="T74" fmla="*/ 31251 w 312"/>
                <a:gd name="T75" fmla="*/ 2171 h 155"/>
                <a:gd name="T76" fmla="*/ 22383 w 312"/>
                <a:gd name="T77" fmla="*/ 3257 h 155"/>
                <a:gd name="T78" fmla="*/ 14359 w 312"/>
                <a:gd name="T79" fmla="*/ 4343 h 155"/>
                <a:gd name="T80" fmla="*/ 7602 w 312"/>
                <a:gd name="T81" fmla="*/ 5428 h 155"/>
                <a:gd name="T82" fmla="*/ 2956 w 312"/>
                <a:gd name="T83" fmla="*/ 6514 h 155"/>
                <a:gd name="T84" fmla="*/ 3801 w 312"/>
                <a:gd name="T85" fmla="*/ 9228 h 155"/>
                <a:gd name="T86" fmla="*/ 4645 w 312"/>
                <a:gd name="T87" fmla="*/ 10314 h 155"/>
                <a:gd name="T88" fmla="*/ 5490 w 312"/>
                <a:gd name="T89" fmla="*/ 10314 h 155"/>
                <a:gd name="T90" fmla="*/ 6335 w 312"/>
                <a:gd name="T91" fmla="*/ 10857 h 155"/>
                <a:gd name="T92" fmla="*/ 7602 w 312"/>
                <a:gd name="T93" fmla="*/ 10857 h 155"/>
                <a:gd name="T94" fmla="*/ 8024 w 312"/>
                <a:gd name="T95" fmla="*/ 10857 h 155"/>
                <a:gd name="T96" fmla="*/ 8446 w 312"/>
                <a:gd name="T97" fmla="*/ 11942 h 155"/>
                <a:gd name="T98" fmla="*/ 8446 w 312"/>
                <a:gd name="T99" fmla="*/ 14113 h 155"/>
                <a:gd name="T100" fmla="*/ 8446 w 312"/>
                <a:gd name="T101" fmla="*/ 16285 h 155"/>
                <a:gd name="T102" fmla="*/ 8024 w 312"/>
                <a:gd name="T103" fmla="*/ 18999 h 155"/>
                <a:gd name="T104" fmla="*/ 7602 w 312"/>
                <a:gd name="T105" fmla="*/ 21170 h 155"/>
                <a:gd name="T106" fmla="*/ 6335 w 312"/>
                <a:gd name="T107" fmla="*/ 22799 h 155"/>
                <a:gd name="T108" fmla="*/ 5068 w 312"/>
                <a:gd name="T109" fmla="*/ 24427 h 155"/>
                <a:gd name="T110" fmla="*/ 3801 w 312"/>
                <a:gd name="T111" fmla="*/ 26056 h 155"/>
                <a:gd name="T112" fmla="*/ 1689 w 312"/>
                <a:gd name="T113" fmla="*/ 26598 h 155"/>
                <a:gd name="T114" fmla="*/ 0 w 312"/>
                <a:gd name="T115" fmla="*/ 27141 h 155"/>
                <a:gd name="T116" fmla="*/ 31251 w 312"/>
                <a:gd name="T117" fmla="*/ 36912 h 155"/>
                <a:gd name="T118" fmla="*/ 36741 w 312"/>
                <a:gd name="T119" fmla="*/ 60254 h 155"/>
                <a:gd name="T120" fmla="*/ 70104 w 312"/>
                <a:gd name="T121" fmla="*/ 66768 h 155"/>
                <a:gd name="T122" fmla="*/ 81084 w 312"/>
                <a:gd name="T123" fmla="*/ 84138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64" name="Freeform 473">
              <a:extLst>
                <a:ext uri="{FF2B5EF4-FFF2-40B4-BE49-F238E27FC236}">
                  <a16:creationId xmlns:a16="http://schemas.microsoft.com/office/drawing/2014/main" id="{32C8F1C0-F82A-49E7-AFFE-2F560DFE37BC}"/>
                </a:ext>
              </a:extLst>
            </p:cNvPr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5664200" y="2078039"/>
              <a:ext cx="19050" cy="60325"/>
            </a:xfrm>
            <a:custGeom>
              <a:avLst/>
              <a:gdLst>
                <a:gd name="T0" fmla="*/ 0 w 46"/>
                <a:gd name="T1" fmla="*/ 30163 h 50"/>
                <a:gd name="T2" fmla="*/ 828 w 46"/>
                <a:gd name="T3" fmla="*/ 21717 h 50"/>
                <a:gd name="T4" fmla="*/ 414 w 46"/>
                <a:gd name="T5" fmla="*/ 16891 h 50"/>
                <a:gd name="T6" fmla="*/ 828 w 46"/>
                <a:gd name="T7" fmla="*/ 15685 h 50"/>
                <a:gd name="T8" fmla="*/ 1242 w 46"/>
                <a:gd name="T9" fmla="*/ 15685 h 50"/>
                <a:gd name="T10" fmla="*/ 2485 w 46"/>
                <a:gd name="T11" fmla="*/ 14478 h 50"/>
                <a:gd name="T12" fmla="*/ 5384 w 46"/>
                <a:gd name="T13" fmla="*/ 14478 h 50"/>
                <a:gd name="T14" fmla="*/ 19050 w 46"/>
                <a:gd name="T15" fmla="*/ 0 h 50"/>
                <a:gd name="T16" fmla="*/ 19050 w 46"/>
                <a:gd name="T17" fmla="*/ 60325 h 50"/>
                <a:gd name="T18" fmla="*/ 16565 w 46"/>
                <a:gd name="T19" fmla="*/ 59119 h 50"/>
                <a:gd name="T20" fmla="*/ 13666 w 46"/>
                <a:gd name="T21" fmla="*/ 54293 h 50"/>
                <a:gd name="T22" fmla="*/ 10353 w 46"/>
                <a:gd name="T23" fmla="*/ 49467 h 50"/>
                <a:gd name="T24" fmla="*/ 7040 w 46"/>
                <a:gd name="T25" fmla="*/ 44641 h 50"/>
                <a:gd name="T26" fmla="*/ 2071 w 46"/>
                <a:gd name="T27" fmla="*/ 33782 h 50"/>
                <a:gd name="T28" fmla="*/ 0 w 46"/>
                <a:gd name="T29" fmla="*/ 30163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65" name="Freeform 474">
              <a:extLst>
                <a:ext uri="{FF2B5EF4-FFF2-40B4-BE49-F238E27FC236}">
                  <a16:creationId xmlns:a16="http://schemas.microsoft.com/office/drawing/2014/main" id="{4FE0B0AB-868E-4800-9BF7-5468A7DDC00C}"/>
                </a:ext>
              </a:extLst>
            </p:cNvPr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6361113" y="3962400"/>
              <a:ext cx="69850" cy="241300"/>
            </a:xfrm>
            <a:custGeom>
              <a:avLst/>
              <a:gdLst>
                <a:gd name="T0" fmla="*/ 4208 w 166"/>
                <a:gd name="T1" fmla="*/ 149225 h 456"/>
                <a:gd name="T2" fmla="*/ 7995 w 166"/>
                <a:gd name="T3" fmla="*/ 153458 h 456"/>
                <a:gd name="T4" fmla="*/ 15569 w 166"/>
                <a:gd name="T5" fmla="*/ 158750 h 456"/>
                <a:gd name="T6" fmla="*/ 24405 w 166"/>
                <a:gd name="T7" fmla="*/ 161925 h 456"/>
                <a:gd name="T8" fmla="*/ 29455 w 166"/>
                <a:gd name="T9" fmla="*/ 165100 h 456"/>
                <a:gd name="T10" fmla="*/ 33663 w 166"/>
                <a:gd name="T11" fmla="*/ 169333 h 456"/>
                <a:gd name="T12" fmla="*/ 36187 w 166"/>
                <a:gd name="T13" fmla="*/ 175154 h 456"/>
                <a:gd name="T14" fmla="*/ 36187 w 166"/>
                <a:gd name="T15" fmla="*/ 183621 h 456"/>
                <a:gd name="T16" fmla="*/ 32821 w 166"/>
                <a:gd name="T17" fmla="*/ 192088 h 456"/>
                <a:gd name="T18" fmla="*/ 28613 w 166"/>
                <a:gd name="T19" fmla="*/ 198438 h 456"/>
                <a:gd name="T20" fmla="*/ 26089 w 166"/>
                <a:gd name="T21" fmla="*/ 205317 h 456"/>
                <a:gd name="T22" fmla="*/ 25247 w 166"/>
                <a:gd name="T23" fmla="*/ 211667 h 456"/>
                <a:gd name="T24" fmla="*/ 26930 w 166"/>
                <a:gd name="T25" fmla="*/ 217487 h 456"/>
                <a:gd name="T26" fmla="*/ 31980 w 166"/>
                <a:gd name="T27" fmla="*/ 224367 h 456"/>
                <a:gd name="T28" fmla="*/ 43761 w 166"/>
                <a:gd name="T29" fmla="*/ 235479 h 456"/>
                <a:gd name="T30" fmla="*/ 50494 w 166"/>
                <a:gd name="T31" fmla="*/ 234421 h 456"/>
                <a:gd name="T32" fmla="*/ 50494 w 166"/>
                <a:gd name="T33" fmla="*/ 223837 h 456"/>
                <a:gd name="T34" fmla="*/ 55123 w 166"/>
                <a:gd name="T35" fmla="*/ 218546 h 456"/>
                <a:gd name="T36" fmla="*/ 61014 w 166"/>
                <a:gd name="T37" fmla="*/ 215371 h 456"/>
                <a:gd name="T38" fmla="*/ 64380 w 166"/>
                <a:gd name="T39" fmla="*/ 212725 h 456"/>
                <a:gd name="T40" fmla="*/ 67325 w 166"/>
                <a:gd name="T41" fmla="*/ 207962 h 456"/>
                <a:gd name="T42" fmla="*/ 69850 w 166"/>
                <a:gd name="T43" fmla="*/ 198438 h 456"/>
                <a:gd name="T44" fmla="*/ 69429 w 166"/>
                <a:gd name="T45" fmla="*/ 185208 h 456"/>
                <a:gd name="T46" fmla="*/ 66484 w 166"/>
                <a:gd name="T47" fmla="*/ 173567 h 456"/>
                <a:gd name="T48" fmla="*/ 62276 w 166"/>
                <a:gd name="T49" fmla="*/ 162454 h 456"/>
                <a:gd name="T50" fmla="*/ 59330 w 166"/>
                <a:gd name="T51" fmla="*/ 150283 h 456"/>
                <a:gd name="T52" fmla="*/ 56806 w 166"/>
                <a:gd name="T53" fmla="*/ 142346 h 456"/>
                <a:gd name="T54" fmla="*/ 49652 w 166"/>
                <a:gd name="T55" fmla="*/ 132821 h 456"/>
                <a:gd name="T56" fmla="*/ 40816 w 166"/>
                <a:gd name="T57" fmla="*/ 118533 h 456"/>
                <a:gd name="T58" fmla="*/ 35767 w 166"/>
                <a:gd name="T59" fmla="*/ 109008 h 456"/>
                <a:gd name="T60" fmla="*/ 33663 w 166"/>
                <a:gd name="T61" fmla="*/ 103187 h 456"/>
                <a:gd name="T62" fmla="*/ 34083 w 166"/>
                <a:gd name="T63" fmla="*/ 93663 h 456"/>
                <a:gd name="T64" fmla="*/ 37029 w 166"/>
                <a:gd name="T65" fmla="*/ 77788 h 456"/>
                <a:gd name="T66" fmla="*/ 40395 w 166"/>
                <a:gd name="T67" fmla="*/ 68263 h 456"/>
                <a:gd name="T68" fmla="*/ 41237 w 166"/>
                <a:gd name="T69" fmla="*/ 59796 h 456"/>
                <a:gd name="T70" fmla="*/ 39974 w 166"/>
                <a:gd name="T71" fmla="*/ 43392 h 456"/>
                <a:gd name="T72" fmla="*/ 38712 w 166"/>
                <a:gd name="T73" fmla="*/ 23813 h 456"/>
                <a:gd name="T74" fmla="*/ 37450 w 166"/>
                <a:gd name="T75" fmla="*/ 9525 h 456"/>
                <a:gd name="T76" fmla="*/ 29876 w 166"/>
                <a:gd name="T77" fmla="*/ 4233 h 456"/>
                <a:gd name="T78" fmla="*/ 13886 w 166"/>
                <a:gd name="T79" fmla="*/ 2117 h 456"/>
                <a:gd name="T80" fmla="*/ 5049 w 166"/>
                <a:gd name="T81" fmla="*/ 5292 h 456"/>
                <a:gd name="T82" fmla="*/ 9257 w 166"/>
                <a:gd name="T83" fmla="*/ 13229 h 456"/>
                <a:gd name="T84" fmla="*/ 13886 w 166"/>
                <a:gd name="T85" fmla="*/ 15875 h 456"/>
                <a:gd name="T86" fmla="*/ 16831 w 166"/>
                <a:gd name="T87" fmla="*/ 23283 h 456"/>
                <a:gd name="T88" fmla="*/ 16831 w 166"/>
                <a:gd name="T89" fmla="*/ 33867 h 456"/>
                <a:gd name="T90" fmla="*/ 16831 w 166"/>
                <a:gd name="T91" fmla="*/ 41275 h 456"/>
                <a:gd name="T92" fmla="*/ 15148 w 166"/>
                <a:gd name="T93" fmla="*/ 44979 h 456"/>
                <a:gd name="T94" fmla="*/ 12203 w 166"/>
                <a:gd name="T95" fmla="*/ 50271 h 456"/>
                <a:gd name="T96" fmla="*/ 6312 w 166"/>
                <a:gd name="T97" fmla="*/ 57679 h 456"/>
                <a:gd name="T98" fmla="*/ 1262 w 166"/>
                <a:gd name="T99" fmla="*/ 64558 h 456"/>
                <a:gd name="T100" fmla="*/ 2945 w 166"/>
                <a:gd name="T101" fmla="*/ 146579 h 4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66" name="Freeform 475">
              <a:extLst>
                <a:ext uri="{FF2B5EF4-FFF2-40B4-BE49-F238E27FC236}">
                  <a16:creationId xmlns:a16="http://schemas.microsoft.com/office/drawing/2014/main" id="{E4A8D911-04EA-4CE4-BB5A-004B59EEF3BC}"/>
                </a:ext>
              </a:extLst>
            </p:cNvPr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5853114" y="2533650"/>
              <a:ext cx="14287" cy="57150"/>
            </a:xfrm>
            <a:custGeom>
              <a:avLst/>
              <a:gdLst>
                <a:gd name="T0" fmla="*/ 14287 w 27"/>
                <a:gd name="T1" fmla="*/ 0 h 19"/>
                <a:gd name="T2" fmla="*/ 14287 w 27"/>
                <a:gd name="T3" fmla="*/ 36095 h 19"/>
                <a:gd name="T4" fmla="*/ 14287 w 27"/>
                <a:gd name="T5" fmla="*/ 57150 h 19"/>
                <a:gd name="T6" fmla="*/ 4762 w 27"/>
                <a:gd name="T7" fmla="*/ 57150 h 19"/>
                <a:gd name="T8" fmla="*/ 0 w 27"/>
                <a:gd name="T9" fmla="*/ 57150 h 19"/>
                <a:gd name="T10" fmla="*/ 4762 w 27"/>
                <a:gd name="T11" fmla="*/ 36095 h 19"/>
                <a:gd name="T12" fmla="*/ 1428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67" name="Freeform 476">
              <a:extLst>
                <a:ext uri="{FF2B5EF4-FFF2-40B4-BE49-F238E27FC236}">
                  <a16:creationId xmlns:a16="http://schemas.microsoft.com/office/drawing/2014/main" id="{F92DF103-2B67-4E63-9843-D9817C2DCCFE}"/>
                </a:ext>
              </a:extLst>
            </p:cNvPr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6172201" y="4154489"/>
              <a:ext cx="188913" cy="217487"/>
            </a:xfrm>
            <a:custGeom>
              <a:avLst/>
              <a:gdLst>
                <a:gd name="T0" fmla="*/ 122492 w 438"/>
                <a:gd name="T1" fmla="*/ 4285 h 406"/>
                <a:gd name="T2" fmla="*/ 138019 w 438"/>
                <a:gd name="T3" fmla="*/ 14463 h 406"/>
                <a:gd name="T4" fmla="*/ 156565 w 438"/>
                <a:gd name="T5" fmla="*/ 25177 h 406"/>
                <a:gd name="T6" fmla="*/ 170367 w 438"/>
                <a:gd name="T7" fmla="*/ 31070 h 406"/>
                <a:gd name="T8" fmla="*/ 179424 w 438"/>
                <a:gd name="T9" fmla="*/ 32677 h 406"/>
                <a:gd name="T10" fmla="*/ 183306 w 438"/>
                <a:gd name="T11" fmla="*/ 43390 h 406"/>
                <a:gd name="T12" fmla="*/ 185031 w 438"/>
                <a:gd name="T13" fmla="*/ 64282 h 406"/>
                <a:gd name="T14" fmla="*/ 187188 w 438"/>
                <a:gd name="T15" fmla="*/ 84102 h 406"/>
                <a:gd name="T16" fmla="*/ 188913 w 438"/>
                <a:gd name="T17" fmla="*/ 104458 h 406"/>
                <a:gd name="T18" fmla="*/ 188913 w 438"/>
                <a:gd name="T19" fmla="*/ 119457 h 406"/>
                <a:gd name="T20" fmla="*/ 187619 w 438"/>
                <a:gd name="T21" fmla="*/ 126957 h 406"/>
                <a:gd name="T22" fmla="*/ 183306 w 438"/>
                <a:gd name="T23" fmla="*/ 138742 h 406"/>
                <a:gd name="T24" fmla="*/ 175542 w 438"/>
                <a:gd name="T25" fmla="*/ 153741 h 406"/>
                <a:gd name="T26" fmla="*/ 168642 w 438"/>
                <a:gd name="T27" fmla="*/ 164454 h 406"/>
                <a:gd name="T28" fmla="*/ 164328 w 438"/>
                <a:gd name="T29" fmla="*/ 171418 h 406"/>
                <a:gd name="T30" fmla="*/ 161309 w 438"/>
                <a:gd name="T31" fmla="*/ 177847 h 406"/>
                <a:gd name="T32" fmla="*/ 160447 w 438"/>
                <a:gd name="T33" fmla="*/ 188560 h 406"/>
                <a:gd name="T34" fmla="*/ 154840 w 438"/>
                <a:gd name="T35" fmla="*/ 199274 h 406"/>
                <a:gd name="T36" fmla="*/ 138450 w 438"/>
                <a:gd name="T37" fmla="*/ 214809 h 406"/>
                <a:gd name="T38" fmla="*/ 88418 w 438"/>
                <a:gd name="T39" fmla="*/ 207845 h 406"/>
                <a:gd name="T40" fmla="*/ 78498 w 438"/>
                <a:gd name="T41" fmla="*/ 203024 h 406"/>
                <a:gd name="T42" fmla="*/ 71166 w 438"/>
                <a:gd name="T43" fmla="*/ 198202 h 406"/>
                <a:gd name="T44" fmla="*/ 64696 w 438"/>
                <a:gd name="T45" fmla="*/ 192310 h 406"/>
                <a:gd name="T46" fmla="*/ 59952 w 438"/>
                <a:gd name="T47" fmla="*/ 185346 h 406"/>
                <a:gd name="T48" fmla="*/ 53482 w 438"/>
                <a:gd name="T49" fmla="*/ 172490 h 406"/>
                <a:gd name="T50" fmla="*/ 46581 w 438"/>
                <a:gd name="T51" fmla="*/ 158562 h 406"/>
                <a:gd name="T52" fmla="*/ 40543 w 438"/>
                <a:gd name="T53" fmla="*/ 149455 h 406"/>
                <a:gd name="T54" fmla="*/ 31054 w 438"/>
                <a:gd name="T55" fmla="*/ 138742 h 406"/>
                <a:gd name="T56" fmla="*/ 18978 w 438"/>
                <a:gd name="T57" fmla="*/ 125350 h 406"/>
                <a:gd name="T58" fmla="*/ 10351 w 438"/>
                <a:gd name="T59" fmla="*/ 114100 h 406"/>
                <a:gd name="T60" fmla="*/ 5607 w 438"/>
                <a:gd name="T61" fmla="*/ 104458 h 406"/>
                <a:gd name="T62" fmla="*/ 1725 w 438"/>
                <a:gd name="T63" fmla="*/ 94280 h 406"/>
                <a:gd name="T64" fmla="*/ 0 w 438"/>
                <a:gd name="T65" fmla="*/ 82495 h 406"/>
                <a:gd name="T66" fmla="*/ 7764 w 438"/>
                <a:gd name="T67" fmla="*/ 75531 h 406"/>
                <a:gd name="T68" fmla="*/ 17252 w 438"/>
                <a:gd name="T69" fmla="*/ 75531 h 406"/>
                <a:gd name="T70" fmla="*/ 22859 w 438"/>
                <a:gd name="T71" fmla="*/ 75531 h 406"/>
                <a:gd name="T72" fmla="*/ 27172 w 438"/>
                <a:gd name="T73" fmla="*/ 73924 h 406"/>
                <a:gd name="T74" fmla="*/ 33211 w 438"/>
                <a:gd name="T75" fmla="*/ 70174 h 406"/>
                <a:gd name="T76" fmla="*/ 42700 w 438"/>
                <a:gd name="T77" fmla="*/ 57854 h 406"/>
                <a:gd name="T78" fmla="*/ 50463 w 438"/>
                <a:gd name="T79" fmla="*/ 46604 h 406"/>
                <a:gd name="T80" fmla="*/ 56070 w 438"/>
                <a:gd name="T81" fmla="*/ 42855 h 406"/>
                <a:gd name="T82" fmla="*/ 64696 w 438"/>
                <a:gd name="T83" fmla="*/ 38033 h 406"/>
                <a:gd name="T84" fmla="*/ 77204 w 438"/>
                <a:gd name="T85" fmla="*/ 32141 h 406"/>
                <a:gd name="T86" fmla="*/ 87556 w 438"/>
                <a:gd name="T87" fmla="*/ 26784 h 406"/>
                <a:gd name="T88" fmla="*/ 91006 w 438"/>
                <a:gd name="T89" fmla="*/ 23034 h 406"/>
                <a:gd name="T90" fmla="*/ 90575 w 438"/>
                <a:gd name="T91" fmla="*/ 20356 h 406"/>
                <a:gd name="T92" fmla="*/ 91006 w 438"/>
                <a:gd name="T93" fmla="*/ 16070 h 406"/>
                <a:gd name="T94" fmla="*/ 91869 w 438"/>
                <a:gd name="T95" fmla="*/ 9107 h 406"/>
                <a:gd name="T96" fmla="*/ 93594 w 438"/>
                <a:gd name="T97" fmla="*/ 6428 h 406"/>
                <a:gd name="T98" fmla="*/ 97044 w 438"/>
                <a:gd name="T99" fmla="*/ 6428 h 406"/>
                <a:gd name="T100" fmla="*/ 100064 w 438"/>
                <a:gd name="T101" fmla="*/ 4821 h 406"/>
                <a:gd name="T102" fmla="*/ 101789 w 438"/>
                <a:gd name="T103" fmla="*/ 2143 h 406"/>
                <a:gd name="T104" fmla="*/ 105239 w 438"/>
                <a:gd name="T105" fmla="*/ 1071 h 406"/>
                <a:gd name="T106" fmla="*/ 108258 w 438"/>
                <a:gd name="T107" fmla="*/ 1607 h 406"/>
                <a:gd name="T108" fmla="*/ 113865 w 438"/>
                <a:gd name="T109" fmla="*/ 536 h 4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68" name="Freeform 477">
              <a:extLst>
                <a:ext uri="{FF2B5EF4-FFF2-40B4-BE49-F238E27FC236}">
                  <a16:creationId xmlns:a16="http://schemas.microsoft.com/office/drawing/2014/main" id="{04011031-04A4-4677-957E-503ED08CE7AB}"/>
                </a:ext>
              </a:extLst>
            </p:cNvPr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6084889" y="3930650"/>
              <a:ext cx="293687" cy="300038"/>
            </a:xfrm>
            <a:custGeom>
              <a:avLst/>
              <a:gdLst>
                <a:gd name="T0" fmla="*/ 222215 w 678"/>
                <a:gd name="T1" fmla="*/ 4182 h 574"/>
                <a:gd name="T2" fmla="*/ 239108 w 678"/>
                <a:gd name="T3" fmla="*/ 13591 h 574"/>
                <a:gd name="T4" fmla="*/ 279393 w 678"/>
                <a:gd name="T5" fmla="*/ 32931 h 574"/>
                <a:gd name="T6" fmla="*/ 285890 w 678"/>
                <a:gd name="T7" fmla="*/ 45999 h 574"/>
                <a:gd name="T8" fmla="*/ 293687 w 678"/>
                <a:gd name="T9" fmla="*/ 49135 h 574"/>
                <a:gd name="T10" fmla="*/ 293687 w 678"/>
                <a:gd name="T11" fmla="*/ 66385 h 574"/>
                <a:gd name="T12" fmla="*/ 293254 w 678"/>
                <a:gd name="T13" fmla="*/ 75271 h 574"/>
                <a:gd name="T14" fmla="*/ 288922 w 678"/>
                <a:gd name="T15" fmla="*/ 82589 h 574"/>
                <a:gd name="T16" fmla="*/ 280259 w 678"/>
                <a:gd name="T17" fmla="*/ 93043 h 574"/>
                <a:gd name="T18" fmla="*/ 276360 w 678"/>
                <a:gd name="T19" fmla="*/ 180859 h 574"/>
                <a:gd name="T20" fmla="*/ 199690 w 678"/>
                <a:gd name="T21" fmla="*/ 202813 h 574"/>
                <a:gd name="T22" fmla="*/ 199690 w 678"/>
                <a:gd name="T23" fmla="*/ 216926 h 574"/>
                <a:gd name="T24" fmla="*/ 197091 w 678"/>
                <a:gd name="T25" fmla="*/ 227381 h 574"/>
                <a:gd name="T26" fmla="*/ 192326 w 678"/>
                <a:gd name="T27" fmla="*/ 227381 h 574"/>
                <a:gd name="T28" fmla="*/ 187994 w 678"/>
                <a:gd name="T29" fmla="*/ 229994 h 574"/>
                <a:gd name="T30" fmla="*/ 184096 w 678"/>
                <a:gd name="T31" fmla="*/ 232608 h 574"/>
                <a:gd name="T32" fmla="*/ 179331 w 678"/>
                <a:gd name="T33" fmla="*/ 233653 h 574"/>
                <a:gd name="T34" fmla="*/ 178032 w 678"/>
                <a:gd name="T35" fmla="*/ 242017 h 574"/>
                <a:gd name="T36" fmla="*/ 177598 w 678"/>
                <a:gd name="T37" fmla="*/ 247767 h 574"/>
                <a:gd name="T38" fmla="*/ 174566 w 678"/>
                <a:gd name="T39" fmla="*/ 252471 h 574"/>
                <a:gd name="T40" fmla="*/ 158106 w 678"/>
                <a:gd name="T41" fmla="*/ 260312 h 574"/>
                <a:gd name="T42" fmla="*/ 142945 w 678"/>
                <a:gd name="T43" fmla="*/ 268152 h 574"/>
                <a:gd name="T44" fmla="*/ 135581 w 678"/>
                <a:gd name="T45" fmla="*/ 274425 h 574"/>
                <a:gd name="T46" fmla="*/ 119987 w 678"/>
                <a:gd name="T47" fmla="*/ 294811 h 574"/>
                <a:gd name="T48" fmla="*/ 111757 w 678"/>
                <a:gd name="T49" fmla="*/ 299515 h 574"/>
                <a:gd name="T50" fmla="*/ 103094 w 678"/>
                <a:gd name="T51" fmla="*/ 300038 h 574"/>
                <a:gd name="T52" fmla="*/ 83601 w 678"/>
                <a:gd name="T53" fmla="*/ 300038 h 574"/>
                <a:gd name="T54" fmla="*/ 80569 w 678"/>
                <a:gd name="T55" fmla="*/ 292197 h 574"/>
                <a:gd name="T56" fmla="*/ 71473 w 678"/>
                <a:gd name="T57" fmla="*/ 285925 h 574"/>
                <a:gd name="T58" fmla="*/ 57611 w 678"/>
                <a:gd name="T59" fmla="*/ 284879 h 574"/>
                <a:gd name="T60" fmla="*/ 40285 w 678"/>
                <a:gd name="T61" fmla="*/ 290629 h 574"/>
                <a:gd name="T62" fmla="*/ 14295 w 678"/>
                <a:gd name="T63" fmla="*/ 275470 h 574"/>
                <a:gd name="T64" fmla="*/ 0 w 678"/>
                <a:gd name="T65" fmla="*/ 148974 h 574"/>
                <a:gd name="T66" fmla="*/ 31621 w 678"/>
                <a:gd name="T67" fmla="*/ 149496 h 574"/>
                <a:gd name="T68" fmla="*/ 44616 w 678"/>
                <a:gd name="T69" fmla="*/ 147405 h 574"/>
                <a:gd name="T70" fmla="*/ 51547 w 678"/>
                <a:gd name="T71" fmla="*/ 143746 h 574"/>
                <a:gd name="T72" fmla="*/ 55879 w 678"/>
                <a:gd name="T73" fmla="*/ 133815 h 574"/>
                <a:gd name="T74" fmla="*/ 56745 w 678"/>
                <a:gd name="T75" fmla="*/ 119702 h 574"/>
                <a:gd name="T76" fmla="*/ 54579 w 678"/>
                <a:gd name="T77" fmla="*/ 96702 h 574"/>
                <a:gd name="T78" fmla="*/ 56312 w 678"/>
                <a:gd name="T79" fmla="*/ 86248 h 574"/>
                <a:gd name="T80" fmla="*/ 60643 w 678"/>
                <a:gd name="T81" fmla="*/ 89384 h 574"/>
                <a:gd name="T82" fmla="*/ 75371 w 678"/>
                <a:gd name="T83" fmla="*/ 91475 h 574"/>
                <a:gd name="T84" fmla="*/ 81435 w 678"/>
                <a:gd name="T85" fmla="*/ 97225 h 574"/>
                <a:gd name="T86" fmla="*/ 84468 w 678"/>
                <a:gd name="T87" fmla="*/ 105066 h 574"/>
                <a:gd name="T88" fmla="*/ 90099 w 678"/>
                <a:gd name="T89" fmla="*/ 109770 h 574"/>
                <a:gd name="T90" fmla="*/ 104393 w 678"/>
                <a:gd name="T91" fmla="*/ 113429 h 574"/>
                <a:gd name="T92" fmla="*/ 116522 w 678"/>
                <a:gd name="T93" fmla="*/ 111861 h 574"/>
                <a:gd name="T94" fmla="*/ 130383 w 678"/>
                <a:gd name="T95" fmla="*/ 104020 h 574"/>
                <a:gd name="T96" fmla="*/ 138180 w 678"/>
                <a:gd name="T97" fmla="*/ 102452 h 574"/>
                <a:gd name="T98" fmla="*/ 143378 w 678"/>
                <a:gd name="T99" fmla="*/ 100884 h 574"/>
                <a:gd name="T100" fmla="*/ 148576 w 678"/>
                <a:gd name="T101" fmla="*/ 99316 h 574"/>
                <a:gd name="T102" fmla="*/ 154641 w 678"/>
                <a:gd name="T103" fmla="*/ 95134 h 574"/>
                <a:gd name="T104" fmla="*/ 159405 w 678"/>
                <a:gd name="T105" fmla="*/ 87816 h 574"/>
                <a:gd name="T106" fmla="*/ 165903 w 678"/>
                <a:gd name="T107" fmla="*/ 65862 h 574"/>
                <a:gd name="T108" fmla="*/ 174566 w 678"/>
                <a:gd name="T109" fmla="*/ 24568 h 574"/>
                <a:gd name="T110" fmla="*/ 179331 w 678"/>
                <a:gd name="T111" fmla="*/ 5227 h 574"/>
                <a:gd name="T112" fmla="*/ 186695 w 678"/>
                <a:gd name="T113" fmla="*/ 3136 h 574"/>
                <a:gd name="T114" fmla="*/ 196225 w 678"/>
                <a:gd name="T115" fmla="*/ 4182 h 574"/>
                <a:gd name="T116" fmla="*/ 208786 w 678"/>
                <a:gd name="T117" fmla="*/ 523 h 57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69" name="Freeform 478">
              <a:extLst>
                <a:ext uri="{FF2B5EF4-FFF2-40B4-BE49-F238E27FC236}">
                  <a16:creationId xmlns:a16="http://schemas.microsoft.com/office/drawing/2014/main" id="{7D3A176A-B7A7-4AA1-A131-DBA679D191E9}"/>
                </a:ext>
              </a:extLst>
            </p:cNvPr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5821364" y="4203700"/>
              <a:ext cx="350837" cy="381000"/>
            </a:xfrm>
            <a:custGeom>
              <a:avLst/>
              <a:gdLst>
                <a:gd name="T0" fmla="*/ 345206 w 810"/>
                <a:gd name="T1" fmla="*/ 22011 h 727"/>
                <a:gd name="T2" fmla="*/ 331779 w 810"/>
                <a:gd name="T3" fmla="*/ 13626 h 727"/>
                <a:gd name="T4" fmla="*/ 310989 w 810"/>
                <a:gd name="T5" fmla="*/ 17294 h 727"/>
                <a:gd name="T6" fmla="*/ 274606 w 810"/>
                <a:gd name="T7" fmla="*/ 23059 h 727"/>
                <a:gd name="T8" fmla="*/ 261612 w 810"/>
                <a:gd name="T9" fmla="*/ 28824 h 727"/>
                <a:gd name="T10" fmla="*/ 121277 w 810"/>
                <a:gd name="T11" fmla="*/ 20963 h 727"/>
                <a:gd name="T12" fmla="*/ 100487 w 810"/>
                <a:gd name="T13" fmla="*/ 19391 h 727"/>
                <a:gd name="T14" fmla="*/ 74499 w 810"/>
                <a:gd name="T15" fmla="*/ 8909 h 727"/>
                <a:gd name="T16" fmla="*/ 50243 w 810"/>
                <a:gd name="T17" fmla="*/ 0 h 727"/>
                <a:gd name="T18" fmla="*/ 35950 w 810"/>
                <a:gd name="T19" fmla="*/ 2620 h 727"/>
                <a:gd name="T20" fmla="*/ 22956 w 810"/>
                <a:gd name="T21" fmla="*/ 12578 h 727"/>
                <a:gd name="T22" fmla="*/ 0 w 810"/>
                <a:gd name="T23" fmla="*/ 28824 h 727"/>
                <a:gd name="T24" fmla="*/ 3032 w 810"/>
                <a:gd name="T25" fmla="*/ 35637 h 727"/>
                <a:gd name="T26" fmla="*/ 11261 w 810"/>
                <a:gd name="T27" fmla="*/ 38781 h 727"/>
                <a:gd name="T28" fmla="*/ 15593 w 810"/>
                <a:gd name="T29" fmla="*/ 67605 h 727"/>
                <a:gd name="T30" fmla="*/ 25988 w 810"/>
                <a:gd name="T31" fmla="*/ 100622 h 727"/>
                <a:gd name="T32" fmla="*/ 47211 w 810"/>
                <a:gd name="T33" fmla="*/ 144644 h 727"/>
                <a:gd name="T34" fmla="*/ 57607 w 810"/>
                <a:gd name="T35" fmla="*/ 157221 h 727"/>
                <a:gd name="T36" fmla="*/ 68868 w 810"/>
                <a:gd name="T37" fmla="*/ 158270 h 727"/>
                <a:gd name="T38" fmla="*/ 68868 w 810"/>
                <a:gd name="T39" fmla="*/ 173992 h 727"/>
                <a:gd name="T40" fmla="*/ 65836 w 810"/>
                <a:gd name="T41" fmla="*/ 188142 h 727"/>
                <a:gd name="T42" fmla="*/ 63237 w 810"/>
                <a:gd name="T43" fmla="*/ 206484 h 727"/>
                <a:gd name="T44" fmla="*/ 64970 w 810"/>
                <a:gd name="T45" fmla="*/ 222730 h 727"/>
                <a:gd name="T46" fmla="*/ 74932 w 810"/>
                <a:gd name="T47" fmla="*/ 253651 h 727"/>
                <a:gd name="T48" fmla="*/ 77531 w 810"/>
                <a:gd name="T49" fmla="*/ 271469 h 727"/>
                <a:gd name="T50" fmla="*/ 80996 w 810"/>
                <a:gd name="T51" fmla="*/ 317587 h 727"/>
                <a:gd name="T52" fmla="*/ 88359 w 810"/>
                <a:gd name="T53" fmla="*/ 339074 h 727"/>
                <a:gd name="T54" fmla="*/ 100054 w 810"/>
                <a:gd name="T55" fmla="*/ 361609 h 727"/>
                <a:gd name="T56" fmla="*/ 106117 w 810"/>
                <a:gd name="T57" fmla="*/ 366850 h 727"/>
                <a:gd name="T58" fmla="*/ 112181 w 810"/>
                <a:gd name="T59" fmla="*/ 374711 h 727"/>
                <a:gd name="T60" fmla="*/ 114780 w 810"/>
                <a:gd name="T61" fmla="*/ 355320 h 727"/>
                <a:gd name="T62" fmla="*/ 133405 w 810"/>
                <a:gd name="T63" fmla="*/ 364754 h 727"/>
                <a:gd name="T64" fmla="*/ 142067 w 810"/>
                <a:gd name="T65" fmla="*/ 373663 h 727"/>
                <a:gd name="T66" fmla="*/ 161125 w 810"/>
                <a:gd name="T67" fmla="*/ 380476 h 727"/>
                <a:gd name="T68" fmla="*/ 176285 w 810"/>
                <a:gd name="T69" fmla="*/ 378904 h 727"/>
                <a:gd name="T70" fmla="*/ 185814 w 810"/>
                <a:gd name="T71" fmla="*/ 372091 h 727"/>
                <a:gd name="T72" fmla="*/ 195776 w 810"/>
                <a:gd name="T73" fmla="*/ 353748 h 727"/>
                <a:gd name="T74" fmla="*/ 200540 w 810"/>
                <a:gd name="T75" fmla="*/ 277234 h 727"/>
                <a:gd name="T76" fmla="*/ 201406 w 810"/>
                <a:gd name="T77" fmla="*/ 251554 h 727"/>
                <a:gd name="T78" fmla="*/ 204005 w 810"/>
                <a:gd name="T79" fmla="*/ 245790 h 727"/>
                <a:gd name="T80" fmla="*/ 200540 w 810"/>
                <a:gd name="T81" fmla="*/ 223254 h 727"/>
                <a:gd name="T82" fmla="*/ 203139 w 810"/>
                <a:gd name="T83" fmla="*/ 192858 h 727"/>
                <a:gd name="T84" fmla="*/ 216566 w 810"/>
                <a:gd name="T85" fmla="*/ 172944 h 727"/>
                <a:gd name="T86" fmla="*/ 227394 w 810"/>
                <a:gd name="T87" fmla="*/ 167703 h 727"/>
                <a:gd name="T88" fmla="*/ 233025 w 810"/>
                <a:gd name="T89" fmla="*/ 121585 h 727"/>
                <a:gd name="T90" fmla="*/ 238656 w 810"/>
                <a:gd name="T91" fmla="*/ 77563 h 727"/>
                <a:gd name="T92" fmla="*/ 234324 w 810"/>
                <a:gd name="T93" fmla="*/ 64985 h 727"/>
                <a:gd name="T94" fmla="*/ 229993 w 810"/>
                <a:gd name="T95" fmla="*/ 51883 h 727"/>
                <a:gd name="T96" fmla="*/ 233458 w 810"/>
                <a:gd name="T97" fmla="*/ 45070 h 727"/>
                <a:gd name="T98" fmla="*/ 267243 w 810"/>
                <a:gd name="T99" fmla="*/ 41926 h 727"/>
                <a:gd name="T100" fmla="*/ 306658 w 810"/>
                <a:gd name="T101" fmla="*/ 33017 h 727"/>
                <a:gd name="T102" fmla="*/ 347805 w 810"/>
                <a:gd name="T103" fmla="*/ 31968 h 72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0" name="Freeform 479">
              <a:extLst>
                <a:ext uri="{FF2B5EF4-FFF2-40B4-BE49-F238E27FC236}">
                  <a16:creationId xmlns:a16="http://schemas.microsoft.com/office/drawing/2014/main" id="{A499945B-43C8-45C5-BBD6-C2497F9F187C}"/>
                </a:ext>
              </a:extLst>
            </p:cNvPr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5100639" y="3133725"/>
              <a:ext cx="161925" cy="141288"/>
            </a:xfrm>
            <a:custGeom>
              <a:avLst/>
              <a:gdLst>
                <a:gd name="T0" fmla="*/ 90057 w 365"/>
                <a:gd name="T1" fmla="*/ 130339 h 271"/>
                <a:gd name="T2" fmla="*/ 72312 w 365"/>
                <a:gd name="T3" fmla="*/ 128254 h 271"/>
                <a:gd name="T4" fmla="*/ 53679 w 365"/>
                <a:gd name="T5" fmla="*/ 128775 h 271"/>
                <a:gd name="T6" fmla="*/ 40814 w 365"/>
                <a:gd name="T7" fmla="*/ 130339 h 271"/>
                <a:gd name="T8" fmla="*/ 32829 w 365"/>
                <a:gd name="T9" fmla="*/ 132946 h 271"/>
                <a:gd name="T10" fmla="*/ 11534 w 365"/>
                <a:gd name="T11" fmla="*/ 141288 h 271"/>
                <a:gd name="T12" fmla="*/ 8873 w 365"/>
                <a:gd name="T13" fmla="*/ 140767 h 271"/>
                <a:gd name="T14" fmla="*/ 7542 w 365"/>
                <a:gd name="T15" fmla="*/ 138681 h 271"/>
                <a:gd name="T16" fmla="*/ 7985 w 365"/>
                <a:gd name="T17" fmla="*/ 132425 h 271"/>
                <a:gd name="T18" fmla="*/ 11534 w 365"/>
                <a:gd name="T19" fmla="*/ 118870 h 271"/>
                <a:gd name="T20" fmla="*/ 27061 w 365"/>
                <a:gd name="T21" fmla="*/ 117827 h 271"/>
                <a:gd name="T22" fmla="*/ 39483 w 365"/>
                <a:gd name="T23" fmla="*/ 115741 h 271"/>
                <a:gd name="T24" fmla="*/ 51017 w 365"/>
                <a:gd name="T25" fmla="*/ 113656 h 271"/>
                <a:gd name="T26" fmla="*/ 64770 w 365"/>
                <a:gd name="T27" fmla="*/ 112613 h 271"/>
                <a:gd name="T28" fmla="*/ 80741 w 365"/>
                <a:gd name="T29" fmla="*/ 113656 h 271"/>
                <a:gd name="T30" fmla="*/ 88282 w 365"/>
                <a:gd name="T31" fmla="*/ 113656 h 271"/>
                <a:gd name="T32" fmla="*/ 97155 w 365"/>
                <a:gd name="T33" fmla="*/ 112613 h 271"/>
                <a:gd name="T34" fmla="*/ 95380 w 365"/>
                <a:gd name="T35" fmla="*/ 108442 h 271"/>
                <a:gd name="T36" fmla="*/ 93162 w 365"/>
                <a:gd name="T37" fmla="*/ 104793 h 271"/>
                <a:gd name="T38" fmla="*/ 86508 w 365"/>
                <a:gd name="T39" fmla="*/ 101143 h 271"/>
                <a:gd name="T40" fmla="*/ 77635 w 365"/>
                <a:gd name="T41" fmla="*/ 99579 h 271"/>
                <a:gd name="T42" fmla="*/ 67432 w 365"/>
                <a:gd name="T43" fmla="*/ 99058 h 271"/>
                <a:gd name="T44" fmla="*/ 41258 w 365"/>
                <a:gd name="T45" fmla="*/ 100101 h 271"/>
                <a:gd name="T46" fmla="*/ 28392 w 365"/>
                <a:gd name="T47" fmla="*/ 102186 h 271"/>
                <a:gd name="T48" fmla="*/ 14640 w 365"/>
                <a:gd name="T49" fmla="*/ 105836 h 271"/>
                <a:gd name="T50" fmla="*/ 16858 w 365"/>
                <a:gd name="T51" fmla="*/ 95409 h 271"/>
                <a:gd name="T52" fmla="*/ 17302 w 365"/>
                <a:gd name="T53" fmla="*/ 89674 h 271"/>
                <a:gd name="T54" fmla="*/ 11534 w 365"/>
                <a:gd name="T55" fmla="*/ 85503 h 271"/>
                <a:gd name="T56" fmla="*/ 5767 w 365"/>
                <a:gd name="T57" fmla="*/ 83417 h 271"/>
                <a:gd name="T58" fmla="*/ 4880 w 365"/>
                <a:gd name="T59" fmla="*/ 76640 h 271"/>
                <a:gd name="T60" fmla="*/ 2662 w 365"/>
                <a:gd name="T61" fmla="*/ 74554 h 271"/>
                <a:gd name="T62" fmla="*/ 887 w 365"/>
                <a:gd name="T63" fmla="*/ 73511 h 271"/>
                <a:gd name="T64" fmla="*/ 0 w 365"/>
                <a:gd name="T65" fmla="*/ 70383 h 271"/>
                <a:gd name="T66" fmla="*/ 2218 w 365"/>
                <a:gd name="T67" fmla="*/ 59956 h 271"/>
                <a:gd name="T68" fmla="*/ 7542 w 365"/>
                <a:gd name="T69" fmla="*/ 47965 h 271"/>
                <a:gd name="T70" fmla="*/ 13309 w 365"/>
                <a:gd name="T71" fmla="*/ 35974 h 271"/>
                <a:gd name="T72" fmla="*/ 17302 w 365"/>
                <a:gd name="T73" fmla="*/ 25547 h 271"/>
                <a:gd name="T74" fmla="*/ 21294 w 365"/>
                <a:gd name="T75" fmla="*/ 21897 h 271"/>
                <a:gd name="T76" fmla="*/ 21738 w 365"/>
                <a:gd name="T77" fmla="*/ 25025 h 271"/>
                <a:gd name="T78" fmla="*/ 23069 w 365"/>
                <a:gd name="T79" fmla="*/ 18769 h 271"/>
                <a:gd name="T80" fmla="*/ 33272 w 365"/>
                <a:gd name="T81" fmla="*/ 16162 h 271"/>
                <a:gd name="T82" fmla="*/ 50574 w 365"/>
                <a:gd name="T83" fmla="*/ 9384 h 271"/>
                <a:gd name="T84" fmla="*/ 73199 w 365"/>
                <a:gd name="T85" fmla="*/ 0 h 271"/>
                <a:gd name="T86" fmla="*/ 81628 w 365"/>
                <a:gd name="T87" fmla="*/ 7820 h 271"/>
                <a:gd name="T88" fmla="*/ 89613 w 365"/>
                <a:gd name="T89" fmla="*/ 12513 h 271"/>
                <a:gd name="T90" fmla="*/ 97599 w 365"/>
                <a:gd name="T91" fmla="*/ 15119 h 271"/>
                <a:gd name="T92" fmla="*/ 106028 w 365"/>
                <a:gd name="T93" fmla="*/ 15641 h 271"/>
                <a:gd name="T94" fmla="*/ 106915 w 365"/>
                <a:gd name="T95" fmla="*/ 27111 h 271"/>
                <a:gd name="T96" fmla="*/ 109577 w 365"/>
                <a:gd name="T97" fmla="*/ 35974 h 271"/>
                <a:gd name="T98" fmla="*/ 112682 w 365"/>
                <a:gd name="T99" fmla="*/ 43794 h 271"/>
                <a:gd name="T100" fmla="*/ 117118 w 365"/>
                <a:gd name="T101" fmla="*/ 49529 h 271"/>
                <a:gd name="T102" fmla="*/ 135307 w 365"/>
                <a:gd name="T103" fmla="*/ 67255 h 271"/>
                <a:gd name="T104" fmla="*/ 156158 w 365"/>
                <a:gd name="T105" fmla="*/ 121998 h 271"/>
                <a:gd name="T106" fmla="*/ 159263 w 365"/>
                <a:gd name="T107" fmla="*/ 133989 h 271"/>
                <a:gd name="T108" fmla="*/ 161925 w 365"/>
                <a:gd name="T109" fmla="*/ 141288 h 271"/>
                <a:gd name="T110" fmla="*/ 142405 w 365"/>
                <a:gd name="T111" fmla="*/ 135032 h 271"/>
                <a:gd name="T112" fmla="*/ 121998 w 365"/>
                <a:gd name="T113" fmla="*/ 131382 h 271"/>
                <a:gd name="T114" fmla="*/ 110020 w 365"/>
                <a:gd name="T115" fmla="*/ 130861 h 271"/>
                <a:gd name="T116" fmla="*/ 97155 w 365"/>
                <a:gd name="T117" fmla="*/ 131382 h 27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1" name="Freeform 480">
              <a:extLst>
                <a:ext uri="{FF2B5EF4-FFF2-40B4-BE49-F238E27FC236}">
                  <a16:creationId xmlns:a16="http://schemas.microsoft.com/office/drawing/2014/main" id="{7BAD3E72-26F5-44A0-920D-AF563526BB1A}"/>
                </a:ext>
              </a:extLst>
            </p:cNvPr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6273801" y="3695701"/>
              <a:ext cx="269875" cy="334963"/>
            </a:xfrm>
            <a:custGeom>
              <a:avLst/>
              <a:gdLst>
                <a:gd name="T0" fmla="*/ 63144 w 624"/>
                <a:gd name="T1" fmla="*/ 6281 h 640"/>
                <a:gd name="T2" fmla="*/ 103366 w 624"/>
                <a:gd name="T3" fmla="*/ 6281 h 640"/>
                <a:gd name="T4" fmla="*/ 124125 w 624"/>
                <a:gd name="T5" fmla="*/ 2617 h 640"/>
                <a:gd name="T6" fmla="*/ 140992 w 624"/>
                <a:gd name="T7" fmla="*/ 11514 h 640"/>
                <a:gd name="T8" fmla="*/ 171267 w 624"/>
                <a:gd name="T9" fmla="*/ 34543 h 640"/>
                <a:gd name="T10" fmla="*/ 201109 w 624"/>
                <a:gd name="T11" fmla="*/ 58095 h 640"/>
                <a:gd name="T12" fmla="*/ 202839 w 624"/>
                <a:gd name="T13" fmla="*/ 68563 h 640"/>
                <a:gd name="T14" fmla="*/ 207596 w 624"/>
                <a:gd name="T15" fmla="*/ 80077 h 640"/>
                <a:gd name="T16" fmla="*/ 214949 w 624"/>
                <a:gd name="T17" fmla="*/ 88975 h 640"/>
                <a:gd name="T18" fmla="*/ 224463 w 624"/>
                <a:gd name="T19" fmla="*/ 95778 h 640"/>
                <a:gd name="T20" fmla="*/ 234843 w 624"/>
                <a:gd name="T21" fmla="*/ 99442 h 640"/>
                <a:gd name="T22" fmla="*/ 239601 w 624"/>
                <a:gd name="T23" fmla="*/ 102059 h 640"/>
                <a:gd name="T24" fmla="*/ 244358 w 624"/>
                <a:gd name="T25" fmla="*/ 107293 h 640"/>
                <a:gd name="T26" fmla="*/ 242628 w 624"/>
                <a:gd name="T27" fmla="*/ 118807 h 640"/>
                <a:gd name="T28" fmla="*/ 232248 w 624"/>
                <a:gd name="T29" fmla="*/ 131892 h 640"/>
                <a:gd name="T30" fmla="*/ 227058 w 624"/>
                <a:gd name="T31" fmla="*/ 141836 h 640"/>
                <a:gd name="T32" fmla="*/ 230518 w 624"/>
                <a:gd name="T33" fmla="*/ 150210 h 640"/>
                <a:gd name="T34" fmla="*/ 236573 w 624"/>
                <a:gd name="T35" fmla="*/ 156491 h 640"/>
                <a:gd name="T36" fmla="*/ 238736 w 624"/>
                <a:gd name="T37" fmla="*/ 222436 h 640"/>
                <a:gd name="T38" fmla="*/ 237871 w 624"/>
                <a:gd name="T39" fmla="*/ 229764 h 640"/>
                <a:gd name="T40" fmla="*/ 241331 w 624"/>
                <a:gd name="T41" fmla="*/ 241801 h 640"/>
                <a:gd name="T42" fmla="*/ 241331 w 624"/>
                <a:gd name="T43" fmla="*/ 255933 h 640"/>
                <a:gd name="T44" fmla="*/ 242628 w 624"/>
                <a:gd name="T45" fmla="*/ 269541 h 640"/>
                <a:gd name="T46" fmla="*/ 256900 w 624"/>
                <a:gd name="T47" fmla="*/ 287335 h 640"/>
                <a:gd name="T48" fmla="*/ 266415 w 624"/>
                <a:gd name="T49" fmla="*/ 303037 h 640"/>
                <a:gd name="T50" fmla="*/ 248683 w 624"/>
                <a:gd name="T51" fmla="*/ 314028 h 640"/>
                <a:gd name="T52" fmla="*/ 212354 w 624"/>
                <a:gd name="T53" fmla="*/ 330253 h 640"/>
                <a:gd name="T54" fmla="*/ 191594 w 624"/>
                <a:gd name="T55" fmla="*/ 333916 h 640"/>
                <a:gd name="T56" fmla="*/ 169537 w 624"/>
                <a:gd name="T57" fmla="*/ 328682 h 640"/>
                <a:gd name="T58" fmla="*/ 146615 w 624"/>
                <a:gd name="T59" fmla="*/ 331299 h 640"/>
                <a:gd name="T60" fmla="*/ 132343 w 624"/>
                <a:gd name="T61" fmla="*/ 328682 h 640"/>
                <a:gd name="T62" fmla="*/ 129315 w 624"/>
                <a:gd name="T63" fmla="*/ 321355 h 640"/>
                <a:gd name="T64" fmla="*/ 127153 w 624"/>
                <a:gd name="T65" fmla="*/ 299897 h 640"/>
                <a:gd name="T66" fmla="*/ 124558 w 624"/>
                <a:gd name="T67" fmla="*/ 276868 h 640"/>
                <a:gd name="T68" fmla="*/ 109420 w 624"/>
                <a:gd name="T69" fmla="*/ 270587 h 640"/>
                <a:gd name="T70" fmla="*/ 80011 w 624"/>
                <a:gd name="T71" fmla="*/ 262737 h 640"/>
                <a:gd name="T72" fmla="*/ 38924 w 624"/>
                <a:gd name="T73" fmla="*/ 240231 h 640"/>
                <a:gd name="T74" fmla="*/ 29409 w 624"/>
                <a:gd name="T75" fmla="*/ 233427 h 640"/>
                <a:gd name="T76" fmla="*/ 28544 w 624"/>
                <a:gd name="T77" fmla="*/ 224007 h 640"/>
                <a:gd name="T78" fmla="*/ 28112 w 624"/>
                <a:gd name="T79" fmla="*/ 210399 h 640"/>
                <a:gd name="T80" fmla="*/ 22922 w 624"/>
                <a:gd name="T81" fmla="*/ 197314 h 640"/>
                <a:gd name="T82" fmla="*/ 17732 w 624"/>
                <a:gd name="T83" fmla="*/ 186847 h 640"/>
                <a:gd name="T84" fmla="*/ 11677 w 624"/>
                <a:gd name="T85" fmla="*/ 181613 h 640"/>
                <a:gd name="T86" fmla="*/ 5190 w 624"/>
                <a:gd name="T87" fmla="*/ 173762 h 640"/>
                <a:gd name="T88" fmla="*/ 2162 w 624"/>
                <a:gd name="T89" fmla="*/ 161201 h 640"/>
                <a:gd name="T90" fmla="*/ 0 w 624"/>
                <a:gd name="T91" fmla="*/ 137125 h 640"/>
                <a:gd name="T92" fmla="*/ 0 w 624"/>
                <a:gd name="T93" fmla="*/ 122471 h 640"/>
                <a:gd name="T94" fmla="*/ 4325 w 624"/>
                <a:gd name="T95" fmla="*/ 110956 h 640"/>
                <a:gd name="T96" fmla="*/ 16435 w 624"/>
                <a:gd name="T97" fmla="*/ 102059 h 640"/>
                <a:gd name="T98" fmla="*/ 26382 w 624"/>
                <a:gd name="T99" fmla="*/ 90545 h 640"/>
                <a:gd name="T100" fmla="*/ 33302 w 624"/>
                <a:gd name="T101" fmla="*/ 40300 h 640"/>
                <a:gd name="T102" fmla="*/ 36329 w 624"/>
                <a:gd name="T103" fmla="*/ 22505 h 640"/>
                <a:gd name="T104" fmla="*/ 35464 w 624"/>
                <a:gd name="T105" fmla="*/ 4187 h 6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2" name="Freeform 481">
              <a:extLst>
                <a:ext uri="{FF2B5EF4-FFF2-40B4-BE49-F238E27FC236}">
                  <a16:creationId xmlns:a16="http://schemas.microsoft.com/office/drawing/2014/main" id="{3D0A59F6-F11C-4F0B-959D-10D3FC9AB6D9}"/>
                </a:ext>
              </a:extLst>
            </p:cNvPr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8837613" y="2209800"/>
              <a:ext cx="19050" cy="57150"/>
            </a:xfrm>
            <a:custGeom>
              <a:avLst/>
              <a:gdLst>
                <a:gd name="T0" fmla="*/ 4763 w 52"/>
                <a:gd name="T1" fmla="*/ 57150 h 50"/>
                <a:gd name="T2" fmla="*/ 0 w 52"/>
                <a:gd name="T3" fmla="*/ 36576 h 50"/>
                <a:gd name="T4" fmla="*/ 733 w 52"/>
                <a:gd name="T5" fmla="*/ 28575 h 50"/>
                <a:gd name="T6" fmla="*/ 2198 w 52"/>
                <a:gd name="T7" fmla="*/ 20574 h 50"/>
                <a:gd name="T8" fmla="*/ 4396 w 52"/>
                <a:gd name="T9" fmla="*/ 14859 h 50"/>
                <a:gd name="T10" fmla="*/ 6594 w 52"/>
                <a:gd name="T11" fmla="*/ 10287 h 50"/>
                <a:gd name="T12" fmla="*/ 9525 w 52"/>
                <a:gd name="T13" fmla="*/ 5715 h 50"/>
                <a:gd name="T14" fmla="*/ 12456 w 52"/>
                <a:gd name="T15" fmla="*/ 3429 h 50"/>
                <a:gd name="T16" fmla="*/ 15753 w 52"/>
                <a:gd name="T17" fmla="*/ 1143 h 50"/>
                <a:gd name="T18" fmla="*/ 19050 w 52"/>
                <a:gd name="T19" fmla="*/ 0 h 50"/>
                <a:gd name="T20" fmla="*/ 14654 w 52"/>
                <a:gd name="T21" fmla="*/ 12573 h 50"/>
                <a:gd name="T22" fmla="*/ 9891 w 52"/>
                <a:gd name="T23" fmla="*/ 25146 h 50"/>
                <a:gd name="T24" fmla="*/ 8060 w 52"/>
                <a:gd name="T25" fmla="*/ 34290 h 50"/>
                <a:gd name="T26" fmla="*/ 6228 w 52"/>
                <a:gd name="T27" fmla="*/ 41148 h 50"/>
                <a:gd name="T28" fmla="*/ 5129 w 52"/>
                <a:gd name="T29" fmla="*/ 49149 h 50"/>
                <a:gd name="T30" fmla="*/ 4763 w 52"/>
                <a:gd name="T31" fmla="*/ 57150 h 5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73" name="Freeform 482">
              <a:extLst>
                <a:ext uri="{FF2B5EF4-FFF2-40B4-BE49-F238E27FC236}">
                  <a16:creationId xmlns:a16="http://schemas.microsoft.com/office/drawing/2014/main" id="{A44F5600-8EBB-431E-AD69-BD88D6F40FBA}"/>
                </a:ext>
              </a:extLst>
            </p:cNvPr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8696325" y="2211388"/>
              <a:ext cx="141288" cy="125412"/>
            </a:xfrm>
            <a:custGeom>
              <a:avLst/>
              <a:gdLst>
                <a:gd name="T0" fmla="*/ 33556 w 320"/>
                <a:gd name="T1" fmla="*/ 123804 h 234"/>
                <a:gd name="T2" fmla="*/ 26933 w 320"/>
                <a:gd name="T3" fmla="*/ 121124 h 234"/>
                <a:gd name="T4" fmla="*/ 29141 w 320"/>
                <a:gd name="T5" fmla="*/ 118981 h 234"/>
                <a:gd name="T6" fmla="*/ 33997 w 320"/>
                <a:gd name="T7" fmla="*/ 116301 h 234"/>
                <a:gd name="T8" fmla="*/ 28258 w 320"/>
                <a:gd name="T9" fmla="*/ 109334 h 234"/>
                <a:gd name="T10" fmla="*/ 18986 w 320"/>
                <a:gd name="T11" fmla="*/ 101294 h 234"/>
                <a:gd name="T12" fmla="*/ 15895 w 320"/>
                <a:gd name="T13" fmla="*/ 95935 h 234"/>
                <a:gd name="T14" fmla="*/ 15012 w 320"/>
                <a:gd name="T15" fmla="*/ 91647 h 234"/>
                <a:gd name="T16" fmla="*/ 15012 w 320"/>
                <a:gd name="T17" fmla="*/ 87896 h 234"/>
                <a:gd name="T18" fmla="*/ 15895 w 320"/>
                <a:gd name="T19" fmla="*/ 84144 h 234"/>
                <a:gd name="T20" fmla="*/ 18986 w 320"/>
                <a:gd name="T21" fmla="*/ 79856 h 234"/>
                <a:gd name="T22" fmla="*/ 24725 w 320"/>
                <a:gd name="T23" fmla="*/ 75569 h 234"/>
                <a:gd name="T24" fmla="*/ 32231 w 320"/>
                <a:gd name="T25" fmla="*/ 73425 h 234"/>
                <a:gd name="T26" fmla="*/ 35322 w 320"/>
                <a:gd name="T27" fmla="*/ 67530 h 234"/>
                <a:gd name="T28" fmla="*/ 29582 w 320"/>
                <a:gd name="T29" fmla="*/ 59490 h 234"/>
                <a:gd name="T30" fmla="*/ 26933 w 320"/>
                <a:gd name="T31" fmla="*/ 54667 h 234"/>
                <a:gd name="T32" fmla="*/ 26492 w 320"/>
                <a:gd name="T33" fmla="*/ 46092 h 234"/>
                <a:gd name="T34" fmla="*/ 24284 w 320"/>
                <a:gd name="T35" fmla="*/ 37516 h 234"/>
                <a:gd name="T36" fmla="*/ 20310 w 320"/>
                <a:gd name="T37" fmla="*/ 24654 h 234"/>
                <a:gd name="T38" fmla="*/ 14570 w 320"/>
                <a:gd name="T39" fmla="*/ 16614 h 234"/>
                <a:gd name="T40" fmla="*/ 8831 w 320"/>
                <a:gd name="T41" fmla="*/ 13399 h 234"/>
                <a:gd name="T42" fmla="*/ 3091 w 320"/>
                <a:gd name="T43" fmla="*/ 5359 h 234"/>
                <a:gd name="T44" fmla="*/ 3974 w 320"/>
                <a:gd name="T45" fmla="*/ 0 h 234"/>
                <a:gd name="T46" fmla="*/ 10597 w 320"/>
                <a:gd name="T47" fmla="*/ 0 h 234"/>
                <a:gd name="T48" fmla="*/ 16778 w 320"/>
                <a:gd name="T49" fmla="*/ 1608 h 234"/>
                <a:gd name="T50" fmla="*/ 24725 w 320"/>
                <a:gd name="T51" fmla="*/ 8575 h 234"/>
                <a:gd name="T52" fmla="*/ 34439 w 320"/>
                <a:gd name="T53" fmla="*/ 18758 h 234"/>
                <a:gd name="T54" fmla="*/ 42386 w 320"/>
                <a:gd name="T55" fmla="*/ 25726 h 234"/>
                <a:gd name="T56" fmla="*/ 52541 w 320"/>
                <a:gd name="T57" fmla="*/ 31085 h 234"/>
                <a:gd name="T58" fmla="*/ 67112 w 320"/>
                <a:gd name="T59" fmla="*/ 37516 h 234"/>
                <a:gd name="T60" fmla="*/ 79916 w 320"/>
                <a:gd name="T61" fmla="*/ 42340 h 234"/>
                <a:gd name="T62" fmla="*/ 94486 w 320"/>
                <a:gd name="T63" fmla="*/ 45556 h 234"/>
                <a:gd name="T64" fmla="*/ 104200 w 320"/>
                <a:gd name="T65" fmla="*/ 41268 h 234"/>
                <a:gd name="T66" fmla="*/ 113472 w 320"/>
                <a:gd name="T67" fmla="*/ 44484 h 234"/>
                <a:gd name="T68" fmla="*/ 125393 w 320"/>
                <a:gd name="T69" fmla="*/ 57347 h 234"/>
                <a:gd name="T70" fmla="*/ 134665 w 320"/>
                <a:gd name="T71" fmla="*/ 63778 h 234"/>
                <a:gd name="T72" fmla="*/ 131133 w 320"/>
                <a:gd name="T73" fmla="*/ 71281 h 234"/>
                <a:gd name="T74" fmla="*/ 118329 w 320"/>
                <a:gd name="T75" fmla="*/ 77177 h 234"/>
                <a:gd name="T76" fmla="*/ 109940 w 320"/>
                <a:gd name="T77" fmla="*/ 79320 h 234"/>
                <a:gd name="T78" fmla="*/ 104641 w 320"/>
                <a:gd name="T79" fmla="*/ 85216 h 234"/>
                <a:gd name="T80" fmla="*/ 102434 w 320"/>
                <a:gd name="T81" fmla="*/ 94327 h 234"/>
                <a:gd name="T82" fmla="*/ 101992 w 320"/>
                <a:gd name="T83" fmla="*/ 100222 h 234"/>
                <a:gd name="T84" fmla="*/ 98019 w 320"/>
                <a:gd name="T85" fmla="*/ 102902 h 234"/>
                <a:gd name="T86" fmla="*/ 90071 w 320"/>
                <a:gd name="T87" fmla="*/ 101294 h 234"/>
                <a:gd name="T88" fmla="*/ 82124 w 320"/>
                <a:gd name="T89" fmla="*/ 97007 h 234"/>
                <a:gd name="T90" fmla="*/ 74176 w 320"/>
                <a:gd name="T91" fmla="*/ 91111 h 234"/>
                <a:gd name="T92" fmla="*/ 68436 w 320"/>
                <a:gd name="T93" fmla="*/ 87896 h 234"/>
                <a:gd name="T94" fmla="*/ 64021 w 320"/>
                <a:gd name="T95" fmla="*/ 86288 h 234"/>
                <a:gd name="T96" fmla="*/ 57840 w 320"/>
                <a:gd name="T97" fmla="*/ 86824 h 234"/>
                <a:gd name="T98" fmla="*/ 50334 w 320"/>
                <a:gd name="T99" fmla="*/ 89503 h 234"/>
                <a:gd name="T100" fmla="*/ 44153 w 320"/>
                <a:gd name="T101" fmla="*/ 92719 h 234"/>
                <a:gd name="T102" fmla="*/ 38413 w 320"/>
                <a:gd name="T103" fmla="*/ 95399 h 234"/>
                <a:gd name="T104" fmla="*/ 37530 w 320"/>
                <a:gd name="T105" fmla="*/ 98079 h 234"/>
                <a:gd name="T106" fmla="*/ 42386 w 320"/>
                <a:gd name="T107" fmla="*/ 102366 h 234"/>
                <a:gd name="T108" fmla="*/ 51217 w 320"/>
                <a:gd name="T109" fmla="*/ 107190 h 234"/>
                <a:gd name="T110" fmla="*/ 55632 w 320"/>
                <a:gd name="T111" fmla="*/ 113621 h 234"/>
                <a:gd name="T112" fmla="*/ 49892 w 320"/>
                <a:gd name="T113" fmla="*/ 120053 h 234"/>
                <a:gd name="T114" fmla="*/ 45036 w 320"/>
                <a:gd name="T115" fmla="*/ 123804 h 234"/>
                <a:gd name="T116" fmla="*/ 40179 w 320"/>
                <a:gd name="T117" fmla="*/ 125412 h 23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74" name="Freeform 483">
              <a:extLst>
                <a:ext uri="{FF2B5EF4-FFF2-40B4-BE49-F238E27FC236}">
                  <a16:creationId xmlns:a16="http://schemas.microsoft.com/office/drawing/2014/main" id="{9196BE08-1416-40EC-BC21-877DB730A57C}"/>
                </a:ext>
              </a:extLst>
            </p:cNvPr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8666164" y="2565400"/>
              <a:ext cx="52387" cy="57150"/>
            </a:xfrm>
            <a:custGeom>
              <a:avLst/>
              <a:gdLst>
                <a:gd name="T0" fmla="*/ 13830 w 125"/>
                <a:gd name="T1" fmla="*/ 11676 h 93"/>
                <a:gd name="T2" fmla="*/ 18021 w 125"/>
                <a:gd name="T3" fmla="*/ 11676 h 93"/>
                <a:gd name="T4" fmla="*/ 21793 w 125"/>
                <a:gd name="T5" fmla="*/ 11676 h 93"/>
                <a:gd name="T6" fmla="*/ 23050 w 125"/>
                <a:gd name="T7" fmla="*/ 11676 h 93"/>
                <a:gd name="T8" fmla="*/ 24308 w 125"/>
                <a:gd name="T9" fmla="*/ 10447 h 93"/>
                <a:gd name="T10" fmla="*/ 25565 w 125"/>
                <a:gd name="T11" fmla="*/ 9218 h 93"/>
                <a:gd name="T12" fmla="*/ 27241 w 125"/>
                <a:gd name="T13" fmla="*/ 6760 h 93"/>
                <a:gd name="T14" fmla="*/ 28499 w 125"/>
                <a:gd name="T15" fmla="*/ 4916 h 93"/>
                <a:gd name="T16" fmla="*/ 29337 w 125"/>
                <a:gd name="T17" fmla="*/ 3073 h 93"/>
                <a:gd name="T18" fmla="*/ 30175 w 125"/>
                <a:gd name="T19" fmla="*/ 1844 h 93"/>
                <a:gd name="T20" fmla="*/ 30175 w 125"/>
                <a:gd name="T21" fmla="*/ 0 h 93"/>
                <a:gd name="T22" fmla="*/ 49453 w 125"/>
                <a:gd name="T23" fmla="*/ 0 h 93"/>
                <a:gd name="T24" fmla="*/ 51130 w 125"/>
                <a:gd name="T25" fmla="*/ 9218 h 93"/>
                <a:gd name="T26" fmla="*/ 52387 w 125"/>
                <a:gd name="T27" fmla="*/ 15363 h 93"/>
                <a:gd name="T28" fmla="*/ 51968 w 125"/>
                <a:gd name="T29" fmla="*/ 17821 h 93"/>
                <a:gd name="T30" fmla="*/ 51130 w 125"/>
                <a:gd name="T31" fmla="*/ 20279 h 93"/>
                <a:gd name="T32" fmla="*/ 49872 w 125"/>
                <a:gd name="T33" fmla="*/ 21508 h 93"/>
                <a:gd name="T34" fmla="*/ 49034 w 125"/>
                <a:gd name="T35" fmla="*/ 22737 h 93"/>
                <a:gd name="T36" fmla="*/ 46520 w 125"/>
                <a:gd name="T37" fmla="*/ 24581 h 93"/>
                <a:gd name="T38" fmla="*/ 43586 w 125"/>
                <a:gd name="T39" fmla="*/ 25195 h 93"/>
                <a:gd name="T40" fmla="*/ 36880 w 125"/>
                <a:gd name="T41" fmla="*/ 25195 h 93"/>
                <a:gd name="T42" fmla="*/ 30175 w 125"/>
                <a:gd name="T43" fmla="*/ 26424 h 93"/>
                <a:gd name="T44" fmla="*/ 29337 w 125"/>
                <a:gd name="T45" fmla="*/ 28882 h 93"/>
                <a:gd name="T46" fmla="*/ 28918 w 125"/>
                <a:gd name="T47" fmla="*/ 32569 h 93"/>
                <a:gd name="T48" fmla="*/ 28079 w 125"/>
                <a:gd name="T49" fmla="*/ 37485 h 93"/>
                <a:gd name="T50" fmla="*/ 28079 w 125"/>
                <a:gd name="T51" fmla="*/ 43631 h 93"/>
                <a:gd name="T52" fmla="*/ 27660 w 125"/>
                <a:gd name="T53" fmla="*/ 52848 h 93"/>
                <a:gd name="T54" fmla="*/ 27660 w 125"/>
                <a:gd name="T55" fmla="*/ 57150 h 93"/>
                <a:gd name="T56" fmla="*/ 20536 w 125"/>
                <a:gd name="T57" fmla="*/ 52234 h 93"/>
                <a:gd name="T58" fmla="*/ 11316 w 125"/>
                <a:gd name="T59" fmla="*/ 44860 h 93"/>
                <a:gd name="T60" fmla="*/ 6706 w 125"/>
                <a:gd name="T61" fmla="*/ 39944 h 93"/>
                <a:gd name="T62" fmla="*/ 2934 w 125"/>
                <a:gd name="T63" fmla="*/ 35642 h 93"/>
                <a:gd name="T64" fmla="*/ 1676 w 125"/>
                <a:gd name="T65" fmla="*/ 33184 h 93"/>
                <a:gd name="T66" fmla="*/ 838 w 125"/>
                <a:gd name="T67" fmla="*/ 30726 h 93"/>
                <a:gd name="T68" fmla="*/ 0 w 125"/>
                <a:gd name="T69" fmla="*/ 28882 h 93"/>
                <a:gd name="T70" fmla="*/ 0 w 125"/>
                <a:gd name="T71" fmla="*/ 26424 h 93"/>
                <a:gd name="T72" fmla="*/ 2934 w 125"/>
                <a:gd name="T73" fmla="*/ 26424 h 93"/>
                <a:gd name="T74" fmla="*/ 6286 w 125"/>
                <a:gd name="T75" fmla="*/ 25195 h 93"/>
                <a:gd name="T76" fmla="*/ 8382 w 125"/>
                <a:gd name="T77" fmla="*/ 23966 h 93"/>
                <a:gd name="T78" fmla="*/ 9639 w 125"/>
                <a:gd name="T79" fmla="*/ 22123 h 93"/>
                <a:gd name="T80" fmla="*/ 11735 w 125"/>
                <a:gd name="T81" fmla="*/ 17206 h 93"/>
                <a:gd name="T82" fmla="*/ 13830 w 125"/>
                <a:gd name="T83" fmla="*/ 11676 h 9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75" name="Freeform 484">
              <a:extLst>
                <a:ext uri="{FF2B5EF4-FFF2-40B4-BE49-F238E27FC236}">
                  <a16:creationId xmlns:a16="http://schemas.microsoft.com/office/drawing/2014/main" id="{2C2B87A7-A69A-4E3B-B5AB-43AA9BF71F6E}"/>
                </a:ext>
              </a:extLst>
            </p:cNvPr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8612189" y="2579689"/>
              <a:ext cx="60325" cy="84137"/>
            </a:xfrm>
            <a:custGeom>
              <a:avLst/>
              <a:gdLst>
                <a:gd name="T0" fmla="*/ 9071 w 133"/>
                <a:gd name="T1" fmla="*/ 6556 h 154"/>
                <a:gd name="T2" fmla="*/ 10886 w 133"/>
                <a:gd name="T3" fmla="*/ 5463 h 154"/>
                <a:gd name="T4" fmla="*/ 14061 w 133"/>
                <a:gd name="T5" fmla="*/ 3278 h 154"/>
                <a:gd name="T6" fmla="*/ 15421 w 133"/>
                <a:gd name="T7" fmla="*/ 2185 h 154"/>
                <a:gd name="T8" fmla="*/ 16782 w 133"/>
                <a:gd name="T9" fmla="*/ 1093 h 154"/>
                <a:gd name="T10" fmla="*/ 19050 w 133"/>
                <a:gd name="T11" fmla="*/ 546 h 154"/>
                <a:gd name="T12" fmla="*/ 20864 w 133"/>
                <a:gd name="T13" fmla="*/ 0 h 154"/>
                <a:gd name="T14" fmla="*/ 26761 w 133"/>
                <a:gd name="T15" fmla="*/ 546 h 154"/>
                <a:gd name="T16" fmla="*/ 31750 w 133"/>
                <a:gd name="T17" fmla="*/ 2185 h 154"/>
                <a:gd name="T18" fmla="*/ 36739 w 133"/>
                <a:gd name="T19" fmla="*/ 4371 h 154"/>
                <a:gd name="T20" fmla="*/ 40821 w 133"/>
                <a:gd name="T21" fmla="*/ 7649 h 154"/>
                <a:gd name="T22" fmla="*/ 44904 w 133"/>
                <a:gd name="T23" fmla="*/ 11473 h 154"/>
                <a:gd name="T24" fmla="*/ 47625 w 133"/>
                <a:gd name="T25" fmla="*/ 16390 h 154"/>
                <a:gd name="T26" fmla="*/ 50800 w 133"/>
                <a:gd name="T27" fmla="*/ 21854 h 154"/>
                <a:gd name="T28" fmla="*/ 52614 w 133"/>
                <a:gd name="T29" fmla="*/ 27317 h 154"/>
                <a:gd name="T30" fmla="*/ 54882 w 133"/>
                <a:gd name="T31" fmla="*/ 32781 h 154"/>
                <a:gd name="T32" fmla="*/ 56243 w 133"/>
                <a:gd name="T33" fmla="*/ 38790 h 154"/>
                <a:gd name="T34" fmla="*/ 57604 w 133"/>
                <a:gd name="T35" fmla="*/ 44800 h 154"/>
                <a:gd name="T36" fmla="*/ 58964 w 133"/>
                <a:gd name="T37" fmla="*/ 51356 h 154"/>
                <a:gd name="T38" fmla="*/ 59871 w 133"/>
                <a:gd name="T39" fmla="*/ 63376 h 154"/>
                <a:gd name="T40" fmla="*/ 60325 w 133"/>
                <a:gd name="T41" fmla="*/ 73756 h 154"/>
                <a:gd name="T42" fmla="*/ 59871 w 133"/>
                <a:gd name="T43" fmla="*/ 75395 h 154"/>
                <a:gd name="T44" fmla="*/ 58964 w 133"/>
                <a:gd name="T45" fmla="*/ 77035 h 154"/>
                <a:gd name="T46" fmla="*/ 56696 w 133"/>
                <a:gd name="T47" fmla="*/ 78674 h 154"/>
                <a:gd name="T48" fmla="*/ 54882 w 133"/>
                <a:gd name="T49" fmla="*/ 80313 h 154"/>
                <a:gd name="T50" fmla="*/ 52161 w 133"/>
                <a:gd name="T51" fmla="*/ 81952 h 154"/>
                <a:gd name="T52" fmla="*/ 49893 w 133"/>
                <a:gd name="T53" fmla="*/ 83591 h 154"/>
                <a:gd name="T54" fmla="*/ 47171 w 133"/>
                <a:gd name="T55" fmla="*/ 84137 h 154"/>
                <a:gd name="T56" fmla="*/ 44904 w 133"/>
                <a:gd name="T57" fmla="*/ 84137 h 154"/>
                <a:gd name="T58" fmla="*/ 42182 w 133"/>
                <a:gd name="T59" fmla="*/ 83591 h 154"/>
                <a:gd name="T60" fmla="*/ 39461 w 133"/>
                <a:gd name="T61" fmla="*/ 81405 h 154"/>
                <a:gd name="T62" fmla="*/ 35832 w 133"/>
                <a:gd name="T63" fmla="*/ 77035 h 154"/>
                <a:gd name="T64" fmla="*/ 32204 w 133"/>
                <a:gd name="T65" fmla="*/ 73210 h 154"/>
                <a:gd name="T66" fmla="*/ 29029 w 133"/>
                <a:gd name="T67" fmla="*/ 68839 h 154"/>
                <a:gd name="T68" fmla="*/ 26307 w 133"/>
                <a:gd name="T69" fmla="*/ 64469 h 154"/>
                <a:gd name="T70" fmla="*/ 24493 w 133"/>
                <a:gd name="T71" fmla="*/ 60644 h 154"/>
                <a:gd name="T72" fmla="*/ 24039 w 133"/>
                <a:gd name="T73" fmla="*/ 57366 h 154"/>
                <a:gd name="T74" fmla="*/ 24493 w 133"/>
                <a:gd name="T75" fmla="*/ 53542 h 154"/>
                <a:gd name="T76" fmla="*/ 25400 w 133"/>
                <a:gd name="T77" fmla="*/ 45347 h 154"/>
                <a:gd name="T78" fmla="*/ 26307 w 133"/>
                <a:gd name="T79" fmla="*/ 37151 h 154"/>
                <a:gd name="T80" fmla="*/ 26761 w 133"/>
                <a:gd name="T81" fmla="*/ 33873 h 154"/>
                <a:gd name="T82" fmla="*/ 21318 w 133"/>
                <a:gd name="T83" fmla="*/ 33327 h 154"/>
                <a:gd name="T84" fmla="*/ 16329 w 133"/>
                <a:gd name="T85" fmla="*/ 32234 h 154"/>
                <a:gd name="T86" fmla="*/ 11339 w 133"/>
                <a:gd name="T87" fmla="*/ 30595 h 154"/>
                <a:gd name="T88" fmla="*/ 7711 w 133"/>
                <a:gd name="T89" fmla="*/ 28410 h 154"/>
                <a:gd name="T90" fmla="*/ 5896 w 133"/>
                <a:gd name="T91" fmla="*/ 26771 h 154"/>
                <a:gd name="T92" fmla="*/ 4536 w 133"/>
                <a:gd name="T93" fmla="*/ 25132 h 154"/>
                <a:gd name="T94" fmla="*/ 3175 w 133"/>
                <a:gd name="T95" fmla="*/ 23493 h 154"/>
                <a:gd name="T96" fmla="*/ 1814 w 133"/>
                <a:gd name="T97" fmla="*/ 21307 h 154"/>
                <a:gd name="T98" fmla="*/ 907 w 133"/>
                <a:gd name="T99" fmla="*/ 18576 h 154"/>
                <a:gd name="T100" fmla="*/ 454 w 133"/>
                <a:gd name="T101" fmla="*/ 15844 h 154"/>
                <a:gd name="T102" fmla="*/ 0 w 133"/>
                <a:gd name="T103" fmla="*/ 13112 h 154"/>
                <a:gd name="T104" fmla="*/ 0 w 133"/>
                <a:gd name="T105" fmla="*/ 9834 h 154"/>
                <a:gd name="T106" fmla="*/ 3175 w 133"/>
                <a:gd name="T107" fmla="*/ 8195 h 154"/>
                <a:gd name="T108" fmla="*/ 9071 w 133"/>
                <a:gd name="T109" fmla="*/ 6556 h 15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76" name="Freeform 485">
              <a:extLst>
                <a:ext uri="{FF2B5EF4-FFF2-40B4-BE49-F238E27FC236}">
                  <a16:creationId xmlns:a16="http://schemas.microsoft.com/office/drawing/2014/main" id="{8BADA0A0-44E4-464D-9C15-2A59D4870705}"/>
                </a:ext>
              </a:extLst>
            </p:cNvPr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8628063" y="2341564"/>
              <a:ext cx="209550" cy="244475"/>
            </a:xfrm>
            <a:custGeom>
              <a:avLst/>
              <a:gdLst>
                <a:gd name="T0" fmla="*/ 57896 w 485"/>
                <a:gd name="T1" fmla="*/ 183356 h 468"/>
                <a:gd name="T2" fmla="*/ 72154 w 485"/>
                <a:gd name="T3" fmla="*/ 177088 h 468"/>
                <a:gd name="T4" fmla="*/ 86412 w 485"/>
                <a:gd name="T5" fmla="*/ 177088 h 468"/>
                <a:gd name="T6" fmla="*/ 97646 w 485"/>
                <a:gd name="T7" fmla="*/ 181789 h 468"/>
                <a:gd name="T8" fmla="*/ 96782 w 485"/>
                <a:gd name="T9" fmla="*/ 170819 h 468"/>
                <a:gd name="T10" fmla="*/ 95054 w 485"/>
                <a:gd name="T11" fmla="*/ 165073 h 468"/>
                <a:gd name="T12" fmla="*/ 100670 w 485"/>
                <a:gd name="T13" fmla="*/ 158282 h 468"/>
                <a:gd name="T14" fmla="*/ 103263 w 485"/>
                <a:gd name="T15" fmla="*/ 144178 h 468"/>
                <a:gd name="T16" fmla="*/ 104559 w 485"/>
                <a:gd name="T17" fmla="*/ 128506 h 468"/>
                <a:gd name="T18" fmla="*/ 115793 w 485"/>
                <a:gd name="T19" fmla="*/ 133208 h 468"/>
                <a:gd name="T20" fmla="*/ 129619 w 485"/>
                <a:gd name="T21" fmla="*/ 124327 h 468"/>
                <a:gd name="T22" fmla="*/ 136532 w 485"/>
                <a:gd name="T23" fmla="*/ 113357 h 468"/>
                <a:gd name="T24" fmla="*/ 126594 w 485"/>
                <a:gd name="T25" fmla="*/ 101342 h 468"/>
                <a:gd name="T26" fmla="*/ 137396 w 485"/>
                <a:gd name="T27" fmla="*/ 103954 h 468"/>
                <a:gd name="T28" fmla="*/ 148197 w 485"/>
                <a:gd name="T29" fmla="*/ 105521 h 468"/>
                <a:gd name="T30" fmla="*/ 149493 w 485"/>
                <a:gd name="T31" fmla="*/ 96641 h 468"/>
                <a:gd name="T32" fmla="*/ 127458 w 485"/>
                <a:gd name="T33" fmla="*/ 50149 h 468"/>
                <a:gd name="T34" fmla="*/ 123138 w 485"/>
                <a:gd name="T35" fmla="*/ 27686 h 468"/>
                <a:gd name="T36" fmla="*/ 125730 w 485"/>
                <a:gd name="T37" fmla="*/ 9925 h 468"/>
                <a:gd name="T38" fmla="*/ 136532 w 485"/>
                <a:gd name="T39" fmla="*/ 522 h 468"/>
                <a:gd name="T40" fmla="*/ 145173 w 485"/>
                <a:gd name="T41" fmla="*/ 9403 h 468"/>
                <a:gd name="T42" fmla="*/ 162887 w 485"/>
                <a:gd name="T43" fmla="*/ 23507 h 468"/>
                <a:gd name="T44" fmla="*/ 179306 w 485"/>
                <a:gd name="T45" fmla="*/ 37612 h 468"/>
                <a:gd name="T46" fmla="*/ 184058 w 485"/>
                <a:gd name="T47" fmla="*/ 51193 h 468"/>
                <a:gd name="T48" fmla="*/ 188379 w 485"/>
                <a:gd name="T49" fmla="*/ 71566 h 468"/>
                <a:gd name="T50" fmla="*/ 192268 w 485"/>
                <a:gd name="T51" fmla="*/ 90372 h 468"/>
                <a:gd name="T52" fmla="*/ 184922 w 485"/>
                <a:gd name="T53" fmla="*/ 93506 h 468"/>
                <a:gd name="T54" fmla="*/ 178009 w 485"/>
                <a:gd name="T55" fmla="*/ 96641 h 468"/>
                <a:gd name="T56" fmla="*/ 184058 w 485"/>
                <a:gd name="T57" fmla="*/ 103954 h 468"/>
                <a:gd name="T58" fmla="*/ 192268 w 485"/>
                <a:gd name="T59" fmla="*/ 106044 h 468"/>
                <a:gd name="T60" fmla="*/ 196588 w 485"/>
                <a:gd name="T61" fmla="*/ 136864 h 468"/>
                <a:gd name="T62" fmla="*/ 205229 w 485"/>
                <a:gd name="T63" fmla="*/ 162983 h 468"/>
                <a:gd name="T64" fmla="*/ 207390 w 485"/>
                <a:gd name="T65" fmla="*/ 199028 h 468"/>
                <a:gd name="T66" fmla="*/ 200045 w 485"/>
                <a:gd name="T67" fmla="*/ 190147 h 468"/>
                <a:gd name="T68" fmla="*/ 195724 w 485"/>
                <a:gd name="T69" fmla="*/ 185968 h 468"/>
                <a:gd name="T70" fmla="*/ 188379 w 485"/>
                <a:gd name="T71" fmla="*/ 189625 h 468"/>
                <a:gd name="T72" fmla="*/ 185355 w 485"/>
                <a:gd name="T73" fmla="*/ 208431 h 468"/>
                <a:gd name="T74" fmla="*/ 176281 w 485"/>
                <a:gd name="T75" fmla="*/ 203207 h 468"/>
                <a:gd name="T76" fmla="*/ 168072 w 485"/>
                <a:gd name="T77" fmla="*/ 199550 h 468"/>
                <a:gd name="T78" fmla="*/ 162455 w 485"/>
                <a:gd name="T79" fmla="*/ 209998 h 468"/>
                <a:gd name="T80" fmla="*/ 149061 w 485"/>
                <a:gd name="T81" fmla="*/ 215744 h 468"/>
                <a:gd name="T82" fmla="*/ 144309 w 485"/>
                <a:gd name="T83" fmla="*/ 208953 h 468"/>
                <a:gd name="T84" fmla="*/ 134803 w 485"/>
                <a:gd name="T85" fmla="*/ 206341 h 468"/>
                <a:gd name="T86" fmla="*/ 130915 w 485"/>
                <a:gd name="T87" fmla="*/ 222535 h 468"/>
                <a:gd name="T88" fmla="*/ 129186 w 485"/>
                <a:gd name="T89" fmla="*/ 235072 h 468"/>
                <a:gd name="T90" fmla="*/ 132643 w 485"/>
                <a:gd name="T91" fmla="*/ 243430 h 468"/>
                <a:gd name="T92" fmla="*/ 117521 w 485"/>
                <a:gd name="T93" fmla="*/ 244475 h 468"/>
                <a:gd name="T94" fmla="*/ 111472 w 485"/>
                <a:gd name="T95" fmla="*/ 242908 h 468"/>
                <a:gd name="T96" fmla="*/ 105423 w 485"/>
                <a:gd name="T97" fmla="*/ 229848 h 468"/>
                <a:gd name="T98" fmla="*/ 98942 w 485"/>
                <a:gd name="T99" fmla="*/ 218356 h 468"/>
                <a:gd name="T100" fmla="*/ 88141 w 485"/>
                <a:gd name="T101" fmla="*/ 212087 h 468"/>
                <a:gd name="T102" fmla="*/ 82092 w 485"/>
                <a:gd name="T103" fmla="*/ 205819 h 468"/>
                <a:gd name="T104" fmla="*/ 58760 w 485"/>
                <a:gd name="T105" fmla="*/ 217833 h 468"/>
                <a:gd name="T106" fmla="*/ 38886 w 485"/>
                <a:gd name="T107" fmla="*/ 227236 h 468"/>
                <a:gd name="T108" fmla="*/ 28084 w 485"/>
                <a:gd name="T109" fmla="*/ 239774 h 468"/>
                <a:gd name="T110" fmla="*/ 11666 w 485"/>
                <a:gd name="T111" fmla="*/ 240818 h 468"/>
                <a:gd name="T112" fmla="*/ 3024 w 485"/>
                <a:gd name="T113" fmla="*/ 228804 h 468"/>
                <a:gd name="T114" fmla="*/ 0 w 485"/>
                <a:gd name="T115" fmla="*/ 217833 h 468"/>
                <a:gd name="T116" fmla="*/ 3024 w 485"/>
                <a:gd name="T117" fmla="*/ 215744 h 468"/>
                <a:gd name="T118" fmla="*/ 11666 w 485"/>
                <a:gd name="T119" fmla="*/ 216266 h 468"/>
                <a:gd name="T120" fmla="*/ 20739 w 485"/>
                <a:gd name="T121" fmla="*/ 211565 h 468"/>
                <a:gd name="T122" fmla="*/ 31108 w 485"/>
                <a:gd name="T123" fmla="*/ 192759 h 468"/>
                <a:gd name="T124" fmla="*/ 40182 w 485"/>
                <a:gd name="T125" fmla="*/ 183879 h 46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77" name="Freeform 486">
              <a:extLst>
                <a:ext uri="{FF2B5EF4-FFF2-40B4-BE49-F238E27FC236}">
                  <a16:creationId xmlns:a16="http://schemas.microsoft.com/office/drawing/2014/main" id="{75C7A841-CABF-4D8B-B9B1-6382B6A9A71B}"/>
                </a:ext>
              </a:extLst>
            </p:cNvPr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6211888" y="1231901"/>
              <a:ext cx="107950" cy="60325"/>
            </a:xfrm>
            <a:custGeom>
              <a:avLst/>
              <a:gdLst>
                <a:gd name="T0" fmla="*/ 11848 w 246"/>
                <a:gd name="T1" fmla="*/ 51707 h 42"/>
                <a:gd name="T2" fmla="*/ 15798 w 246"/>
                <a:gd name="T3" fmla="*/ 51707 h 42"/>
                <a:gd name="T4" fmla="*/ 19747 w 246"/>
                <a:gd name="T5" fmla="*/ 50271 h 42"/>
                <a:gd name="T6" fmla="*/ 23258 w 246"/>
                <a:gd name="T7" fmla="*/ 47398 h 42"/>
                <a:gd name="T8" fmla="*/ 25890 w 246"/>
                <a:gd name="T9" fmla="*/ 44526 h 42"/>
                <a:gd name="T10" fmla="*/ 28962 w 246"/>
                <a:gd name="T11" fmla="*/ 43089 h 42"/>
                <a:gd name="T12" fmla="*/ 31595 w 246"/>
                <a:gd name="T13" fmla="*/ 41653 h 42"/>
                <a:gd name="T14" fmla="*/ 35106 w 246"/>
                <a:gd name="T15" fmla="*/ 41653 h 42"/>
                <a:gd name="T16" fmla="*/ 38177 w 246"/>
                <a:gd name="T17" fmla="*/ 43089 h 42"/>
                <a:gd name="T18" fmla="*/ 38177 w 246"/>
                <a:gd name="T19" fmla="*/ 60325 h 42"/>
                <a:gd name="T20" fmla="*/ 67578 w 246"/>
                <a:gd name="T21" fmla="*/ 60325 h 42"/>
                <a:gd name="T22" fmla="*/ 67578 w 246"/>
                <a:gd name="T23" fmla="*/ 56016 h 42"/>
                <a:gd name="T24" fmla="*/ 68456 w 246"/>
                <a:gd name="T25" fmla="*/ 51707 h 42"/>
                <a:gd name="T26" fmla="*/ 69773 w 246"/>
                <a:gd name="T27" fmla="*/ 47398 h 42"/>
                <a:gd name="T28" fmla="*/ 71528 w 246"/>
                <a:gd name="T29" fmla="*/ 44526 h 42"/>
                <a:gd name="T30" fmla="*/ 76794 w 246"/>
                <a:gd name="T31" fmla="*/ 37344 h 42"/>
                <a:gd name="T32" fmla="*/ 83376 w 246"/>
                <a:gd name="T33" fmla="*/ 33035 h 42"/>
                <a:gd name="T34" fmla="*/ 96979 w 246"/>
                <a:gd name="T35" fmla="*/ 24417 h 42"/>
                <a:gd name="T36" fmla="*/ 107950 w 246"/>
                <a:gd name="T37" fmla="*/ 17236 h 42"/>
                <a:gd name="T38" fmla="*/ 93030 w 246"/>
                <a:gd name="T39" fmla="*/ 18672 h 42"/>
                <a:gd name="T40" fmla="*/ 81621 w 246"/>
                <a:gd name="T41" fmla="*/ 20108 h 42"/>
                <a:gd name="T42" fmla="*/ 78110 w 246"/>
                <a:gd name="T43" fmla="*/ 21545 h 42"/>
                <a:gd name="T44" fmla="*/ 75038 w 246"/>
                <a:gd name="T45" fmla="*/ 21545 h 42"/>
                <a:gd name="T46" fmla="*/ 73722 w 246"/>
                <a:gd name="T47" fmla="*/ 20108 h 42"/>
                <a:gd name="T48" fmla="*/ 73283 w 246"/>
                <a:gd name="T49" fmla="*/ 17236 h 42"/>
                <a:gd name="T50" fmla="*/ 69773 w 246"/>
                <a:gd name="T51" fmla="*/ 22981 h 42"/>
                <a:gd name="T52" fmla="*/ 66701 w 246"/>
                <a:gd name="T53" fmla="*/ 24417 h 42"/>
                <a:gd name="T54" fmla="*/ 64507 w 246"/>
                <a:gd name="T55" fmla="*/ 24417 h 42"/>
                <a:gd name="T56" fmla="*/ 61874 w 246"/>
                <a:gd name="T57" fmla="*/ 21545 h 42"/>
                <a:gd name="T58" fmla="*/ 60118 w 246"/>
                <a:gd name="T59" fmla="*/ 17236 h 42"/>
                <a:gd name="T60" fmla="*/ 58363 w 246"/>
                <a:gd name="T61" fmla="*/ 12927 h 42"/>
                <a:gd name="T62" fmla="*/ 56608 w 246"/>
                <a:gd name="T63" fmla="*/ 7182 h 42"/>
                <a:gd name="T64" fmla="*/ 55291 w 246"/>
                <a:gd name="T65" fmla="*/ 0 h 42"/>
                <a:gd name="T66" fmla="*/ 53097 w 246"/>
                <a:gd name="T67" fmla="*/ 2873 h 42"/>
                <a:gd name="T68" fmla="*/ 49587 w 246"/>
                <a:gd name="T69" fmla="*/ 5745 h 42"/>
                <a:gd name="T70" fmla="*/ 45199 w 246"/>
                <a:gd name="T71" fmla="*/ 7182 h 42"/>
                <a:gd name="T72" fmla="*/ 40810 w 246"/>
                <a:gd name="T73" fmla="*/ 7182 h 42"/>
                <a:gd name="T74" fmla="*/ 32473 w 246"/>
                <a:gd name="T75" fmla="*/ 8618 h 42"/>
                <a:gd name="T76" fmla="*/ 26329 w 246"/>
                <a:gd name="T77" fmla="*/ 8618 h 42"/>
                <a:gd name="T78" fmla="*/ 25452 w 246"/>
                <a:gd name="T79" fmla="*/ 12927 h 42"/>
                <a:gd name="T80" fmla="*/ 24574 w 246"/>
                <a:gd name="T81" fmla="*/ 17236 h 42"/>
                <a:gd name="T82" fmla="*/ 23696 w 246"/>
                <a:gd name="T83" fmla="*/ 21545 h 42"/>
                <a:gd name="T84" fmla="*/ 21941 w 246"/>
                <a:gd name="T85" fmla="*/ 24417 h 42"/>
                <a:gd name="T86" fmla="*/ 18430 w 246"/>
                <a:gd name="T87" fmla="*/ 28726 h 42"/>
                <a:gd name="T88" fmla="*/ 14481 w 246"/>
                <a:gd name="T89" fmla="*/ 31599 h 42"/>
                <a:gd name="T90" fmla="*/ 6143 w 246"/>
                <a:gd name="T91" fmla="*/ 34471 h 42"/>
                <a:gd name="T92" fmla="*/ 0 w 246"/>
                <a:gd name="T93" fmla="*/ 34471 h 42"/>
                <a:gd name="T94" fmla="*/ 439 w 246"/>
                <a:gd name="T95" fmla="*/ 38780 h 42"/>
                <a:gd name="T96" fmla="*/ 1316 w 246"/>
                <a:gd name="T97" fmla="*/ 41653 h 42"/>
                <a:gd name="T98" fmla="*/ 2194 w 246"/>
                <a:gd name="T99" fmla="*/ 44526 h 42"/>
                <a:gd name="T100" fmla="*/ 3949 w 246"/>
                <a:gd name="T101" fmla="*/ 47398 h 42"/>
                <a:gd name="T102" fmla="*/ 7460 w 246"/>
                <a:gd name="T103" fmla="*/ 50271 h 42"/>
                <a:gd name="T104" fmla="*/ 11848 w 246"/>
                <a:gd name="T105" fmla="*/ 5170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78" name="Freeform 487">
              <a:extLst>
                <a:ext uri="{FF2B5EF4-FFF2-40B4-BE49-F238E27FC236}">
                  <a16:creationId xmlns:a16="http://schemas.microsoft.com/office/drawing/2014/main" id="{024926DF-2D80-4AFE-9C3F-532434E8BBA6}"/>
                </a:ext>
              </a:extLst>
            </p:cNvPr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6354763" y="1214438"/>
              <a:ext cx="63500" cy="57150"/>
            </a:xfrm>
            <a:custGeom>
              <a:avLst/>
              <a:gdLst>
                <a:gd name="T0" fmla="*/ 43896 w 149"/>
                <a:gd name="T1" fmla="*/ 0 h 61"/>
                <a:gd name="T2" fmla="*/ 50289 w 149"/>
                <a:gd name="T3" fmla="*/ 937 h 61"/>
                <a:gd name="T4" fmla="*/ 57107 w 149"/>
                <a:gd name="T5" fmla="*/ 2811 h 61"/>
                <a:gd name="T6" fmla="*/ 61795 w 149"/>
                <a:gd name="T7" fmla="*/ 4684 h 61"/>
                <a:gd name="T8" fmla="*/ 63500 w 149"/>
                <a:gd name="T9" fmla="*/ 5621 h 61"/>
                <a:gd name="T10" fmla="*/ 63500 w 149"/>
                <a:gd name="T11" fmla="*/ 7495 h 61"/>
                <a:gd name="T12" fmla="*/ 62648 w 149"/>
                <a:gd name="T13" fmla="*/ 9369 h 61"/>
                <a:gd name="T14" fmla="*/ 61795 w 149"/>
                <a:gd name="T15" fmla="*/ 11243 h 61"/>
                <a:gd name="T16" fmla="*/ 60091 w 149"/>
                <a:gd name="T17" fmla="*/ 12180 h 61"/>
                <a:gd name="T18" fmla="*/ 58386 w 149"/>
                <a:gd name="T19" fmla="*/ 13116 h 61"/>
                <a:gd name="T20" fmla="*/ 56255 w 149"/>
                <a:gd name="T21" fmla="*/ 13116 h 61"/>
                <a:gd name="T22" fmla="*/ 54124 w 149"/>
                <a:gd name="T23" fmla="*/ 13116 h 61"/>
                <a:gd name="T24" fmla="*/ 52419 w 149"/>
                <a:gd name="T25" fmla="*/ 11243 h 61"/>
                <a:gd name="T26" fmla="*/ 52419 w 149"/>
                <a:gd name="T27" fmla="*/ 21548 h 61"/>
                <a:gd name="T28" fmla="*/ 52419 w 149"/>
                <a:gd name="T29" fmla="*/ 30917 h 61"/>
                <a:gd name="T30" fmla="*/ 52419 w 149"/>
                <a:gd name="T31" fmla="*/ 38412 h 61"/>
                <a:gd name="T32" fmla="*/ 52419 w 149"/>
                <a:gd name="T33" fmla="*/ 45907 h 61"/>
                <a:gd name="T34" fmla="*/ 49436 w 149"/>
                <a:gd name="T35" fmla="*/ 46844 h 61"/>
                <a:gd name="T36" fmla="*/ 46453 w 149"/>
                <a:gd name="T37" fmla="*/ 47781 h 61"/>
                <a:gd name="T38" fmla="*/ 44322 w 149"/>
                <a:gd name="T39" fmla="*/ 49655 h 61"/>
                <a:gd name="T40" fmla="*/ 42617 w 149"/>
                <a:gd name="T41" fmla="*/ 51529 h 61"/>
                <a:gd name="T42" fmla="*/ 40060 w 149"/>
                <a:gd name="T43" fmla="*/ 53402 h 61"/>
                <a:gd name="T44" fmla="*/ 37930 w 149"/>
                <a:gd name="T45" fmla="*/ 55276 h 61"/>
                <a:gd name="T46" fmla="*/ 35372 w 149"/>
                <a:gd name="T47" fmla="*/ 57150 h 61"/>
                <a:gd name="T48" fmla="*/ 32389 w 149"/>
                <a:gd name="T49" fmla="*/ 57150 h 61"/>
                <a:gd name="T50" fmla="*/ 28554 w 149"/>
                <a:gd name="T51" fmla="*/ 56213 h 61"/>
                <a:gd name="T52" fmla="*/ 22587 w 149"/>
                <a:gd name="T53" fmla="*/ 53402 h 61"/>
                <a:gd name="T54" fmla="*/ 16621 w 149"/>
                <a:gd name="T55" fmla="*/ 50592 h 61"/>
                <a:gd name="T56" fmla="*/ 10654 w 149"/>
                <a:gd name="T57" fmla="*/ 45907 h 61"/>
                <a:gd name="T58" fmla="*/ 5114 w 149"/>
                <a:gd name="T59" fmla="*/ 42160 h 61"/>
                <a:gd name="T60" fmla="*/ 1279 w 149"/>
                <a:gd name="T61" fmla="*/ 38412 h 61"/>
                <a:gd name="T62" fmla="*/ 426 w 149"/>
                <a:gd name="T63" fmla="*/ 36539 h 61"/>
                <a:gd name="T64" fmla="*/ 0 w 149"/>
                <a:gd name="T65" fmla="*/ 35602 h 61"/>
                <a:gd name="T66" fmla="*/ 0 w 149"/>
                <a:gd name="T67" fmla="*/ 34665 h 61"/>
                <a:gd name="T68" fmla="*/ 1279 w 149"/>
                <a:gd name="T69" fmla="*/ 34665 h 61"/>
                <a:gd name="T70" fmla="*/ 8097 w 149"/>
                <a:gd name="T71" fmla="*/ 33728 h 61"/>
                <a:gd name="T72" fmla="*/ 14916 w 149"/>
                <a:gd name="T73" fmla="*/ 32791 h 61"/>
                <a:gd name="T74" fmla="*/ 20456 w 149"/>
                <a:gd name="T75" fmla="*/ 29980 h 61"/>
                <a:gd name="T76" fmla="*/ 25570 w 149"/>
                <a:gd name="T77" fmla="*/ 25296 h 61"/>
                <a:gd name="T78" fmla="*/ 30685 w 149"/>
                <a:gd name="T79" fmla="*/ 20611 h 61"/>
                <a:gd name="T80" fmla="*/ 34946 w 149"/>
                <a:gd name="T81" fmla="*/ 14990 h 61"/>
                <a:gd name="T82" fmla="*/ 39634 w 149"/>
                <a:gd name="T83" fmla="*/ 7495 h 61"/>
                <a:gd name="T84" fmla="*/ 43896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79" name="Freeform 488">
              <a:extLst>
                <a:ext uri="{FF2B5EF4-FFF2-40B4-BE49-F238E27FC236}">
                  <a16:creationId xmlns:a16="http://schemas.microsoft.com/office/drawing/2014/main" id="{C608E2E2-9779-4902-B1D2-EFBBAB398F89}"/>
                </a:ext>
              </a:extLst>
            </p:cNvPr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6391276" y="1222375"/>
              <a:ext cx="130175" cy="57150"/>
            </a:xfrm>
            <a:custGeom>
              <a:avLst/>
              <a:gdLst>
                <a:gd name="T0" fmla="*/ 57904 w 299"/>
                <a:gd name="T1" fmla="*/ 55605 h 74"/>
                <a:gd name="T2" fmla="*/ 67047 w 299"/>
                <a:gd name="T3" fmla="*/ 50199 h 74"/>
                <a:gd name="T4" fmla="*/ 77495 w 299"/>
                <a:gd name="T5" fmla="*/ 41704 h 74"/>
                <a:gd name="T6" fmla="*/ 86638 w 299"/>
                <a:gd name="T7" fmla="*/ 32436 h 74"/>
                <a:gd name="T8" fmla="*/ 90121 w 299"/>
                <a:gd name="T9" fmla="*/ 30892 h 74"/>
                <a:gd name="T10" fmla="*/ 91863 w 299"/>
                <a:gd name="T11" fmla="*/ 35526 h 74"/>
                <a:gd name="T12" fmla="*/ 95781 w 299"/>
                <a:gd name="T13" fmla="*/ 39387 h 74"/>
                <a:gd name="T14" fmla="*/ 105794 w 299"/>
                <a:gd name="T15" fmla="*/ 42476 h 74"/>
                <a:gd name="T16" fmla="*/ 117114 w 299"/>
                <a:gd name="T17" fmla="*/ 42476 h 74"/>
                <a:gd name="T18" fmla="*/ 124515 w 299"/>
                <a:gd name="T19" fmla="*/ 42476 h 74"/>
                <a:gd name="T20" fmla="*/ 127563 w 299"/>
                <a:gd name="T21" fmla="*/ 35526 h 74"/>
                <a:gd name="T22" fmla="*/ 129740 w 299"/>
                <a:gd name="T23" fmla="*/ 23941 h 74"/>
                <a:gd name="T24" fmla="*/ 121468 w 299"/>
                <a:gd name="T25" fmla="*/ 19307 h 74"/>
                <a:gd name="T26" fmla="*/ 106230 w 299"/>
                <a:gd name="T27" fmla="*/ 19307 h 74"/>
                <a:gd name="T28" fmla="*/ 97958 w 299"/>
                <a:gd name="T29" fmla="*/ 19307 h 74"/>
                <a:gd name="T30" fmla="*/ 93169 w 299"/>
                <a:gd name="T31" fmla="*/ 20852 h 74"/>
                <a:gd name="T32" fmla="*/ 88815 w 299"/>
                <a:gd name="T33" fmla="*/ 25486 h 74"/>
                <a:gd name="T34" fmla="*/ 74883 w 299"/>
                <a:gd name="T35" fmla="*/ 28575 h 74"/>
                <a:gd name="T36" fmla="*/ 76625 w 299"/>
                <a:gd name="T37" fmla="*/ 21624 h 74"/>
                <a:gd name="T38" fmla="*/ 78366 w 299"/>
                <a:gd name="T39" fmla="*/ 16218 h 74"/>
                <a:gd name="T40" fmla="*/ 84461 w 299"/>
                <a:gd name="T41" fmla="*/ 10040 h 74"/>
                <a:gd name="T42" fmla="*/ 91427 w 299"/>
                <a:gd name="T43" fmla="*/ 6951 h 74"/>
                <a:gd name="T44" fmla="*/ 97958 w 299"/>
                <a:gd name="T45" fmla="*/ 0 h 74"/>
                <a:gd name="T46" fmla="*/ 80543 w 299"/>
                <a:gd name="T47" fmla="*/ 2317 h 74"/>
                <a:gd name="T48" fmla="*/ 68353 w 299"/>
                <a:gd name="T49" fmla="*/ 8495 h 74"/>
                <a:gd name="T50" fmla="*/ 58339 w 299"/>
                <a:gd name="T51" fmla="*/ 19307 h 74"/>
                <a:gd name="T52" fmla="*/ 49632 w 299"/>
                <a:gd name="T53" fmla="*/ 30892 h 74"/>
                <a:gd name="T54" fmla="*/ 43537 w 299"/>
                <a:gd name="T55" fmla="*/ 40932 h 74"/>
                <a:gd name="T56" fmla="*/ 37877 w 299"/>
                <a:gd name="T57" fmla="*/ 45566 h 74"/>
                <a:gd name="T58" fmla="*/ 27864 w 299"/>
                <a:gd name="T59" fmla="*/ 48655 h 74"/>
                <a:gd name="T60" fmla="*/ 13932 w 299"/>
                <a:gd name="T61" fmla="*/ 49427 h 74"/>
                <a:gd name="T62" fmla="*/ 5224 w 299"/>
                <a:gd name="T63" fmla="*/ 51744 h 74"/>
                <a:gd name="T64" fmla="*/ 871 w 299"/>
                <a:gd name="T65" fmla="*/ 54061 h 74"/>
                <a:gd name="T66" fmla="*/ 16979 w 299"/>
                <a:gd name="T67" fmla="*/ 57150 h 74"/>
                <a:gd name="T68" fmla="*/ 44408 w 299"/>
                <a:gd name="T69" fmla="*/ 57150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80" name="Freeform 489">
              <a:extLst>
                <a:ext uri="{FF2B5EF4-FFF2-40B4-BE49-F238E27FC236}">
                  <a16:creationId xmlns:a16="http://schemas.microsoft.com/office/drawing/2014/main" id="{36492D5D-255D-46CC-B212-7089876A9DAF}"/>
                </a:ext>
              </a:extLst>
            </p:cNvPr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6924676" y="1408113"/>
              <a:ext cx="41275" cy="57150"/>
            </a:xfrm>
            <a:custGeom>
              <a:avLst/>
              <a:gdLst>
                <a:gd name="T0" fmla="*/ 38386 w 100"/>
                <a:gd name="T1" fmla="*/ 0 h 42"/>
                <a:gd name="T2" fmla="*/ 40037 w 100"/>
                <a:gd name="T3" fmla="*/ 9525 h 42"/>
                <a:gd name="T4" fmla="*/ 41275 w 100"/>
                <a:gd name="T5" fmla="*/ 24493 h 42"/>
                <a:gd name="T6" fmla="*/ 37973 w 100"/>
                <a:gd name="T7" fmla="*/ 32657 h 42"/>
                <a:gd name="T8" fmla="*/ 35497 w 100"/>
                <a:gd name="T9" fmla="*/ 39461 h 42"/>
                <a:gd name="T10" fmla="*/ 32607 w 100"/>
                <a:gd name="T11" fmla="*/ 46264 h 42"/>
                <a:gd name="T12" fmla="*/ 29718 w 100"/>
                <a:gd name="T13" fmla="*/ 50346 h 42"/>
                <a:gd name="T14" fmla="*/ 26829 w 100"/>
                <a:gd name="T15" fmla="*/ 53068 h 42"/>
                <a:gd name="T16" fmla="*/ 23527 w 100"/>
                <a:gd name="T17" fmla="*/ 55789 h 42"/>
                <a:gd name="T18" fmla="*/ 20225 w 100"/>
                <a:gd name="T19" fmla="*/ 57150 h 42"/>
                <a:gd name="T20" fmla="*/ 16510 w 100"/>
                <a:gd name="T21" fmla="*/ 57150 h 42"/>
                <a:gd name="T22" fmla="*/ 11144 w 100"/>
                <a:gd name="T23" fmla="*/ 55789 h 42"/>
                <a:gd name="T24" fmla="*/ 4953 w 100"/>
                <a:gd name="T25" fmla="*/ 53068 h 42"/>
                <a:gd name="T26" fmla="*/ 413 w 100"/>
                <a:gd name="T27" fmla="*/ 50346 h 42"/>
                <a:gd name="T28" fmla="*/ 0 w 100"/>
                <a:gd name="T29" fmla="*/ 48986 h 42"/>
                <a:gd name="T30" fmla="*/ 2477 w 100"/>
                <a:gd name="T31" fmla="*/ 48986 h 42"/>
                <a:gd name="T32" fmla="*/ 4953 w 100"/>
                <a:gd name="T33" fmla="*/ 47625 h 42"/>
                <a:gd name="T34" fmla="*/ 7430 w 100"/>
                <a:gd name="T35" fmla="*/ 44904 h 42"/>
                <a:gd name="T36" fmla="*/ 9493 w 100"/>
                <a:gd name="T37" fmla="*/ 40821 h 42"/>
                <a:gd name="T38" fmla="*/ 13621 w 100"/>
                <a:gd name="T39" fmla="*/ 34018 h 42"/>
                <a:gd name="T40" fmla="*/ 18161 w 100"/>
                <a:gd name="T41" fmla="*/ 24493 h 42"/>
                <a:gd name="T42" fmla="*/ 22701 w 100"/>
                <a:gd name="T43" fmla="*/ 14968 h 42"/>
                <a:gd name="T44" fmla="*/ 27242 w 100"/>
                <a:gd name="T45" fmla="*/ 6804 h 42"/>
                <a:gd name="T46" fmla="*/ 29718 w 100"/>
                <a:gd name="T47" fmla="*/ 4082 h 42"/>
                <a:gd name="T48" fmla="*/ 32607 w 100"/>
                <a:gd name="T49" fmla="*/ 1361 h 42"/>
                <a:gd name="T50" fmla="*/ 35497 w 100"/>
                <a:gd name="T51" fmla="*/ 0 h 42"/>
                <a:gd name="T52" fmla="*/ 38386 w 100"/>
                <a:gd name="T53" fmla="*/ 0 h 4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81" name="Freeform 490">
              <a:extLst>
                <a:ext uri="{FF2B5EF4-FFF2-40B4-BE49-F238E27FC236}">
                  <a16:creationId xmlns:a16="http://schemas.microsoft.com/office/drawing/2014/main" id="{666728C2-C1E6-4F65-A5D5-D73F626D9F5D}"/>
                </a:ext>
              </a:extLst>
            </p:cNvPr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6834189" y="1266825"/>
              <a:ext cx="15875" cy="58738"/>
            </a:xfrm>
            <a:custGeom>
              <a:avLst/>
              <a:gdLst>
                <a:gd name="T0" fmla="*/ 15875 w 40"/>
                <a:gd name="T1" fmla="*/ 58738 h 5"/>
                <a:gd name="T2" fmla="*/ 0 w 40"/>
                <a:gd name="T3" fmla="*/ 58738 h 5"/>
                <a:gd name="T4" fmla="*/ 1984 w 40"/>
                <a:gd name="T5" fmla="*/ 35243 h 5"/>
                <a:gd name="T6" fmla="*/ 3572 w 40"/>
                <a:gd name="T7" fmla="*/ 11748 h 5"/>
                <a:gd name="T8" fmla="*/ 5953 w 40"/>
                <a:gd name="T9" fmla="*/ 0 h 5"/>
                <a:gd name="T10" fmla="*/ 7938 w 40"/>
                <a:gd name="T11" fmla="*/ 0 h 5"/>
                <a:gd name="T12" fmla="*/ 9922 w 40"/>
                <a:gd name="T13" fmla="*/ 0 h 5"/>
                <a:gd name="T14" fmla="*/ 11906 w 40"/>
                <a:gd name="T15" fmla="*/ 11748 h 5"/>
                <a:gd name="T16" fmla="*/ 13891 w 40"/>
                <a:gd name="T17" fmla="*/ 35243 h 5"/>
                <a:gd name="T18" fmla="*/ 15875 w 40"/>
                <a:gd name="T19" fmla="*/ 58738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82" name="Freeform 491">
              <a:extLst>
                <a:ext uri="{FF2B5EF4-FFF2-40B4-BE49-F238E27FC236}">
                  <a16:creationId xmlns:a16="http://schemas.microsoft.com/office/drawing/2014/main" id="{FE1ACDD5-4D58-4951-97DC-8E8547F0DF85}"/>
                </a:ext>
              </a:extLst>
            </p:cNvPr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6856414" y="1225551"/>
              <a:ext cx="14287" cy="60325"/>
            </a:xfrm>
            <a:custGeom>
              <a:avLst/>
              <a:gdLst>
                <a:gd name="T0" fmla="*/ 0 w 33"/>
                <a:gd name="T1" fmla="*/ 36973 h 31"/>
                <a:gd name="T2" fmla="*/ 8659 w 33"/>
                <a:gd name="T3" fmla="*/ 0 h 31"/>
                <a:gd name="T4" fmla="*/ 8659 w 33"/>
                <a:gd name="T5" fmla="*/ 7784 h 31"/>
                <a:gd name="T6" fmla="*/ 9525 w 33"/>
                <a:gd name="T7" fmla="*/ 19460 h 31"/>
                <a:gd name="T8" fmla="*/ 10823 w 33"/>
                <a:gd name="T9" fmla="*/ 27244 h 31"/>
                <a:gd name="T10" fmla="*/ 11689 w 33"/>
                <a:gd name="T11" fmla="*/ 35027 h 31"/>
                <a:gd name="T12" fmla="*/ 13421 w 33"/>
                <a:gd name="T13" fmla="*/ 50595 h 31"/>
                <a:gd name="T14" fmla="*/ 14287 w 33"/>
                <a:gd name="T15" fmla="*/ 60325 h 31"/>
                <a:gd name="T16" fmla="*/ 0 w 33"/>
                <a:gd name="T17" fmla="*/ 60325 h 31"/>
                <a:gd name="T18" fmla="*/ 0 w 33"/>
                <a:gd name="T19" fmla="*/ 48649 h 31"/>
                <a:gd name="T20" fmla="*/ 0 w 33"/>
                <a:gd name="T21" fmla="*/ 36973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83" name="Freeform 492">
              <a:extLst>
                <a:ext uri="{FF2B5EF4-FFF2-40B4-BE49-F238E27FC236}">
                  <a16:creationId xmlns:a16="http://schemas.microsoft.com/office/drawing/2014/main" id="{94AA15B6-D81B-4D64-81AA-024C3328948F}"/>
                </a:ext>
              </a:extLst>
            </p:cNvPr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7000876" y="1341438"/>
              <a:ext cx="17463" cy="57150"/>
            </a:xfrm>
            <a:custGeom>
              <a:avLst/>
              <a:gdLst>
                <a:gd name="T0" fmla="*/ 17463 w 41"/>
                <a:gd name="T1" fmla="*/ 0 h 43"/>
                <a:gd name="T2" fmla="*/ 17463 w 41"/>
                <a:gd name="T3" fmla="*/ 57150 h 43"/>
                <a:gd name="T4" fmla="*/ 13204 w 41"/>
                <a:gd name="T5" fmla="*/ 55821 h 43"/>
                <a:gd name="T6" fmla="*/ 10222 w 41"/>
                <a:gd name="T7" fmla="*/ 53163 h 43"/>
                <a:gd name="T8" fmla="*/ 7667 w 41"/>
                <a:gd name="T9" fmla="*/ 49176 h 43"/>
                <a:gd name="T10" fmla="*/ 5537 w 41"/>
                <a:gd name="T11" fmla="*/ 43859 h 43"/>
                <a:gd name="T12" fmla="*/ 2130 w 41"/>
                <a:gd name="T13" fmla="*/ 33227 h 43"/>
                <a:gd name="T14" fmla="*/ 0 w 41"/>
                <a:gd name="T15" fmla="*/ 25252 h 43"/>
                <a:gd name="T16" fmla="*/ 5111 w 41"/>
                <a:gd name="T17" fmla="*/ 17278 h 43"/>
                <a:gd name="T18" fmla="*/ 10648 w 41"/>
                <a:gd name="T19" fmla="*/ 9303 h 43"/>
                <a:gd name="T20" fmla="*/ 15333 w 41"/>
                <a:gd name="T21" fmla="*/ 2658 h 43"/>
                <a:gd name="T22" fmla="*/ 17463 w 41"/>
                <a:gd name="T23" fmla="*/ 0 h 4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84" name="Freeform 493">
              <a:extLst>
                <a:ext uri="{FF2B5EF4-FFF2-40B4-BE49-F238E27FC236}">
                  <a16:creationId xmlns:a16="http://schemas.microsoft.com/office/drawing/2014/main" id="{3641D8DF-25B3-48D9-B98F-6DFAB0CC2A1E}"/>
                </a:ext>
              </a:extLst>
            </p:cNvPr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7054851" y="1225551"/>
              <a:ext cx="93663" cy="60325"/>
            </a:xfrm>
            <a:custGeom>
              <a:avLst/>
              <a:gdLst>
                <a:gd name="T0" fmla="*/ 26824 w 213"/>
                <a:gd name="T1" fmla="*/ 0 h 62"/>
                <a:gd name="T2" fmla="*/ 36498 w 213"/>
                <a:gd name="T3" fmla="*/ 0 h 62"/>
                <a:gd name="T4" fmla="*/ 46172 w 213"/>
                <a:gd name="T5" fmla="*/ 973 h 62"/>
                <a:gd name="T6" fmla="*/ 55846 w 213"/>
                <a:gd name="T7" fmla="*/ 2919 h 62"/>
                <a:gd name="T8" fmla="*/ 64201 w 213"/>
                <a:gd name="T9" fmla="*/ 6811 h 62"/>
                <a:gd name="T10" fmla="*/ 72996 w 213"/>
                <a:gd name="T11" fmla="*/ 10703 h 62"/>
                <a:gd name="T12" fmla="*/ 80911 w 213"/>
                <a:gd name="T13" fmla="*/ 15568 h 62"/>
                <a:gd name="T14" fmla="*/ 83989 w 213"/>
                <a:gd name="T15" fmla="*/ 18487 h 62"/>
                <a:gd name="T16" fmla="*/ 87507 w 213"/>
                <a:gd name="T17" fmla="*/ 22379 h 62"/>
                <a:gd name="T18" fmla="*/ 91025 w 213"/>
                <a:gd name="T19" fmla="*/ 26271 h 62"/>
                <a:gd name="T20" fmla="*/ 93663 w 213"/>
                <a:gd name="T21" fmla="*/ 30163 h 62"/>
                <a:gd name="T22" fmla="*/ 92784 w 213"/>
                <a:gd name="T23" fmla="*/ 34054 h 62"/>
                <a:gd name="T24" fmla="*/ 91025 w 213"/>
                <a:gd name="T25" fmla="*/ 36973 h 62"/>
                <a:gd name="T26" fmla="*/ 88386 w 213"/>
                <a:gd name="T27" fmla="*/ 39892 h 62"/>
                <a:gd name="T28" fmla="*/ 85748 w 213"/>
                <a:gd name="T29" fmla="*/ 42811 h 62"/>
                <a:gd name="T30" fmla="*/ 77833 w 213"/>
                <a:gd name="T31" fmla="*/ 47676 h 62"/>
                <a:gd name="T32" fmla="*/ 68598 w 213"/>
                <a:gd name="T33" fmla="*/ 51568 h 62"/>
                <a:gd name="T34" fmla="*/ 59364 w 213"/>
                <a:gd name="T35" fmla="*/ 55460 h 62"/>
                <a:gd name="T36" fmla="*/ 50129 w 213"/>
                <a:gd name="T37" fmla="*/ 57406 h 62"/>
                <a:gd name="T38" fmla="*/ 41775 w 213"/>
                <a:gd name="T39" fmla="*/ 60325 h 62"/>
                <a:gd name="T40" fmla="*/ 35179 w 213"/>
                <a:gd name="T41" fmla="*/ 60325 h 62"/>
                <a:gd name="T42" fmla="*/ 27263 w 213"/>
                <a:gd name="T43" fmla="*/ 60325 h 62"/>
                <a:gd name="T44" fmla="*/ 18908 w 213"/>
                <a:gd name="T45" fmla="*/ 57406 h 62"/>
                <a:gd name="T46" fmla="*/ 14511 w 213"/>
                <a:gd name="T47" fmla="*/ 57406 h 62"/>
                <a:gd name="T48" fmla="*/ 10114 w 213"/>
                <a:gd name="T49" fmla="*/ 57406 h 62"/>
                <a:gd name="T50" fmla="*/ 5277 w 213"/>
                <a:gd name="T51" fmla="*/ 58379 h 62"/>
                <a:gd name="T52" fmla="*/ 0 w 213"/>
                <a:gd name="T53" fmla="*/ 60325 h 62"/>
                <a:gd name="T54" fmla="*/ 2638 w 213"/>
                <a:gd name="T55" fmla="*/ 48649 h 62"/>
                <a:gd name="T56" fmla="*/ 4837 w 213"/>
                <a:gd name="T57" fmla="*/ 37946 h 62"/>
                <a:gd name="T58" fmla="*/ 7475 w 213"/>
                <a:gd name="T59" fmla="*/ 28217 h 62"/>
                <a:gd name="T60" fmla="*/ 10114 w 213"/>
                <a:gd name="T61" fmla="*/ 19460 h 62"/>
                <a:gd name="T62" fmla="*/ 11873 w 213"/>
                <a:gd name="T63" fmla="*/ 15568 h 62"/>
                <a:gd name="T64" fmla="*/ 13192 w 213"/>
                <a:gd name="T65" fmla="*/ 11676 h 62"/>
                <a:gd name="T66" fmla="*/ 14951 w 213"/>
                <a:gd name="T67" fmla="*/ 8757 h 62"/>
                <a:gd name="T68" fmla="*/ 17150 w 213"/>
                <a:gd name="T69" fmla="*/ 5838 h 62"/>
                <a:gd name="T70" fmla="*/ 18908 w 213"/>
                <a:gd name="T71" fmla="*/ 2919 h 62"/>
                <a:gd name="T72" fmla="*/ 21547 w 213"/>
                <a:gd name="T73" fmla="*/ 973 h 62"/>
                <a:gd name="T74" fmla="*/ 23746 w 213"/>
                <a:gd name="T75" fmla="*/ 0 h 62"/>
                <a:gd name="T76" fmla="*/ 26824 w 213"/>
                <a:gd name="T77" fmla="*/ 0 h 6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85" name="Freeform 494">
              <a:extLst>
                <a:ext uri="{FF2B5EF4-FFF2-40B4-BE49-F238E27FC236}">
                  <a16:creationId xmlns:a16="http://schemas.microsoft.com/office/drawing/2014/main" id="{8AA622B1-A367-4F9E-AEA0-EAA38E4AC7E1}"/>
                </a:ext>
              </a:extLst>
            </p:cNvPr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7115175" y="1250951"/>
              <a:ext cx="103188" cy="60325"/>
            </a:xfrm>
            <a:custGeom>
              <a:avLst/>
              <a:gdLst>
                <a:gd name="T0" fmla="*/ 17702 w 239"/>
                <a:gd name="T1" fmla="*/ 0 h 56"/>
                <a:gd name="T2" fmla="*/ 12952 w 239"/>
                <a:gd name="T3" fmla="*/ 3232 h 56"/>
                <a:gd name="T4" fmla="*/ 9930 w 239"/>
                <a:gd name="T5" fmla="*/ 5386 h 56"/>
                <a:gd name="T6" fmla="*/ 8203 w 239"/>
                <a:gd name="T7" fmla="*/ 7541 h 56"/>
                <a:gd name="T8" fmla="*/ 6476 w 239"/>
                <a:gd name="T9" fmla="*/ 9695 h 56"/>
                <a:gd name="T10" fmla="*/ 5613 w 239"/>
                <a:gd name="T11" fmla="*/ 14004 h 56"/>
                <a:gd name="T12" fmla="*/ 4317 w 239"/>
                <a:gd name="T13" fmla="*/ 16158 h 56"/>
                <a:gd name="T14" fmla="*/ 3022 w 239"/>
                <a:gd name="T15" fmla="*/ 18313 h 56"/>
                <a:gd name="T16" fmla="*/ 0 w 239"/>
                <a:gd name="T17" fmla="*/ 20467 h 56"/>
                <a:gd name="T18" fmla="*/ 863 w 239"/>
                <a:gd name="T19" fmla="*/ 25854 h 56"/>
                <a:gd name="T20" fmla="*/ 2159 w 239"/>
                <a:gd name="T21" fmla="*/ 29085 h 56"/>
                <a:gd name="T22" fmla="*/ 3022 w 239"/>
                <a:gd name="T23" fmla="*/ 32317 h 56"/>
                <a:gd name="T24" fmla="*/ 4317 w 239"/>
                <a:gd name="T25" fmla="*/ 35549 h 56"/>
                <a:gd name="T26" fmla="*/ 7340 w 239"/>
                <a:gd name="T27" fmla="*/ 38780 h 56"/>
                <a:gd name="T28" fmla="*/ 10362 w 239"/>
                <a:gd name="T29" fmla="*/ 40935 h 56"/>
                <a:gd name="T30" fmla="*/ 17702 w 239"/>
                <a:gd name="T31" fmla="*/ 40935 h 56"/>
                <a:gd name="T32" fmla="*/ 23314 w 239"/>
                <a:gd name="T33" fmla="*/ 40935 h 56"/>
                <a:gd name="T34" fmla="*/ 66058 w 239"/>
                <a:gd name="T35" fmla="*/ 40935 h 56"/>
                <a:gd name="T36" fmla="*/ 66921 w 239"/>
                <a:gd name="T37" fmla="*/ 44167 h 56"/>
                <a:gd name="T38" fmla="*/ 67353 w 239"/>
                <a:gd name="T39" fmla="*/ 47398 h 56"/>
                <a:gd name="T40" fmla="*/ 68648 w 239"/>
                <a:gd name="T41" fmla="*/ 49553 h 56"/>
                <a:gd name="T42" fmla="*/ 69943 w 239"/>
                <a:gd name="T43" fmla="*/ 51707 h 56"/>
                <a:gd name="T44" fmla="*/ 72102 w 239"/>
                <a:gd name="T45" fmla="*/ 54939 h 56"/>
                <a:gd name="T46" fmla="*/ 75124 w 239"/>
                <a:gd name="T47" fmla="*/ 58171 h 56"/>
                <a:gd name="T48" fmla="*/ 81169 w 239"/>
                <a:gd name="T49" fmla="*/ 60325 h 56"/>
                <a:gd name="T50" fmla="*/ 86350 w 239"/>
                <a:gd name="T51" fmla="*/ 60325 h 56"/>
                <a:gd name="T52" fmla="*/ 88077 w 239"/>
                <a:gd name="T53" fmla="*/ 59248 h 56"/>
                <a:gd name="T54" fmla="*/ 90667 w 239"/>
                <a:gd name="T55" fmla="*/ 58171 h 56"/>
                <a:gd name="T56" fmla="*/ 92394 w 239"/>
                <a:gd name="T57" fmla="*/ 56016 h 56"/>
                <a:gd name="T58" fmla="*/ 94985 w 239"/>
                <a:gd name="T59" fmla="*/ 52784 h 56"/>
                <a:gd name="T60" fmla="*/ 99302 w 239"/>
                <a:gd name="T61" fmla="*/ 46321 h 56"/>
                <a:gd name="T62" fmla="*/ 103188 w 239"/>
                <a:gd name="T63" fmla="*/ 40935 h 56"/>
                <a:gd name="T64" fmla="*/ 100166 w 239"/>
                <a:gd name="T65" fmla="*/ 39858 h 56"/>
                <a:gd name="T66" fmla="*/ 97144 w 239"/>
                <a:gd name="T67" fmla="*/ 38780 h 56"/>
                <a:gd name="T68" fmla="*/ 94553 w 239"/>
                <a:gd name="T69" fmla="*/ 36626 h 56"/>
                <a:gd name="T70" fmla="*/ 91963 w 239"/>
                <a:gd name="T71" fmla="*/ 34471 h 56"/>
                <a:gd name="T72" fmla="*/ 86782 w 239"/>
                <a:gd name="T73" fmla="*/ 28008 h 56"/>
                <a:gd name="T74" fmla="*/ 82032 w 239"/>
                <a:gd name="T75" fmla="*/ 20467 h 56"/>
                <a:gd name="T76" fmla="*/ 76851 w 239"/>
                <a:gd name="T77" fmla="*/ 14004 h 56"/>
                <a:gd name="T78" fmla="*/ 72102 w 239"/>
                <a:gd name="T79" fmla="*/ 6463 h 56"/>
                <a:gd name="T80" fmla="*/ 69080 w 239"/>
                <a:gd name="T81" fmla="*/ 4309 h 56"/>
                <a:gd name="T82" fmla="*/ 66489 w 239"/>
                <a:gd name="T83" fmla="*/ 2154 h 56"/>
                <a:gd name="T84" fmla="*/ 63467 w 239"/>
                <a:gd name="T85" fmla="*/ 1077 h 56"/>
                <a:gd name="T86" fmla="*/ 60445 w 239"/>
                <a:gd name="T87" fmla="*/ 0 h 56"/>
                <a:gd name="T88" fmla="*/ 57854 w 239"/>
                <a:gd name="T89" fmla="*/ 1077 h 56"/>
                <a:gd name="T90" fmla="*/ 54832 w 239"/>
                <a:gd name="T91" fmla="*/ 4309 h 56"/>
                <a:gd name="T92" fmla="*/ 53537 w 239"/>
                <a:gd name="T93" fmla="*/ 6463 h 56"/>
                <a:gd name="T94" fmla="*/ 52673 w 239"/>
                <a:gd name="T95" fmla="*/ 8618 h 56"/>
                <a:gd name="T96" fmla="*/ 52242 w 239"/>
                <a:gd name="T97" fmla="*/ 10772 h 56"/>
                <a:gd name="T98" fmla="*/ 51810 w 239"/>
                <a:gd name="T99" fmla="*/ 14004 h 56"/>
                <a:gd name="T100" fmla="*/ 43175 w 239"/>
                <a:gd name="T101" fmla="*/ 8618 h 56"/>
                <a:gd name="T102" fmla="*/ 34540 w 239"/>
                <a:gd name="T103" fmla="*/ 4309 h 56"/>
                <a:gd name="T104" fmla="*/ 26337 w 239"/>
                <a:gd name="T105" fmla="*/ 1077 h 56"/>
                <a:gd name="T106" fmla="*/ 17702 w 239"/>
                <a:gd name="T107" fmla="*/ 0 h 5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86" name="Freeform 495">
              <a:extLst>
                <a:ext uri="{FF2B5EF4-FFF2-40B4-BE49-F238E27FC236}">
                  <a16:creationId xmlns:a16="http://schemas.microsoft.com/office/drawing/2014/main" id="{6C2FE466-0119-4DC0-9BB6-CF2E9B26611E}"/>
                </a:ext>
              </a:extLst>
            </p:cNvPr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7232650" y="1265238"/>
              <a:ext cx="82550" cy="57150"/>
            </a:xfrm>
            <a:custGeom>
              <a:avLst/>
              <a:gdLst>
                <a:gd name="T0" fmla="*/ 6180 w 187"/>
                <a:gd name="T1" fmla="*/ 13573 h 80"/>
                <a:gd name="T2" fmla="*/ 18099 w 187"/>
                <a:gd name="T3" fmla="*/ 0 h 80"/>
                <a:gd name="T4" fmla="*/ 19424 w 187"/>
                <a:gd name="T5" fmla="*/ 2143 h 80"/>
                <a:gd name="T6" fmla="*/ 22072 w 187"/>
                <a:gd name="T7" fmla="*/ 4286 h 80"/>
                <a:gd name="T8" fmla="*/ 25604 w 187"/>
                <a:gd name="T9" fmla="*/ 6429 h 80"/>
                <a:gd name="T10" fmla="*/ 29577 w 187"/>
                <a:gd name="T11" fmla="*/ 8573 h 80"/>
                <a:gd name="T12" fmla="*/ 39289 w 187"/>
                <a:gd name="T13" fmla="*/ 13573 h 80"/>
                <a:gd name="T14" fmla="*/ 50325 w 187"/>
                <a:gd name="T15" fmla="*/ 18574 h 80"/>
                <a:gd name="T16" fmla="*/ 61361 w 187"/>
                <a:gd name="T17" fmla="*/ 23574 h 80"/>
                <a:gd name="T18" fmla="*/ 71072 w 187"/>
                <a:gd name="T19" fmla="*/ 27146 h 80"/>
                <a:gd name="T20" fmla="*/ 78136 w 187"/>
                <a:gd name="T21" fmla="*/ 30004 h 80"/>
                <a:gd name="T22" fmla="*/ 82550 w 187"/>
                <a:gd name="T23" fmla="*/ 30718 h 80"/>
                <a:gd name="T24" fmla="*/ 82550 w 187"/>
                <a:gd name="T25" fmla="*/ 40005 h 80"/>
                <a:gd name="T26" fmla="*/ 82550 w 187"/>
                <a:gd name="T27" fmla="*/ 48578 h 80"/>
                <a:gd name="T28" fmla="*/ 75045 w 187"/>
                <a:gd name="T29" fmla="*/ 50006 h 80"/>
                <a:gd name="T30" fmla="*/ 66658 w 187"/>
                <a:gd name="T31" fmla="*/ 50721 h 80"/>
                <a:gd name="T32" fmla="*/ 58712 w 187"/>
                <a:gd name="T33" fmla="*/ 50721 h 80"/>
                <a:gd name="T34" fmla="*/ 51207 w 187"/>
                <a:gd name="T35" fmla="*/ 50006 h 80"/>
                <a:gd name="T36" fmla="*/ 37523 w 187"/>
                <a:gd name="T37" fmla="*/ 49292 h 80"/>
                <a:gd name="T38" fmla="*/ 26928 w 187"/>
                <a:gd name="T39" fmla="*/ 48578 h 80"/>
                <a:gd name="T40" fmla="*/ 24279 w 187"/>
                <a:gd name="T41" fmla="*/ 49292 h 80"/>
                <a:gd name="T42" fmla="*/ 22514 w 187"/>
                <a:gd name="T43" fmla="*/ 50006 h 80"/>
                <a:gd name="T44" fmla="*/ 19865 w 187"/>
                <a:gd name="T45" fmla="*/ 51435 h 80"/>
                <a:gd name="T46" fmla="*/ 18099 w 187"/>
                <a:gd name="T47" fmla="*/ 52864 h 80"/>
                <a:gd name="T48" fmla="*/ 14568 w 187"/>
                <a:gd name="T49" fmla="*/ 55721 h 80"/>
                <a:gd name="T50" fmla="*/ 12360 w 187"/>
                <a:gd name="T51" fmla="*/ 57150 h 80"/>
                <a:gd name="T52" fmla="*/ 9712 w 187"/>
                <a:gd name="T53" fmla="*/ 56436 h 80"/>
                <a:gd name="T54" fmla="*/ 7946 w 187"/>
                <a:gd name="T55" fmla="*/ 54293 h 80"/>
                <a:gd name="T56" fmla="*/ 6180 w 187"/>
                <a:gd name="T57" fmla="*/ 51435 h 80"/>
                <a:gd name="T58" fmla="*/ 3973 w 187"/>
                <a:gd name="T59" fmla="*/ 47863 h 80"/>
                <a:gd name="T60" fmla="*/ 2649 w 187"/>
                <a:gd name="T61" fmla="*/ 44291 h 80"/>
                <a:gd name="T62" fmla="*/ 1324 w 187"/>
                <a:gd name="T63" fmla="*/ 40719 h 80"/>
                <a:gd name="T64" fmla="*/ 883 w 187"/>
                <a:gd name="T65" fmla="*/ 37862 h 80"/>
                <a:gd name="T66" fmla="*/ 0 w 187"/>
                <a:gd name="T67" fmla="*/ 35719 h 80"/>
                <a:gd name="T68" fmla="*/ 883 w 187"/>
                <a:gd name="T69" fmla="*/ 31433 h 80"/>
                <a:gd name="T70" fmla="*/ 1324 w 187"/>
                <a:gd name="T71" fmla="*/ 28575 h 80"/>
                <a:gd name="T72" fmla="*/ 2207 w 187"/>
                <a:gd name="T73" fmla="*/ 25718 h 80"/>
                <a:gd name="T74" fmla="*/ 3090 w 187"/>
                <a:gd name="T75" fmla="*/ 22146 h 80"/>
                <a:gd name="T76" fmla="*/ 5739 w 187"/>
                <a:gd name="T77" fmla="*/ 17145 h 80"/>
                <a:gd name="T78" fmla="*/ 6180 w 187"/>
                <a:gd name="T79" fmla="*/ 13573 h 8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87" name="Freeform 496">
              <a:extLst>
                <a:ext uri="{FF2B5EF4-FFF2-40B4-BE49-F238E27FC236}">
                  <a16:creationId xmlns:a16="http://schemas.microsoft.com/office/drawing/2014/main" id="{EF759562-DD49-448E-A0B8-7454F5C41582}"/>
                </a:ext>
              </a:extLst>
            </p:cNvPr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7759701" y="1390650"/>
              <a:ext cx="79375" cy="58738"/>
            </a:xfrm>
            <a:custGeom>
              <a:avLst/>
              <a:gdLst>
                <a:gd name="T0" fmla="*/ 21687 w 183"/>
                <a:gd name="T1" fmla="*/ 0 h 73"/>
                <a:gd name="T2" fmla="*/ 27326 w 183"/>
                <a:gd name="T3" fmla="*/ 0 h 73"/>
                <a:gd name="T4" fmla="*/ 32531 w 183"/>
                <a:gd name="T5" fmla="*/ 805 h 73"/>
                <a:gd name="T6" fmla="*/ 37302 w 183"/>
                <a:gd name="T7" fmla="*/ 3219 h 73"/>
                <a:gd name="T8" fmla="*/ 42073 w 183"/>
                <a:gd name="T9" fmla="*/ 5632 h 73"/>
                <a:gd name="T10" fmla="*/ 45977 w 183"/>
                <a:gd name="T11" fmla="*/ 8046 h 73"/>
                <a:gd name="T12" fmla="*/ 50314 w 183"/>
                <a:gd name="T13" fmla="*/ 12069 h 73"/>
                <a:gd name="T14" fmla="*/ 53784 w 183"/>
                <a:gd name="T15" fmla="*/ 15288 h 73"/>
                <a:gd name="T16" fmla="*/ 56820 w 183"/>
                <a:gd name="T17" fmla="*/ 20116 h 73"/>
                <a:gd name="T18" fmla="*/ 68965 w 183"/>
                <a:gd name="T19" fmla="*/ 39427 h 73"/>
                <a:gd name="T20" fmla="*/ 79375 w 183"/>
                <a:gd name="T21" fmla="*/ 58738 h 73"/>
                <a:gd name="T22" fmla="*/ 59423 w 183"/>
                <a:gd name="T23" fmla="*/ 58738 h 73"/>
                <a:gd name="T24" fmla="*/ 55519 w 183"/>
                <a:gd name="T25" fmla="*/ 57933 h 73"/>
                <a:gd name="T26" fmla="*/ 50748 w 183"/>
                <a:gd name="T27" fmla="*/ 56324 h 73"/>
                <a:gd name="T28" fmla="*/ 45109 w 183"/>
                <a:gd name="T29" fmla="*/ 53106 h 73"/>
                <a:gd name="T30" fmla="*/ 39037 w 183"/>
                <a:gd name="T31" fmla="*/ 49887 h 73"/>
                <a:gd name="T32" fmla="*/ 31663 w 183"/>
                <a:gd name="T33" fmla="*/ 45059 h 73"/>
                <a:gd name="T34" fmla="*/ 25157 w 183"/>
                <a:gd name="T35" fmla="*/ 40232 h 73"/>
                <a:gd name="T36" fmla="*/ 18217 w 183"/>
                <a:gd name="T37" fmla="*/ 35404 h 73"/>
                <a:gd name="T38" fmla="*/ 12145 w 183"/>
                <a:gd name="T39" fmla="*/ 29771 h 73"/>
                <a:gd name="T40" fmla="*/ 6940 w 183"/>
                <a:gd name="T41" fmla="*/ 24139 h 73"/>
                <a:gd name="T42" fmla="*/ 3036 w 183"/>
                <a:gd name="T43" fmla="*/ 18506 h 73"/>
                <a:gd name="T44" fmla="*/ 1735 w 183"/>
                <a:gd name="T45" fmla="*/ 15288 h 73"/>
                <a:gd name="T46" fmla="*/ 867 w 183"/>
                <a:gd name="T47" fmla="*/ 12874 h 73"/>
                <a:gd name="T48" fmla="*/ 434 w 183"/>
                <a:gd name="T49" fmla="*/ 11265 h 73"/>
                <a:gd name="T50" fmla="*/ 0 w 183"/>
                <a:gd name="T51" fmla="*/ 8851 h 73"/>
                <a:gd name="T52" fmla="*/ 434 w 183"/>
                <a:gd name="T53" fmla="*/ 6437 h 73"/>
                <a:gd name="T54" fmla="*/ 1301 w 183"/>
                <a:gd name="T55" fmla="*/ 4828 h 73"/>
                <a:gd name="T56" fmla="*/ 3036 w 183"/>
                <a:gd name="T57" fmla="*/ 3219 h 73"/>
                <a:gd name="T58" fmla="*/ 5639 w 183"/>
                <a:gd name="T59" fmla="*/ 2414 h 73"/>
                <a:gd name="T60" fmla="*/ 8241 w 183"/>
                <a:gd name="T61" fmla="*/ 805 h 73"/>
                <a:gd name="T62" fmla="*/ 12145 w 183"/>
                <a:gd name="T63" fmla="*/ 0 h 73"/>
                <a:gd name="T64" fmla="*/ 16482 w 183"/>
                <a:gd name="T65" fmla="*/ 0 h 73"/>
                <a:gd name="T66" fmla="*/ 21687 w 183"/>
                <a:gd name="T67" fmla="*/ 0 h 7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88" name="Freeform 497">
              <a:extLst>
                <a:ext uri="{FF2B5EF4-FFF2-40B4-BE49-F238E27FC236}">
                  <a16:creationId xmlns:a16="http://schemas.microsoft.com/office/drawing/2014/main" id="{DC7347CC-798E-472C-9E6D-A5B31788CC7B}"/>
                </a:ext>
              </a:extLst>
            </p:cNvPr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7826375" y="1408113"/>
              <a:ext cx="33338" cy="57150"/>
            </a:xfrm>
            <a:custGeom>
              <a:avLst/>
              <a:gdLst>
                <a:gd name="T0" fmla="*/ 0 w 79"/>
                <a:gd name="T1" fmla="*/ 8164 h 42"/>
                <a:gd name="T2" fmla="*/ 9706 w 79"/>
                <a:gd name="T3" fmla="*/ 2721 h 42"/>
                <a:gd name="T4" fmla="*/ 17302 w 79"/>
                <a:gd name="T5" fmla="*/ 1361 h 42"/>
                <a:gd name="T6" fmla="*/ 25320 w 79"/>
                <a:gd name="T7" fmla="*/ 0 h 42"/>
                <a:gd name="T8" fmla="*/ 33338 w 79"/>
                <a:gd name="T9" fmla="*/ 0 h 42"/>
                <a:gd name="T10" fmla="*/ 33338 w 79"/>
                <a:gd name="T11" fmla="*/ 12246 h 42"/>
                <a:gd name="T12" fmla="*/ 33338 w 79"/>
                <a:gd name="T13" fmla="*/ 24493 h 42"/>
                <a:gd name="T14" fmla="*/ 33338 w 79"/>
                <a:gd name="T15" fmla="*/ 29936 h 42"/>
                <a:gd name="T16" fmla="*/ 31650 w 79"/>
                <a:gd name="T17" fmla="*/ 36739 h 42"/>
                <a:gd name="T18" fmla="*/ 30384 w 79"/>
                <a:gd name="T19" fmla="*/ 42182 h 42"/>
                <a:gd name="T20" fmla="*/ 28696 w 79"/>
                <a:gd name="T21" fmla="*/ 47625 h 42"/>
                <a:gd name="T22" fmla="*/ 26164 w 79"/>
                <a:gd name="T23" fmla="*/ 51707 h 42"/>
                <a:gd name="T24" fmla="*/ 24054 w 79"/>
                <a:gd name="T25" fmla="*/ 54429 h 42"/>
                <a:gd name="T26" fmla="*/ 21522 w 79"/>
                <a:gd name="T27" fmla="*/ 57150 h 42"/>
                <a:gd name="T28" fmla="*/ 19412 w 79"/>
                <a:gd name="T29" fmla="*/ 57150 h 42"/>
                <a:gd name="T30" fmla="*/ 16880 w 79"/>
                <a:gd name="T31" fmla="*/ 57150 h 42"/>
                <a:gd name="T32" fmla="*/ 14770 w 79"/>
                <a:gd name="T33" fmla="*/ 55789 h 42"/>
                <a:gd name="T34" fmla="*/ 12238 w 79"/>
                <a:gd name="T35" fmla="*/ 53068 h 42"/>
                <a:gd name="T36" fmla="*/ 10550 w 79"/>
                <a:gd name="T37" fmla="*/ 50346 h 42"/>
                <a:gd name="T38" fmla="*/ 6752 w 79"/>
                <a:gd name="T39" fmla="*/ 43543 h 42"/>
                <a:gd name="T40" fmla="*/ 4642 w 79"/>
                <a:gd name="T41" fmla="*/ 35379 h 42"/>
                <a:gd name="T42" fmla="*/ 2110 w 79"/>
                <a:gd name="T43" fmla="*/ 27214 h 42"/>
                <a:gd name="T44" fmla="*/ 844 w 79"/>
                <a:gd name="T45" fmla="*/ 19050 h 42"/>
                <a:gd name="T46" fmla="*/ 0 w 79"/>
                <a:gd name="T47" fmla="*/ 12246 h 42"/>
                <a:gd name="T48" fmla="*/ 0 w 79"/>
                <a:gd name="T49" fmla="*/ 8164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89" name="Freeform 498">
              <a:extLst>
                <a:ext uri="{FF2B5EF4-FFF2-40B4-BE49-F238E27FC236}">
                  <a16:creationId xmlns:a16="http://schemas.microsoft.com/office/drawing/2014/main" id="{40EBD1E1-4A23-4099-B9AF-6D6F5B38E1B3}"/>
                </a:ext>
              </a:extLst>
            </p:cNvPr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7856539" y="1419225"/>
              <a:ext cx="52387" cy="58738"/>
            </a:xfrm>
            <a:custGeom>
              <a:avLst/>
              <a:gdLst>
                <a:gd name="T0" fmla="*/ 52387 w 113"/>
                <a:gd name="T1" fmla="*/ 44054 h 52"/>
                <a:gd name="T2" fmla="*/ 51923 w 113"/>
                <a:gd name="T3" fmla="*/ 47442 h 52"/>
                <a:gd name="T4" fmla="*/ 50533 w 113"/>
                <a:gd name="T5" fmla="*/ 50831 h 52"/>
                <a:gd name="T6" fmla="*/ 49142 w 113"/>
                <a:gd name="T7" fmla="*/ 53090 h 52"/>
                <a:gd name="T8" fmla="*/ 47751 w 113"/>
                <a:gd name="T9" fmla="*/ 55349 h 52"/>
                <a:gd name="T10" fmla="*/ 43579 w 113"/>
                <a:gd name="T11" fmla="*/ 57608 h 52"/>
                <a:gd name="T12" fmla="*/ 39406 w 113"/>
                <a:gd name="T13" fmla="*/ 58738 h 52"/>
                <a:gd name="T14" fmla="*/ 30598 w 113"/>
                <a:gd name="T15" fmla="*/ 58738 h 52"/>
                <a:gd name="T16" fmla="*/ 24571 w 113"/>
                <a:gd name="T17" fmla="*/ 57608 h 52"/>
                <a:gd name="T18" fmla="*/ 21789 w 113"/>
                <a:gd name="T19" fmla="*/ 57608 h 52"/>
                <a:gd name="T20" fmla="*/ 18080 w 113"/>
                <a:gd name="T21" fmla="*/ 54220 h 52"/>
                <a:gd name="T22" fmla="*/ 13908 w 113"/>
                <a:gd name="T23" fmla="*/ 50831 h 52"/>
                <a:gd name="T24" fmla="*/ 9736 w 113"/>
                <a:gd name="T25" fmla="*/ 46313 h 52"/>
                <a:gd name="T26" fmla="*/ 6027 w 113"/>
                <a:gd name="T27" fmla="*/ 40665 h 52"/>
                <a:gd name="T28" fmla="*/ 2782 w 113"/>
                <a:gd name="T29" fmla="*/ 35017 h 52"/>
                <a:gd name="T30" fmla="*/ 1854 w 113"/>
                <a:gd name="T31" fmla="*/ 31628 h 52"/>
                <a:gd name="T32" fmla="*/ 927 w 113"/>
                <a:gd name="T33" fmla="*/ 28239 h 52"/>
                <a:gd name="T34" fmla="*/ 464 w 113"/>
                <a:gd name="T35" fmla="*/ 24851 h 52"/>
                <a:gd name="T36" fmla="*/ 0 w 113"/>
                <a:gd name="T37" fmla="*/ 22592 h 52"/>
                <a:gd name="T38" fmla="*/ 464 w 113"/>
                <a:gd name="T39" fmla="*/ 16944 h 52"/>
                <a:gd name="T40" fmla="*/ 464 w 113"/>
                <a:gd name="T41" fmla="*/ 12425 h 52"/>
                <a:gd name="T42" fmla="*/ 1391 w 113"/>
                <a:gd name="T43" fmla="*/ 9037 h 52"/>
                <a:gd name="T44" fmla="*/ 2318 w 113"/>
                <a:gd name="T45" fmla="*/ 5648 h 52"/>
                <a:gd name="T46" fmla="*/ 3245 w 113"/>
                <a:gd name="T47" fmla="*/ 3389 h 52"/>
                <a:gd name="T48" fmla="*/ 4636 w 113"/>
                <a:gd name="T49" fmla="*/ 2259 h 52"/>
                <a:gd name="T50" fmla="*/ 6490 w 113"/>
                <a:gd name="T51" fmla="*/ 1130 h 52"/>
                <a:gd name="T52" fmla="*/ 7881 w 113"/>
                <a:gd name="T53" fmla="*/ 0 h 52"/>
                <a:gd name="T54" fmla="*/ 12054 w 113"/>
                <a:gd name="T55" fmla="*/ 0 h 52"/>
                <a:gd name="T56" fmla="*/ 16690 w 113"/>
                <a:gd name="T57" fmla="*/ 2259 h 52"/>
                <a:gd name="T58" fmla="*/ 21326 w 113"/>
                <a:gd name="T59" fmla="*/ 5648 h 52"/>
                <a:gd name="T60" fmla="*/ 26425 w 113"/>
                <a:gd name="T61" fmla="*/ 10166 h 52"/>
                <a:gd name="T62" fmla="*/ 35697 w 113"/>
                <a:gd name="T63" fmla="*/ 20332 h 52"/>
                <a:gd name="T64" fmla="*/ 44042 w 113"/>
                <a:gd name="T65" fmla="*/ 32758 h 52"/>
                <a:gd name="T66" fmla="*/ 50069 w 113"/>
                <a:gd name="T67" fmla="*/ 40665 h 52"/>
                <a:gd name="T68" fmla="*/ 52387 w 113"/>
                <a:gd name="T69" fmla="*/ 44054 h 5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90" name="Freeform 499">
              <a:extLst>
                <a:ext uri="{FF2B5EF4-FFF2-40B4-BE49-F238E27FC236}">
                  <a16:creationId xmlns:a16="http://schemas.microsoft.com/office/drawing/2014/main" id="{2944A650-D4C6-455C-AC0A-65449BFC3917}"/>
                </a:ext>
              </a:extLst>
            </p:cNvPr>
            <p:cNvSpPr>
              <a:spLocks/>
            </p:cNvSpPr>
            <p:nvPr>
              <p:custDataLst>
                <p:tags r:id="rId337"/>
              </p:custDataLst>
            </p:nvPr>
          </p:nvSpPr>
          <p:spPr bwMode="auto">
            <a:xfrm>
              <a:off x="7627938" y="1392239"/>
              <a:ext cx="61912" cy="58737"/>
            </a:xfrm>
            <a:custGeom>
              <a:avLst/>
              <a:gdLst>
                <a:gd name="T0" fmla="*/ 0 w 139"/>
                <a:gd name="T1" fmla="*/ 11747 h 40"/>
                <a:gd name="T2" fmla="*/ 3563 w 139"/>
                <a:gd name="T3" fmla="*/ 13216 h 40"/>
                <a:gd name="T4" fmla="*/ 8463 w 139"/>
                <a:gd name="T5" fmla="*/ 11747 h 40"/>
                <a:gd name="T6" fmla="*/ 13362 w 139"/>
                <a:gd name="T7" fmla="*/ 10279 h 40"/>
                <a:gd name="T8" fmla="*/ 18707 w 139"/>
                <a:gd name="T9" fmla="*/ 7342 h 40"/>
                <a:gd name="T10" fmla="*/ 23607 w 139"/>
                <a:gd name="T11" fmla="*/ 2937 h 40"/>
                <a:gd name="T12" fmla="*/ 28506 w 139"/>
                <a:gd name="T13" fmla="*/ 1468 h 40"/>
                <a:gd name="T14" fmla="*/ 32515 w 139"/>
                <a:gd name="T15" fmla="*/ 0 h 40"/>
                <a:gd name="T16" fmla="*/ 35633 w 139"/>
                <a:gd name="T17" fmla="*/ 2937 h 40"/>
                <a:gd name="T18" fmla="*/ 61912 w 139"/>
                <a:gd name="T19" fmla="*/ 57269 h 40"/>
                <a:gd name="T20" fmla="*/ 59240 w 139"/>
                <a:gd name="T21" fmla="*/ 58737 h 40"/>
                <a:gd name="T22" fmla="*/ 55676 w 139"/>
                <a:gd name="T23" fmla="*/ 57269 h 40"/>
                <a:gd name="T24" fmla="*/ 51668 w 139"/>
                <a:gd name="T25" fmla="*/ 55800 h 40"/>
                <a:gd name="T26" fmla="*/ 47213 w 139"/>
                <a:gd name="T27" fmla="*/ 52863 h 40"/>
                <a:gd name="T28" fmla="*/ 38305 w 139"/>
                <a:gd name="T29" fmla="*/ 44053 h 40"/>
                <a:gd name="T30" fmla="*/ 28506 w 139"/>
                <a:gd name="T31" fmla="*/ 35242 h 40"/>
                <a:gd name="T32" fmla="*/ 19598 w 139"/>
                <a:gd name="T33" fmla="*/ 23495 h 40"/>
                <a:gd name="T34" fmla="*/ 11581 w 139"/>
                <a:gd name="T35" fmla="*/ 16153 h 40"/>
                <a:gd name="T36" fmla="*/ 7572 w 139"/>
                <a:gd name="T37" fmla="*/ 13216 h 40"/>
                <a:gd name="T38" fmla="*/ 4900 w 139"/>
                <a:gd name="T39" fmla="*/ 10279 h 40"/>
                <a:gd name="T40" fmla="*/ 1782 w 139"/>
                <a:gd name="T41" fmla="*/ 10279 h 40"/>
                <a:gd name="T42" fmla="*/ 0 w 139"/>
                <a:gd name="T43" fmla="*/ 11747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91" name="Freeform 500">
              <a:extLst>
                <a:ext uri="{FF2B5EF4-FFF2-40B4-BE49-F238E27FC236}">
                  <a16:creationId xmlns:a16="http://schemas.microsoft.com/office/drawing/2014/main" id="{E9902361-771B-4695-A3D9-7F3BD402A1EE}"/>
                </a:ext>
              </a:extLst>
            </p:cNvPr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7927975" y="1333500"/>
              <a:ext cx="139700" cy="57150"/>
            </a:xfrm>
            <a:custGeom>
              <a:avLst/>
              <a:gdLst>
                <a:gd name="T0" fmla="*/ 4298 w 325"/>
                <a:gd name="T1" fmla="*/ 5635 h 71"/>
                <a:gd name="T2" fmla="*/ 13325 w 325"/>
                <a:gd name="T3" fmla="*/ 805 h 71"/>
                <a:gd name="T4" fmla="*/ 22782 w 325"/>
                <a:gd name="T5" fmla="*/ 0 h 71"/>
                <a:gd name="T6" fmla="*/ 31379 w 325"/>
                <a:gd name="T7" fmla="*/ 3220 h 71"/>
                <a:gd name="T8" fmla="*/ 39546 w 325"/>
                <a:gd name="T9" fmla="*/ 8049 h 71"/>
                <a:gd name="T10" fmla="*/ 47283 w 325"/>
                <a:gd name="T11" fmla="*/ 14489 h 71"/>
                <a:gd name="T12" fmla="*/ 52441 w 325"/>
                <a:gd name="T13" fmla="*/ 23343 h 71"/>
                <a:gd name="T14" fmla="*/ 55880 w 325"/>
                <a:gd name="T15" fmla="*/ 30587 h 71"/>
                <a:gd name="T16" fmla="*/ 58459 w 325"/>
                <a:gd name="T17" fmla="*/ 27368 h 71"/>
                <a:gd name="T18" fmla="*/ 59749 w 325"/>
                <a:gd name="T19" fmla="*/ 12074 h 71"/>
                <a:gd name="T20" fmla="*/ 69205 w 325"/>
                <a:gd name="T21" fmla="*/ 5635 h 71"/>
                <a:gd name="T22" fmla="*/ 92847 w 325"/>
                <a:gd name="T23" fmla="*/ 10464 h 71"/>
                <a:gd name="T24" fmla="*/ 110900 w 325"/>
                <a:gd name="T25" fmla="*/ 18513 h 71"/>
                <a:gd name="T26" fmla="*/ 121646 w 325"/>
                <a:gd name="T27" fmla="*/ 25758 h 71"/>
                <a:gd name="T28" fmla="*/ 131103 w 325"/>
                <a:gd name="T29" fmla="*/ 34612 h 71"/>
                <a:gd name="T30" fmla="*/ 137551 w 325"/>
                <a:gd name="T31" fmla="*/ 44271 h 71"/>
                <a:gd name="T32" fmla="*/ 135831 w 325"/>
                <a:gd name="T33" fmla="*/ 51515 h 71"/>
                <a:gd name="T34" fmla="*/ 126375 w 325"/>
                <a:gd name="T35" fmla="*/ 54735 h 71"/>
                <a:gd name="T36" fmla="*/ 111330 w 325"/>
                <a:gd name="T37" fmla="*/ 57150 h 71"/>
                <a:gd name="T38" fmla="*/ 90268 w 325"/>
                <a:gd name="T39" fmla="*/ 56345 h 71"/>
                <a:gd name="T40" fmla="*/ 71784 w 325"/>
                <a:gd name="T41" fmla="*/ 54735 h 71"/>
                <a:gd name="T42" fmla="*/ 57170 w 325"/>
                <a:gd name="T43" fmla="*/ 55540 h 71"/>
                <a:gd name="T44" fmla="*/ 38686 w 325"/>
                <a:gd name="T45" fmla="*/ 57150 h 71"/>
                <a:gd name="T46" fmla="*/ 30949 w 325"/>
                <a:gd name="T47" fmla="*/ 54735 h 71"/>
                <a:gd name="T48" fmla="*/ 28800 w 325"/>
                <a:gd name="T49" fmla="*/ 51515 h 71"/>
                <a:gd name="T50" fmla="*/ 24931 w 325"/>
                <a:gd name="T51" fmla="*/ 49101 h 71"/>
                <a:gd name="T52" fmla="*/ 19773 w 325"/>
                <a:gd name="T53" fmla="*/ 47491 h 71"/>
                <a:gd name="T54" fmla="*/ 15045 w 325"/>
                <a:gd name="T55" fmla="*/ 42661 h 71"/>
                <a:gd name="T56" fmla="*/ 10746 w 325"/>
                <a:gd name="T57" fmla="*/ 36222 h 71"/>
                <a:gd name="T58" fmla="*/ 6878 w 325"/>
                <a:gd name="T59" fmla="*/ 31392 h 71"/>
                <a:gd name="T60" fmla="*/ 2579 w 325"/>
                <a:gd name="T61" fmla="*/ 29782 h 71"/>
                <a:gd name="T62" fmla="*/ 0 w 325"/>
                <a:gd name="T63" fmla="*/ 17708 h 7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92" name="Freeform 501">
              <a:extLst>
                <a:ext uri="{FF2B5EF4-FFF2-40B4-BE49-F238E27FC236}">
                  <a16:creationId xmlns:a16="http://schemas.microsoft.com/office/drawing/2014/main" id="{7D1EDD86-57E1-4032-B7D2-2D3502F85AAA}"/>
                </a:ext>
              </a:extLst>
            </p:cNvPr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8088313" y="1341438"/>
              <a:ext cx="95250" cy="57150"/>
            </a:xfrm>
            <a:custGeom>
              <a:avLst/>
              <a:gdLst>
                <a:gd name="T0" fmla="*/ 37667 w 220"/>
                <a:gd name="T1" fmla="*/ 19844 h 72"/>
                <a:gd name="T2" fmla="*/ 39832 w 220"/>
                <a:gd name="T3" fmla="*/ 20638 h 72"/>
                <a:gd name="T4" fmla="*/ 42430 w 220"/>
                <a:gd name="T5" fmla="*/ 21431 h 72"/>
                <a:gd name="T6" fmla="*/ 43728 w 220"/>
                <a:gd name="T7" fmla="*/ 22225 h 72"/>
                <a:gd name="T8" fmla="*/ 45027 w 220"/>
                <a:gd name="T9" fmla="*/ 21431 h 72"/>
                <a:gd name="T10" fmla="*/ 47192 w 220"/>
                <a:gd name="T11" fmla="*/ 21431 h 72"/>
                <a:gd name="T12" fmla="*/ 48924 w 220"/>
                <a:gd name="T13" fmla="*/ 19844 h 72"/>
                <a:gd name="T14" fmla="*/ 49357 w 220"/>
                <a:gd name="T15" fmla="*/ 20638 h 72"/>
                <a:gd name="T16" fmla="*/ 49790 w 220"/>
                <a:gd name="T17" fmla="*/ 20638 h 72"/>
                <a:gd name="T18" fmla="*/ 50223 w 220"/>
                <a:gd name="T19" fmla="*/ 19844 h 72"/>
                <a:gd name="T20" fmla="*/ 50656 w 220"/>
                <a:gd name="T21" fmla="*/ 19844 h 72"/>
                <a:gd name="T22" fmla="*/ 51522 w 220"/>
                <a:gd name="T23" fmla="*/ 17463 h 72"/>
                <a:gd name="T24" fmla="*/ 51955 w 220"/>
                <a:gd name="T25" fmla="*/ 13494 h 72"/>
                <a:gd name="T26" fmla="*/ 51955 w 220"/>
                <a:gd name="T27" fmla="*/ 5556 h 72"/>
                <a:gd name="T28" fmla="*/ 51955 w 220"/>
                <a:gd name="T29" fmla="*/ 0 h 72"/>
                <a:gd name="T30" fmla="*/ 54119 w 220"/>
                <a:gd name="T31" fmla="*/ 3969 h 72"/>
                <a:gd name="T32" fmla="*/ 56717 w 220"/>
                <a:gd name="T33" fmla="*/ 7938 h 72"/>
                <a:gd name="T34" fmla="*/ 59315 w 220"/>
                <a:gd name="T35" fmla="*/ 11906 h 72"/>
                <a:gd name="T36" fmla="*/ 61913 w 220"/>
                <a:gd name="T37" fmla="*/ 15081 h 72"/>
                <a:gd name="T38" fmla="*/ 67541 w 220"/>
                <a:gd name="T39" fmla="*/ 19844 h 72"/>
                <a:gd name="T40" fmla="*/ 73602 w 220"/>
                <a:gd name="T41" fmla="*/ 23813 h 72"/>
                <a:gd name="T42" fmla="*/ 79231 w 220"/>
                <a:gd name="T43" fmla="*/ 27781 h 72"/>
                <a:gd name="T44" fmla="*/ 84859 w 220"/>
                <a:gd name="T45" fmla="*/ 32544 h 72"/>
                <a:gd name="T46" fmla="*/ 87890 w 220"/>
                <a:gd name="T47" fmla="*/ 34925 h 72"/>
                <a:gd name="T48" fmla="*/ 90488 w 220"/>
                <a:gd name="T49" fmla="*/ 37306 h 72"/>
                <a:gd name="T50" fmla="*/ 92652 w 220"/>
                <a:gd name="T51" fmla="*/ 40481 h 72"/>
                <a:gd name="T52" fmla="*/ 95250 w 220"/>
                <a:gd name="T53" fmla="*/ 43656 h 72"/>
                <a:gd name="T54" fmla="*/ 89189 w 220"/>
                <a:gd name="T55" fmla="*/ 44450 h 72"/>
                <a:gd name="T56" fmla="*/ 83993 w 220"/>
                <a:gd name="T57" fmla="*/ 45244 h 72"/>
                <a:gd name="T58" fmla="*/ 78798 w 220"/>
                <a:gd name="T59" fmla="*/ 46038 h 72"/>
                <a:gd name="T60" fmla="*/ 74035 w 220"/>
                <a:gd name="T61" fmla="*/ 47625 h 72"/>
                <a:gd name="T62" fmla="*/ 65376 w 220"/>
                <a:gd name="T63" fmla="*/ 51594 h 72"/>
                <a:gd name="T64" fmla="*/ 58016 w 220"/>
                <a:gd name="T65" fmla="*/ 55563 h 72"/>
                <a:gd name="T66" fmla="*/ 54552 w 220"/>
                <a:gd name="T67" fmla="*/ 56356 h 72"/>
                <a:gd name="T68" fmla="*/ 50656 w 220"/>
                <a:gd name="T69" fmla="*/ 57150 h 72"/>
                <a:gd name="T70" fmla="*/ 47625 w 220"/>
                <a:gd name="T71" fmla="*/ 57150 h 72"/>
                <a:gd name="T72" fmla="*/ 44594 w 220"/>
                <a:gd name="T73" fmla="*/ 57150 h 72"/>
                <a:gd name="T74" fmla="*/ 41131 w 220"/>
                <a:gd name="T75" fmla="*/ 55563 h 72"/>
                <a:gd name="T76" fmla="*/ 38100 w 220"/>
                <a:gd name="T77" fmla="*/ 52388 h 72"/>
                <a:gd name="T78" fmla="*/ 35069 w 220"/>
                <a:gd name="T79" fmla="*/ 48419 h 72"/>
                <a:gd name="T80" fmla="*/ 32039 w 220"/>
                <a:gd name="T81" fmla="*/ 43656 h 72"/>
                <a:gd name="T82" fmla="*/ 25544 w 220"/>
                <a:gd name="T83" fmla="*/ 42069 h 72"/>
                <a:gd name="T84" fmla="*/ 19483 w 220"/>
                <a:gd name="T85" fmla="*/ 39688 h 72"/>
                <a:gd name="T86" fmla="*/ 14288 w 220"/>
                <a:gd name="T87" fmla="*/ 37306 h 72"/>
                <a:gd name="T88" fmla="*/ 9525 w 220"/>
                <a:gd name="T89" fmla="*/ 34131 h 72"/>
                <a:gd name="T90" fmla="*/ 7793 w 220"/>
                <a:gd name="T91" fmla="*/ 32544 h 72"/>
                <a:gd name="T92" fmla="*/ 5628 w 220"/>
                <a:gd name="T93" fmla="*/ 30163 h 72"/>
                <a:gd name="T94" fmla="*/ 3897 w 220"/>
                <a:gd name="T95" fmla="*/ 27781 h 72"/>
                <a:gd name="T96" fmla="*/ 3031 w 220"/>
                <a:gd name="T97" fmla="*/ 24606 h 72"/>
                <a:gd name="T98" fmla="*/ 1299 w 220"/>
                <a:gd name="T99" fmla="*/ 21431 h 72"/>
                <a:gd name="T100" fmla="*/ 866 w 220"/>
                <a:gd name="T101" fmla="*/ 18256 h 72"/>
                <a:gd name="T102" fmla="*/ 433 w 220"/>
                <a:gd name="T103" fmla="*/ 14288 h 72"/>
                <a:gd name="T104" fmla="*/ 0 w 220"/>
                <a:gd name="T105" fmla="*/ 10319 h 72"/>
                <a:gd name="T106" fmla="*/ 9958 w 220"/>
                <a:gd name="T107" fmla="*/ 13494 h 72"/>
                <a:gd name="T108" fmla="*/ 19050 w 220"/>
                <a:gd name="T109" fmla="*/ 16669 h 72"/>
                <a:gd name="T110" fmla="*/ 27709 w 220"/>
                <a:gd name="T111" fmla="*/ 19050 h 72"/>
                <a:gd name="T112" fmla="*/ 37667 w 220"/>
                <a:gd name="T113" fmla="*/ 19844 h 7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93" name="Freeform 502">
              <a:extLst>
                <a:ext uri="{FF2B5EF4-FFF2-40B4-BE49-F238E27FC236}">
                  <a16:creationId xmlns:a16="http://schemas.microsoft.com/office/drawing/2014/main" id="{CA0B4C24-7F56-4E54-A0C5-6BB9C24F3D93}"/>
                </a:ext>
              </a:extLst>
            </p:cNvPr>
            <p:cNvSpPr>
              <a:spLocks/>
            </p:cNvSpPr>
            <p:nvPr>
              <p:custDataLst>
                <p:tags r:id="rId340"/>
              </p:custDataLst>
            </p:nvPr>
          </p:nvSpPr>
          <p:spPr bwMode="auto">
            <a:xfrm>
              <a:off x="8048625" y="1389064"/>
              <a:ext cx="63500" cy="58737"/>
            </a:xfrm>
            <a:custGeom>
              <a:avLst/>
              <a:gdLst>
                <a:gd name="T0" fmla="*/ 63500 w 146"/>
                <a:gd name="T1" fmla="*/ 48948 h 30"/>
                <a:gd name="T2" fmla="*/ 60890 w 146"/>
                <a:gd name="T3" fmla="*/ 31326 h 30"/>
                <a:gd name="T4" fmla="*/ 59586 w 146"/>
                <a:gd name="T5" fmla="*/ 17621 h 30"/>
                <a:gd name="T6" fmla="*/ 57846 w 146"/>
                <a:gd name="T7" fmla="*/ 7832 h 30"/>
                <a:gd name="T8" fmla="*/ 55671 w 146"/>
                <a:gd name="T9" fmla="*/ 1958 h 30"/>
                <a:gd name="T10" fmla="*/ 54801 w 146"/>
                <a:gd name="T11" fmla="*/ 1958 h 30"/>
                <a:gd name="T12" fmla="*/ 53932 w 146"/>
                <a:gd name="T13" fmla="*/ 1958 h 30"/>
                <a:gd name="T14" fmla="*/ 52192 w 146"/>
                <a:gd name="T15" fmla="*/ 3916 h 30"/>
                <a:gd name="T16" fmla="*/ 51322 w 146"/>
                <a:gd name="T17" fmla="*/ 5874 h 30"/>
                <a:gd name="T18" fmla="*/ 49147 w 146"/>
                <a:gd name="T19" fmla="*/ 17621 h 30"/>
                <a:gd name="T20" fmla="*/ 45668 w 146"/>
                <a:gd name="T21" fmla="*/ 37200 h 30"/>
                <a:gd name="T22" fmla="*/ 31315 w 146"/>
                <a:gd name="T23" fmla="*/ 37200 h 30"/>
                <a:gd name="T24" fmla="*/ 27401 w 146"/>
                <a:gd name="T25" fmla="*/ 35242 h 30"/>
                <a:gd name="T26" fmla="*/ 23921 w 146"/>
                <a:gd name="T27" fmla="*/ 33284 h 30"/>
                <a:gd name="T28" fmla="*/ 20442 w 146"/>
                <a:gd name="T29" fmla="*/ 27411 h 30"/>
                <a:gd name="T30" fmla="*/ 17397 w 146"/>
                <a:gd name="T31" fmla="*/ 23495 h 30"/>
                <a:gd name="T32" fmla="*/ 12613 w 146"/>
                <a:gd name="T33" fmla="*/ 11747 h 30"/>
                <a:gd name="T34" fmla="*/ 8264 w 146"/>
                <a:gd name="T35" fmla="*/ 0 h 30"/>
                <a:gd name="T36" fmla="*/ 6089 w 146"/>
                <a:gd name="T37" fmla="*/ 17621 h 30"/>
                <a:gd name="T38" fmla="*/ 4349 w 146"/>
                <a:gd name="T39" fmla="*/ 29369 h 30"/>
                <a:gd name="T40" fmla="*/ 1740 w 146"/>
                <a:gd name="T41" fmla="*/ 39158 h 30"/>
                <a:gd name="T42" fmla="*/ 0 w 146"/>
                <a:gd name="T43" fmla="*/ 48948 h 30"/>
                <a:gd name="T44" fmla="*/ 14353 w 146"/>
                <a:gd name="T45" fmla="*/ 48948 h 30"/>
                <a:gd name="T46" fmla="*/ 24791 w 146"/>
                <a:gd name="T47" fmla="*/ 48948 h 30"/>
                <a:gd name="T48" fmla="*/ 33490 w 146"/>
                <a:gd name="T49" fmla="*/ 48948 h 30"/>
                <a:gd name="T50" fmla="*/ 43058 w 146"/>
                <a:gd name="T51" fmla="*/ 48948 h 30"/>
                <a:gd name="T52" fmla="*/ 47842 w 146"/>
                <a:gd name="T53" fmla="*/ 50905 h 30"/>
                <a:gd name="T54" fmla="*/ 53497 w 146"/>
                <a:gd name="T55" fmla="*/ 56779 h 30"/>
                <a:gd name="T56" fmla="*/ 55671 w 146"/>
                <a:gd name="T57" fmla="*/ 58737 h 30"/>
                <a:gd name="T58" fmla="*/ 58716 w 146"/>
                <a:gd name="T59" fmla="*/ 58737 h 30"/>
                <a:gd name="T60" fmla="*/ 60890 w 146"/>
                <a:gd name="T61" fmla="*/ 54821 h 30"/>
                <a:gd name="T62" fmla="*/ 63500 w 146"/>
                <a:gd name="T63" fmla="*/ 48948 h 3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94" name="Freeform 503">
              <a:extLst>
                <a:ext uri="{FF2B5EF4-FFF2-40B4-BE49-F238E27FC236}">
                  <a16:creationId xmlns:a16="http://schemas.microsoft.com/office/drawing/2014/main" id="{CA923344-8823-4954-93B0-5A84AF8F645D}"/>
                </a:ext>
              </a:extLst>
            </p:cNvPr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8027989" y="1385889"/>
              <a:ext cx="20637" cy="58737"/>
            </a:xfrm>
            <a:custGeom>
              <a:avLst/>
              <a:gdLst>
                <a:gd name="T0" fmla="*/ 0 w 53"/>
                <a:gd name="T1" fmla="*/ 58737 h 9"/>
                <a:gd name="T2" fmla="*/ 6619 w 53"/>
                <a:gd name="T3" fmla="*/ 58737 h 9"/>
                <a:gd name="T4" fmla="*/ 11292 w 53"/>
                <a:gd name="T5" fmla="*/ 58737 h 9"/>
                <a:gd name="T6" fmla="*/ 15575 w 53"/>
                <a:gd name="T7" fmla="*/ 58737 h 9"/>
                <a:gd name="T8" fmla="*/ 20637 w 53"/>
                <a:gd name="T9" fmla="*/ 58737 h 9"/>
                <a:gd name="T10" fmla="*/ 17911 w 53"/>
                <a:gd name="T11" fmla="*/ 39158 h 9"/>
                <a:gd name="T12" fmla="*/ 14796 w 53"/>
                <a:gd name="T13" fmla="*/ 19579 h 9"/>
                <a:gd name="T14" fmla="*/ 12071 w 53"/>
                <a:gd name="T15" fmla="*/ 6526 h 9"/>
                <a:gd name="T16" fmla="*/ 9734 w 53"/>
                <a:gd name="T17" fmla="*/ 0 h 9"/>
                <a:gd name="T18" fmla="*/ 7398 w 53"/>
                <a:gd name="T19" fmla="*/ 0 h 9"/>
                <a:gd name="T20" fmla="*/ 5451 w 53"/>
                <a:gd name="T21" fmla="*/ 0 h 9"/>
                <a:gd name="T22" fmla="*/ 3504 w 53"/>
                <a:gd name="T23" fmla="*/ 6526 h 9"/>
                <a:gd name="T24" fmla="*/ 2336 w 53"/>
                <a:gd name="T25" fmla="*/ 19579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95" name="Line 504">
              <a:extLst>
                <a:ext uri="{FF2B5EF4-FFF2-40B4-BE49-F238E27FC236}">
                  <a16:creationId xmlns:a16="http://schemas.microsoft.com/office/drawing/2014/main" id="{7A900973-88B5-47F8-8D21-27D99DDFDD48}"/>
                </a:ext>
              </a:extLst>
            </p:cNvPr>
            <p:cNvSpPr>
              <a:spLocks noChangeShapeType="1"/>
            </p:cNvSpPr>
            <p:nvPr>
              <p:custDataLst>
                <p:tags r:id="rId342"/>
              </p:custDataLst>
            </p:nvPr>
          </p:nvSpPr>
          <p:spPr bwMode="auto">
            <a:xfrm flipV="1">
              <a:off x="8029575" y="1384300"/>
              <a:ext cx="0" cy="158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96" name="Freeform 505">
              <a:extLst>
                <a:ext uri="{FF2B5EF4-FFF2-40B4-BE49-F238E27FC236}">
                  <a16:creationId xmlns:a16="http://schemas.microsoft.com/office/drawing/2014/main" id="{28D0DBB9-5C07-45E3-937B-68F7BACF1383}"/>
                </a:ext>
              </a:extLst>
            </p:cNvPr>
            <p:cNvSpPr>
              <a:spLocks/>
            </p:cNvSpPr>
            <p:nvPr>
              <p:custDataLst>
                <p:tags r:id="rId343"/>
              </p:custDataLst>
            </p:nvPr>
          </p:nvSpPr>
          <p:spPr bwMode="auto">
            <a:xfrm>
              <a:off x="7199313" y="1312863"/>
              <a:ext cx="11112" cy="55562"/>
            </a:xfrm>
            <a:custGeom>
              <a:avLst/>
              <a:gdLst>
                <a:gd name="T0" fmla="*/ 0 w 26"/>
                <a:gd name="T1" fmla="*/ 55562 h 25"/>
                <a:gd name="T2" fmla="*/ 2137 w 26"/>
                <a:gd name="T3" fmla="*/ 37782 h 25"/>
                <a:gd name="T4" fmla="*/ 5556 w 26"/>
                <a:gd name="T5" fmla="*/ 17780 h 25"/>
                <a:gd name="T6" fmla="*/ 6838 w 26"/>
                <a:gd name="T7" fmla="*/ 11112 h 25"/>
                <a:gd name="T8" fmla="*/ 8548 w 26"/>
                <a:gd name="T9" fmla="*/ 4445 h 25"/>
                <a:gd name="T10" fmla="*/ 9830 w 26"/>
                <a:gd name="T11" fmla="*/ 2222 h 25"/>
                <a:gd name="T12" fmla="*/ 11112 w 26"/>
                <a:gd name="T13" fmla="*/ 0 h 25"/>
                <a:gd name="T14" fmla="*/ 11112 w 26"/>
                <a:gd name="T15" fmla="*/ 55562 h 25"/>
                <a:gd name="T16" fmla="*/ 8548 w 26"/>
                <a:gd name="T17" fmla="*/ 55562 h 25"/>
                <a:gd name="T18" fmla="*/ 5556 w 26"/>
                <a:gd name="T19" fmla="*/ 55562 h 25"/>
                <a:gd name="T20" fmla="*/ 0 w 26"/>
                <a:gd name="T21" fmla="*/ 55562 h 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97" name="Freeform 506">
              <a:extLst>
                <a:ext uri="{FF2B5EF4-FFF2-40B4-BE49-F238E27FC236}">
                  <a16:creationId xmlns:a16="http://schemas.microsoft.com/office/drawing/2014/main" id="{6765F77B-F869-43D7-B78F-A96214BC6329}"/>
                </a:ext>
              </a:extLst>
            </p:cNvPr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7948614" y="1384300"/>
              <a:ext cx="9525" cy="57150"/>
            </a:xfrm>
            <a:custGeom>
              <a:avLst/>
              <a:gdLst>
                <a:gd name="T0" fmla="*/ 9525 w 33"/>
                <a:gd name="T1" fmla="*/ 57150 h 25"/>
                <a:gd name="T2" fmla="*/ 9525 w 33"/>
                <a:gd name="T3" fmla="*/ 27432 h 25"/>
                <a:gd name="T4" fmla="*/ 9525 w 33"/>
                <a:gd name="T5" fmla="*/ 0 h 25"/>
                <a:gd name="T6" fmla="*/ 0 w 33"/>
                <a:gd name="T7" fmla="*/ 0 h 25"/>
                <a:gd name="T8" fmla="*/ 2598 w 33"/>
                <a:gd name="T9" fmla="*/ 20574 h 25"/>
                <a:gd name="T10" fmla="*/ 4618 w 33"/>
                <a:gd name="T11" fmla="*/ 38862 h 25"/>
                <a:gd name="T12" fmla="*/ 5773 w 33"/>
                <a:gd name="T13" fmla="*/ 45720 h 25"/>
                <a:gd name="T14" fmla="*/ 6927 w 33"/>
                <a:gd name="T15" fmla="*/ 52578 h 25"/>
                <a:gd name="T16" fmla="*/ 8082 w 33"/>
                <a:gd name="T17" fmla="*/ 54864 h 25"/>
                <a:gd name="T18" fmla="*/ 9525 w 33"/>
                <a:gd name="T19" fmla="*/ 57150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98" name="Freeform 507">
              <a:extLst>
                <a:ext uri="{FF2B5EF4-FFF2-40B4-BE49-F238E27FC236}">
                  <a16:creationId xmlns:a16="http://schemas.microsoft.com/office/drawing/2014/main" id="{5B0BA2F0-08ED-4872-97F3-9F65D9E82116}"/>
                </a:ext>
              </a:extLst>
            </p:cNvPr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7902576" y="1347788"/>
              <a:ext cx="9525" cy="57150"/>
            </a:xfrm>
            <a:custGeom>
              <a:avLst/>
              <a:gdLst>
                <a:gd name="T0" fmla="*/ 0 w 20"/>
                <a:gd name="T1" fmla="*/ 0 h 18"/>
                <a:gd name="T2" fmla="*/ 6191 w 20"/>
                <a:gd name="T3" fmla="*/ 57150 h 18"/>
                <a:gd name="T4" fmla="*/ 7620 w 20"/>
                <a:gd name="T5" fmla="*/ 34925 h 18"/>
                <a:gd name="T6" fmla="*/ 9525 w 20"/>
                <a:gd name="T7" fmla="*/ 0 h 18"/>
                <a:gd name="T8" fmla="*/ 0 w 20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99" name="Freeform 508">
              <a:extLst>
                <a:ext uri="{FF2B5EF4-FFF2-40B4-BE49-F238E27FC236}">
                  <a16:creationId xmlns:a16="http://schemas.microsoft.com/office/drawing/2014/main" id="{1DAD3C7D-03AF-48C7-A32A-F26F48006804}"/>
                </a:ext>
              </a:extLst>
            </p:cNvPr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8402638" y="1917700"/>
              <a:ext cx="12700" cy="58738"/>
            </a:xfrm>
            <a:custGeom>
              <a:avLst/>
              <a:gdLst>
                <a:gd name="T0" fmla="*/ 0 w 33"/>
                <a:gd name="T1" fmla="*/ 58738 h 31"/>
                <a:gd name="T2" fmla="*/ 0 w 33"/>
                <a:gd name="T3" fmla="*/ 0 h 31"/>
                <a:gd name="T4" fmla="*/ 3464 w 33"/>
                <a:gd name="T5" fmla="*/ 0 h 31"/>
                <a:gd name="T6" fmla="*/ 6158 w 33"/>
                <a:gd name="T7" fmla="*/ 0 h 31"/>
                <a:gd name="T8" fmla="*/ 9236 w 33"/>
                <a:gd name="T9" fmla="*/ 0 h 31"/>
                <a:gd name="T10" fmla="*/ 12700 w 33"/>
                <a:gd name="T11" fmla="*/ 0 h 31"/>
                <a:gd name="T12" fmla="*/ 11545 w 33"/>
                <a:gd name="T13" fmla="*/ 3790 h 31"/>
                <a:gd name="T14" fmla="*/ 11161 w 33"/>
                <a:gd name="T15" fmla="*/ 9474 h 31"/>
                <a:gd name="T16" fmla="*/ 10776 w 33"/>
                <a:gd name="T17" fmla="*/ 17053 h 31"/>
                <a:gd name="T18" fmla="*/ 10776 w 33"/>
                <a:gd name="T19" fmla="*/ 24632 h 31"/>
                <a:gd name="T20" fmla="*/ 10776 w 33"/>
                <a:gd name="T21" fmla="*/ 32211 h 31"/>
                <a:gd name="T22" fmla="*/ 11161 w 33"/>
                <a:gd name="T23" fmla="*/ 39790 h 31"/>
                <a:gd name="T24" fmla="*/ 11545 w 33"/>
                <a:gd name="T25" fmla="*/ 49264 h 31"/>
                <a:gd name="T26" fmla="*/ 12700 w 33"/>
                <a:gd name="T27" fmla="*/ 58738 h 31"/>
                <a:gd name="T28" fmla="*/ 0 w 33"/>
                <a:gd name="T29" fmla="*/ 58738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00" name="Freeform 509">
              <a:extLst>
                <a:ext uri="{FF2B5EF4-FFF2-40B4-BE49-F238E27FC236}">
                  <a16:creationId xmlns:a16="http://schemas.microsoft.com/office/drawing/2014/main" id="{B96D4F1E-0642-4C89-825F-F31656C4A547}"/>
                </a:ext>
              </a:extLst>
            </p:cNvPr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8696326" y="1439864"/>
              <a:ext cx="55563" cy="58737"/>
            </a:xfrm>
            <a:custGeom>
              <a:avLst/>
              <a:gdLst>
                <a:gd name="T0" fmla="*/ 1292 w 129"/>
                <a:gd name="T1" fmla="*/ 46151 h 56"/>
                <a:gd name="T2" fmla="*/ 431 w 129"/>
                <a:gd name="T3" fmla="*/ 44053 h 56"/>
                <a:gd name="T4" fmla="*/ 431 w 129"/>
                <a:gd name="T5" fmla="*/ 41955 h 56"/>
                <a:gd name="T6" fmla="*/ 0 w 129"/>
                <a:gd name="T7" fmla="*/ 38808 h 56"/>
                <a:gd name="T8" fmla="*/ 431 w 129"/>
                <a:gd name="T9" fmla="*/ 34613 h 56"/>
                <a:gd name="T10" fmla="*/ 861 w 129"/>
                <a:gd name="T11" fmla="*/ 26222 h 56"/>
                <a:gd name="T12" fmla="*/ 1292 w 129"/>
                <a:gd name="T13" fmla="*/ 18880 h 56"/>
                <a:gd name="T14" fmla="*/ 3876 w 129"/>
                <a:gd name="T15" fmla="*/ 13635 h 56"/>
                <a:gd name="T16" fmla="*/ 6892 w 129"/>
                <a:gd name="T17" fmla="*/ 9440 h 56"/>
                <a:gd name="T18" fmla="*/ 9045 w 129"/>
                <a:gd name="T19" fmla="*/ 6293 h 56"/>
                <a:gd name="T20" fmla="*/ 11629 w 129"/>
                <a:gd name="T21" fmla="*/ 5244 h 56"/>
                <a:gd name="T22" fmla="*/ 16798 w 129"/>
                <a:gd name="T23" fmla="*/ 3147 h 56"/>
                <a:gd name="T24" fmla="*/ 24551 w 129"/>
                <a:gd name="T25" fmla="*/ 0 h 56"/>
                <a:gd name="T26" fmla="*/ 25843 w 129"/>
                <a:gd name="T27" fmla="*/ 5244 h 56"/>
                <a:gd name="T28" fmla="*/ 27566 w 129"/>
                <a:gd name="T29" fmla="*/ 8391 h 56"/>
                <a:gd name="T30" fmla="*/ 29720 w 129"/>
                <a:gd name="T31" fmla="*/ 11538 h 56"/>
                <a:gd name="T32" fmla="*/ 31443 w 129"/>
                <a:gd name="T33" fmla="*/ 14684 h 56"/>
                <a:gd name="T34" fmla="*/ 35750 w 129"/>
                <a:gd name="T35" fmla="*/ 18880 h 56"/>
                <a:gd name="T36" fmla="*/ 40057 w 129"/>
                <a:gd name="T37" fmla="*/ 22026 h 56"/>
                <a:gd name="T38" fmla="*/ 44364 w 129"/>
                <a:gd name="T39" fmla="*/ 26222 h 56"/>
                <a:gd name="T40" fmla="*/ 48671 w 129"/>
                <a:gd name="T41" fmla="*/ 30417 h 56"/>
                <a:gd name="T42" fmla="*/ 50394 w 129"/>
                <a:gd name="T43" fmla="*/ 33564 h 56"/>
                <a:gd name="T44" fmla="*/ 52117 w 129"/>
                <a:gd name="T45" fmla="*/ 36711 h 56"/>
                <a:gd name="T46" fmla="*/ 54271 w 129"/>
                <a:gd name="T47" fmla="*/ 39857 h 56"/>
                <a:gd name="T48" fmla="*/ 55563 w 129"/>
                <a:gd name="T49" fmla="*/ 46151 h 56"/>
                <a:gd name="T50" fmla="*/ 51256 w 129"/>
                <a:gd name="T51" fmla="*/ 50346 h 56"/>
                <a:gd name="T52" fmla="*/ 46949 w 129"/>
                <a:gd name="T53" fmla="*/ 53493 h 56"/>
                <a:gd name="T54" fmla="*/ 42641 w 129"/>
                <a:gd name="T55" fmla="*/ 55590 h 56"/>
                <a:gd name="T56" fmla="*/ 38765 w 129"/>
                <a:gd name="T57" fmla="*/ 56639 h 56"/>
                <a:gd name="T58" fmla="*/ 30150 w 129"/>
                <a:gd name="T59" fmla="*/ 58737 h 56"/>
                <a:gd name="T60" fmla="*/ 21105 w 129"/>
                <a:gd name="T61" fmla="*/ 58737 h 56"/>
                <a:gd name="T62" fmla="*/ 17229 w 129"/>
                <a:gd name="T63" fmla="*/ 57688 h 56"/>
                <a:gd name="T64" fmla="*/ 13352 w 129"/>
                <a:gd name="T65" fmla="*/ 56639 h 56"/>
                <a:gd name="T66" fmla="*/ 9907 w 129"/>
                <a:gd name="T67" fmla="*/ 54542 h 56"/>
                <a:gd name="T68" fmla="*/ 6892 w 129"/>
                <a:gd name="T69" fmla="*/ 52444 h 56"/>
                <a:gd name="T70" fmla="*/ 2584 w 129"/>
                <a:gd name="T71" fmla="*/ 48248 h 56"/>
                <a:gd name="T72" fmla="*/ 1292 w 129"/>
                <a:gd name="T73" fmla="*/ 46151 h 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01" name="Freeform 510">
              <a:extLst>
                <a:ext uri="{FF2B5EF4-FFF2-40B4-BE49-F238E27FC236}">
                  <a16:creationId xmlns:a16="http://schemas.microsoft.com/office/drawing/2014/main" id="{4F4E2B44-B041-4B8C-B4AB-1AACB9EE389A}"/>
                </a:ext>
              </a:extLst>
            </p:cNvPr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8832850" y="1792288"/>
              <a:ext cx="14288" cy="57150"/>
            </a:xfrm>
            <a:custGeom>
              <a:avLst/>
              <a:gdLst>
                <a:gd name="T0" fmla="*/ 7318 w 41"/>
                <a:gd name="T1" fmla="*/ 57150 h 42"/>
                <a:gd name="T2" fmla="*/ 0 w 41"/>
                <a:gd name="T3" fmla="*/ 40821 h 42"/>
                <a:gd name="T4" fmla="*/ 0 w 41"/>
                <a:gd name="T5" fmla="*/ 8164 h 42"/>
                <a:gd name="T6" fmla="*/ 2439 w 41"/>
                <a:gd name="T7" fmla="*/ 6804 h 42"/>
                <a:gd name="T8" fmla="*/ 4879 w 41"/>
                <a:gd name="T9" fmla="*/ 4082 h 42"/>
                <a:gd name="T10" fmla="*/ 8364 w 41"/>
                <a:gd name="T11" fmla="*/ 1361 h 42"/>
                <a:gd name="T12" fmla="*/ 11849 w 41"/>
                <a:gd name="T13" fmla="*/ 0 h 42"/>
                <a:gd name="T14" fmla="*/ 11849 w 41"/>
                <a:gd name="T15" fmla="*/ 24493 h 42"/>
                <a:gd name="T16" fmla="*/ 14288 w 41"/>
                <a:gd name="T17" fmla="*/ 24493 h 42"/>
                <a:gd name="T18" fmla="*/ 7318 w 41"/>
                <a:gd name="T19" fmla="*/ 57150 h 4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02" name="Freeform 511">
              <a:extLst>
                <a:ext uri="{FF2B5EF4-FFF2-40B4-BE49-F238E27FC236}">
                  <a16:creationId xmlns:a16="http://schemas.microsoft.com/office/drawing/2014/main" id="{6DF5320C-CA21-4FFA-9697-E81CA85E5AC5}"/>
                </a:ext>
              </a:extLst>
            </p:cNvPr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8982076" y="1905001"/>
              <a:ext cx="42863" cy="60325"/>
            </a:xfrm>
            <a:custGeom>
              <a:avLst/>
              <a:gdLst>
                <a:gd name="T0" fmla="*/ 27654 w 93"/>
                <a:gd name="T1" fmla="*/ 13921 h 39"/>
                <a:gd name="T2" fmla="*/ 30880 w 93"/>
                <a:gd name="T3" fmla="*/ 27842 h 39"/>
                <a:gd name="T4" fmla="*/ 35489 w 93"/>
                <a:gd name="T5" fmla="*/ 43310 h 39"/>
                <a:gd name="T6" fmla="*/ 37332 w 93"/>
                <a:gd name="T7" fmla="*/ 51044 h 39"/>
                <a:gd name="T8" fmla="*/ 39637 w 93"/>
                <a:gd name="T9" fmla="*/ 55685 h 39"/>
                <a:gd name="T10" fmla="*/ 41480 w 93"/>
                <a:gd name="T11" fmla="*/ 58778 h 39"/>
                <a:gd name="T12" fmla="*/ 42863 w 93"/>
                <a:gd name="T13" fmla="*/ 60325 h 39"/>
                <a:gd name="T14" fmla="*/ 27654 w 93"/>
                <a:gd name="T15" fmla="*/ 60325 h 39"/>
                <a:gd name="T16" fmla="*/ 23045 w 93"/>
                <a:gd name="T17" fmla="*/ 55685 h 39"/>
                <a:gd name="T18" fmla="*/ 19818 w 93"/>
                <a:gd name="T19" fmla="*/ 49497 h 39"/>
                <a:gd name="T20" fmla="*/ 16592 w 93"/>
                <a:gd name="T21" fmla="*/ 43310 h 39"/>
                <a:gd name="T22" fmla="*/ 13827 w 93"/>
                <a:gd name="T23" fmla="*/ 35576 h 39"/>
                <a:gd name="T24" fmla="*/ 11061 w 93"/>
                <a:gd name="T25" fmla="*/ 27842 h 39"/>
                <a:gd name="T26" fmla="*/ 7374 w 93"/>
                <a:gd name="T27" fmla="*/ 20108 h 39"/>
                <a:gd name="T28" fmla="*/ 4148 w 93"/>
                <a:gd name="T29" fmla="*/ 10828 h 39"/>
                <a:gd name="T30" fmla="*/ 0 w 93"/>
                <a:gd name="T31" fmla="*/ 4640 h 39"/>
                <a:gd name="T32" fmla="*/ 5070 w 93"/>
                <a:gd name="T33" fmla="*/ 1547 h 39"/>
                <a:gd name="T34" fmla="*/ 9218 w 93"/>
                <a:gd name="T35" fmla="*/ 0 h 39"/>
                <a:gd name="T36" fmla="*/ 11983 w 93"/>
                <a:gd name="T37" fmla="*/ 0 h 39"/>
                <a:gd name="T38" fmla="*/ 15209 w 93"/>
                <a:gd name="T39" fmla="*/ 1547 h 39"/>
                <a:gd name="T40" fmla="*/ 20279 w 93"/>
                <a:gd name="T41" fmla="*/ 6187 h 39"/>
                <a:gd name="T42" fmla="*/ 27654 w 93"/>
                <a:gd name="T43" fmla="*/ 13921 h 3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03" name="Freeform 512">
              <a:extLst>
                <a:ext uri="{FF2B5EF4-FFF2-40B4-BE49-F238E27FC236}">
                  <a16:creationId xmlns:a16="http://schemas.microsoft.com/office/drawing/2014/main" id="{DB4585C9-1A7E-437F-83F9-E24C30A90225}"/>
                </a:ext>
              </a:extLst>
            </p:cNvPr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9032875" y="1920875"/>
              <a:ext cx="19050" cy="58738"/>
            </a:xfrm>
            <a:custGeom>
              <a:avLst/>
              <a:gdLst>
                <a:gd name="T0" fmla="*/ 19050 w 39"/>
                <a:gd name="T1" fmla="*/ 58738 h 19"/>
                <a:gd name="T2" fmla="*/ 6350 w 39"/>
                <a:gd name="T3" fmla="*/ 58738 h 19"/>
                <a:gd name="T4" fmla="*/ 3908 w 39"/>
                <a:gd name="T5" fmla="*/ 58738 h 19"/>
                <a:gd name="T6" fmla="*/ 2442 w 39"/>
                <a:gd name="T7" fmla="*/ 52555 h 19"/>
                <a:gd name="T8" fmla="*/ 1465 w 39"/>
                <a:gd name="T9" fmla="*/ 43281 h 19"/>
                <a:gd name="T10" fmla="*/ 977 w 39"/>
                <a:gd name="T11" fmla="*/ 34006 h 19"/>
                <a:gd name="T12" fmla="*/ 0 w 39"/>
                <a:gd name="T13" fmla="*/ 15457 h 19"/>
                <a:gd name="T14" fmla="*/ 0 w 39"/>
                <a:gd name="T15" fmla="*/ 0 h 19"/>
                <a:gd name="T16" fmla="*/ 6350 w 39"/>
                <a:gd name="T17" fmla="*/ 12366 h 19"/>
                <a:gd name="T18" fmla="*/ 10746 w 39"/>
                <a:gd name="T19" fmla="*/ 27823 h 19"/>
                <a:gd name="T20" fmla="*/ 14654 w 39"/>
                <a:gd name="T21" fmla="*/ 43281 h 19"/>
                <a:gd name="T22" fmla="*/ 19050 w 39"/>
                <a:gd name="T23" fmla="*/ 58738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04" name="Freeform 513">
              <a:extLst>
                <a:ext uri="{FF2B5EF4-FFF2-40B4-BE49-F238E27FC236}">
                  <a16:creationId xmlns:a16="http://schemas.microsoft.com/office/drawing/2014/main" id="{7ADCAB23-0F51-4DE3-BDD9-D042157574E9}"/>
                </a:ext>
              </a:extLst>
            </p:cNvPr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8897939" y="2047875"/>
              <a:ext cx="14287" cy="57150"/>
            </a:xfrm>
            <a:custGeom>
              <a:avLst/>
              <a:gdLst>
                <a:gd name="T0" fmla="*/ 0 w 26"/>
                <a:gd name="T1" fmla="*/ 57150 h 36"/>
                <a:gd name="T2" fmla="*/ 1649 w 26"/>
                <a:gd name="T3" fmla="*/ 49213 h 36"/>
                <a:gd name="T4" fmla="*/ 5495 w 26"/>
                <a:gd name="T5" fmla="*/ 31750 h 36"/>
                <a:gd name="T6" fmla="*/ 9891 w 26"/>
                <a:gd name="T7" fmla="*/ 12700 h 36"/>
                <a:gd name="T8" fmla="*/ 14287 w 26"/>
                <a:gd name="T9" fmla="*/ 0 h 36"/>
                <a:gd name="T10" fmla="*/ 14287 w 26"/>
                <a:gd name="T11" fmla="*/ 14288 h 36"/>
                <a:gd name="T12" fmla="*/ 14287 w 26"/>
                <a:gd name="T13" fmla="*/ 28575 h 36"/>
                <a:gd name="T14" fmla="*/ 13738 w 26"/>
                <a:gd name="T15" fmla="*/ 34925 h 36"/>
                <a:gd name="T16" fmla="*/ 13188 w 26"/>
                <a:gd name="T17" fmla="*/ 41275 h 36"/>
                <a:gd name="T18" fmla="*/ 11540 w 26"/>
                <a:gd name="T19" fmla="*/ 46038 h 36"/>
                <a:gd name="T20" fmla="*/ 9342 w 26"/>
                <a:gd name="T21" fmla="*/ 50800 h 36"/>
                <a:gd name="T22" fmla="*/ 7693 w 26"/>
                <a:gd name="T23" fmla="*/ 53975 h 36"/>
                <a:gd name="T24" fmla="*/ 5495 w 26"/>
                <a:gd name="T25" fmla="*/ 55563 h 36"/>
                <a:gd name="T26" fmla="*/ 2198 w 26"/>
                <a:gd name="T27" fmla="*/ 57150 h 36"/>
                <a:gd name="T28" fmla="*/ 0 w 26"/>
                <a:gd name="T29" fmla="*/ 57150 h 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05" name="Freeform 514">
              <a:extLst>
                <a:ext uri="{FF2B5EF4-FFF2-40B4-BE49-F238E27FC236}">
                  <a16:creationId xmlns:a16="http://schemas.microsoft.com/office/drawing/2014/main" id="{20C87FF7-CF7C-4A2E-B1F6-4E147213989F}"/>
                </a:ext>
              </a:extLst>
            </p:cNvPr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8909051" y="2076451"/>
              <a:ext cx="3175" cy="60325"/>
            </a:xfrm>
            <a:custGeom>
              <a:avLst/>
              <a:gdLst>
                <a:gd name="T0" fmla="*/ 0 w 6"/>
                <a:gd name="T1" fmla="*/ 60325 h 37"/>
                <a:gd name="T2" fmla="*/ 0 w 6"/>
                <a:gd name="T3" fmla="*/ 0 h 37"/>
                <a:gd name="T4" fmla="*/ 3175 w 6"/>
                <a:gd name="T5" fmla="*/ 0 h 37"/>
                <a:gd name="T6" fmla="*/ 3175 w 6"/>
                <a:gd name="T7" fmla="*/ 50543 h 37"/>
                <a:gd name="T8" fmla="*/ 0 w 6"/>
                <a:gd name="T9" fmla="*/ 60325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06" name="Freeform 515">
              <a:extLst>
                <a:ext uri="{FF2B5EF4-FFF2-40B4-BE49-F238E27FC236}">
                  <a16:creationId xmlns:a16="http://schemas.microsoft.com/office/drawing/2014/main" id="{A0D77303-C6ED-4F0F-A541-59CF056A16D3}"/>
                </a:ext>
              </a:extLst>
            </p:cNvPr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8896351" y="2159001"/>
              <a:ext cx="9525" cy="55563"/>
            </a:xfrm>
            <a:custGeom>
              <a:avLst/>
              <a:gdLst>
                <a:gd name="T0" fmla="*/ 0 w 20"/>
                <a:gd name="T1" fmla="*/ 40057 h 43"/>
                <a:gd name="T2" fmla="*/ 0 w 20"/>
                <a:gd name="T3" fmla="*/ 32304 h 43"/>
                <a:gd name="T4" fmla="*/ 0 w 20"/>
                <a:gd name="T5" fmla="*/ 23259 h 43"/>
                <a:gd name="T6" fmla="*/ 953 w 20"/>
                <a:gd name="T7" fmla="*/ 11629 h 43"/>
                <a:gd name="T8" fmla="*/ 3334 w 20"/>
                <a:gd name="T9" fmla="*/ 0 h 43"/>
                <a:gd name="T10" fmla="*/ 5239 w 20"/>
                <a:gd name="T11" fmla="*/ 9045 h 43"/>
                <a:gd name="T12" fmla="*/ 7620 w 20"/>
                <a:gd name="T13" fmla="*/ 15506 h 43"/>
                <a:gd name="T14" fmla="*/ 8096 w 20"/>
                <a:gd name="T15" fmla="*/ 18090 h 43"/>
                <a:gd name="T16" fmla="*/ 9049 w 20"/>
                <a:gd name="T17" fmla="*/ 23259 h 43"/>
                <a:gd name="T18" fmla="*/ 9049 w 20"/>
                <a:gd name="T19" fmla="*/ 27135 h 43"/>
                <a:gd name="T20" fmla="*/ 9525 w 20"/>
                <a:gd name="T21" fmla="*/ 32304 h 43"/>
                <a:gd name="T22" fmla="*/ 9049 w 20"/>
                <a:gd name="T23" fmla="*/ 34888 h 43"/>
                <a:gd name="T24" fmla="*/ 8573 w 20"/>
                <a:gd name="T25" fmla="*/ 38765 h 43"/>
                <a:gd name="T26" fmla="*/ 7620 w 20"/>
                <a:gd name="T27" fmla="*/ 42641 h 43"/>
                <a:gd name="T28" fmla="*/ 5715 w 20"/>
                <a:gd name="T29" fmla="*/ 46518 h 43"/>
                <a:gd name="T30" fmla="*/ 4286 w 20"/>
                <a:gd name="T31" fmla="*/ 50394 h 43"/>
                <a:gd name="T32" fmla="*/ 2858 w 20"/>
                <a:gd name="T33" fmla="*/ 52979 h 43"/>
                <a:gd name="T34" fmla="*/ 953 w 20"/>
                <a:gd name="T35" fmla="*/ 54271 h 43"/>
                <a:gd name="T36" fmla="*/ 0 w 20"/>
                <a:gd name="T37" fmla="*/ 55563 h 43"/>
                <a:gd name="T38" fmla="*/ 0 w 20"/>
                <a:gd name="T39" fmla="*/ 40057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07" name="Freeform 516">
              <a:extLst>
                <a:ext uri="{FF2B5EF4-FFF2-40B4-BE49-F238E27FC236}">
                  <a16:creationId xmlns:a16="http://schemas.microsoft.com/office/drawing/2014/main" id="{1DB5BFAE-9360-450E-B268-31CD4DA13DE0}"/>
                </a:ext>
              </a:extLst>
            </p:cNvPr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8874125" y="2193925"/>
              <a:ext cx="0" cy="58738"/>
            </a:xfrm>
            <a:custGeom>
              <a:avLst/>
              <a:gdLst>
                <a:gd name="T0" fmla="*/ 58738 h 30"/>
                <a:gd name="T1" fmla="*/ 48948 h 30"/>
                <a:gd name="T2" fmla="*/ 35243 h 30"/>
                <a:gd name="T3" fmla="*/ 17621 h 30"/>
                <a:gd name="T4" fmla="*/ 0 h 30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</a:gdLst>
              <a:ahLst/>
              <a:cxnLst>
                <a:cxn ang="T5">
                  <a:pos x="0" y="T0"/>
                </a:cxn>
                <a:cxn ang="T6">
                  <a:pos x="0" y="T1"/>
                </a:cxn>
                <a:cxn ang="T7">
                  <a:pos x="0" y="T2"/>
                </a:cxn>
                <a:cxn ang="T8">
                  <a:pos x="0" y="T3"/>
                </a:cxn>
                <a:cxn ang="T9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08" name="Freeform 517">
              <a:extLst>
                <a:ext uri="{FF2B5EF4-FFF2-40B4-BE49-F238E27FC236}">
                  <a16:creationId xmlns:a16="http://schemas.microsoft.com/office/drawing/2014/main" id="{D623B04C-B4BF-4B47-94F8-55F7C6A24A6E}"/>
                </a:ext>
              </a:extLst>
            </p:cNvPr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8874125" y="2193925"/>
              <a:ext cx="7938" cy="58738"/>
            </a:xfrm>
            <a:custGeom>
              <a:avLst/>
              <a:gdLst>
                <a:gd name="T0" fmla="*/ 0 w 20"/>
                <a:gd name="T1" fmla="*/ 0 h 24"/>
                <a:gd name="T2" fmla="*/ 7938 w 20"/>
                <a:gd name="T3" fmla="*/ 0 h 24"/>
                <a:gd name="T4" fmla="*/ 0 w 20"/>
                <a:gd name="T5" fmla="*/ 58738 h 24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09" name="Freeform 518">
              <a:extLst>
                <a:ext uri="{FF2B5EF4-FFF2-40B4-BE49-F238E27FC236}">
                  <a16:creationId xmlns:a16="http://schemas.microsoft.com/office/drawing/2014/main" id="{20DB8B42-E7B1-46DB-BC3B-2BC660CB4204}"/>
                </a:ext>
              </a:extLst>
            </p:cNvPr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8628063" y="1781176"/>
              <a:ext cx="17462" cy="60325"/>
            </a:xfrm>
            <a:custGeom>
              <a:avLst/>
              <a:gdLst>
                <a:gd name="T0" fmla="*/ 0 w 46"/>
                <a:gd name="T1" fmla="*/ 0 h 19"/>
                <a:gd name="T2" fmla="*/ 3416 w 46"/>
                <a:gd name="T3" fmla="*/ 9525 h 19"/>
                <a:gd name="T4" fmla="*/ 5315 w 46"/>
                <a:gd name="T5" fmla="*/ 15875 h 19"/>
                <a:gd name="T6" fmla="*/ 7213 w 46"/>
                <a:gd name="T7" fmla="*/ 25400 h 19"/>
                <a:gd name="T8" fmla="*/ 8731 w 46"/>
                <a:gd name="T9" fmla="*/ 31750 h 19"/>
                <a:gd name="T10" fmla="*/ 9870 w 46"/>
                <a:gd name="T11" fmla="*/ 38100 h 19"/>
                <a:gd name="T12" fmla="*/ 12147 w 46"/>
                <a:gd name="T13" fmla="*/ 44450 h 19"/>
                <a:gd name="T14" fmla="*/ 14046 w 46"/>
                <a:gd name="T15" fmla="*/ 53975 h 19"/>
                <a:gd name="T16" fmla="*/ 17462 w 46"/>
                <a:gd name="T17" fmla="*/ 60325 h 19"/>
                <a:gd name="T18" fmla="*/ 12527 w 46"/>
                <a:gd name="T19" fmla="*/ 60325 h 19"/>
                <a:gd name="T20" fmla="*/ 9111 w 46"/>
                <a:gd name="T21" fmla="*/ 60325 h 19"/>
                <a:gd name="T22" fmla="*/ 6833 w 46"/>
                <a:gd name="T23" fmla="*/ 57150 h 19"/>
                <a:gd name="T24" fmla="*/ 4935 w 46"/>
                <a:gd name="T25" fmla="*/ 53975 h 19"/>
                <a:gd name="T26" fmla="*/ 3796 w 46"/>
                <a:gd name="T27" fmla="*/ 44450 h 19"/>
                <a:gd name="T28" fmla="*/ 2657 w 46"/>
                <a:gd name="T29" fmla="*/ 34925 h 19"/>
                <a:gd name="T30" fmla="*/ 1518 w 46"/>
                <a:gd name="T31" fmla="*/ 22225 h 19"/>
                <a:gd name="T32" fmla="*/ 0 w 46"/>
                <a:gd name="T33" fmla="*/ 0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10" name="Freeform 519">
              <a:extLst>
                <a:ext uri="{FF2B5EF4-FFF2-40B4-BE49-F238E27FC236}">
                  <a16:creationId xmlns:a16="http://schemas.microsoft.com/office/drawing/2014/main" id="{00C48FF4-D74C-437F-9E84-AA05AFA22E3B}"/>
                </a:ext>
              </a:extLst>
            </p:cNvPr>
            <p:cNvSpPr>
              <a:spLocks/>
            </p:cNvSpPr>
            <p:nvPr>
              <p:custDataLst>
                <p:tags r:id="rId357"/>
              </p:custDataLst>
            </p:nvPr>
          </p:nvSpPr>
          <p:spPr bwMode="auto">
            <a:xfrm>
              <a:off x="5943601" y="1920875"/>
              <a:ext cx="47625" cy="58738"/>
            </a:xfrm>
            <a:custGeom>
              <a:avLst/>
              <a:gdLst>
                <a:gd name="T0" fmla="*/ 15716 w 100"/>
                <a:gd name="T1" fmla="*/ 0 h 55"/>
                <a:gd name="T2" fmla="*/ 47625 w 100"/>
                <a:gd name="T3" fmla="*/ 12816 h 55"/>
                <a:gd name="T4" fmla="*/ 47625 w 100"/>
                <a:gd name="T5" fmla="*/ 58738 h 55"/>
                <a:gd name="T6" fmla="*/ 6191 w 100"/>
                <a:gd name="T7" fmla="*/ 58738 h 55"/>
                <a:gd name="T8" fmla="*/ 0 w 100"/>
                <a:gd name="T9" fmla="*/ 45922 h 55"/>
                <a:gd name="T10" fmla="*/ 476 w 100"/>
                <a:gd name="T11" fmla="*/ 40583 h 55"/>
                <a:gd name="T12" fmla="*/ 1905 w 100"/>
                <a:gd name="T13" fmla="*/ 34175 h 55"/>
                <a:gd name="T14" fmla="*/ 4763 w 100"/>
                <a:gd name="T15" fmla="*/ 26699 h 55"/>
                <a:gd name="T16" fmla="*/ 7620 w 100"/>
                <a:gd name="T17" fmla="*/ 19223 h 55"/>
                <a:gd name="T18" fmla="*/ 12859 w 100"/>
                <a:gd name="T19" fmla="*/ 5340 h 55"/>
                <a:gd name="T20" fmla="*/ 15716 w 100"/>
                <a:gd name="T21" fmla="*/ 0 h 5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11" name="Freeform 520">
              <a:extLst>
                <a:ext uri="{FF2B5EF4-FFF2-40B4-BE49-F238E27FC236}">
                  <a16:creationId xmlns:a16="http://schemas.microsoft.com/office/drawing/2014/main" id="{B197DC6E-8811-4226-8240-0118E47B260E}"/>
                </a:ext>
              </a:extLst>
            </p:cNvPr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6392863" y="1512889"/>
              <a:ext cx="42862" cy="58737"/>
            </a:xfrm>
            <a:custGeom>
              <a:avLst/>
              <a:gdLst>
                <a:gd name="T0" fmla="*/ 22946 w 99"/>
                <a:gd name="T1" fmla="*/ 2303 h 51"/>
                <a:gd name="T2" fmla="*/ 25111 w 99"/>
                <a:gd name="T3" fmla="*/ 1152 h 51"/>
                <a:gd name="T4" fmla="*/ 26843 w 99"/>
                <a:gd name="T5" fmla="*/ 0 h 51"/>
                <a:gd name="T6" fmla="*/ 28142 w 99"/>
                <a:gd name="T7" fmla="*/ 0 h 51"/>
                <a:gd name="T8" fmla="*/ 29874 w 99"/>
                <a:gd name="T9" fmla="*/ 1152 h 51"/>
                <a:gd name="T10" fmla="*/ 32038 w 99"/>
                <a:gd name="T11" fmla="*/ 5759 h 51"/>
                <a:gd name="T12" fmla="*/ 34203 w 99"/>
                <a:gd name="T13" fmla="*/ 12669 h 51"/>
                <a:gd name="T14" fmla="*/ 35935 w 99"/>
                <a:gd name="T15" fmla="*/ 20731 h 51"/>
                <a:gd name="T16" fmla="*/ 37667 w 99"/>
                <a:gd name="T17" fmla="*/ 28793 h 51"/>
                <a:gd name="T18" fmla="*/ 39398 w 99"/>
                <a:gd name="T19" fmla="*/ 32248 h 51"/>
                <a:gd name="T20" fmla="*/ 40264 w 99"/>
                <a:gd name="T21" fmla="*/ 34551 h 51"/>
                <a:gd name="T22" fmla="*/ 41563 w 99"/>
                <a:gd name="T23" fmla="*/ 36855 h 51"/>
                <a:gd name="T24" fmla="*/ 42862 w 99"/>
                <a:gd name="T25" fmla="*/ 39158 h 51"/>
                <a:gd name="T26" fmla="*/ 42862 w 99"/>
                <a:gd name="T27" fmla="*/ 42613 h 51"/>
                <a:gd name="T28" fmla="*/ 41996 w 99"/>
                <a:gd name="T29" fmla="*/ 46068 h 51"/>
                <a:gd name="T30" fmla="*/ 41130 w 99"/>
                <a:gd name="T31" fmla="*/ 49523 h 51"/>
                <a:gd name="T32" fmla="*/ 39398 w 99"/>
                <a:gd name="T33" fmla="*/ 51827 h 51"/>
                <a:gd name="T34" fmla="*/ 37234 w 99"/>
                <a:gd name="T35" fmla="*/ 54130 h 51"/>
                <a:gd name="T36" fmla="*/ 35069 w 99"/>
                <a:gd name="T37" fmla="*/ 55282 h 51"/>
                <a:gd name="T38" fmla="*/ 32038 w 99"/>
                <a:gd name="T39" fmla="*/ 57585 h 51"/>
                <a:gd name="T40" fmla="*/ 29441 w 99"/>
                <a:gd name="T41" fmla="*/ 57585 h 51"/>
                <a:gd name="T42" fmla="*/ 22513 w 99"/>
                <a:gd name="T43" fmla="*/ 58737 h 51"/>
                <a:gd name="T44" fmla="*/ 15586 w 99"/>
                <a:gd name="T45" fmla="*/ 56434 h 51"/>
                <a:gd name="T46" fmla="*/ 11690 w 99"/>
                <a:gd name="T47" fmla="*/ 55282 h 51"/>
                <a:gd name="T48" fmla="*/ 7793 w 99"/>
                <a:gd name="T49" fmla="*/ 51827 h 51"/>
                <a:gd name="T50" fmla="*/ 3897 w 99"/>
                <a:gd name="T51" fmla="*/ 49523 h 51"/>
                <a:gd name="T52" fmla="*/ 433 w 99"/>
                <a:gd name="T53" fmla="*/ 46068 h 51"/>
                <a:gd name="T54" fmla="*/ 0 w 99"/>
                <a:gd name="T55" fmla="*/ 44917 h 51"/>
                <a:gd name="T56" fmla="*/ 433 w 99"/>
                <a:gd name="T57" fmla="*/ 42613 h 51"/>
                <a:gd name="T58" fmla="*/ 1299 w 99"/>
                <a:gd name="T59" fmla="*/ 40310 h 51"/>
                <a:gd name="T60" fmla="*/ 2598 w 99"/>
                <a:gd name="T61" fmla="*/ 38006 h 51"/>
                <a:gd name="T62" fmla="*/ 6061 w 99"/>
                <a:gd name="T63" fmla="*/ 33399 h 51"/>
                <a:gd name="T64" fmla="*/ 10824 w 99"/>
                <a:gd name="T65" fmla="*/ 27641 h 51"/>
                <a:gd name="T66" fmla="*/ 15153 w 99"/>
                <a:gd name="T67" fmla="*/ 21882 h 51"/>
                <a:gd name="T68" fmla="*/ 19483 w 99"/>
                <a:gd name="T69" fmla="*/ 13820 h 51"/>
                <a:gd name="T70" fmla="*/ 20782 w 99"/>
                <a:gd name="T71" fmla="*/ 11517 h 51"/>
                <a:gd name="T72" fmla="*/ 22080 w 99"/>
                <a:gd name="T73" fmla="*/ 8062 h 51"/>
                <a:gd name="T74" fmla="*/ 22513 w 99"/>
                <a:gd name="T75" fmla="*/ 5759 h 51"/>
                <a:gd name="T76" fmla="*/ 22946 w 99"/>
                <a:gd name="T77" fmla="*/ 2303 h 5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12" name="Freeform 521">
              <a:extLst>
                <a:ext uri="{FF2B5EF4-FFF2-40B4-BE49-F238E27FC236}">
                  <a16:creationId xmlns:a16="http://schemas.microsoft.com/office/drawing/2014/main" id="{CFCC9279-0868-4BD7-BE85-56C2239A6D15}"/>
                </a:ext>
              </a:extLst>
            </p:cNvPr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6427788" y="1325563"/>
              <a:ext cx="228600" cy="163512"/>
            </a:xfrm>
            <a:custGeom>
              <a:avLst/>
              <a:gdLst>
                <a:gd name="T0" fmla="*/ 137160 w 525"/>
                <a:gd name="T1" fmla="*/ 14196 h 311"/>
                <a:gd name="T2" fmla="*/ 148917 w 525"/>
                <a:gd name="T3" fmla="*/ 11041 h 311"/>
                <a:gd name="T4" fmla="*/ 167640 w 525"/>
                <a:gd name="T5" fmla="*/ 10515 h 311"/>
                <a:gd name="T6" fmla="*/ 177655 w 525"/>
                <a:gd name="T7" fmla="*/ 8938 h 311"/>
                <a:gd name="T8" fmla="*/ 185928 w 525"/>
                <a:gd name="T9" fmla="*/ 3680 h 311"/>
                <a:gd name="T10" fmla="*/ 223810 w 525"/>
                <a:gd name="T11" fmla="*/ 3155 h 311"/>
                <a:gd name="T12" fmla="*/ 228600 w 525"/>
                <a:gd name="T13" fmla="*/ 9989 h 311"/>
                <a:gd name="T14" fmla="*/ 203781 w 525"/>
                <a:gd name="T15" fmla="*/ 24711 h 311"/>
                <a:gd name="T16" fmla="*/ 170688 w 525"/>
                <a:gd name="T17" fmla="*/ 38381 h 311"/>
                <a:gd name="T18" fmla="*/ 155013 w 525"/>
                <a:gd name="T19" fmla="*/ 42061 h 311"/>
                <a:gd name="T20" fmla="*/ 139773 w 525"/>
                <a:gd name="T21" fmla="*/ 43638 h 311"/>
                <a:gd name="T22" fmla="*/ 121485 w 525"/>
                <a:gd name="T23" fmla="*/ 53102 h 311"/>
                <a:gd name="T24" fmla="*/ 106245 w 525"/>
                <a:gd name="T25" fmla="*/ 63617 h 311"/>
                <a:gd name="T26" fmla="*/ 94923 w 525"/>
                <a:gd name="T27" fmla="*/ 67823 h 311"/>
                <a:gd name="T28" fmla="*/ 81425 w 525"/>
                <a:gd name="T29" fmla="*/ 64669 h 311"/>
                <a:gd name="T30" fmla="*/ 77506 w 525"/>
                <a:gd name="T31" fmla="*/ 72029 h 311"/>
                <a:gd name="T32" fmla="*/ 76200 w 525"/>
                <a:gd name="T33" fmla="*/ 76235 h 311"/>
                <a:gd name="T34" fmla="*/ 80554 w 525"/>
                <a:gd name="T35" fmla="*/ 77813 h 311"/>
                <a:gd name="T36" fmla="*/ 80119 w 525"/>
                <a:gd name="T37" fmla="*/ 82545 h 311"/>
                <a:gd name="T38" fmla="*/ 76635 w 525"/>
                <a:gd name="T39" fmla="*/ 87802 h 311"/>
                <a:gd name="T40" fmla="*/ 78377 w 525"/>
                <a:gd name="T41" fmla="*/ 94111 h 311"/>
                <a:gd name="T42" fmla="*/ 70539 w 525"/>
                <a:gd name="T43" fmla="*/ 101998 h 311"/>
                <a:gd name="T44" fmla="*/ 62702 w 525"/>
                <a:gd name="T45" fmla="*/ 107255 h 311"/>
                <a:gd name="T46" fmla="*/ 61395 w 525"/>
                <a:gd name="T47" fmla="*/ 111987 h 311"/>
                <a:gd name="T48" fmla="*/ 62702 w 525"/>
                <a:gd name="T49" fmla="*/ 119874 h 311"/>
                <a:gd name="T50" fmla="*/ 70975 w 525"/>
                <a:gd name="T51" fmla="*/ 129863 h 311"/>
                <a:gd name="T52" fmla="*/ 83167 w 525"/>
                <a:gd name="T53" fmla="*/ 140378 h 311"/>
                <a:gd name="T54" fmla="*/ 111470 w 525"/>
                <a:gd name="T55" fmla="*/ 157729 h 311"/>
                <a:gd name="T56" fmla="*/ 105809 w 525"/>
                <a:gd name="T57" fmla="*/ 163512 h 311"/>
                <a:gd name="T58" fmla="*/ 82296 w 525"/>
                <a:gd name="T59" fmla="*/ 162460 h 311"/>
                <a:gd name="T60" fmla="*/ 63137 w 525"/>
                <a:gd name="T61" fmla="*/ 161935 h 311"/>
                <a:gd name="T62" fmla="*/ 56170 w 525"/>
                <a:gd name="T63" fmla="*/ 159832 h 311"/>
                <a:gd name="T64" fmla="*/ 53558 w 525"/>
                <a:gd name="T65" fmla="*/ 156677 h 311"/>
                <a:gd name="T66" fmla="*/ 52251 w 525"/>
                <a:gd name="T67" fmla="*/ 148265 h 311"/>
                <a:gd name="T68" fmla="*/ 50510 w 525"/>
                <a:gd name="T69" fmla="*/ 146162 h 311"/>
                <a:gd name="T70" fmla="*/ 41366 w 525"/>
                <a:gd name="T71" fmla="*/ 145636 h 311"/>
                <a:gd name="T72" fmla="*/ 34834 w 525"/>
                <a:gd name="T73" fmla="*/ 155626 h 311"/>
                <a:gd name="T74" fmla="*/ 19159 w 525"/>
                <a:gd name="T75" fmla="*/ 148265 h 311"/>
                <a:gd name="T76" fmla="*/ 0 w 525"/>
                <a:gd name="T77" fmla="*/ 129337 h 311"/>
                <a:gd name="T78" fmla="*/ 7838 w 525"/>
                <a:gd name="T79" fmla="*/ 125657 h 311"/>
                <a:gd name="T80" fmla="*/ 14805 w 525"/>
                <a:gd name="T81" fmla="*/ 116719 h 311"/>
                <a:gd name="T82" fmla="*/ 12192 w 525"/>
                <a:gd name="T83" fmla="*/ 111987 h 311"/>
                <a:gd name="T84" fmla="*/ 14805 w 525"/>
                <a:gd name="T85" fmla="*/ 105152 h 311"/>
                <a:gd name="T86" fmla="*/ 17417 w 525"/>
                <a:gd name="T87" fmla="*/ 98843 h 311"/>
                <a:gd name="T88" fmla="*/ 14805 w 525"/>
                <a:gd name="T89" fmla="*/ 94111 h 311"/>
                <a:gd name="T90" fmla="*/ 58347 w 525"/>
                <a:gd name="T91" fmla="*/ 94111 h 311"/>
                <a:gd name="T92" fmla="*/ 57041 w 525"/>
                <a:gd name="T93" fmla="*/ 93060 h 311"/>
                <a:gd name="T94" fmla="*/ 39189 w 525"/>
                <a:gd name="T95" fmla="*/ 87277 h 311"/>
                <a:gd name="T96" fmla="*/ 23513 w 525"/>
                <a:gd name="T97" fmla="*/ 77813 h 311"/>
                <a:gd name="T98" fmla="*/ 36576 w 525"/>
                <a:gd name="T99" fmla="*/ 70452 h 311"/>
                <a:gd name="T100" fmla="*/ 52251 w 525"/>
                <a:gd name="T101" fmla="*/ 58360 h 311"/>
                <a:gd name="T102" fmla="*/ 48333 w 525"/>
                <a:gd name="T103" fmla="*/ 54153 h 311"/>
                <a:gd name="T104" fmla="*/ 43543 w 525"/>
                <a:gd name="T105" fmla="*/ 42061 h 311"/>
                <a:gd name="T106" fmla="*/ 55299 w 525"/>
                <a:gd name="T107" fmla="*/ 39958 h 311"/>
                <a:gd name="T108" fmla="*/ 80119 w 525"/>
                <a:gd name="T109" fmla="*/ 30494 h 311"/>
                <a:gd name="T110" fmla="*/ 110599 w 525"/>
                <a:gd name="T111" fmla="*/ 18402 h 31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13" name="Freeform 522">
              <a:extLst>
                <a:ext uri="{FF2B5EF4-FFF2-40B4-BE49-F238E27FC236}">
                  <a16:creationId xmlns:a16="http://schemas.microsoft.com/office/drawing/2014/main" id="{9EDA550E-3785-4DCD-BDD4-073E9856BBD2}"/>
                </a:ext>
              </a:extLst>
            </p:cNvPr>
            <p:cNvSpPr>
              <a:spLocks/>
            </p:cNvSpPr>
            <p:nvPr>
              <p:custDataLst>
                <p:tags r:id="rId360"/>
              </p:custDataLst>
            </p:nvPr>
          </p:nvSpPr>
          <p:spPr bwMode="auto">
            <a:xfrm>
              <a:off x="6219825" y="1636713"/>
              <a:ext cx="31750" cy="55562"/>
            </a:xfrm>
            <a:custGeom>
              <a:avLst/>
              <a:gdLst>
                <a:gd name="T0" fmla="*/ 18487 w 79"/>
                <a:gd name="T1" fmla="*/ 0 h 38"/>
                <a:gd name="T2" fmla="*/ 21703 w 79"/>
                <a:gd name="T3" fmla="*/ 1462 h 38"/>
                <a:gd name="T4" fmla="*/ 24918 w 79"/>
                <a:gd name="T5" fmla="*/ 4386 h 38"/>
                <a:gd name="T6" fmla="*/ 27329 w 79"/>
                <a:gd name="T7" fmla="*/ 10235 h 38"/>
                <a:gd name="T8" fmla="*/ 28937 w 79"/>
                <a:gd name="T9" fmla="*/ 17546 h 38"/>
                <a:gd name="T10" fmla="*/ 30142 w 79"/>
                <a:gd name="T11" fmla="*/ 24857 h 38"/>
                <a:gd name="T12" fmla="*/ 30946 w 79"/>
                <a:gd name="T13" fmla="*/ 32167 h 38"/>
                <a:gd name="T14" fmla="*/ 31750 w 79"/>
                <a:gd name="T15" fmla="*/ 39478 h 38"/>
                <a:gd name="T16" fmla="*/ 31750 w 79"/>
                <a:gd name="T17" fmla="*/ 46789 h 38"/>
                <a:gd name="T18" fmla="*/ 30946 w 79"/>
                <a:gd name="T19" fmla="*/ 49713 h 38"/>
                <a:gd name="T20" fmla="*/ 30142 w 79"/>
                <a:gd name="T21" fmla="*/ 51176 h 38"/>
                <a:gd name="T22" fmla="*/ 28937 w 79"/>
                <a:gd name="T23" fmla="*/ 52638 h 38"/>
                <a:gd name="T24" fmla="*/ 27329 w 79"/>
                <a:gd name="T25" fmla="*/ 54100 h 38"/>
                <a:gd name="T26" fmla="*/ 22908 w 79"/>
                <a:gd name="T27" fmla="*/ 55562 h 38"/>
                <a:gd name="T28" fmla="*/ 18487 w 79"/>
                <a:gd name="T29" fmla="*/ 55562 h 38"/>
                <a:gd name="T30" fmla="*/ 15272 w 79"/>
                <a:gd name="T31" fmla="*/ 54100 h 38"/>
                <a:gd name="T32" fmla="*/ 12057 w 79"/>
                <a:gd name="T33" fmla="*/ 52638 h 38"/>
                <a:gd name="T34" fmla="*/ 8440 w 79"/>
                <a:gd name="T35" fmla="*/ 51176 h 38"/>
                <a:gd name="T36" fmla="*/ 6028 w 79"/>
                <a:gd name="T37" fmla="*/ 46789 h 38"/>
                <a:gd name="T38" fmla="*/ 3215 w 79"/>
                <a:gd name="T39" fmla="*/ 42403 h 38"/>
                <a:gd name="T40" fmla="*/ 1608 w 79"/>
                <a:gd name="T41" fmla="*/ 36554 h 38"/>
                <a:gd name="T42" fmla="*/ 804 w 79"/>
                <a:gd name="T43" fmla="*/ 32167 h 38"/>
                <a:gd name="T44" fmla="*/ 402 w 79"/>
                <a:gd name="T45" fmla="*/ 29243 h 38"/>
                <a:gd name="T46" fmla="*/ 0 w 79"/>
                <a:gd name="T47" fmla="*/ 24857 h 38"/>
                <a:gd name="T48" fmla="*/ 0 w 79"/>
                <a:gd name="T49" fmla="*/ 19008 h 38"/>
                <a:gd name="T50" fmla="*/ 402 w 79"/>
                <a:gd name="T51" fmla="*/ 16084 h 38"/>
                <a:gd name="T52" fmla="*/ 1608 w 79"/>
                <a:gd name="T53" fmla="*/ 13159 h 38"/>
                <a:gd name="T54" fmla="*/ 4019 w 79"/>
                <a:gd name="T55" fmla="*/ 8773 h 38"/>
                <a:gd name="T56" fmla="*/ 6832 w 79"/>
                <a:gd name="T57" fmla="*/ 5849 h 38"/>
                <a:gd name="T58" fmla="*/ 12861 w 79"/>
                <a:gd name="T59" fmla="*/ 1462 h 38"/>
                <a:gd name="T60" fmla="*/ 18487 w 79"/>
                <a:gd name="T61" fmla="*/ 0 h 3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14" name="Freeform 523">
              <a:extLst>
                <a:ext uri="{FF2B5EF4-FFF2-40B4-BE49-F238E27FC236}">
                  <a16:creationId xmlns:a16="http://schemas.microsoft.com/office/drawing/2014/main" id="{A66A3E83-A06F-4A15-99C5-FECD7C82CB0B}"/>
                </a:ext>
              </a:extLst>
            </p:cNvPr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8524875" y="1933575"/>
              <a:ext cx="196850" cy="268288"/>
            </a:xfrm>
            <a:custGeom>
              <a:avLst/>
              <a:gdLst>
                <a:gd name="T0" fmla="*/ 11151 w 459"/>
                <a:gd name="T1" fmla="*/ 23626 h 511"/>
                <a:gd name="T2" fmla="*/ 5146 w 459"/>
                <a:gd name="T3" fmla="*/ 13126 h 511"/>
                <a:gd name="T4" fmla="*/ 0 w 459"/>
                <a:gd name="T5" fmla="*/ 0 h 511"/>
                <a:gd name="T6" fmla="*/ 9435 w 459"/>
                <a:gd name="T7" fmla="*/ 3675 h 511"/>
                <a:gd name="T8" fmla="*/ 14153 w 459"/>
                <a:gd name="T9" fmla="*/ 3150 h 511"/>
                <a:gd name="T10" fmla="*/ 40742 w 459"/>
                <a:gd name="T11" fmla="*/ 35177 h 511"/>
                <a:gd name="T12" fmla="*/ 62615 w 459"/>
                <a:gd name="T13" fmla="*/ 64578 h 511"/>
                <a:gd name="T14" fmla="*/ 92635 w 459"/>
                <a:gd name="T15" fmla="*/ 103955 h 511"/>
                <a:gd name="T16" fmla="*/ 110648 w 459"/>
                <a:gd name="T17" fmla="*/ 124431 h 511"/>
                <a:gd name="T18" fmla="*/ 129947 w 459"/>
                <a:gd name="T19" fmla="*/ 139657 h 511"/>
                <a:gd name="T20" fmla="*/ 159539 w 459"/>
                <a:gd name="T21" fmla="*/ 163283 h 511"/>
                <a:gd name="T22" fmla="*/ 170689 w 459"/>
                <a:gd name="T23" fmla="*/ 176409 h 511"/>
                <a:gd name="T24" fmla="*/ 156536 w 459"/>
                <a:gd name="T25" fmla="*/ 168008 h 511"/>
                <a:gd name="T26" fmla="*/ 138953 w 459"/>
                <a:gd name="T27" fmla="*/ 155408 h 511"/>
                <a:gd name="T28" fmla="*/ 134664 w 459"/>
                <a:gd name="T29" fmla="*/ 156458 h 511"/>
                <a:gd name="T30" fmla="*/ 134235 w 459"/>
                <a:gd name="T31" fmla="*/ 163283 h 511"/>
                <a:gd name="T32" fmla="*/ 135951 w 459"/>
                <a:gd name="T33" fmla="*/ 176934 h 511"/>
                <a:gd name="T34" fmla="*/ 139811 w 459"/>
                <a:gd name="T35" fmla="*/ 187959 h 511"/>
                <a:gd name="T36" fmla="*/ 149246 w 459"/>
                <a:gd name="T37" fmla="*/ 203185 h 511"/>
                <a:gd name="T38" fmla="*/ 168974 w 459"/>
                <a:gd name="T39" fmla="*/ 221036 h 511"/>
                <a:gd name="T40" fmla="*/ 188702 w 459"/>
                <a:gd name="T41" fmla="*/ 240462 h 511"/>
                <a:gd name="T42" fmla="*/ 192132 w 459"/>
                <a:gd name="T43" fmla="*/ 249912 h 511"/>
                <a:gd name="T44" fmla="*/ 183555 w 459"/>
                <a:gd name="T45" fmla="*/ 246237 h 511"/>
                <a:gd name="T46" fmla="*/ 168116 w 459"/>
                <a:gd name="T47" fmla="*/ 242562 h 511"/>
                <a:gd name="T48" fmla="*/ 168545 w 459"/>
                <a:gd name="T49" fmla="*/ 259363 h 511"/>
                <a:gd name="T50" fmla="*/ 170689 w 459"/>
                <a:gd name="T51" fmla="*/ 268288 h 511"/>
                <a:gd name="T52" fmla="*/ 166400 w 459"/>
                <a:gd name="T53" fmla="*/ 258313 h 511"/>
                <a:gd name="T54" fmla="*/ 155679 w 459"/>
                <a:gd name="T55" fmla="*/ 244662 h 511"/>
                <a:gd name="T56" fmla="*/ 147101 w 459"/>
                <a:gd name="T57" fmla="*/ 233636 h 511"/>
                <a:gd name="T58" fmla="*/ 145386 w 459"/>
                <a:gd name="T59" fmla="*/ 226286 h 511"/>
                <a:gd name="T60" fmla="*/ 140668 w 459"/>
                <a:gd name="T61" fmla="*/ 215785 h 511"/>
                <a:gd name="T62" fmla="*/ 132949 w 459"/>
                <a:gd name="T63" fmla="*/ 201610 h 511"/>
                <a:gd name="T64" fmla="*/ 127802 w 459"/>
                <a:gd name="T65" fmla="*/ 192684 h 511"/>
                <a:gd name="T66" fmla="*/ 120083 w 459"/>
                <a:gd name="T67" fmla="*/ 187959 h 511"/>
                <a:gd name="T68" fmla="*/ 113221 w 459"/>
                <a:gd name="T69" fmla="*/ 180084 h 511"/>
                <a:gd name="T70" fmla="*/ 106788 w 459"/>
                <a:gd name="T71" fmla="*/ 164858 h 511"/>
                <a:gd name="T72" fmla="*/ 105072 w 459"/>
                <a:gd name="T73" fmla="*/ 153832 h 511"/>
                <a:gd name="T74" fmla="*/ 100355 w 459"/>
                <a:gd name="T75" fmla="*/ 147532 h 511"/>
                <a:gd name="T76" fmla="*/ 83200 w 459"/>
                <a:gd name="T77" fmla="*/ 128106 h 511"/>
                <a:gd name="T78" fmla="*/ 73336 w 459"/>
                <a:gd name="T79" fmla="*/ 115506 h 511"/>
                <a:gd name="T80" fmla="*/ 69905 w 459"/>
                <a:gd name="T81" fmla="*/ 106580 h 511"/>
                <a:gd name="T82" fmla="*/ 66046 w 459"/>
                <a:gd name="T83" fmla="*/ 98180 h 511"/>
                <a:gd name="T84" fmla="*/ 49320 w 459"/>
                <a:gd name="T85" fmla="*/ 81379 h 511"/>
                <a:gd name="T86" fmla="*/ 30021 w 459"/>
                <a:gd name="T87" fmla="*/ 68253 h 511"/>
                <a:gd name="T88" fmla="*/ 20157 w 459"/>
                <a:gd name="T89" fmla="*/ 57753 h 511"/>
                <a:gd name="T90" fmla="*/ 16297 w 459"/>
                <a:gd name="T91" fmla="*/ 48827 h 511"/>
                <a:gd name="T92" fmla="*/ 14581 w 459"/>
                <a:gd name="T93" fmla="*/ 39377 h 51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915" name="Group 524">
              <a:extLst>
                <a:ext uri="{FF2B5EF4-FFF2-40B4-BE49-F238E27FC236}">
                  <a16:creationId xmlns:a16="http://schemas.microsoft.com/office/drawing/2014/main" id="{8D0A15E7-2EC7-4442-8B40-EF579014C8E8}"/>
                </a:ext>
              </a:extLst>
            </p:cNvPr>
            <p:cNvGrpSpPr>
              <a:grpSpLocks/>
            </p:cNvGrpSpPr>
            <p:nvPr>
              <p:custDataLst>
                <p:tags r:id="rId362"/>
              </p:custDataLst>
            </p:nvPr>
          </p:nvGrpSpPr>
          <p:grpSpPr bwMode="auto">
            <a:xfrm>
              <a:off x="7315201" y="1889126"/>
              <a:ext cx="671513" cy="384175"/>
              <a:chOff x="4115" y="1551"/>
              <a:chExt cx="504" cy="244"/>
            </a:xfrm>
          </p:grpSpPr>
          <p:sp>
            <p:nvSpPr>
              <p:cNvPr id="940" name="Freeform 525">
                <a:extLst>
                  <a:ext uri="{FF2B5EF4-FFF2-40B4-BE49-F238E27FC236}">
                    <a16:creationId xmlns:a16="http://schemas.microsoft.com/office/drawing/2014/main" id="{9D066FAF-1FD5-425C-9077-66FF9598E7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4 w 240"/>
                  <a:gd name="T1" fmla="*/ 82 h 259"/>
                  <a:gd name="T2" fmla="*/ 26 w 240"/>
                  <a:gd name="T3" fmla="*/ 86 h 259"/>
                  <a:gd name="T4" fmla="*/ 40 w 240"/>
                  <a:gd name="T5" fmla="*/ 80 h 259"/>
                  <a:gd name="T6" fmla="*/ 44 w 240"/>
                  <a:gd name="T7" fmla="*/ 70 h 259"/>
                  <a:gd name="T8" fmla="*/ 63 w 240"/>
                  <a:gd name="T9" fmla="*/ 53 h 259"/>
                  <a:gd name="T10" fmla="*/ 70 w 240"/>
                  <a:gd name="T11" fmla="*/ 37 h 259"/>
                  <a:gd name="T12" fmla="*/ 79 w 240"/>
                  <a:gd name="T13" fmla="*/ 9 h 259"/>
                  <a:gd name="T14" fmla="*/ 70 w 240"/>
                  <a:gd name="T15" fmla="*/ 0 h 259"/>
                  <a:gd name="T16" fmla="*/ 68 w 240"/>
                  <a:gd name="T17" fmla="*/ 11 h 259"/>
                  <a:gd name="T18" fmla="*/ 66 w 240"/>
                  <a:gd name="T19" fmla="*/ 25 h 259"/>
                  <a:gd name="T20" fmla="*/ 55 w 240"/>
                  <a:gd name="T21" fmla="*/ 35 h 259"/>
                  <a:gd name="T22" fmla="*/ 44 w 240"/>
                  <a:gd name="T23" fmla="*/ 49 h 259"/>
                  <a:gd name="T24" fmla="*/ 37 w 240"/>
                  <a:gd name="T25" fmla="*/ 59 h 259"/>
                  <a:gd name="T26" fmla="*/ 31 w 240"/>
                  <a:gd name="T27" fmla="*/ 72 h 259"/>
                  <a:gd name="T28" fmla="*/ 7 w 240"/>
                  <a:gd name="T29" fmla="*/ 74 h 259"/>
                  <a:gd name="T30" fmla="*/ 0 w 240"/>
                  <a:gd name="T31" fmla="*/ 74 h 259"/>
                  <a:gd name="T32" fmla="*/ 4 w 240"/>
                  <a:gd name="T33" fmla="*/ 82 h 25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41" name="Freeform 526">
                <a:extLst>
                  <a:ext uri="{FF2B5EF4-FFF2-40B4-BE49-F238E27FC236}">
                    <a16:creationId xmlns:a16="http://schemas.microsoft.com/office/drawing/2014/main" id="{4F2ED8D2-65A0-4722-B476-4A3BBA7EC5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11 w 259"/>
                  <a:gd name="T1" fmla="*/ 34 h 104"/>
                  <a:gd name="T2" fmla="*/ 8 w 259"/>
                  <a:gd name="T3" fmla="*/ 28 h 104"/>
                  <a:gd name="T4" fmla="*/ 17 w 259"/>
                  <a:gd name="T5" fmla="*/ 20 h 104"/>
                  <a:gd name="T6" fmla="*/ 23 w 259"/>
                  <a:gd name="T7" fmla="*/ 16 h 104"/>
                  <a:gd name="T8" fmla="*/ 41 w 259"/>
                  <a:gd name="T9" fmla="*/ 14 h 104"/>
                  <a:gd name="T10" fmla="*/ 56 w 259"/>
                  <a:gd name="T11" fmla="*/ 14 h 104"/>
                  <a:gd name="T12" fmla="*/ 80 w 259"/>
                  <a:gd name="T13" fmla="*/ 10 h 104"/>
                  <a:gd name="T14" fmla="*/ 84 w 259"/>
                  <a:gd name="T15" fmla="*/ 2 h 104"/>
                  <a:gd name="T16" fmla="*/ 80 w 259"/>
                  <a:gd name="T17" fmla="*/ 0 h 104"/>
                  <a:gd name="T18" fmla="*/ 66 w 259"/>
                  <a:gd name="T19" fmla="*/ 4 h 104"/>
                  <a:gd name="T20" fmla="*/ 49 w 259"/>
                  <a:gd name="T21" fmla="*/ 2 h 104"/>
                  <a:gd name="T22" fmla="*/ 34 w 259"/>
                  <a:gd name="T23" fmla="*/ 4 h 104"/>
                  <a:gd name="T24" fmla="*/ 17 w 259"/>
                  <a:gd name="T25" fmla="*/ 6 h 104"/>
                  <a:gd name="T26" fmla="*/ 8 w 259"/>
                  <a:gd name="T27" fmla="*/ 14 h 104"/>
                  <a:gd name="T28" fmla="*/ 0 w 259"/>
                  <a:gd name="T29" fmla="*/ 22 h 104"/>
                  <a:gd name="T30" fmla="*/ 0 w 259"/>
                  <a:gd name="T31" fmla="*/ 34 h 104"/>
                  <a:gd name="T32" fmla="*/ 11 w 259"/>
                  <a:gd name="T33" fmla="*/ 34 h 10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916" name="Freeform 527">
              <a:extLst>
                <a:ext uri="{FF2B5EF4-FFF2-40B4-BE49-F238E27FC236}">
                  <a16:creationId xmlns:a16="http://schemas.microsoft.com/office/drawing/2014/main" id="{4FDAB959-46D1-4CF1-ACB6-53191A33DF67}"/>
                </a:ext>
              </a:extLst>
            </p:cNvPr>
            <p:cNvSpPr>
              <a:spLocks/>
            </p:cNvSpPr>
            <p:nvPr>
              <p:custDataLst>
                <p:tags r:id="rId363"/>
              </p:custDataLst>
            </p:nvPr>
          </p:nvSpPr>
          <p:spPr bwMode="auto">
            <a:xfrm>
              <a:off x="6372226" y="2638426"/>
              <a:ext cx="530225" cy="511175"/>
            </a:xfrm>
            <a:custGeom>
              <a:avLst/>
              <a:gdLst>
                <a:gd name="T0" fmla="*/ 402746 w 1227"/>
                <a:gd name="T1" fmla="*/ 243317 h 979"/>
                <a:gd name="T2" fmla="*/ 402746 w 1227"/>
                <a:gd name="T3" fmla="*/ 230786 h 979"/>
                <a:gd name="T4" fmla="*/ 401882 w 1227"/>
                <a:gd name="T5" fmla="*/ 215122 h 979"/>
                <a:gd name="T6" fmla="*/ 392375 w 1227"/>
                <a:gd name="T7" fmla="*/ 201024 h 979"/>
                <a:gd name="T8" fmla="*/ 388486 w 1227"/>
                <a:gd name="T9" fmla="*/ 191625 h 979"/>
                <a:gd name="T10" fmla="*/ 353051 w 1227"/>
                <a:gd name="T11" fmla="*/ 162908 h 979"/>
                <a:gd name="T12" fmla="*/ 327988 w 1227"/>
                <a:gd name="T13" fmla="*/ 137323 h 979"/>
                <a:gd name="T14" fmla="*/ 324963 w 1227"/>
                <a:gd name="T15" fmla="*/ 119570 h 979"/>
                <a:gd name="T16" fmla="*/ 313727 w 1227"/>
                <a:gd name="T17" fmla="*/ 113827 h 979"/>
                <a:gd name="T18" fmla="*/ 300331 w 1227"/>
                <a:gd name="T19" fmla="*/ 108083 h 979"/>
                <a:gd name="T20" fmla="*/ 275700 w 1227"/>
                <a:gd name="T21" fmla="*/ 102339 h 979"/>
                <a:gd name="T22" fmla="*/ 257550 w 1227"/>
                <a:gd name="T23" fmla="*/ 104950 h 979"/>
                <a:gd name="T24" fmla="*/ 246315 w 1227"/>
                <a:gd name="T25" fmla="*/ 106517 h 979"/>
                <a:gd name="T26" fmla="*/ 229030 w 1227"/>
                <a:gd name="T27" fmla="*/ 101817 h 979"/>
                <a:gd name="T28" fmla="*/ 218226 w 1227"/>
                <a:gd name="T29" fmla="*/ 93463 h 979"/>
                <a:gd name="T30" fmla="*/ 208719 w 1227"/>
                <a:gd name="T31" fmla="*/ 66834 h 979"/>
                <a:gd name="T32" fmla="*/ 200941 w 1227"/>
                <a:gd name="T33" fmla="*/ 53780 h 979"/>
                <a:gd name="T34" fmla="*/ 186681 w 1227"/>
                <a:gd name="T35" fmla="*/ 42293 h 979"/>
                <a:gd name="T36" fmla="*/ 157728 w 1227"/>
                <a:gd name="T37" fmla="*/ 31851 h 979"/>
                <a:gd name="T38" fmla="*/ 130936 w 1227"/>
                <a:gd name="T39" fmla="*/ 16708 h 979"/>
                <a:gd name="T40" fmla="*/ 92476 w 1227"/>
                <a:gd name="T41" fmla="*/ 5221 h 979"/>
                <a:gd name="T42" fmla="*/ 71734 w 1227"/>
                <a:gd name="T43" fmla="*/ 19841 h 979"/>
                <a:gd name="T44" fmla="*/ 65252 w 1227"/>
                <a:gd name="T45" fmla="*/ 31851 h 979"/>
                <a:gd name="T46" fmla="*/ 66116 w 1227"/>
                <a:gd name="T47" fmla="*/ 46993 h 979"/>
                <a:gd name="T48" fmla="*/ 73030 w 1227"/>
                <a:gd name="T49" fmla="*/ 61613 h 979"/>
                <a:gd name="T50" fmla="*/ 65252 w 1227"/>
                <a:gd name="T51" fmla="*/ 78321 h 979"/>
                <a:gd name="T52" fmla="*/ 41052 w 1227"/>
                <a:gd name="T53" fmla="*/ 97118 h 979"/>
                <a:gd name="T54" fmla="*/ 23335 w 1227"/>
                <a:gd name="T55" fmla="*/ 99207 h 979"/>
                <a:gd name="T56" fmla="*/ 3889 w 1227"/>
                <a:gd name="T57" fmla="*/ 95552 h 979"/>
                <a:gd name="T58" fmla="*/ 0 w 1227"/>
                <a:gd name="T59" fmla="*/ 123225 h 979"/>
                <a:gd name="T60" fmla="*/ 3889 w 1227"/>
                <a:gd name="T61" fmla="*/ 140456 h 979"/>
                <a:gd name="T62" fmla="*/ 10803 w 1227"/>
                <a:gd name="T63" fmla="*/ 147243 h 979"/>
                <a:gd name="T64" fmla="*/ 17285 w 1227"/>
                <a:gd name="T65" fmla="*/ 160297 h 979"/>
                <a:gd name="T66" fmla="*/ 35867 w 1227"/>
                <a:gd name="T67" fmla="*/ 190059 h 979"/>
                <a:gd name="T68" fmla="*/ 44077 w 1227"/>
                <a:gd name="T69" fmla="*/ 216166 h 979"/>
                <a:gd name="T70" fmla="*/ 52288 w 1227"/>
                <a:gd name="T71" fmla="*/ 222954 h 979"/>
                <a:gd name="T72" fmla="*/ 57473 w 1227"/>
                <a:gd name="T73" fmla="*/ 228697 h 979"/>
                <a:gd name="T74" fmla="*/ 63955 w 1227"/>
                <a:gd name="T75" fmla="*/ 244884 h 979"/>
                <a:gd name="T76" fmla="*/ 96797 w 1227"/>
                <a:gd name="T77" fmla="*/ 285088 h 979"/>
                <a:gd name="T78" fmla="*/ 107601 w 1227"/>
                <a:gd name="T79" fmla="*/ 305452 h 979"/>
                <a:gd name="T80" fmla="*/ 110626 w 1227"/>
                <a:gd name="T81" fmla="*/ 325815 h 979"/>
                <a:gd name="T82" fmla="*/ 114947 w 1227"/>
                <a:gd name="T83" fmla="*/ 344090 h 979"/>
                <a:gd name="T84" fmla="*/ 129207 w 1227"/>
                <a:gd name="T85" fmla="*/ 366020 h 979"/>
                <a:gd name="T86" fmla="*/ 155999 w 1227"/>
                <a:gd name="T87" fmla="*/ 397348 h 979"/>
                <a:gd name="T88" fmla="*/ 167667 w 1227"/>
                <a:gd name="T89" fmla="*/ 425022 h 979"/>
                <a:gd name="T90" fmla="*/ 183656 w 1227"/>
                <a:gd name="T91" fmla="*/ 452695 h 979"/>
                <a:gd name="T92" fmla="*/ 208719 w 1227"/>
                <a:gd name="T93" fmla="*/ 489767 h 979"/>
                <a:gd name="T94" fmla="*/ 228165 w 1227"/>
                <a:gd name="T95" fmla="*/ 511175 h 979"/>
                <a:gd name="T96" fmla="*/ 234647 w 1227"/>
                <a:gd name="T97" fmla="*/ 497599 h 979"/>
                <a:gd name="T98" fmla="*/ 235944 w 1227"/>
                <a:gd name="T99" fmla="*/ 474625 h 979"/>
                <a:gd name="T100" fmla="*/ 246315 w 1227"/>
                <a:gd name="T101" fmla="*/ 467837 h 979"/>
                <a:gd name="T102" fmla="*/ 261439 w 1227"/>
                <a:gd name="T103" fmla="*/ 467315 h 979"/>
                <a:gd name="T104" fmla="*/ 285207 w 1227"/>
                <a:gd name="T105" fmla="*/ 474625 h 979"/>
                <a:gd name="T106" fmla="*/ 305949 w 1227"/>
                <a:gd name="T107" fmla="*/ 492378 h 979"/>
                <a:gd name="T108" fmla="*/ 340087 w 1227"/>
                <a:gd name="T109" fmla="*/ 437553 h 979"/>
                <a:gd name="T110" fmla="*/ 518125 w 1227"/>
                <a:gd name="T111" fmla="*/ 296053 h 979"/>
                <a:gd name="T112" fmla="*/ 406203 w 1227"/>
                <a:gd name="T113" fmla="*/ 244361 h 97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17" name="Freeform 528">
              <a:extLst>
                <a:ext uri="{FF2B5EF4-FFF2-40B4-BE49-F238E27FC236}">
                  <a16:creationId xmlns:a16="http://schemas.microsoft.com/office/drawing/2014/main" id="{8B1F6643-6B6E-4C24-900D-21A5EBD3A68F}"/>
                </a:ext>
              </a:extLst>
            </p:cNvPr>
            <p:cNvSpPr>
              <a:spLocks/>
            </p:cNvSpPr>
            <p:nvPr>
              <p:custDataLst>
                <p:tags r:id="rId364"/>
              </p:custDataLst>
            </p:nvPr>
          </p:nvSpPr>
          <p:spPr bwMode="auto">
            <a:xfrm>
              <a:off x="5846763" y="2182813"/>
              <a:ext cx="57150" cy="57150"/>
            </a:xfrm>
            <a:custGeom>
              <a:avLst/>
              <a:gdLst>
                <a:gd name="T0" fmla="*/ 57150 w 146"/>
                <a:gd name="T1" fmla="*/ 12700 h 81"/>
                <a:gd name="T2" fmla="*/ 54018 w 146"/>
                <a:gd name="T3" fmla="*/ 16933 h 81"/>
                <a:gd name="T4" fmla="*/ 50887 w 146"/>
                <a:gd name="T5" fmla="*/ 20461 h 81"/>
                <a:gd name="T6" fmla="*/ 48147 w 146"/>
                <a:gd name="T7" fmla="*/ 24694 h 81"/>
                <a:gd name="T8" fmla="*/ 46190 w 146"/>
                <a:gd name="T9" fmla="*/ 28928 h 81"/>
                <a:gd name="T10" fmla="*/ 42275 w 146"/>
                <a:gd name="T11" fmla="*/ 37394 h 81"/>
                <a:gd name="T12" fmla="*/ 38361 w 146"/>
                <a:gd name="T13" fmla="*/ 45156 h 81"/>
                <a:gd name="T14" fmla="*/ 36404 w 146"/>
                <a:gd name="T15" fmla="*/ 48683 h 81"/>
                <a:gd name="T16" fmla="*/ 33272 w 146"/>
                <a:gd name="T17" fmla="*/ 51506 h 81"/>
                <a:gd name="T18" fmla="*/ 29749 w 146"/>
                <a:gd name="T19" fmla="*/ 54328 h 81"/>
                <a:gd name="T20" fmla="*/ 25835 w 146"/>
                <a:gd name="T21" fmla="*/ 56444 h 81"/>
                <a:gd name="T22" fmla="*/ 20746 w 146"/>
                <a:gd name="T23" fmla="*/ 57150 h 81"/>
                <a:gd name="T24" fmla="*/ 15266 w 146"/>
                <a:gd name="T25" fmla="*/ 56444 h 81"/>
                <a:gd name="T26" fmla="*/ 8220 w 146"/>
                <a:gd name="T27" fmla="*/ 54328 h 81"/>
                <a:gd name="T28" fmla="*/ 0 w 146"/>
                <a:gd name="T29" fmla="*/ 52211 h 81"/>
                <a:gd name="T30" fmla="*/ 0 w 146"/>
                <a:gd name="T31" fmla="*/ 43744 h 81"/>
                <a:gd name="T32" fmla="*/ 0 w 146"/>
                <a:gd name="T33" fmla="*/ 34572 h 81"/>
                <a:gd name="T34" fmla="*/ 0 w 146"/>
                <a:gd name="T35" fmla="*/ 23989 h 81"/>
                <a:gd name="T36" fmla="*/ 0 w 146"/>
                <a:gd name="T37" fmla="*/ 12700 h 81"/>
                <a:gd name="T38" fmla="*/ 5480 w 146"/>
                <a:gd name="T39" fmla="*/ 12700 h 81"/>
                <a:gd name="T40" fmla="*/ 8612 w 146"/>
                <a:gd name="T41" fmla="*/ 12700 h 81"/>
                <a:gd name="T42" fmla="*/ 12135 w 146"/>
                <a:gd name="T43" fmla="*/ 12700 h 81"/>
                <a:gd name="T44" fmla="*/ 15658 w 146"/>
                <a:gd name="T45" fmla="*/ 12700 h 81"/>
                <a:gd name="T46" fmla="*/ 20355 w 146"/>
                <a:gd name="T47" fmla="*/ 12700 h 81"/>
                <a:gd name="T48" fmla="*/ 24661 w 146"/>
                <a:gd name="T49" fmla="*/ 11289 h 81"/>
                <a:gd name="T50" fmla="*/ 28575 w 146"/>
                <a:gd name="T51" fmla="*/ 9878 h 81"/>
                <a:gd name="T52" fmla="*/ 32489 w 146"/>
                <a:gd name="T53" fmla="*/ 7761 h 81"/>
                <a:gd name="T54" fmla="*/ 39535 w 146"/>
                <a:gd name="T55" fmla="*/ 3528 h 81"/>
                <a:gd name="T56" fmla="*/ 46973 w 146"/>
                <a:gd name="T57" fmla="*/ 0 h 81"/>
                <a:gd name="T58" fmla="*/ 50496 w 146"/>
                <a:gd name="T59" fmla="*/ 2822 h 81"/>
                <a:gd name="T60" fmla="*/ 52844 w 146"/>
                <a:gd name="T61" fmla="*/ 6350 h 81"/>
                <a:gd name="T62" fmla="*/ 55193 w 146"/>
                <a:gd name="T63" fmla="*/ 9878 h 81"/>
                <a:gd name="T64" fmla="*/ 57150 w 146"/>
                <a:gd name="T65" fmla="*/ 12700 h 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18" name="Freeform 529">
              <a:extLst>
                <a:ext uri="{FF2B5EF4-FFF2-40B4-BE49-F238E27FC236}">
                  <a16:creationId xmlns:a16="http://schemas.microsoft.com/office/drawing/2014/main" id="{0EA761A8-F2B6-4676-B887-86F90103C5DC}"/>
                </a:ext>
              </a:extLst>
            </p:cNvPr>
            <p:cNvSpPr>
              <a:spLocks/>
            </p:cNvSpPr>
            <p:nvPr>
              <p:custDataLst>
                <p:tags r:id="rId365"/>
              </p:custDataLst>
            </p:nvPr>
          </p:nvSpPr>
          <p:spPr bwMode="auto">
            <a:xfrm>
              <a:off x="5586414" y="2395538"/>
              <a:ext cx="15875" cy="57150"/>
            </a:xfrm>
            <a:custGeom>
              <a:avLst/>
              <a:gdLst>
                <a:gd name="T0" fmla="*/ 15875 w 34"/>
                <a:gd name="T1" fmla="*/ 57150 h 49"/>
                <a:gd name="T2" fmla="*/ 15875 w 34"/>
                <a:gd name="T3" fmla="*/ 39655 h 49"/>
                <a:gd name="T4" fmla="*/ 15875 w 34"/>
                <a:gd name="T5" fmla="*/ 29158 h 49"/>
                <a:gd name="T6" fmla="*/ 15408 w 34"/>
                <a:gd name="T7" fmla="*/ 24493 h 49"/>
                <a:gd name="T8" fmla="*/ 15408 w 34"/>
                <a:gd name="T9" fmla="*/ 19828 h 49"/>
                <a:gd name="T10" fmla="*/ 14474 w 34"/>
                <a:gd name="T11" fmla="*/ 17495 h 49"/>
                <a:gd name="T12" fmla="*/ 14007 w 34"/>
                <a:gd name="T13" fmla="*/ 13996 h 49"/>
                <a:gd name="T14" fmla="*/ 11673 w 34"/>
                <a:gd name="T15" fmla="*/ 9331 h 49"/>
                <a:gd name="T16" fmla="*/ 9805 w 34"/>
                <a:gd name="T17" fmla="*/ 0 h 49"/>
                <a:gd name="T18" fmla="*/ 3735 w 34"/>
                <a:gd name="T19" fmla="*/ 0 h 49"/>
                <a:gd name="T20" fmla="*/ 0 w 34"/>
                <a:gd name="T21" fmla="*/ 0 h 49"/>
                <a:gd name="T22" fmla="*/ 1401 w 34"/>
                <a:gd name="T23" fmla="*/ 12830 h 49"/>
                <a:gd name="T24" fmla="*/ 3268 w 34"/>
                <a:gd name="T25" fmla="*/ 23327 h 49"/>
                <a:gd name="T26" fmla="*/ 4669 w 34"/>
                <a:gd name="T27" fmla="*/ 31491 h 49"/>
                <a:gd name="T28" fmla="*/ 6537 w 34"/>
                <a:gd name="T29" fmla="*/ 39655 h 49"/>
                <a:gd name="T30" fmla="*/ 8871 w 34"/>
                <a:gd name="T31" fmla="*/ 45487 h 49"/>
                <a:gd name="T32" fmla="*/ 11206 w 34"/>
                <a:gd name="T33" fmla="*/ 50152 h 49"/>
                <a:gd name="T34" fmla="*/ 13540 w 34"/>
                <a:gd name="T35" fmla="*/ 53651 h 49"/>
                <a:gd name="T36" fmla="*/ 15875 w 34"/>
                <a:gd name="T37" fmla="*/ 57150 h 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19" name="Freeform 530">
              <a:extLst>
                <a:ext uri="{FF2B5EF4-FFF2-40B4-BE49-F238E27FC236}">
                  <a16:creationId xmlns:a16="http://schemas.microsoft.com/office/drawing/2014/main" id="{099C41DA-ACD1-4BFD-B330-6EF908802737}"/>
                </a:ext>
              </a:extLst>
            </p:cNvPr>
            <p:cNvSpPr>
              <a:spLocks/>
            </p:cNvSpPr>
            <p:nvPr>
              <p:custDataLst>
                <p:tags r:id="rId366"/>
              </p:custDataLst>
            </p:nvPr>
          </p:nvSpPr>
          <p:spPr bwMode="auto">
            <a:xfrm>
              <a:off x="5178426" y="2741613"/>
              <a:ext cx="28575" cy="57150"/>
            </a:xfrm>
            <a:custGeom>
              <a:avLst/>
              <a:gdLst>
                <a:gd name="T0" fmla="*/ 28575 w 60"/>
                <a:gd name="T1" fmla="*/ 0 h 74"/>
                <a:gd name="T2" fmla="*/ 26670 w 60"/>
                <a:gd name="T3" fmla="*/ 3089 h 74"/>
                <a:gd name="T4" fmla="*/ 24289 w 60"/>
                <a:gd name="T5" fmla="*/ 7723 h 74"/>
                <a:gd name="T6" fmla="*/ 22860 w 60"/>
                <a:gd name="T7" fmla="*/ 11584 h 74"/>
                <a:gd name="T8" fmla="*/ 21908 w 60"/>
                <a:gd name="T9" fmla="*/ 16218 h 74"/>
                <a:gd name="T10" fmla="*/ 19526 w 60"/>
                <a:gd name="T11" fmla="*/ 23941 h 74"/>
                <a:gd name="T12" fmla="*/ 17621 w 60"/>
                <a:gd name="T13" fmla="*/ 32436 h 74"/>
                <a:gd name="T14" fmla="*/ 16669 w 60"/>
                <a:gd name="T15" fmla="*/ 36298 h 74"/>
                <a:gd name="T16" fmla="*/ 15240 w 60"/>
                <a:gd name="T17" fmla="*/ 39387 h 74"/>
                <a:gd name="T18" fmla="*/ 13811 w 60"/>
                <a:gd name="T19" fmla="*/ 43249 h 74"/>
                <a:gd name="T20" fmla="*/ 11906 w 60"/>
                <a:gd name="T21" fmla="*/ 46338 h 74"/>
                <a:gd name="T22" fmla="*/ 9525 w 60"/>
                <a:gd name="T23" fmla="*/ 50199 h 74"/>
                <a:gd name="T24" fmla="*/ 7144 w 60"/>
                <a:gd name="T25" fmla="*/ 53289 h 74"/>
                <a:gd name="T26" fmla="*/ 3810 w 60"/>
                <a:gd name="T27" fmla="*/ 55605 h 74"/>
                <a:gd name="T28" fmla="*/ 0 w 60"/>
                <a:gd name="T29" fmla="*/ 57150 h 74"/>
                <a:gd name="T30" fmla="*/ 2381 w 60"/>
                <a:gd name="T31" fmla="*/ 46338 h 74"/>
                <a:gd name="T32" fmla="*/ 5715 w 60"/>
                <a:gd name="T33" fmla="*/ 36298 h 74"/>
                <a:gd name="T34" fmla="*/ 9049 w 60"/>
                <a:gd name="T35" fmla="*/ 26258 h 74"/>
                <a:gd name="T36" fmla="*/ 12859 w 60"/>
                <a:gd name="T37" fmla="*/ 17763 h 74"/>
                <a:gd name="T38" fmla="*/ 17145 w 60"/>
                <a:gd name="T39" fmla="*/ 10812 h 74"/>
                <a:gd name="T40" fmla="*/ 20479 w 60"/>
                <a:gd name="T41" fmla="*/ 4634 h 74"/>
                <a:gd name="T42" fmla="*/ 22860 w 60"/>
                <a:gd name="T43" fmla="*/ 2317 h 74"/>
                <a:gd name="T44" fmla="*/ 24765 w 60"/>
                <a:gd name="T45" fmla="*/ 772 h 74"/>
                <a:gd name="T46" fmla="*/ 26670 w 60"/>
                <a:gd name="T47" fmla="*/ 0 h 74"/>
                <a:gd name="T48" fmla="*/ 28575 w 60"/>
                <a:gd name="T49" fmla="*/ 0 h 7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20" name="Freeform 531">
              <a:extLst>
                <a:ext uri="{FF2B5EF4-FFF2-40B4-BE49-F238E27FC236}">
                  <a16:creationId xmlns:a16="http://schemas.microsoft.com/office/drawing/2014/main" id="{321C6C94-EA90-49DB-B6C2-99990F7C25E9}"/>
                </a:ext>
              </a:extLst>
            </p:cNvPr>
            <p:cNvSpPr>
              <a:spLocks/>
            </p:cNvSpPr>
            <p:nvPr>
              <p:custDataLst>
                <p:tags r:id="rId367"/>
              </p:custDataLst>
            </p:nvPr>
          </p:nvSpPr>
          <p:spPr bwMode="auto">
            <a:xfrm>
              <a:off x="5119688" y="2757489"/>
              <a:ext cx="23812" cy="60325"/>
            </a:xfrm>
            <a:custGeom>
              <a:avLst/>
              <a:gdLst>
                <a:gd name="T0" fmla="*/ 6586 w 47"/>
                <a:gd name="T1" fmla="*/ 10724 h 45"/>
                <a:gd name="T2" fmla="*/ 11146 w 47"/>
                <a:gd name="T3" fmla="*/ 10724 h 45"/>
                <a:gd name="T4" fmla="*/ 14186 w 47"/>
                <a:gd name="T5" fmla="*/ 8043 h 45"/>
                <a:gd name="T6" fmla="*/ 16212 w 47"/>
                <a:gd name="T7" fmla="*/ 6703 h 45"/>
                <a:gd name="T8" fmla="*/ 17732 w 47"/>
                <a:gd name="T9" fmla="*/ 4022 h 45"/>
                <a:gd name="T10" fmla="*/ 18746 w 47"/>
                <a:gd name="T11" fmla="*/ 1341 h 45"/>
                <a:gd name="T12" fmla="*/ 19759 w 47"/>
                <a:gd name="T13" fmla="*/ 0 h 45"/>
                <a:gd name="T14" fmla="*/ 21785 w 47"/>
                <a:gd name="T15" fmla="*/ 1341 h 45"/>
                <a:gd name="T16" fmla="*/ 23812 w 47"/>
                <a:gd name="T17" fmla="*/ 2681 h 45"/>
                <a:gd name="T18" fmla="*/ 23305 w 47"/>
                <a:gd name="T19" fmla="*/ 9384 h 45"/>
                <a:gd name="T20" fmla="*/ 23305 w 47"/>
                <a:gd name="T21" fmla="*/ 14746 h 45"/>
                <a:gd name="T22" fmla="*/ 22292 w 47"/>
                <a:gd name="T23" fmla="*/ 20108 h 45"/>
                <a:gd name="T24" fmla="*/ 21785 w 47"/>
                <a:gd name="T25" fmla="*/ 25471 h 45"/>
                <a:gd name="T26" fmla="*/ 18746 w 47"/>
                <a:gd name="T27" fmla="*/ 34854 h 45"/>
                <a:gd name="T28" fmla="*/ 15199 w 47"/>
                <a:gd name="T29" fmla="*/ 42898 h 45"/>
                <a:gd name="T30" fmla="*/ 12159 w 47"/>
                <a:gd name="T31" fmla="*/ 50941 h 45"/>
                <a:gd name="T32" fmla="*/ 8106 w 47"/>
                <a:gd name="T33" fmla="*/ 56303 h 45"/>
                <a:gd name="T34" fmla="*/ 3546 w 47"/>
                <a:gd name="T35" fmla="*/ 60325 h 45"/>
                <a:gd name="T36" fmla="*/ 0 w 47"/>
                <a:gd name="T37" fmla="*/ 60325 h 45"/>
                <a:gd name="T38" fmla="*/ 1013 w 47"/>
                <a:gd name="T39" fmla="*/ 50941 h 45"/>
                <a:gd name="T40" fmla="*/ 3040 w 47"/>
                <a:gd name="T41" fmla="*/ 34854 h 45"/>
                <a:gd name="T42" fmla="*/ 5573 w 47"/>
                <a:gd name="T43" fmla="*/ 20108 h 45"/>
                <a:gd name="T44" fmla="*/ 6586 w 47"/>
                <a:gd name="T45" fmla="*/ 10724 h 4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21" name="Freeform 532">
              <a:extLst>
                <a:ext uri="{FF2B5EF4-FFF2-40B4-BE49-F238E27FC236}">
                  <a16:creationId xmlns:a16="http://schemas.microsoft.com/office/drawing/2014/main" id="{FFEE708C-9C75-4640-AF60-C8BE9C8D9C08}"/>
                </a:ext>
              </a:extLst>
            </p:cNvPr>
            <p:cNvSpPr>
              <a:spLocks/>
            </p:cNvSpPr>
            <p:nvPr>
              <p:custDataLst>
                <p:tags r:id="rId368"/>
              </p:custDataLst>
            </p:nvPr>
          </p:nvSpPr>
          <p:spPr bwMode="auto">
            <a:xfrm>
              <a:off x="5094288" y="2751138"/>
              <a:ext cx="6350" cy="57150"/>
            </a:xfrm>
            <a:custGeom>
              <a:avLst/>
              <a:gdLst>
                <a:gd name="T0" fmla="*/ 1465 w 26"/>
                <a:gd name="T1" fmla="*/ 57150 h 36"/>
                <a:gd name="T2" fmla="*/ 1221 w 26"/>
                <a:gd name="T3" fmla="*/ 47625 h 36"/>
                <a:gd name="T4" fmla="*/ 733 w 26"/>
                <a:gd name="T5" fmla="*/ 31750 h 36"/>
                <a:gd name="T6" fmla="*/ 244 w 26"/>
                <a:gd name="T7" fmla="*/ 15875 h 36"/>
                <a:gd name="T8" fmla="*/ 0 w 26"/>
                <a:gd name="T9" fmla="*/ 0 h 36"/>
                <a:gd name="T10" fmla="*/ 6350 w 26"/>
                <a:gd name="T11" fmla="*/ 0 h 36"/>
                <a:gd name="T12" fmla="*/ 6106 w 26"/>
                <a:gd name="T13" fmla="*/ 19050 h 36"/>
                <a:gd name="T14" fmla="*/ 5862 w 26"/>
                <a:gd name="T15" fmla="*/ 36513 h 36"/>
                <a:gd name="T16" fmla="*/ 5617 w 26"/>
                <a:gd name="T17" fmla="*/ 42863 h 36"/>
                <a:gd name="T18" fmla="*/ 5617 w 26"/>
                <a:gd name="T19" fmla="*/ 49213 h 36"/>
                <a:gd name="T20" fmla="*/ 5862 w 26"/>
                <a:gd name="T21" fmla="*/ 53975 h 36"/>
                <a:gd name="T22" fmla="*/ 6350 w 26"/>
                <a:gd name="T23" fmla="*/ 57150 h 36"/>
                <a:gd name="T24" fmla="*/ 1465 w 26"/>
                <a:gd name="T25" fmla="*/ 57150 h 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22" name="Freeform 533">
              <a:extLst>
                <a:ext uri="{FF2B5EF4-FFF2-40B4-BE49-F238E27FC236}">
                  <a16:creationId xmlns:a16="http://schemas.microsoft.com/office/drawing/2014/main" id="{3A00201C-BEEB-44F4-9021-9A10E7D63C85}"/>
                </a:ext>
              </a:extLst>
            </p:cNvPr>
            <p:cNvSpPr>
              <a:spLocks/>
            </p:cNvSpPr>
            <p:nvPr>
              <p:custDataLst>
                <p:tags r:id="rId369"/>
              </p:custDataLst>
            </p:nvPr>
          </p:nvSpPr>
          <p:spPr bwMode="auto">
            <a:xfrm>
              <a:off x="6365876" y="2479675"/>
              <a:ext cx="174625" cy="158750"/>
            </a:xfrm>
            <a:custGeom>
              <a:avLst/>
              <a:gdLst>
                <a:gd name="T0" fmla="*/ 11210 w 405"/>
                <a:gd name="T1" fmla="*/ 85157 h 302"/>
                <a:gd name="T2" fmla="*/ 12073 w 405"/>
                <a:gd name="T3" fmla="*/ 82003 h 302"/>
                <a:gd name="T4" fmla="*/ 12935 w 405"/>
                <a:gd name="T5" fmla="*/ 80952 h 302"/>
                <a:gd name="T6" fmla="*/ 12073 w 405"/>
                <a:gd name="T7" fmla="*/ 79375 h 302"/>
                <a:gd name="T8" fmla="*/ 7761 w 405"/>
                <a:gd name="T9" fmla="*/ 75170 h 302"/>
                <a:gd name="T10" fmla="*/ 2587 w 405"/>
                <a:gd name="T11" fmla="*/ 66759 h 302"/>
                <a:gd name="T12" fmla="*/ 862 w 405"/>
                <a:gd name="T13" fmla="*/ 60977 h 302"/>
                <a:gd name="T14" fmla="*/ 2156 w 405"/>
                <a:gd name="T15" fmla="*/ 58874 h 302"/>
                <a:gd name="T16" fmla="*/ 2587 w 405"/>
                <a:gd name="T17" fmla="*/ 54669 h 302"/>
                <a:gd name="T18" fmla="*/ 7330 w 405"/>
                <a:gd name="T19" fmla="*/ 50989 h 302"/>
                <a:gd name="T20" fmla="*/ 14660 w 405"/>
                <a:gd name="T21" fmla="*/ 48887 h 302"/>
                <a:gd name="T22" fmla="*/ 20265 w 405"/>
                <a:gd name="T23" fmla="*/ 46258 h 302"/>
                <a:gd name="T24" fmla="*/ 24577 w 405"/>
                <a:gd name="T25" fmla="*/ 43104 h 302"/>
                <a:gd name="T26" fmla="*/ 28889 w 405"/>
                <a:gd name="T27" fmla="*/ 36796 h 302"/>
                <a:gd name="T28" fmla="*/ 32338 w 405"/>
                <a:gd name="T29" fmla="*/ 27334 h 302"/>
                <a:gd name="T30" fmla="*/ 36219 w 405"/>
                <a:gd name="T31" fmla="*/ 24706 h 302"/>
                <a:gd name="T32" fmla="*/ 40961 w 405"/>
                <a:gd name="T33" fmla="*/ 27334 h 302"/>
                <a:gd name="T34" fmla="*/ 50447 w 405"/>
                <a:gd name="T35" fmla="*/ 28386 h 302"/>
                <a:gd name="T36" fmla="*/ 72868 w 405"/>
                <a:gd name="T37" fmla="*/ 24180 h 302"/>
                <a:gd name="T38" fmla="*/ 91409 w 405"/>
                <a:gd name="T39" fmla="*/ 22603 h 302"/>
                <a:gd name="T40" fmla="*/ 100894 w 405"/>
                <a:gd name="T41" fmla="*/ 21552 h 302"/>
                <a:gd name="T42" fmla="*/ 113830 w 405"/>
                <a:gd name="T43" fmla="*/ 18398 h 302"/>
                <a:gd name="T44" fmla="*/ 137113 w 405"/>
                <a:gd name="T45" fmla="*/ 8936 h 302"/>
                <a:gd name="T46" fmla="*/ 154791 w 405"/>
                <a:gd name="T47" fmla="*/ 2103 h 302"/>
                <a:gd name="T48" fmla="*/ 160396 w 405"/>
                <a:gd name="T49" fmla="*/ 1577 h 302"/>
                <a:gd name="T50" fmla="*/ 166002 w 405"/>
                <a:gd name="T51" fmla="*/ 1577 h 302"/>
                <a:gd name="T52" fmla="*/ 171607 w 405"/>
                <a:gd name="T53" fmla="*/ 526 h 302"/>
                <a:gd name="T54" fmla="*/ 170313 w 405"/>
                <a:gd name="T55" fmla="*/ 4205 h 302"/>
                <a:gd name="T56" fmla="*/ 155222 w 405"/>
                <a:gd name="T57" fmla="*/ 21552 h 302"/>
                <a:gd name="T58" fmla="*/ 148323 w 405"/>
                <a:gd name="T59" fmla="*/ 29963 h 302"/>
                <a:gd name="T60" fmla="*/ 146168 w 405"/>
                <a:gd name="T61" fmla="*/ 33642 h 302"/>
                <a:gd name="T62" fmla="*/ 146168 w 405"/>
                <a:gd name="T63" fmla="*/ 50464 h 302"/>
                <a:gd name="T64" fmla="*/ 145305 w 405"/>
                <a:gd name="T65" fmla="*/ 78324 h 302"/>
                <a:gd name="T66" fmla="*/ 144443 w 405"/>
                <a:gd name="T67" fmla="*/ 94619 h 302"/>
                <a:gd name="T68" fmla="*/ 140562 w 405"/>
                <a:gd name="T69" fmla="*/ 104081 h 302"/>
                <a:gd name="T70" fmla="*/ 131508 w 405"/>
                <a:gd name="T71" fmla="*/ 110389 h 302"/>
                <a:gd name="T72" fmla="*/ 114261 w 405"/>
                <a:gd name="T73" fmla="*/ 119325 h 302"/>
                <a:gd name="T74" fmla="*/ 45704 w 405"/>
                <a:gd name="T75" fmla="*/ 158750 h 302"/>
                <a:gd name="T76" fmla="*/ 24577 w 405"/>
                <a:gd name="T77" fmla="*/ 136672 h 302"/>
                <a:gd name="T78" fmla="*/ 30182 w 405"/>
                <a:gd name="T79" fmla="*/ 119851 h 302"/>
                <a:gd name="T80" fmla="*/ 34925 w 405"/>
                <a:gd name="T81" fmla="*/ 109863 h 302"/>
                <a:gd name="T82" fmla="*/ 37081 w 405"/>
                <a:gd name="T83" fmla="*/ 90414 h 302"/>
                <a:gd name="T84" fmla="*/ 30613 w 405"/>
                <a:gd name="T85" fmla="*/ 90940 h 302"/>
                <a:gd name="T86" fmla="*/ 24577 w 405"/>
                <a:gd name="T87" fmla="*/ 88837 h 302"/>
                <a:gd name="T88" fmla="*/ 17678 w 405"/>
                <a:gd name="T89" fmla="*/ 86734 h 302"/>
                <a:gd name="T90" fmla="*/ 11210 w 405"/>
                <a:gd name="T91" fmla="*/ 87260 h 3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23" name="Freeform 534">
              <a:extLst>
                <a:ext uri="{FF2B5EF4-FFF2-40B4-BE49-F238E27FC236}">
                  <a16:creationId xmlns:a16="http://schemas.microsoft.com/office/drawing/2014/main" id="{C39C0CE2-25AF-4CB1-ACD0-006DABAD7ECC}"/>
                </a:ext>
              </a:extLst>
            </p:cNvPr>
            <p:cNvSpPr>
              <a:spLocks/>
            </p:cNvSpPr>
            <p:nvPr>
              <p:custDataLst>
                <p:tags r:id="rId370"/>
              </p:custDataLst>
            </p:nvPr>
          </p:nvSpPr>
          <p:spPr bwMode="auto">
            <a:xfrm>
              <a:off x="8459788" y="2860676"/>
              <a:ext cx="42862" cy="79375"/>
            </a:xfrm>
            <a:custGeom>
              <a:avLst/>
              <a:gdLst>
                <a:gd name="T0" fmla="*/ 42862 w 100"/>
                <a:gd name="T1" fmla="*/ 512 h 155"/>
                <a:gd name="T2" fmla="*/ 42862 w 100"/>
                <a:gd name="T3" fmla="*/ 15363 h 155"/>
                <a:gd name="T4" fmla="*/ 42862 w 100"/>
                <a:gd name="T5" fmla="*/ 28165 h 155"/>
                <a:gd name="T6" fmla="*/ 42862 w 100"/>
                <a:gd name="T7" fmla="*/ 39944 h 155"/>
                <a:gd name="T8" fmla="*/ 42862 w 100"/>
                <a:gd name="T9" fmla="*/ 50698 h 155"/>
                <a:gd name="T10" fmla="*/ 42005 w 100"/>
                <a:gd name="T11" fmla="*/ 55819 h 155"/>
                <a:gd name="T12" fmla="*/ 40290 w 100"/>
                <a:gd name="T13" fmla="*/ 60427 h 155"/>
                <a:gd name="T14" fmla="*/ 38147 w 100"/>
                <a:gd name="T15" fmla="*/ 65548 h 155"/>
                <a:gd name="T16" fmla="*/ 35147 w 100"/>
                <a:gd name="T17" fmla="*/ 70157 h 155"/>
                <a:gd name="T18" fmla="*/ 31289 w 100"/>
                <a:gd name="T19" fmla="*/ 73742 h 155"/>
                <a:gd name="T20" fmla="*/ 26574 w 100"/>
                <a:gd name="T21" fmla="*/ 76815 h 155"/>
                <a:gd name="T22" fmla="*/ 24431 w 100"/>
                <a:gd name="T23" fmla="*/ 77839 h 155"/>
                <a:gd name="T24" fmla="*/ 21860 w 100"/>
                <a:gd name="T25" fmla="*/ 78863 h 155"/>
                <a:gd name="T26" fmla="*/ 19717 w 100"/>
                <a:gd name="T27" fmla="*/ 79375 h 155"/>
                <a:gd name="T28" fmla="*/ 16716 w 100"/>
                <a:gd name="T29" fmla="*/ 79375 h 155"/>
                <a:gd name="T30" fmla="*/ 15002 w 100"/>
                <a:gd name="T31" fmla="*/ 78863 h 155"/>
                <a:gd name="T32" fmla="*/ 12859 w 100"/>
                <a:gd name="T33" fmla="*/ 78351 h 155"/>
                <a:gd name="T34" fmla="*/ 11144 w 100"/>
                <a:gd name="T35" fmla="*/ 77327 h 155"/>
                <a:gd name="T36" fmla="*/ 9430 w 100"/>
                <a:gd name="T37" fmla="*/ 76302 h 155"/>
                <a:gd name="T38" fmla="*/ 6429 w 100"/>
                <a:gd name="T39" fmla="*/ 72718 h 155"/>
                <a:gd name="T40" fmla="*/ 3858 w 100"/>
                <a:gd name="T41" fmla="*/ 68621 h 155"/>
                <a:gd name="T42" fmla="*/ 2143 w 100"/>
                <a:gd name="T43" fmla="*/ 63500 h 155"/>
                <a:gd name="T44" fmla="*/ 857 w 100"/>
                <a:gd name="T45" fmla="*/ 57867 h 155"/>
                <a:gd name="T46" fmla="*/ 0 w 100"/>
                <a:gd name="T47" fmla="*/ 52746 h 155"/>
                <a:gd name="T48" fmla="*/ 0 w 100"/>
                <a:gd name="T49" fmla="*/ 47625 h 155"/>
                <a:gd name="T50" fmla="*/ 0 w 100"/>
                <a:gd name="T51" fmla="*/ 39431 h 155"/>
                <a:gd name="T52" fmla="*/ 0 w 100"/>
                <a:gd name="T53" fmla="*/ 33286 h 155"/>
                <a:gd name="T54" fmla="*/ 0 w 100"/>
                <a:gd name="T55" fmla="*/ 28677 h 155"/>
                <a:gd name="T56" fmla="*/ 0 w 100"/>
                <a:gd name="T57" fmla="*/ 25605 h 155"/>
                <a:gd name="T58" fmla="*/ 6429 w 100"/>
                <a:gd name="T59" fmla="*/ 25605 h 155"/>
                <a:gd name="T60" fmla="*/ 11144 w 100"/>
                <a:gd name="T61" fmla="*/ 25605 h 155"/>
                <a:gd name="T62" fmla="*/ 11144 w 100"/>
                <a:gd name="T63" fmla="*/ 20484 h 155"/>
                <a:gd name="T64" fmla="*/ 11573 w 100"/>
                <a:gd name="T65" fmla="*/ 15875 h 155"/>
                <a:gd name="T66" fmla="*/ 12430 w 100"/>
                <a:gd name="T67" fmla="*/ 11778 h 155"/>
                <a:gd name="T68" fmla="*/ 13287 w 100"/>
                <a:gd name="T69" fmla="*/ 8706 h 155"/>
                <a:gd name="T70" fmla="*/ 15002 w 100"/>
                <a:gd name="T71" fmla="*/ 6145 h 155"/>
                <a:gd name="T72" fmla="*/ 16716 w 100"/>
                <a:gd name="T73" fmla="*/ 3585 h 155"/>
                <a:gd name="T74" fmla="*/ 18002 w 100"/>
                <a:gd name="T75" fmla="*/ 2048 h 155"/>
                <a:gd name="T76" fmla="*/ 20574 w 100"/>
                <a:gd name="T77" fmla="*/ 1024 h 155"/>
                <a:gd name="T78" fmla="*/ 25289 w 100"/>
                <a:gd name="T79" fmla="*/ 0 h 155"/>
                <a:gd name="T80" fmla="*/ 30432 w 100"/>
                <a:gd name="T81" fmla="*/ 0 h 155"/>
                <a:gd name="T82" fmla="*/ 36004 w 100"/>
                <a:gd name="T83" fmla="*/ 0 h 155"/>
                <a:gd name="T84" fmla="*/ 42862 w 100"/>
                <a:gd name="T85" fmla="*/ 512 h 1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924" name="Group 535">
              <a:extLst>
                <a:ext uri="{FF2B5EF4-FFF2-40B4-BE49-F238E27FC236}">
                  <a16:creationId xmlns:a16="http://schemas.microsoft.com/office/drawing/2014/main" id="{8C4F7B4B-3835-4113-B370-1FA45705E2A0}"/>
                </a:ext>
              </a:extLst>
            </p:cNvPr>
            <p:cNvGrpSpPr>
              <a:grpSpLocks/>
            </p:cNvGrpSpPr>
            <p:nvPr>
              <p:custDataLst>
                <p:tags r:id="rId371"/>
              </p:custDataLst>
            </p:nvPr>
          </p:nvGrpSpPr>
          <p:grpSpPr bwMode="auto">
            <a:xfrm>
              <a:off x="6107113" y="2328863"/>
              <a:ext cx="482600" cy="201612"/>
              <a:chOff x="3289" y="1830"/>
              <a:chExt cx="363" cy="128"/>
            </a:xfrm>
          </p:grpSpPr>
          <p:sp>
            <p:nvSpPr>
              <p:cNvPr id="935" name="Freeform 536">
                <a:extLst>
                  <a:ext uri="{FF2B5EF4-FFF2-40B4-BE49-F238E27FC236}">
                    <a16:creationId xmlns:a16="http://schemas.microsoft.com/office/drawing/2014/main" id="{5D1AED9C-7162-4992-8EA4-2EDD266B1E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4 w 13"/>
                  <a:gd name="T1" fmla="*/ 0 h 7"/>
                  <a:gd name="T2" fmla="*/ 4 w 13"/>
                  <a:gd name="T3" fmla="*/ 0 h 7"/>
                  <a:gd name="T4" fmla="*/ 3 w 13"/>
                  <a:gd name="T5" fmla="*/ 1 h 7"/>
                  <a:gd name="T6" fmla="*/ 1 w 13"/>
                  <a:gd name="T7" fmla="*/ 2 h 7"/>
                  <a:gd name="T8" fmla="*/ 0 w 13"/>
                  <a:gd name="T9" fmla="*/ 3 h 7"/>
                  <a:gd name="T10" fmla="*/ 2 w 13"/>
                  <a:gd name="T11" fmla="*/ 1 h 7"/>
                  <a:gd name="T12" fmla="*/ 4 w 13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36" name="Freeform 537">
                <a:extLst>
                  <a:ext uri="{FF2B5EF4-FFF2-40B4-BE49-F238E27FC236}">
                    <a16:creationId xmlns:a16="http://schemas.microsoft.com/office/drawing/2014/main" id="{0CB6361E-2E63-45F8-81E7-C4D541EFD5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2 h 8"/>
                  <a:gd name="T2" fmla="*/ 2 w 34"/>
                  <a:gd name="T3" fmla="*/ 2 h 8"/>
                  <a:gd name="T4" fmla="*/ 4 w 34"/>
                  <a:gd name="T5" fmla="*/ 1 h 8"/>
                  <a:gd name="T6" fmla="*/ 7 w 34"/>
                  <a:gd name="T7" fmla="*/ 0 h 8"/>
                  <a:gd name="T8" fmla="*/ 10 w 34"/>
                  <a:gd name="T9" fmla="*/ 0 h 8"/>
                  <a:gd name="T10" fmla="*/ 9 w 34"/>
                  <a:gd name="T11" fmla="*/ 1 h 8"/>
                  <a:gd name="T12" fmla="*/ 8 w 34"/>
                  <a:gd name="T13" fmla="*/ 2 h 8"/>
                  <a:gd name="T14" fmla="*/ 6 w 34"/>
                  <a:gd name="T15" fmla="*/ 2 h 8"/>
                  <a:gd name="T16" fmla="*/ 5 w 34"/>
                  <a:gd name="T17" fmla="*/ 3 h 8"/>
                  <a:gd name="T18" fmla="*/ 4 w 34"/>
                  <a:gd name="T19" fmla="*/ 3 h 8"/>
                  <a:gd name="T20" fmla="*/ 2 w 34"/>
                  <a:gd name="T21" fmla="*/ 3 h 8"/>
                  <a:gd name="T22" fmla="*/ 1 w 34"/>
                  <a:gd name="T23" fmla="*/ 3 h 8"/>
                  <a:gd name="T24" fmla="*/ 0 w 34"/>
                  <a:gd name="T25" fmla="*/ 2 h 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37" name="Freeform 538">
                <a:extLst>
                  <a:ext uri="{FF2B5EF4-FFF2-40B4-BE49-F238E27FC236}">
                    <a16:creationId xmlns:a16="http://schemas.microsoft.com/office/drawing/2014/main" id="{44665EA7-F525-4F4F-AC68-E6B21E4178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8 h 24"/>
                  <a:gd name="T2" fmla="*/ 0 w 13"/>
                  <a:gd name="T3" fmla="*/ 0 h 24"/>
                  <a:gd name="T4" fmla="*/ 4 w 13"/>
                  <a:gd name="T5" fmla="*/ 4 h 24"/>
                  <a:gd name="T6" fmla="*/ 0 w 13"/>
                  <a:gd name="T7" fmla="*/ 8 h 2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38" name="Freeform 539">
                <a:extLst>
                  <a:ext uri="{FF2B5EF4-FFF2-40B4-BE49-F238E27FC236}">
                    <a16:creationId xmlns:a16="http://schemas.microsoft.com/office/drawing/2014/main" id="{6690CE25-09D2-47FB-8AB9-BDA8F19B0B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4 h 69"/>
                  <a:gd name="T2" fmla="*/ 0 w 107"/>
                  <a:gd name="T3" fmla="*/ 9 h 69"/>
                  <a:gd name="T4" fmla="*/ 0 w 107"/>
                  <a:gd name="T5" fmla="*/ 15 h 69"/>
                  <a:gd name="T6" fmla="*/ 0 w 107"/>
                  <a:gd name="T7" fmla="*/ 21 h 69"/>
                  <a:gd name="T8" fmla="*/ 0 w 107"/>
                  <a:gd name="T9" fmla="*/ 23 h 69"/>
                  <a:gd name="T10" fmla="*/ 5 w 107"/>
                  <a:gd name="T11" fmla="*/ 22 h 69"/>
                  <a:gd name="T12" fmla="*/ 16 w 107"/>
                  <a:gd name="T13" fmla="*/ 19 h 69"/>
                  <a:gd name="T14" fmla="*/ 27 w 107"/>
                  <a:gd name="T15" fmla="*/ 17 h 69"/>
                  <a:gd name="T16" fmla="*/ 34 w 107"/>
                  <a:gd name="T17" fmla="*/ 15 h 69"/>
                  <a:gd name="T18" fmla="*/ 32 w 107"/>
                  <a:gd name="T19" fmla="*/ 13 h 69"/>
                  <a:gd name="T20" fmla="*/ 30 w 107"/>
                  <a:gd name="T21" fmla="*/ 11 h 69"/>
                  <a:gd name="T22" fmla="*/ 27 w 107"/>
                  <a:gd name="T23" fmla="*/ 10 h 69"/>
                  <a:gd name="T24" fmla="*/ 25 w 107"/>
                  <a:gd name="T25" fmla="*/ 9 h 69"/>
                  <a:gd name="T26" fmla="*/ 23 w 107"/>
                  <a:gd name="T27" fmla="*/ 8 h 69"/>
                  <a:gd name="T28" fmla="*/ 21 w 107"/>
                  <a:gd name="T29" fmla="*/ 6 h 69"/>
                  <a:gd name="T30" fmla="*/ 20 w 107"/>
                  <a:gd name="T31" fmla="*/ 5 h 69"/>
                  <a:gd name="T32" fmla="*/ 20 w 107"/>
                  <a:gd name="T33" fmla="*/ 4 h 69"/>
                  <a:gd name="T34" fmla="*/ 19 w 107"/>
                  <a:gd name="T35" fmla="*/ 2 h 69"/>
                  <a:gd name="T36" fmla="*/ 19 w 107"/>
                  <a:gd name="T37" fmla="*/ 0 h 69"/>
                  <a:gd name="T38" fmla="*/ 17 w 107"/>
                  <a:gd name="T39" fmla="*/ 0 h 69"/>
                  <a:gd name="T40" fmla="*/ 12 w 107"/>
                  <a:gd name="T41" fmla="*/ 1 h 69"/>
                  <a:gd name="T42" fmla="*/ 6 w 107"/>
                  <a:gd name="T43" fmla="*/ 3 h 69"/>
                  <a:gd name="T44" fmla="*/ 0 w 107"/>
                  <a:gd name="T45" fmla="*/ 4 h 6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39" name="Freeform 540">
                <a:extLst>
                  <a:ext uri="{FF2B5EF4-FFF2-40B4-BE49-F238E27FC236}">
                    <a16:creationId xmlns:a16="http://schemas.microsoft.com/office/drawing/2014/main" id="{C5301F4A-CAF7-477D-A135-FAE4EB39C4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324 w 1070"/>
                  <a:gd name="T1" fmla="*/ 42 h 382"/>
                  <a:gd name="T2" fmla="*/ 317 w 1070"/>
                  <a:gd name="T3" fmla="*/ 35 h 382"/>
                  <a:gd name="T4" fmla="*/ 315 w 1070"/>
                  <a:gd name="T5" fmla="*/ 19 h 382"/>
                  <a:gd name="T6" fmla="*/ 306 w 1070"/>
                  <a:gd name="T7" fmla="*/ 12 h 382"/>
                  <a:gd name="T8" fmla="*/ 267 w 1070"/>
                  <a:gd name="T9" fmla="*/ 6 h 382"/>
                  <a:gd name="T10" fmla="*/ 237 w 1070"/>
                  <a:gd name="T11" fmla="*/ 19 h 382"/>
                  <a:gd name="T12" fmla="*/ 222 w 1070"/>
                  <a:gd name="T13" fmla="*/ 22 h 382"/>
                  <a:gd name="T14" fmla="*/ 207 w 1070"/>
                  <a:gd name="T15" fmla="*/ 22 h 382"/>
                  <a:gd name="T16" fmla="*/ 200 w 1070"/>
                  <a:gd name="T17" fmla="*/ 15 h 382"/>
                  <a:gd name="T18" fmla="*/ 183 w 1070"/>
                  <a:gd name="T19" fmla="*/ 12 h 382"/>
                  <a:gd name="T20" fmla="*/ 172 w 1070"/>
                  <a:gd name="T21" fmla="*/ 6 h 382"/>
                  <a:gd name="T22" fmla="*/ 158 w 1070"/>
                  <a:gd name="T23" fmla="*/ 7 h 382"/>
                  <a:gd name="T24" fmla="*/ 152 w 1070"/>
                  <a:gd name="T25" fmla="*/ 0 h 382"/>
                  <a:gd name="T26" fmla="*/ 128 w 1070"/>
                  <a:gd name="T27" fmla="*/ 5 h 382"/>
                  <a:gd name="T28" fmla="*/ 98 w 1070"/>
                  <a:gd name="T29" fmla="*/ 9 h 382"/>
                  <a:gd name="T30" fmla="*/ 84 w 1070"/>
                  <a:gd name="T31" fmla="*/ 15 h 382"/>
                  <a:gd name="T32" fmla="*/ 45 w 1070"/>
                  <a:gd name="T33" fmla="*/ 20 h 382"/>
                  <a:gd name="T34" fmla="*/ 57 w 1070"/>
                  <a:gd name="T35" fmla="*/ 25 h 382"/>
                  <a:gd name="T36" fmla="*/ 54 w 1070"/>
                  <a:gd name="T37" fmla="*/ 30 h 382"/>
                  <a:gd name="T38" fmla="*/ 37 w 1070"/>
                  <a:gd name="T39" fmla="*/ 31 h 382"/>
                  <a:gd name="T40" fmla="*/ 14 w 1070"/>
                  <a:gd name="T41" fmla="*/ 31 h 382"/>
                  <a:gd name="T42" fmla="*/ 3 w 1070"/>
                  <a:gd name="T43" fmla="*/ 37 h 382"/>
                  <a:gd name="T44" fmla="*/ 0 w 1070"/>
                  <a:gd name="T45" fmla="*/ 49 h 382"/>
                  <a:gd name="T46" fmla="*/ 5 w 1070"/>
                  <a:gd name="T47" fmla="*/ 56 h 382"/>
                  <a:gd name="T48" fmla="*/ 7 w 1070"/>
                  <a:gd name="T49" fmla="*/ 65 h 382"/>
                  <a:gd name="T50" fmla="*/ 7 w 1070"/>
                  <a:gd name="T51" fmla="*/ 70 h 382"/>
                  <a:gd name="T52" fmla="*/ 16 w 1070"/>
                  <a:gd name="T53" fmla="*/ 79 h 382"/>
                  <a:gd name="T54" fmla="*/ 18 w 1070"/>
                  <a:gd name="T55" fmla="*/ 87 h 382"/>
                  <a:gd name="T56" fmla="*/ 24 w 1070"/>
                  <a:gd name="T57" fmla="*/ 91 h 382"/>
                  <a:gd name="T58" fmla="*/ 31 w 1070"/>
                  <a:gd name="T59" fmla="*/ 97 h 382"/>
                  <a:gd name="T60" fmla="*/ 67 w 1070"/>
                  <a:gd name="T61" fmla="*/ 118 h 382"/>
                  <a:gd name="T62" fmla="*/ 83 w 1070"/>
                  <a:gd name="T63" fmla="*/ 124 h 382"/>
                  <a:gd name="T64" fmla="*/ 87 w 1070"/>
                  <a:gd name="T65" fmla="*/ 120 h 382"/>
                  <a:gd name="T66" fmla="*/ 91 w 1070"/>
                  <a:gd name="T67" fmla="*/ 113 h 382"/>
                  <a:gd name="T68" fmla="*/ 97 w 1070"/>
                  <a:gd name="T69" fmla="*/ 106 h 382"/>
                  <a:gd name="T70" fmla="*/ 109 w 1070"/>
                  <a:gd name="T71" fmla="*/ 108 h 382"/>
                  <a:gd name="T72" fmla="*/ 118 w 1070"/>
                  <a:gd name="T73" fmla="*/ 120 h 382"/>
                  <a:gd name="T74" fmla="*/ 131 w 1070"/>
                  <a:gd name="T75" fmla="*/ 124 h 382"/>
                  <a:gd name="T76" fmla="*/ 146 w 1070"/>
                  <a:gd name="T77" fmla="*/ 120 h 382"/>
                  <a:gd name="T78" fmla="*/ 161 w 1070"/>
                  <a:gd name="T79" fmla="*/ 112 h 382"/>
                  <a:gd name="T80" fmla="*/ 172 w 1070"/>
                  <a:gd name="T81" fmla="*/ 110 h 382"/>
                  <a:gd name="T82" fmla="*/ 184 w 1070"/>
                  <a:gd name="T83" fmla="*/ 109 h 382"/>
                  <a:gd name="T84" fmla="*/ 185 w 1070"/>
                  <a:gd name="T85" fmla="*/ 123 h 382"/>
                  <a:gd name="T86" fmla="*/ 193 w 1070"/>
                  <a:gd name="T87" fmla="*/ 126 h 382"/>
                  <a:gd name="T88" fmla="*/ 201 w 1070"/>
                  <a:gd name="T89" fmla="*/ 121 h 382"/>
                  <a:gd name="T90" fmla="*/ 212 w 1070"/>
                  <a:gd name="T91" fmla="*/ 113 h 382"/>
                  <a:gd name="T92" fmla="*/ 246 w 1070"/>
                  <a:gd name="T93" fmla="*/ 110 h 382"/>
                  <a:gd name="T94" fmla="*/ 272 w 1070"/>
                  <a:gd name="T95" fmla="*/ 106 h 382"/>
                  <a:gd name="T96" fmla="*/ 300 w 1070"/>
                  <a:gd name="T97" fmla="*/ 95 h 382"/>
                  <a:gd name="T98" fmla="*/ 316 w 1070"/>
                  <a:gd name="T99" fmla="*/ 96 h 382"/>
                  <a:gd name="T100" fmla="*/ 329 w 1070"/>
                  <a:gd name="T101" fmla="*/ 98 h 382"/>
                  <a:gd name="T102" fmla="*/ 345 w 1070"/>
                  <a:gd name="T103" fmla="*/ 103 h 382"/>
                  <a:gd name="T104" fmla="*/ 345 w 1070"/>
                  <a:gd name="T105" fmla="*/ 90 h 382"/>
                  <a:gd name="T106" fmla="*/ 336 w 1070"/>
                  <a:gd name="T107" fmla="*/ 73 h 382"/>
                  <a:gd name="T108" fmla="*/ 333 w 1070"/>
                  <a:gd name="T109" fmla="*/ 56 h 38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925" name="Freeform 541">
              <a:extLst>
                <a:ext uri="{FF2B5EF4-FFF2-40B4-BE49-F238E27FC236}">
                  <a16:creationId xmlns:a16="http://schemas.microsoft.com/office/drawing/2014/main" id="{253815EB-23D3-4FFC-A006-B6782277AB79}"/>
                </a:ext>
              </a:extLst>
            </p:cNvPr>
            <p:cNvSpPr>
              <a:spLocks/>
            </p:cNvSpPr>
            <p:nvPr>
              <p:custDataLst>
                <p:tags r:id="rId372"/>
              </p:custDataLst>
            </p:nvPr>
          </p:nvSpPr>
          <p:spPr bwMode="auto">
            <a:xfrm>
              <a:off x="4095751" y="3481389"/>
              <a:ext cx="100013" cy="122237"/>
            </a:xfrm>
            <a:custGeom>
              <a:avLst/>
              <a:gdLst>
                <a:gd name="T0" fmla="*/ 27880 w 226"/>
                <a:gd name="T1" fmla="*/ 121721 h 237"/>
                <a:gd name="T2" fmla="*/ 30092 w 226"/>
                <a:gd name="T3" fmla="*/ 122237 h 237"/>
                <a:gd name="T4" fmla="*/ 33190 w 226"/>
                <a:gd name="T5" fmla="*/ 121205 h 237"/>
                <a:gd name="T6" fmla="*/ 36730 w 226"/>
                <a:gd name="T7" fmla="*/ 120690 h 237"/>
                <a:gd name="T8" fmla="*/ 39386 w 226"/>
                <a:gd name="T9" fmla="*/ 118627 h 237"/>
                <a:gd name="T10" fmla="*/ 42483 w 226"/>
                <a:gd name="T11" fmla="*/ 115016 h 237"/>
                <a:gd name="T12" fmla="*/ 43811 w 226"/>
                <a:gd name="T13" fmla="*/ 110374 h 237"/>
                <a:gd name="T14" fmla="*/ 54432 w 226"/>
                <a:gd name="T15" fmla="*/ 107795 h 237"/>
                <a:gd name="T16" fmla="*/ 73461 w 226"/>
                <a:gd name="T17" fmla="*/ 105732 h 237"/>
                <a:gd name="T18" fmla="*/ 86294 w 226"/>
                <a:gd name="T19" fmla="*/ 102122 h 237"/>
                <a:gd name="T20" fmla="*/ 92490 w 226"/>
                <a:gd name="T21" fmla="*/ 98512 h 237"/>
                <a:gd name="T22" fmla="*/ 97358 w 226"/>
                <a:gd name="T23" fmla="*/ 93354 h 237"/>
                <a:gd name="T24" fmla="*/ 99570 w 226"/>
                <a:gd name="T25" fmla="*/ 86649 h 237"/>
                <a:gd name="T26" fmla="*/ 100013 w 226"/>
                <a:gd name="T27" fmla="*/ 78912 h 237"/>
                <a:gd name="T28" fmla="*/ 98685 w 226"/>
                <a:gd name="T29" fmla="*/ 72208 h 237"/>
                <a:gd name="T30" fmla="*/ 95145 w 226"/>
                <a:gd name="T31" fmla="*/ 63439 h 237"/>
                <a:gd name="T32" fmla="*/ 89835 w 226"/>
                <a:gd name="T33" fmla="*/ 51577 h 237"/>
                <a:gd name="T34" fmla="*/ 86737 w 226"/>
                <a:gd name="T35" fmla="*/ 43325 h 237"/>
                <a:gd name="T36" fmla="*/ 85409 w 226"/>
                <a:gd name="T37" fmla="*/ 38167 h 237"/>
                <a:gd name="T38" fmla="*/ 86294 w 226"/>
                <a:gd name="T39" fmla="*/ 30430 h 237"/>
                <a:gd name="T40" fmla="*/ 88507 w 226"/>
                <a:gd name="T41" fmla="*/ 22178 h 237"/>
                <a:gd name="T42" fmla="*/ 94260 w 226"/>
                <a:gd name="T43" fmla="*/ 12894 h 237"/>
                <a:gd name="T44" fmla="*/ 94260 w 226"/>
                <a:gd name="T45" fmla="*/ 7221 h 237"/>
                <a:gd name="T46" fmla="*/ 84524 w 226"/>
                <a:gd name="T47" fmla="*/ 3610 h 237"/>
                <a:gd name="T48" fmla="*/ 68150 w 226"/>
                <a:gd name="T49" fmla="*/ 1032 h 237"/>
                <a:gd name="T50" fmla="*/ 8851 w 226"/>
                <a:gd name="T51" fmla="*/ 3095 h 237"/>
                <a:gd name="T52" fmla="*/ 7966 w 226"/>
                <a:gd name="T53" fmla="*/ 15989 h 237"/>
                <a:gd name="T54" fmla="*/ 4425 w 226"/>
                <a:gd name="T55" fmla="*/ 27851 h 237"/>
                <a:gd name="T56" fmla="*/ 1328 w 226"/>
                <a:gd name="T57" fmla="*/ 40746 h 237"/>
                <a:gd name="T58" fmla="*/ 0 w 226"/>
                <a:gd name="T59" fmla="*/ 57250 h 237"/>
                <a:gd name="T60" fmla="*/ 1328 w 226"/>
                <a:gd name="T61" fmla="*/ 67050 h 237"/>
                <a:gd name="T62" fmla="*/ 4425 w 226"/>
                <a:gd name="T63" fmla="*/ 75302 h 237"/>
                <a:gd name="T64" fmla="*/ 13276 w 226"/>
                <a:gd name="T65" fmla="*/ 89228 h 237"/>
                <a:gd name="T66" fmla="*/ 22569 w 226"/>
                <a:gd name="T67" fmla="*/ 102638 h 237"/>
                <a:gd name="T68" fmla="*/ 25225 w 226"/>
                <a:gd name="T69" fmla="*/ 111406 h 237"/>
                <a:gd name="T70" fmla="*/ 26995 w 226"/>
                <a:gd name="T71" fmla="*/ 120690 h 23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26" name="Freeform 542">
              <a:extLst>
                <a:ext uri="{FF2B5EF4-FFF2-40B4-BE49-F238E27FC236}">
                  <a16:creationId xmlns:a16="http://schemas.microsoft.com/office/drawing/2014/main" id="{F9A555AF-6D0A-4236-B9DA-F245B2402D94}"/>
                </a:ext>
              </a:extLst>
            </p:cNvPr>
            <p:cNvSpPr>
              <a:spLocks/>
            </p:cNvSpPr>
            <p:nvPr>
              <p:custDataLst>
                <p:tags r:id="rId373"/>
              </p:custDataLst>
            </p:nvPr>
          </p:nvSpPr>
          <p:spPr bwMode="auto">
            <a:xfrm>
              <a:off x="8040688" y="2917825"/>
              <a:ext cx="207962" cy="458788"/>
            </a:xfrm>
            <a:custGeom>
              <a:avLst/>
              <a:gdLst>
                <a:gd name="T0" fmla="*/ 124864 w 478"/>
                <a:gd name="T1" fmla="*/ 57152 h 875"/>
                <a:gd name="T2" fmla="*/ 108767 w 478"/>
                <a:gd name="T3" fmla="*/ 72357 h 875"/>
                <a:gd name="T4" fmla="*/ 86578 w 478"/>
                <a:gd name="T5" fmla="*/ 103293 h 875"/>
                <a:gd name="T6" fmla="*/ 86143 w 478"/>
                <a:gd name="T7" fmla="*/ 111682 h 875"/>
                <a:gd name="T8" fmla="*/ 89624 w 478"/>
                <a:gd name="T9" fmla="*/ 125315 h 875"/>
                <a:gd name="T10" fmla="*/ 96150 w 478"/>
                <a:gd name="T11" fmla="*/ 138947 h 875"/>
                <a:gd name="T12" fmla="*/ 104416 w 478"/>
                <a:gd name="T13" fmla="*/ 151007 h 875"/>
                <a:gd name="T14" fmla="*/ 112682 w 478"/>
                <a:gd name="T15" fmla="*/ 157823 h 875"/>
                <a:gd name="T16" fmla="*/ 121384 w 478"/>
                <a:gd name="T17" fmla="*/ 172504 h 875"/>
                <a:gd name="T18" fmla="*/ 128345 w 478"/>
                <a:gd name="T19" fmla="*/ 189283 h 875"/>
                <a:gd name="T20" fmla="*/ 132695 w 478"/>
                <a:gd name="T21" fmla="*/ 193477 h 875"/>
                <a:gd name="T22" fmla="*/ 190559 w 478"/>
                <a:gd name="T23" fmla="*/ 261640 h 875"/>
                <a:gd name="T24" fmla="*/ 204917 w 478"/>
                <a:gd name="T25" fmla="*/ 308830 h 875"/>
                <a:gd name="T26" fmla="*/ 207962 w 478"/>
                <a:gd name="T27" fmla="*/ 339241 h 875"/>
                <a:gd name="T28" fmla="*/ 207092 w 478"/>
                <a:gd name="T29" fmla="*/ 360214 h 875"/>
                <a:gd name="T30" fmla="*/ 207962 w 478"/>
                <a:gd name="T31" fmla="*/ 371225 h 875"/>
                <a:gd name="T32" fmla="*/ 194475 w 478"/>
                <a:gd name="T33" fmla="*/ 376468 h 875"/>
                <a:gd name="T34" fmla="*/ 182728 w 478"/>
                <a:gd name="T35" fmla="*/ 384333 h 875"/>
                <a:gd name="T36" fmla="*/ 170111 w 478"/>
                <a:gd name="T37" fmla="*/ 396393 h 875"/>
                <a:gd name="T38" fmla="*/ 158799 w 478"/>
                <a:gd name="T39" fmla="*/ 413696 h 875"/>
                <a:gd name="T40" fmla="*/ 151403 w 478"/>
                <a:gd name="T41" fmla="*/ 411598 h 875"/>
                <a:gd name="T42" fmla="*/ 138786 w 478"/>
                <a:gd name="T43" fmla="*/ 413696 h 875"/>
                <a:gd name="T44" fmla="*/ 136176 w 478"/>
                <a:gd name="T45" fmla="*/ 421561 h 875"/>
                <a:gd name="T46" fmla="*/ 125734 w 478"/>
                <a:gd name="T47" fmla="*/ 439388 h 875"/>
                <a:gd name="T48" fmla="*/ 111377 w 478"/>
                <a:gd name="T49" fmla="*/ 455118 h 875"/>
                <a:gd name="T50" fmla="*/ 103981 w 478"/>
                <a:gd name="T51" fmla="*/ 458788 h 875"/>
                <a:gd name="T52" fmla="*/ 100936 w 478"/>
                <a:gd name="T53" fmla="*/ 455118 h 875"/>
                <a:gd name="T54" fmla="*/ 97890 w 478"/>
                <a:gd name="T55" fmla="*/ 442534 h 875"/>
                <a:gd name="T56" fmla="*/ 100500 w 478"/>
                <a:gd name="T57" fmla="*/ 419463 h 875"/>
                <a:gd name="T58" fmla="*/ 110072 w 478"/>
                <a:gd name="T59" fmla="*/ 406355 h 875"/>
                <a:gd name="T60" fmla="*/ 120514 w 478"/>
                <a:gd name="T61" fmla="*/ 398490 h 875"/>
                <a:gd name="T62" fmla="*/ 128345 w 478"/>
                <a:gd name="T63" fmla="*/ 394820 h 875"/>
                <a:gd name="T64" fmla="*/ 132695 w 478"/>
                <a:gd name="T65" fmla="*/ 389577 h 875"/>
                <a:gd name="T66" fmla="*/ 136611 w 478"/>
                <a:gd name="T67" fmla="*/ 374371 h 875"/>
                <a:gd name="T68" fmla="*/ 143572 w 478"/>
                <a:gd name="T69" fmla="*/ 359690 h 875"/>
                <a:gd name="T70" fmla="*/ 158799 w 478"/>
                <a:gd name="T71" fmla="*/ 337144 h 875"/>
                <a:gd name="T72" fmla="*/ 161410 w 478"/>
                <a:gd name="T73" fmla="*/ 281040 h 875"/>
                <a:gd name="T74" fmla="*/ 158364 w 478"/>
                <a:gd name="T75" fmla="*/ 249056 h 875"/>
                <a:gd name="T76" fmla="*/ 148358 w 478"/>
                <a:gd name="T77" fmla="*/ 223889 h 875"/>
                <a:gd name="T78" fmla="*/ 129215 w 478"/>
                <a:gd name="T79" fmla="*/ 197672 h 875"/>
                <a:gd name="T80" fmla="*/ 95280 w 478"/>
                <a:gd name="T81" fmla="*/ 161493 h 875"/>
                <a:gd name="T82" fmla="*/ 70046 w 478"/>
                <a:gd name="T83" fmla="*/ 133704 h 875"/>
                <a:gd name="T84" fmla="*/ 46987 w 478"/>
                <a:gd name="T85" fmla="*/ 103817 h 875"/>
                <a:gd name="T86" fmla="*/ 31325 w 478"/>
                <a:gd name="T87" fmla="*/ 76552 h 875"/>
                <a:gd name="T88" fmla="*/ 18273 w 478"/>
                <a:gd name="T89" fmla="*/ 54530 h 875"/>
                <a:gd name="T90" fmla="*/ 20013 w 478"/>
                <a:gd name="T91" fmla="*/ 21497 h 875"/>
                <a:gd name="T92" fmla="*/ 56124 w 478"/>
                <a:gd name="T93" fmla="*/ 9962 h 875"/>
                <a:gd name="T94" fmla="*/ 64390 w 478"/>
                <a:gd name="T95" fmla="*/ 2622 h 875"/>
                <a:gd name="T96" fmla="*/ 76137 w 478"/>
                <a:gd name="T97" fmla="*/ 8389 h 875"/>
                <a:gd name="T98" fmla="*/ 96150 w 478"/>
                <a:gd name="T99" fmla="*/ 18352 h 875"/>
                <a:gd name="T100" fmla="*/ 117033 w 478"/>
                <a:gd name="T101" fmla="*/ 35130 h 87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27" name="Freeform 543">
              <a:extLst>
                <a:ext uri="{FF2B5EF4-FFF2-40B4-BE49-F238E27FC236}">
                  <a16:creationId xmlns:a16="http://schemas.microsoft.com/office/drawing/2014/main" id="{C087B59C-1F7F-4CE2-82F5-BF44094E34D9}"/>
                </a:ext>
              </a:extLst>
            </p:cNvPr>
            <p:cNvSpPr>
              <a:spLocks/>
            </p:cNvSpPr>
            <p:nvPr>
              <p:custDataLst>
                <p:tags r:id="rId374"/>
              </p:custDataLst>
            </p:nvPr>
          </p:nvSpPr>
          <p:spPr bwMode="auto">
            <a:xfrm>
              <a:off x="8128000" y="3603625"/>
              <a:ext cx="25400" cy="57150"/>
            </a:xfrm>
            <a:custGeom>
              <a:avLst/>
              <a:gdLst>
                <a:gd name="T0" fmla="*/ 25400 w 59"/>
                <a:gd name="T1" fmla="*/ 11061 h 31"/>
                <a:gd name="T2" fmla="*/ 24539 w 59"/>
                <a:gd name="T3" fmla="*/ 20279 h 31"/>
                <a:gd name="T4" fmla="*/ 22817 w 59"/>
                <a:gd name="T5" fmla="*/ 27653 h 31"/>
                <a:gd name="T6" fmla="*/ 21095 w 59"/>
                <a:gd name="T7" fmla="*/ 35027 h 31"/>
                <a:gd name="T8" fmla="*/ 19373 w 59"/>
                <a:gd name="T9" fmla="*/ 44245 h 31"/>
                <a:gd name="T10" fmla="*/ 17220 w 59"/>
                <a:gd name="T11" fmla="*/ 49776 h 31"/>
                <a:gd name="T12" fmla="*/ 15498 w 59"/>
                <a:gd name="T13" fmla="*/ 53463 h 31"/>
                <a:gd name="T14" fmla="*/ 12915 w 59"/>
                <a:gd name="T15" fmla="*/ 57150 h 31"/>
                <a:gd name="T16" fmla="*/ 11193 w 59"/>
                <a:gd name="T17" fmla="*/ 57150 h 31"/>
                <a:gd name="T18" fmla="*/ 9041 w 59"/>
                <a:gd name="T19" fmla="*/ 57150 h 31"/>
                <a:gd name="T20" fmla="*/ 7319 w 59"/>
                <a:gd name="T21" fmla="*/ 55306 h 31"/>
                <a:gd name="T22" fmla="*/ 6027 w 59"/>
                <a:gd name="T23" fmla="*/ 53463 h 31"/>
                <a:gd name="T24" fmla="*/ 4736 w 59"/>
                <a:gd name="T25" fmla="*/ 49776 h 31"/>
                <a:gd name="T26" fmla="*/ 1722 w 59"/>
                <a:gd name="T27" fmla="*/ 36871 h 31"/>
                <a:gd name="T28" fmla="*/ 0 w 59"/>
                <a:gd name="T29" fmla="*/ 22123 h 31"/>
                <a:gd name="T30" fmla="*/ 431 w 59"/>
                <a:gd name="T31" fmla="*/ 16592 h 31"/>
                <a:gd name="T32" fmla="*/ 1292 w 59"/>
                <a:gd name="T33" fmla="*/ 11061 h 31"/>
                <a:gd name="T34" fmla="*/ 2153 w 59"/>
                <a:gd name="T35" fmla="*/ 7374 h 31"/>
                <a:gd name="T36" fmla="*/ 3444 w 59"/>
                <a:gd name="T37" fmla="*/ 5531 h 31"/>
                <a:gd name="T38" fmla="*/ 6888 w 59"/>
                <a:gd name="T39" fmla="*/ 1844 h 31"/>
                <a:gd name="T40" fmla="*/ 10332 w 59"/>
                <a:gd name="T41" fmla="*/ 0 h 31"/>
                <a:gd name="T42" fmla="*/ 14637 w 59"/>
                <a:gd name="T43" fmla="*/ 0 h 31"/>
                <a:gd name="T44" fmla="*/ 18081 w 59"/>
                <a:gd name="T45" fmla="*/ 3687 h 31"/>
                <a:gd name="T46" fmla="*/ 21956 w 59"/>
                <a:gd name="T47" fmla="*/ 7374 h 31"/>
                <a:gd name="T48" fmla="*/ 25400 w 59"/>
                <a:gd name="T49" fmla="*/ 11061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28" name="Freeform 544">
              <a:extLst>
                <a:ext uri="{FF2B5EF4-FFF2-40B4-BE49-F238E27FC236}">
                  <a16:creationId xmlns:a16="http://schemas.microsoft.com/office/drawing/2014/main" id="{6CD5557B-F2EE-4096-8150-7F1780B71AA3}"/>
                </a:ext>
              </a:extLst>
            </p:cNvPr>
            <p:cNvSpPr>
              <a:spLocks/>
            </p:cNvSpPr>
            <p:nvPr>
              <p:custDataLst>
                <p:tags r:id="rId375"/>
              </p:custDataLst>
            </p:nvPr>
          </p:nvSpPr>
          <p:spPr bwMode="auto">
            <a:xfrm>
              <a:off x="6819901" y="2862263"/>
              <a:ext cx="174625" cy="271462"/>
            </a:xfrm>
            <a:custGeom>
              <a:avLst/>
              <a:gdLst>
                <a:gd name="T0" fmla="*/ 87531 w 399"/>
                <a:gd name="T1" fmla="*/ 4192 h 518"/>
                <a:gd name="T2" fmla="*/ 88407 w 399"/>
                <a:gd name="T3" fmla="*/ 11529 h 518"/>
                <a:gd name="T4" fmla="*/ 91033 w 399"/>
                <a:gd name="T5" fmla="*/ 18866 h 518"/>
                <a:gd name="T6" fmla="*/ 93659 w 399"/>
                <a:gd name="T7" fmla="*/ 25679 h 518"/>
                <a:gd name="T8" fmla="*/ 98035 w 399"/>
                <a:gd name="T9" fmla="*/ 33016 h 518"/>
                <a:gd name="T10" fmla="*/ 102849 w 399"/>
                <a:gd name="T11" fmla="*/ 39304 h 518"/>
                <a:gd name="T12" fmla="*/ 108977 w 399"/>
                <a:gd name="T13" fmla="*/ 45069 h 518"/>
                <a:gd name="T14" fmla="*/ 115541 w 399"/>
                <a:gd name="T15" fmla="*/ 49786 h 518"/>
                <a:gd name="T16" fmla="*/ 138299 w 399"/>
                <a:gd name="T17" fmla="*/ 55550 h 518"/>
                <a:gd name="T18" fmla="*/ 159745 w 399"/>
                <a:gd name="T19" fmla="*/ 62363 h 518"/>
                <a:gd name="T20" fmla="*/ 166310 w 399"/>
                <a:gd name="T21" fmla="*/ 66555 h 518"/>
                <a:gd name="T22" fmla="*/ 171561 w 399"/>
                <a:gd name="T23" fmla="*/ 71796 h 518"/>
                <a:gd name="T24" fmla="*/ 174187 w 399"/>
                <a:gd name="T25" fmla="*/ 79133 h 518"/>
                <a:gd name="T26" fmla="*/ 174187 w 399"/>
                <a:gd name="T27" fmla="*/ 91186 h 518"/>
                <a:gd name="T28" fmla="*/ 170686 w 399"/>
                <a:gd name="T29" fmla="*/ 104812 h 518"/>
                <a:gd name="T30" fmla="*/ 161495 w 399"/>
                <a:gd name="T31" fmla="*/ 125250 h 518"/>
                <a:gd name="T32" fmla="*/ 150554 w 399"/>
                <a:gd name="T33" fmla="*/ 144640 h 518"/>
                <a:gd name="T34" fmla="*/ 143551 w 399"/>
                <a:gd name="T35" fmla="*/ 158790 h 518"/>
                <a:gd name="T36" fmla="*/ 137424 w 399"/>
                <a:gd name="T37" fmla="*/ 172939 h 518"/>
                <a:gd name="T38" fmla="*/ 134361 w 399"/>
                <a:gd name="T39" fmla="*/ 188661 h 518"/>
                <a:gd name="T40" fmla="*/ 129984 w 399"/>
                <a:gd name="T41" fmla="*/ 197570 h 518"/>
                <a:gd name="T42" fmla="*/ 117292 w 399"/>
                <a:gd name="T43" fmla="*/ 202810 h 518"/>
                <a:gd name="T44" fmla="*/ 107664 w 399"/>
                <a:gd name="T45" fmla="*/ 209099 h 518"/>
                <a:gd name="T46" fmla="*/ 102849 w 399"/>
                <a:gd name="T47" fmla="*/ 213816 h 518"/>
                <a:gd name="T48" fmla="*/ 99348 w 399"/>
                <a:gd name="T49" fmla="*/ 218532 h 518"/>
                <a:gd name="T50" fmla="*/ 98035 w 399"/>
                <a:gd name="T51" fmla="*/ 223773 h 518"/>
                <a:gd name="T52" fmla="*/ 93221 w 399"/>
                <a:gd name="T53" fmla="*/ 229537 h 518"/>
                <a:gd name="T54" fmla="*/ 82279 w 399"/>
                <a:gd name="T55" fmla="*/ 235826 h 518"/>
                <a:gd name="T56" fmla="*/ 75715 w 399"/>
                <a:gd name="T57" fmla="*/ 238970 h 518"/>
                <a:gd name="T58" fmla="*/ 72651 w 399"/>
                <a:gd name="T59" fmla="*/ 244735 h 518"/>
                <a:gd name="T60" fmla="*/ 69150 w 399"/>
                <a:gd name="T61" fmla="*/ 252072 h 518"/>
                <a:gd name="T62" fmla="*/ 63898 w 399"/>
                <a:gd name="T63" fmla="*/ 256788 h 518"/>
                <a:gd name="T64" fmla="*/ 57333 w 399"/>
                <a:gd name="T65" fmla="*/ 258885 h 518"/>
                <a:gd name="T66" fmla="*/ 44641 w 399"/>
                <a:gd name="T67" fmla="*/ 260981 h 518"/>
                <a:gd name="T68" fmla="*/ 31949 w 399"/>
                <a:gd name="T69" fmla="*/ 264125 h 518"/>
                <a:gd name="T70" fmla="*/ 24071 w 399"/>
                <a:gd name="T71" fmla="*/ 268318 h 518"/>
                <a:gd name="T72" fmla="*/ 20132 w 399"/>
                <a:gd name="T73" fmla="*/ 269366 h 518"/>
                <a:gd name="T74" fmla="*/ 18819 w 399"/>
                <a:gd name="T75" fmla="*/ 265173 h 518"/>
                <a:gd name="T76" fmla="*/ 16631 w 399"/>
                <a:gd name="T77" fmla="*/ 260457 h 518"/>
                <a:gd name="T78" fmla="*/ 14880 w 399"/>
                <a:gd name="T79" fmla="*/ 255216 h 518"/>
                <a:gd name="T80" fmla="*/ 14443 w 399"/>
                <a:gd name="T81" fmla="*/ 245259 h 518"/>
                <a:gd name="T82" fmla="*/ 12692 w 399"/>
                <a:gd name="T83" fmla="*/ 233206 h 518"/>
                <a:gd name="T84" fmla="*/ 7440 w 399"/>
                <a:gd name="T85" fmla="*/ 219056 h 518"/>
                <a:gd name="T86" fmla="*/ 0 w 399"/>
                <a:gd name="T87" fmla="*/ 187613 h 518"/>
                <a:gd name="T88" fmla="*/ 84905 w 399"/>
                <a:gd name="T89" fmla="*/ 96951 h 518"/>
                <a:gd name="T90" fmla="*/ 87531 w 399"/>
                <a:gd name="T91" fmla="*/ 0 h 51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29" name="Freeform 545">
              <a:extLst>
                <a:ext uri="{FF2B5EF4-FFF2-40B4-BE49-F238E27FC236}">
                  <a16:creationId xmlns:a16="http://schemas.microsoft.com/office/drawing/2014/main" id="{AB818741-5200-42F5-9AFA-D28FBDD74EBB}"/>
                </a:ext>
              </a:extLst>
            </p:cNvPr>
            <p:cNvSpPr>
              <a:spLocks/>
            </p:cNvSpPr>
            <p:nvPr>
              <p:custDataLst>
                <p:tags r:id="rId376"/>
              </p:custDataLst>
            </p:nvPr>
          </p:nvSpPr>
          <p:spPr bwMode="auto">
            <a:xfrm>
              <a:off x="5546725" y="2916238"/>
              <a:ext cx="376238" cy="385762"/>
            </a:xfrm>
            <a:custGeom>
              <a:avLst/>
              <a:gdLst>
                <a:gd name="T0" fmla="*/ 100359 w 866"/>
                <a:gd name="T1" fmla="*/ 140751 h 740"/>
                <a:gd name="T2" fmla="*/ 106441 w 866"/>
                <a:gd name="T3" fmla="*/ 137623 h 740"/>
                <a:gd name="T4" fmla="*/ 118172 w 866"/>
                <a:gd name="T5" fmla="*/ 141794 h 740"/>
                <a:gd name="T6" fmla="*/ 284134 w 866"/>
                <a:gd name="T7" fmla="*/ 521 h 740"/>
                <a:gd name="T8" fmla="*/ 294995 w 866"/>
                <a:gd name="T9" fmla="*/ 3128 h 740"/>
                <a:gd name="T10" fmla="*/ 308897 w 866"/>
                <a:gd name="T11" fmla="*/ 10947 h 740"/>
                <a:gd name="T12" fmla="*/ 317152 w 866"/>
                <a:gd name="T13" fmla="*/ 18246 h 740"/>
                <a:gd name="T14" fmla="*/ 330186 w 866"/>
                <a:gd name="T15" fmla="*/ 29714 h 740"/>
                <a:gd name="T16" fmla="*/ 343654 w 866"/>
                <a:gd name="T17" fmla="*/ 30757 h 740"/>
                <a:gd name="T18" fmla="*/ 361032 w 866"/>
                <a:gd name="T19" fmla="*/ 22416 h 740"/>
                <a:gd name="T20" fmla="*/ 371025 w 866"/>
                <a:gd name="T21" fmla="*/ 86536 h 740"/>
                <a:gd name="T22" fmla="*/ 376238 w 866"/>
                <a:gd name="T23" fmla="*/ 106866 h 740"/>
                <a:gd name="T24" fmla="*/ 369287 w 866"/>
                <a:gd name="T25" fmla="*/ 156911 h 740"/>
                <a:gd name="T26" fmla="*/ 368418 w 866"/>
                <a:gd name="T27" fmla="*/ 196009 h 740"/>
                <a:gd name="T28" fmla="*/ 362335 w 866"/>
                <a:gd name="T29" fmla="*/ 219467 h 740"/>
                <a:gd name="T30" fmla="*/ 348433 w 866"/>
                <a:gd name="T31" fmla="*/ 243447 h 740"/>
                <a:gd name="T32" fmla="*/ 337572 w 866"/>
                <a:gd name="T33" fmla="*/ 260129 h 740"/>
                <a:gd name="T34" fmla="*/ 329317 w 866"/>
                <a:gd name="T35" fmla="*/ 295577 h 740"/>
                <a:gd name="T36" fmla="*/ 308897 w 866"/>
                <a:gd name="T37" fmla="*/ 327898 h 740"/>
                <a:gd name="T38" fmla="*/ 295429 w 866"/>
                <a:gd name="T39" fmla="*/ 336760 h 740"/>
                <a:gd name="T40" fmla="*/ 279789 w 866"/>
                <a:gd name="T41" fmla="*/ 332589 h 740"/>
                <a:gd name="T42" fmla="*/ 265452 w 866"/>
                <a:gd name="T43" fmla="*/ 325813 h 740"/>
                <a:gd name="T44" fmla="*/ 245902 w 866"/>
                <a:gd name="T45" fmla="*/ 329983 h 740"/>
                <a:gd name="T46" fmla="*/ 230261 w 866"/>
                <a:gd name="T47" fmla="*/ 343537 h 740"/>
                <a:gd name="T48" fmla="*/ 222006 w 866"/>
                <a:gd name="T49" fmla="*/ 354484 h 740"/>
                <a:gd name="T50" fmla="*/ 213317 w 866"/>
                <a:gd name="T51" fmla="*/ 356569 h 740"/>
                <a:gd name="T52" fmla="*/ 204194 w 866"/>
                <a:gd name="T53" fmla="*/ 348228 h 740"/>
                <a:gd name="T54" fmla="*/ 193767 w 866"/>
                <a:gd name="T55" fmla="*/ 333111 h 740"/>
                <a:gd name="T56" fmla="*/ 182906 w 866"/>
                <a:gd name="T57" fmla="*/ 331026 h 740"/>
                <a:gd name="T58" fmla="*/ 175954 w 866"/>
                <a:gd name="T59" fmla="*/ 337281 h 740"/>
                <a:gd name="T60" fmla="*/ 166831 w 866"/>
                <a:gd name="T61" fmla="*/ 339888 h 740"/>
                <a:gd name="T62" fmla="*/ 152059 w 866"/>
                <a:gd name="T63" fmla="*/ 332589 h 740"/>
                <a:gd name="T64" fmla="*/ 132943 w 866"/>
                <a:gd name="T65" fmla="*/ 316950 h 740"/>
                <a:gd name="T66" fmla="*/ 117737 w 866"/>
                <a:gd name="T67" fmla="*/ 314865 h 740"/>
                <a:gd name="T68" fmla="*/ 102966 w 866"/>
                <a:gd name="T69" fmla="*/ 323206 h 740"/>
                <a:gd name="T70" fmla="*/ 90801 w 866"/>
                <a:gd name="T71" fmla="*/ 340409 h 740"/>
                <a:gd name="T72" fmla="*/ 82546 w 866"/>
                <a:gd name="T73" fmla="*/ 360740 h 740"/>
                <a:gd name="T74" fmla="*/ 77333 w 866"/>
                <a:gd name="T75" fmla="*/ 374815 h 740"/>
                <a:gd name="T76" fmla="*/ 64734 w 866"/>
                <a:gd name="T77" fmla="*/ 365953 h 740"/>
                <a:gd name="T78" fmla="*/ 43445 w 866"/>
                <a:gd name="T79" fmla="*/ 385762 h 740"/>
                <a:gd name="T80" fmla="*/ 28674 w 866"/>
                <a:gd name="T81" fmla="*/ 364389 h 740"/>
                <a:gd name="T82" fmla="*/ 27805 w 866"/>
                <a:gd name="T83" fmla="*/ 335717 h 740"/>
                <a:gd name="T84" fmla="*/ 21723 w 866"/>
                <a:gd name="T85" fmla="*/ 319557 h 740"/>
                <a:gd name="T86" fmla="*/ 8689 w 866"/>
                <a:gd name="T87" fmla="*/ 306003 h 740"/>
                <a:gd name="T88" fmla="*/ 2172 w 866"/>
                <a:gd name="T89" fmla="*/ 290885 h 740"/>
                <a:gd name="T90" fmla="*/ 23026 w 866"/>
                <a:gd name="T91" fmla="*/ 276289 h 740"/>
                <a:gd name="T92" fmla="*/ 33019 w 866"/>
                <a:gd name="T93" fmla="*/ 270033 h 740"/>
                <a:gd name="T94" fmla="*/ 60389 w 866"/>
                <a:gd name="T95" fmla="*/ 265863 h 740"/>
                <a:gd name="T96" fmla="*/ 79071 w 866"/>
                <a:gd name="T97" fmla="*/ 260650 h 740"/>
                <a:gd name="T98" fmla="*/ 87325 w 866"/>
                <a:gd name="T99" fmla="*/ 247617 h 740"/>
                <a:gd name="T100" fmla="*/ 95146 w 866"/>
                <a:gd name="T101" fmla="*/ 221031 h 740"/>
                <a:gd name="T102" fmla="*/ 97318 w 866"/>
                <a:gd name="T103" fmla="*/ 191317 h 740"/>
                <a:gd name="T104" fmla="*/ 95146 w 866"/>
                <a:gd name="T105" fmla="*/ 166816 h 7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30" name="Freeform 546">
              <a:extLst>
                <a:ext uri="{FF2B5EF4-FFF2-40B4-BE49-F238E27FC236}">
                  <a16:creationId xmlns:a16="http://schemas.microsoft.com/office/drawing/2014/main" id="{9565259B-B85D-4E9B-AF8F-3AD721AB59F2}"/>
                </a:ext>
              </a:extLst>
            </p:cNvPr>
            <p:cNvSpPr>
              <a:spLocks/>
            </p:cNvSpPr>
            <p:nvPr>
              <p:custDataLst>
                <p:tags r:id="rId377"/>
              </p:custDataLst>
            </p:nvPr>
          </p:nvSpPr>
          <p:spPr bwMode="auto">
            <a:xfrm>
              <a:off x="5216525" y="2533650"/>
              <a:ext cx="300038" cy="260350"/>
            </a:xfrm>
            <a:custGeom>
              <a:avLst/>
              <a:gdLst>
                <a:gd name="T0" fmla="*/ 278945 w 697"/>
                <a:gd name="T1" fmla="*/ 27597 h 500"/>
                <a:gd name="T2" fmla="*/ 282819 w 697"/>
                <a:gd name="T3" fmla="*/ 83833 h 500"/>
                <a:gd name="T4" fmla="*/ 284541 w 697"/>
                <a:gd name="T5" fmla="*/ 86957 h 500"/>
                <a:gd name="T6" fmla="*/ 291429 w 697"/>
                <a:gd name="T7" fmla="*/ 92164 h 500"/>
                <a:gd name="T8" fmla="*/ 298747 w 697"/>
                <a:gd name="T9" fmla="*/ 98412 h 500"/>
                <a:gd name="T10" fmla="*/ 300038 w 697"/>
                <a:gd name="T11" fmla="*/ 103099 h 500"/>
                <a:gd name="T12" fmla="*/ 298747 w 697"/>
                <a:gd name="T13" fmla="*/ 109868 h 500"/>
                <a:gd name="T14" fmla="*/ 294872 w 697"/>
                <a:gd name="T15" fmla="*/ 112992 h 500"/>
                <a:gd name="T16" fmla="*/ 281958 w 697"/>
                <a:gd name="T17" fmla="*/ 113513 h 500"/>
                <a:gd name="T18" fmla="*/ 260435 w 697"/>
                <a:gd name="T19" fmla="*/ 118720 h 500"/>
                <a:gd name="T20" fmla="*/ 244077 w 697"/>
                <a:gd name="T21" fmla="*/ 130175 h 500"/>
                <a:gd name="T22" fmla="*/ 236328 w 697"/>
                <a:gd name="T23" fmla="*/ 139027 h 500"/>
                <a:gd name="T24" fmla="*/ 232024 w 697"/>
                <a:gd name="T25" fmla="*/ 149962 h 500"/>
                <a:gd name="T26" fmla="*/ 224275 w 697"/>
                <a:gd name="T27" fmla="*/ 157251 h 500"/>
                <a:gd name="T28" fmla="*/ 211361 w 697"/>
                <a:gd name="T29" fmla="*/ 168707 h 500"/>
                <a:gd name="T30" fmla="*/ 195864 w 697"/>
                <a:gd name="T31" fmla="*/ 183286 h 500"/>
                <a:gd name="T32" fmla="*/ 180798 w 697"/>
                <a:gd name="T33" fmla="*/ 192659 h 500"/>
                <a:gd name="T34" fmla="*/ 160135 w 697"/>
                <a:gd name="T35" fmla="*/ 196304 h 500"/>
                <a:gd name="T36" fmla="*/ 148082 w 697"/>
                <a:gd name="T37" fmla="*/ 197866 h 500"/>
                <a:gd name="T38" fmla="*/ 136029 w 697"/>
                <a:gd name="T39" fmla="*/ 206197 h 500"/>
                <a:gd name="T40" fmla="*/ 124836 w 697"/>
                <a:gd name="T41" fmla="*/ 217132 h 500"/>
                <a:gd name="T42" fmla="*/ 114075 w 697"/>
                <a:gd name="T43" fmla="*/ 221818 h 500"/>
                <a:gd name="T44" fmla="*/ 2152 w 697"/>
                <a:gd name="T45" fmla="*/ 258267 h 500"/>
                <a:gd name="T46" fmla="*/ 13775 w 697"/>
                <a:gd name="T47" fmla="*/ 253581 h 500"/>
                <a:gd name="T48" fmla="*/ 36590 w 697"/>
                <a:gd name="T49" fmla="*/ 246291 h 500"/>
                <a:gd name="T50" fmla="*/ 40034 w 697"/>
                <a:gd name="T51" fmla="*/ 239001 h 500"/>
                <a:gd name="T52" fmla="*/ 42617 w 697"/>
                <a:gd name="T53" fmla="*/ 228067 h 500"/>
                <a:gd name="T54" fmla="*/ 51226 w 697"/>
                <a:gd name="T55" fmla="*/ 219735 h 500"/>
                <a:gd name="T56" fmla="*/ 68875 w 697"/>
                <a:gd name="T57" fmla="*/ 207759 h 500"/>
                <a:gd name="T58" fmla="*/ 77915 w 697"/>
                <a:gd name="T59" fmla="*/ 198907 h 500"/>
                <a:gd name="T60" fmla="*/ 82650 w 697"/>
                <a:gd name="T61" fmla="*/ 185890 h 500"/>
                <a:gd name="T62" fmla="*/ 83081 w 697"/>
                <a:gd name="T63" fmla="*/ 164541 h 500"/>
                <a:gd name="T64" fmla="*/ 83942 w 697"/>
                <a:gd name="T65" fmla="*/ 132258 h 500"/>
                <a:gd name="T66" fmla="*/ 82650 w 697"/>
                <a:gd name="T67" fmla="*/ 99974 h 500"/>
                <a:gd name="T68" fmla="*/ 92121 w 697"/>
                <a:gd name="T69" fmla="*/ 98412 h 500"/>
                <a:gd name="T70" fmla="*/ 98147 w 697"/>
                <a:gd name="T71" fmla="*/ 93205 h 500"/>
                <a:gd name="T72" fmla="*/ 103743 w 697"/>
                <a:gd name="T73" fmla="*/ 85916 h 500"/>
                <a:gd name="T74" fmla="*/ 108479 w 697"/>
                <a:gd name="T75" fmla="*/ 79146 h 500"/>
                <a:gd name="T76" fmla="*/ 120962 w 697"/>
                <a:gd name="T77" fmla="*/ 76022 h 500"/>
                <a:gd name="T78" fmla="*/ 135168 w 697"/>
                <a:gd name="T79" fmla="*/ 74460 h 500"/>
                <a:gd name="T80" fmla="*/ 146360 w 697"/>
                <a:gd name="T81" fmla="*/ 68212 h 500"/>
                <a:gd name="T82" fmla="*/ 154969 w 697"/>
                <a:gd name="T83" fmla="*/ 56236 h 500"/>
                <a:gd name="T84" fmla="*/ 167023 w 697"/>
                <a:gd name="T85" fmla="*/ 24994 h 500"/>
                <a:gd name="T86" fmla="*/ 175202 w 697"/>
                <a:gd name="T87" fmla="*/ 6248 h 500"/>
                <a:gd name="T88" fmla="*/ 183380 w 697"/>
                <a:gd name="T89" fmla="*/ 4166 h 500"/>
                <a:gd name="T90" fmla="*/ 193281 w 697"/>
                <a:gd name="T91" fmla="*/ 10414 h 500"/>
                <a:gd name="T92" fmla="*/ 220401 w 697"/>
                <a:gd name="T93" fmla="*/ 9373 h 500"/>
                <a:gd name="T94" fmla="*/ 253978 w 697"/>
                <a:gd name="T95" fmla="*/ 6769 h 500"/>
                <a:gd name="T96" fmla="*/ 256991 w 697"/>
                <a:gd name="T97" fmla="*/ 8852 h 500"/>
                <a:gd name="T98" fmla="*/ 260435 w 697"/>
                <a:gd name="T99" fmla="*/ 18745 h 500"/>
                <a:gd name="T100" fmla="*/ 263018 w 697"/>
                <a:gd name="T101" fmla="*/ 26556 h 500"/>
                <a:gd name="T102" fmla="*/ 266031 w 697"/>
                <a:gd name="T103" fmla="*/ 26035 h 5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31" name="Freeform 547">
              <a:extLst>
                <a:ext uri="{FF2B5EF4-FFF2-40B4-BE49-F238E27FC236}">
                  <a16:creationId xmlns:a16="http://schemas.microsoft.com/office/drawing/2014/main" id="{90B3004F-A1E0-4DBB-8F16-A22E878A26F6}"/>
                </a:ext>
              </a:extLst>
            </p:cNvPr>
            <p:cNvSpPr>
              <a:spLocks/>
            </p:cNvSpPr>
            <p:nvPr>
              <p:custDataLst>
                <p:tags r:id="rId378"/>
              </p:custDataLst>
            </p:nvPr>
          </p:nvSpPr>
          <p:spPr bwMode="auto">
            <a:xfrm>
              <a:off x="5916614" y="1463676"/>
              <a:ext cx="236537" cy="92075"/>
            </a:xfrm>
            <a:custGeom>
              <a:avLst/>
              <a:gdLst>
                <a:gd name="T0" fmla="*/ 32058 w 546"/>
                <a:gd name="T1" fmla="*/ 10112 h 173"/>
                <a:gd name="T2" fmla="*/ 40722 w 546"/>
                <a:gd name="T3" fmla="*/ 18096 h 173"/>
                <a:gd name="T4" fmla="*/ 47654 w 546"/>
                <a:gd name="T5" fmla="*/ 14370 h 173"/>
                <a:gd name="T6" fmla="*/ 57185 w 546"/>
                <a:gd name="T7" fmla="*/ 14370 h 173"/>
                <a:gd name="T8" fmla="*/ 69748 w 546"/>
                <a:gd name="T9" fmla="*/ 23418 h 173"/>
                <a:gd name="T10" fmla="*/ 90543 w 546"/>
                <a:gd name="T11" fmla="*/ 10112 h 173"/>
                <a:gd name="T12" fmla="*/ 105272 w 546"/>
                <a:gd name="T13" fmla="*/ 10112 h 173"/>
                <a:gd name="T14" fmla="*/ 112637 w 546"/>
                <a:gd name="T15" fmla="*/ 8516 h 173"/>
                <a:gd name="T16" fmla="*/ 116536 w 546"/>
                <a:gd name="T17" fmla="*/ 7451 h 173"/>
                <a:gd name="T18" fmla="*/ 120868 w 546"/>
                <a:gd name="T19" fmla="*/ 5854 h 173"/>
                <a:gd name="T20" fmla="*/ 123900 w 546"/>
                <a:gd name="T21" fmla="*/ 1597 h 173"/>
                <a:gd name="T22" fmla="*/ 139063 w 546"/>
                <a:gd name="T23" fmla="*/ 2661 h 173"/>
                <a:gd name="T24" fmla="*/ 144262 w 546"/>
                <a:gd name="T25" fmla="*/ 6387 h 173"/>
                <a:gd name="T26" fmla="*/ 150760 w 546"/>
                <a:gd name="T27" fmla="*/ 3726 h 173"/>
                <a:gd name="T28" fmla="*/ 152926 w 546"/>
                <a:gd name="T29" fmla="*/ 0 h 173"/>
                <a:gd name="T30" fmla="*/ 158991 w 546"/>
                <a:gd name="T31" fmla="*/ 3726 h 173"/>
                <a:gd name="T32" fmla="*/ 168522 w 546"/>
                <a:gd name="T33" fmla="*/ 3726 h 173"/>
                <a:gd name="T34" fmla="*/ 188883 w 546"/>
                <a:gd name="T35" fmla="*/ 532 h 173"/>
                <a:gd name="T36" fmla="*/ 208811 w 546"/>
                <a:gd name="T37" fmla="*/ 3193 h 173"/>
                <a:gd name="T38" fmla="*/ 228739 w 546"/>
                <a:gd name="T39" fmla="*/ 6387 h 173"/>
                <a:gd name="T40" fmla="*/ 236104 w 546"/>
                <a:gd name="T41" fmla="*/ 26079 h 173"/>
                <a:gd name="T42" fmla="*/ 232638 w 546"/>
                <a:gd name="T43" fmla="*/ 31934 h 173"/>
                <a:gd name="T44" fmla="*/ 222241 w 546"/>
                <a:gd name="T45" fmla="*/ 32998 h 173"/>
                <a:gd name="T46" fmla="*/ 209244 w 546"/>
                <a:gd name="T47" fmla="*/ 28740 h 173"/>
                <a:gd name="T48" fmla="*/ 178919 w 546"/>
                <a:gd name="T49" fmla="*/ 23418 h 173"/>
                <a:gd name="T50" fmla="*/ 189749 w 546"/>
                <a:gd name="T51" fmla="*/ 43110 h 173"/>
                <a:gd name="T52" fmla="*/ 204046 w 546"/>
                <a:gd name="T53" fmla="*/ 54287 h 173"/>
                <a:gd name="T54" fmla="*/ 213576 w 546"/>
                <a:gd name="T55" fmla="*/ 63335 h 173"/>
                <a:gd name="T56" fmla="*/ 205779 w 546"/>
                <a:gd name="T57" fmla="*/ 72383 h 173"/>
                <a:gd name="T58" fmla="*/ 194515 w 546"/>
                <a:gd name="T59" fmla="*/ 75576 h 173"/>
                <a:gd name="T60" fmla="*/ 184551 w 546"/>
                <a:gd name="T61" fmla="*/ 75044 h 173"/>
                <a:gd name="T62" fmla="*/ 178486 w 546"/>
                <a:gd name="T63" fmla="*/ 71318 h 173"/>
                <a:gd name="T64" fmla="*/ 172854 w 546"/>
                <a:gd name="T65" fmla="*/ 69189 h 173"/>
                <a:gd name="T66" fmla="*/ 166789 w 546"/>
                <a:gd name="T67" fmla="*/ 64399 h 173"/>
                <a:gd name="T68" fmla="*/ 162457 w 546"/>
                <a:gd name="T69" fmla="*/ 55351 h 173"/>
                <a:gd name="T70" fmla="*/ 158125 w 546"/>
                <a:gd name="T71" fmla="*/ 48965 h 173"/>
                <a:gd name="T72" fmla="*/ 149027 w 546"/>
                <a:gd name="T73" fmla="*/ 44707 h 173"/>
                <a:gd name="T74" fmla="*/ 140796 w 546"/>
                <a:gd name="T75" fmla="*/ 40449 h 173"/>
                <a:gd name="T76" fmla="*/ 131265 w 546"/>
                <a:gd name="T77" fmla="*/ 46304 h 173"/>
                <a:gd name="T78" fmla="*/ 111770 w 546"/>
                <a:gd name="T79" fmla="*/ 71318 h 173"/>
                <a:gd name="T80" fmla="*/ 102239 w 546"/>
                <a:gd name="T81" fmla="*/ 86753 h 173"/>
                <a:gd name="T82" fmla="*/ 95308 w 546"/>
                <a:gd name="T83" fmla="*/ 91543 h 173"/>
                <a:gd name="T84" fmla="*/ 81445 w 546"/>
                <a:gd name="T85" fmla="*/ 88882 h 173"/>
                <a:gd name="T86" fmla="*/ 71481 w 546"/>
                <a:gd name="T87" fmla="*/ 82495 h 173"/>
                <a:gd name="T88" fmla="*/ 48954 w 546"/>
                <a:gd name="T89" fmla="*/ 55884 h 173"/>
                <a:gd name="T90" fmla="*/ 41156 w 546"/>
                <a:gd name="T91" fmla="*/ 48433 h 173"/>
                <a:gd name="T92" fmla="*/ 25993 w 546"/>
                <a:gd name="T93" fmla="*/ 40449 h 173"/>
                <a:gd name="T94" fmla="*/ 6931 w 546"/>
                <a:gd name="T95" fmla="*/ 30869 h 173"/>
                <a:gd name="T96" fmla="*/ 4765 w 546"/>
                <a:gd name="T97" fmla="*/ 18096 h 173"/>
                <a:gd name="T98" fmla="*/ 12130 w 546"/>
                <a:gd name="T99" fmla="*/ 10112 h 173"/>
                <a:gd name="T100" fmla="*/ 20361 w 546"/>
                <a:gd name="T101" fmla="*/ 638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007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932" name="Freeform 548">
              <a:extLst>
                <a:ext uri="{FF2B5EF4-FFF2-40B4-BE49-F238E27FC236}">
                  <a16:creationId xmlns:a16="http://schemas.microsoft.com/office/drawing/2014/main" id="{330576D1-0282-4D6C-8119-64B55D510A90}"/>
                </a:ext>
              </a:extLst>
            </p:cNvPr>
            <p:cNvSpPr>
              <a:spLocks/>
            </p:cNvSpPr>
            <p:nvPr>
              <p:custDataLst>
                <p:tags r:id="rId379"/>
              </p:custDataLst>
            </p:nvPr>
          </p:nvSpPr>
          <p:spPr bwMode="auto">
            <a:xfrm>
              <a:off x="6427788" y="1447801"/>
              <a:ext cx="107950" cy="60325"/>
            </a:xfrm>
            <a:custGeom>
              <a:avLst/>
              <a:gdLst>
                <a:gd name="T0" fmla="*/ 11848 w 246"/>
                <a:gd name="T1" fmla="*/ 51707 h 42"/>
                <a:gd name="T2" fmla="*/ 15798 w 246"/>
                <a:gd name="T3" fmla="*/ 51707 h 42"/>
                <a:gd name="T4" fmla="*/ 19747 w 246"/>
                <a:gd name="T5" fmla="*/ 50271 h 42"/>
                <a:gd name="T6" fmla="*/ 23258 w 246"/>
                <a:gd name="T7" fmla="*/ 47398 h 42"/>
                <a:gd name="T8" fmla="*/ 25890 w 246"/>
                <a:gd name="T9" fmla="*/ 44526 h 42"/>
                <a:gd name="T10" fmla="*/ 28962 w 246"/>
                <a:gd name="T11" fmla="*/ 43089 h 42"/>
                <a:gd name="T12" fmla="*/ 31595 w 246"/>
                <a:gd name="T13" fmla="*/ 41653 h 42"/>
                <a:gd name="T14" fmla="*/ 35106 w 246"/>
                <a:gd name="T15" fmla="*/ 41653 h 42"/>
                <a:gd name="T16" fmla="*/ 38177 w 246"/>
                <a:gd name="T17" fmla="*/ 43089 h 42"/>
                <a:gd name="T18" fmla="*/ 38177 w 246"/>
                <a:gd name="T19" fmla="*/ 60325 h 42"/>
                <a:gd name="T20" fmla="*/ 67578 w 246"/>
                <a:gd name="T21" fmla="*/ 60325 h 42"/>
                <a:gd name="T22" fmla="*/ 67578 w 246"/>
                <a:gd name="T23" fmla="*/ 56016 h 42"/>
                <a:gd name="T24" fmla="*/ 68456 w 246"/>
                <a:gd name="T25" fmla="*/ 51707 h 42"/>
                <a:gd name="T26" fmla="*/ 69773 w 246"/>
                <a:gd name="T27" fmla="*/ 47398 h 42"/>
                <a:gd name="T28" fmla="*/ 71528 w 246"/>
                <a:gd name="T29" fmla="*/ 44526 h 42"/>
                <a:gd name="T30" fmla="*/ 76794 w 246"/>
                <a:gd name="T31" fmla="*/ 37344 h 42"/>
                <a:gd name="T32" fmla="*/ 83376 w 246"/>
                <a:gd name="T33" fmla="*/ 33035 h 42"/>
                <a:gd name="T34" fmla="*/ 96979 w 246"/>
                <a:gd name="T35" fmla="*/ 24417 h 42"/>
                <a:gd name="T36" fmla="*/ 107950 w 246"/>
                <a:gd name="T37" fmla="*/ 17236 h 42"/>
                <a:gd name="T38" fmla="*/ 93030 w 246"/>
                <a:gd name="T39" fmla="*/ 18672 h 42"/>
                <a:gd name="T40" fmla="*/ 81621 w 246"/>
                <a:gd name="T41" fmla="*/ 20108 h 42"/>
                <a:gd name="T42" fmla="*/ 78110 w 246"/>
                <a:gd name="T43" fmla="*/ 21545 h 42"/>
                <a:gd name="T44" fmla="*/ 75038 w 246"/>
                <a:gd name="T45" fmla="*/ 21545 h 42"/>
                <a:gd name="T46" fmla="*/ 73722 w 246"/>
                <a:gd name="T47" fmla="*/ 20108 h 42"/>
                <a:gd name="T48" fmla="*/ 73283 w 246"/>
                <a:gd name="T49" fmla="*/ 17236 h 42"/>
                <a:gd name="T50" fmla="*/ 69773 w 246"/>
                <a:gd name="T51" fmla="*/ 22981 h 42"/>
                <a:gd name="T52" fmla="*/ 66701 w 246"/>
                <a:gd name="T53" fmla="*/ 24417 h 42"/>
                <a:gd name="T54" fmla="*/ 64507 w 246"/>
                <a:gd name="T55" fmla="*/ 24417 h 42"/>
                <a:gd name="T56" fmla="*/ 61874 w 246"/>
                <a:gd name="T57" fmla="*/ 21545 h 42"/>
                <a:gd name="T58" fmla="*/ 60118 w 246"/>
                <a:gd name="T59" fmla="*/ 17236 h 42"/>
                <a:gd name="T60" fmla="*/ 58363 w 246"/>
                <a:gd name="T61" fmla="*/ 12927 h 42"/>
                <a:gd name="T62" fmla="*/ 56608 w 246"/>
                <a:gd name="T63" fmla="*/ 7182 h 42"/>
                <a:gd name="T64" fmla="*/ 55291 w 246"/>
                <a:gd name="T65" fmla="*/ 0 h 42"/>
                <a:gd name="T66" fmla="*/ 53097 w 246"/>
                <a:gd name="T67" fmla="*/ 2873 h 42"/>
                <a:gd name="T68" fmla="*/ 49587 w 246"/>
                <a:gd name="T69" fmla="*/ 5745 h 42"/>
                <a:gd name="T70" fmla="*/ 45199 w 246"/>
                <a:gd name="T71" fmla="*/ 7182 h 42"/>
                <a:gd name="T72" fmla="*/ 40810 w 246"/>
                <a:gd name="T73" fmla="*/ 7182 h 42"/>
                <a:gd name="T74" fmla="*/ 32473 w 246"/>
                <a:gd name="T75" fmla="*/ 8618 h 42"/>
                <a:gd name="T76" fmla="*/ 26329 w 246"/>
                <a:gd name="T77" fmla="*/ 8618 h 42"/>
                <a:gd name="T78" fmla="*/ 25452 w 246"/>
                <a:gd name="T79" fmla="*/ 12927 h 42"/>
                <a:gd name="T80" fmla="*/ 24574 w 246"/>
                <a:gd name="T81" fmla="*/ 17236 h 42"/>
                <a:gd name="T82" fmla="*/ 23696 w 246"/>
                <a:gd name="T83" fmla="*/ 21545 h 42"/>
                <a:gd name="T84" fmla="*/ 21941 w 246"/>
                <a:gd name="T85" fmla="*/ 24417 h 42"/>
                <a:gd name="T86" fmla="*/ 18430 w 246"/>
                <a:gd name="T87" fmla="*/ 28726 h 42"/>
                <a:gd name="T88" fmla="*/ 14481 w 246"/>
                <a:gd name="T89" fmla="*/ 31599 h 42"/>
                <a:gd name="T90" fmla="*/ 6143 w 246"/>
                <a:gd name="T91" fmla="*/ 34471 h 42"/>
                <a:gd name="T92" fmla="*/ 0 w 246"/>
                <a:gd name="T93" fmla="*/ 34471 h 42"/>
                <a:gd name="T94" fmla="*/ 439 w 246"/>
                <a:gd name="T95" fmla="*/ 38780 h 42"/>
                <a:gd name="T96" fmla="*/ 1316 w 246"/>
                <a:gd name="T97" fmla="*/ 41653 h 42"/>
                <a:gd name="T98" fmla="*/ 2194 w 246"/>
                <a:gd name="T99" fmla="*/ 44526 h 42"/>
                <a:gd name="T100" fmla="*/ 3949 w 246"/>
                <a:gd name="T101" fmla="*/ 47398 h 42"/>
                <a:gd name="T102" fmla="*/ 7460 w 246"/>
                <a:gd name="T103" fmla="*/ 50271 h 42"/>
                <a:gd name="T104" fmla="*/ 11848 w 246"/>
                <a:gd name="T105" fmla="*/ 5170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33" name="Freeform 549">
              <a:extLst>
                <a:ext uri="{FF2B5EF4-FFF2-40B4-BE49-F238E27FC236}">
                  <a16:creationId xmlns:a16="http://schemas.microsoft.com/office/drawing/2014/main" id="{9D05D6F0-A8C3-4B0A-A7ED-6F960514FDD9}"/>
                </a:ext>
              </a:extLst>
            </p:cNvPr>
            <p:cNvSpPr>
              <a:spLocks/>
            </p:cNvSpPr>
            <p:nvPr>
              <p:custDataLst>
                <p:tags r:id="rId380"/>
              </p:custDataLst>
            </p:nvPr>
          </p:nvSpPr>
          <p:spPr bwMode="auto">
            <a:xfrm>
              <a:off x="6570663" y="1430338"/>
              <a:ext cx="63500" cy="57150"/>
            </a:xfrm>
            <a:custGeom>
              <a:avLst/>
              <a:gdLst>
                <a:gd name="T0" fmla="*/ 43896 w 149"/>
                <a:gd name="T1" fmla="*/ 0 h 61"/>
                <a:gd name="T2" fmla="*/ 50289 w 149"/>
                <a:gd name="T3" fmla="*/ 937 h 61"/>
                <a:gd name="T4" fmla="*/ 57107 w 149"/>
                <a:gd name="T5" fmla="*/ 2811 h 61"/>
                <a:gd name="T6" fmla="*/ 61795 w 149"/>
                <a:gd name="T7" fmla="*/ 4684 h 61"/>
                <a:gd name="T8" fmla="*/ 63500 w 149"/>
                <a:gd name="T9" fmla="*/ 5621 h 61"/>
                <a:gd name="T10" fmla="*/ 63500 w 149"/>
                <a:gd name="T11" fmla="*/ 7495 h 61"/>
                <a:gd name="T12" fmla="*/ 62648 w 149"/>
                <a:gd name="T13" fmla="*/ 9369 h 61"/>
                <a:gd name="T14" fmla="*/ 61795 w 149"/>
                <a:gd name="T15" fmla="*/ 11243 h 61"/>
                <a:gd name="T16" fmla="*/ 60091 w 149"/>
                <a:gd name="T17" fmla="*/ 12180 h 61"/>
                <a:gd name="T18" fmla="*/ 58386 w 149"/>
                <a:gd name="T19" fmla="*/ 13116 h 61"/>
                <a:gd name="T20" fmla="*/ 56255 w 149"/>
                <a:gd name="T21" fmla="*/ 13116 h 61"/>
                <a:gd name="T22" fmla="*/ 54124 w 149"/>
                <a:gd name="T23" fmla="*/ 13116 h 61"/>
                <a:gd name="T24" fmla="*/ 52419 w 149"/>
                <a:gd name="T25" fmla="*/ 11243 h 61"/>
                <a:gd name="T26" fmla="*/ 52419 w 149"/>
                <a:gd name="T27" fmla="*/ 21548 h 61"/>
                <a:gd name="T28" fmla="*/ 52419 w 149"/>
                <a:gd name="T29" fmla="*/ 30917 h 61"/>
                <a:gd name="T30" fmla="*/ 52419 w 149"/>
                <a:gd name="T31" fmla="*/ 38412 h 61"/>
                <a:gd name="T32" fmla="*/ 52419 w 149"/>
                <a:gd name="T33" fmla="*/ 45907 h 61"/>
                <a:gd name="T34" fmla="*/ 49436 w 149"/>
                <a:gd name="T35" fmla="*/ 46844 h 61"/>
                <a:gd name="T36" fmla="*/ 46453 w 149"/>
                <a:gd name="T37" fmla="*/ 47781 h 61"/>
                <a:gd name="T38" fmla="*/ 44322 w 149"/>
                <a:gd name="T39" fmla="*/ 49655 h 61"/>
                <a:gd name="T40" fmla="*/ 42617 w 149"/>
                <a:gd name="T41" fmla="*/ 51529 h 61"/>
                <a:gd name="T42" fmla="*/ 40060 w 149"/>
                <a:gd name="T43" fmla="*/ 53402 h 61"/>
                <a:gd name="T44" fmla="*/ 37930 w 149"/>
                <a:gd name="T45" fmla="*/ 55276 h 61"/>
                <a:gd name="T46" fmla="*/ 35372 w 149"/>
                <a:gd name="T47" fmla="*/ 57150 h 61"/>
                <a:gd name="T48" fmla="*/ 32389 w 149"/>
                <a:gd name="T49" fmla="*/ 57150 h 61"/>
                <a:gd name="T50" fmla="*/ 28554 w 149"/>
                <a:gd name="T51" fmla="*/ 56213 h 61"/>
                <a:gd name="T52" fmla="*/ 22587 w 149"/>
                <a:gd name="T53" fmla="*/ 53402 h 61"/>
                <a:gd name="T54" fmla="*/ 16621 w 149"/>
                <a:gd name="T55" fmla="*/ 50592 h 61"/>
                <a:gd name="T56" fmla="*/ 10654 w 149"/>
                <a:gd name="T57" fmla="*/ 45907 h 61"/>
                <a:gd name="T58" fmla="*/ 5114 w 149"/>
                <a:gd name="T59" fmla="*/ 42160 h 61"/>
                <a:gd name="T60" fmla="*/ 1279 w 149"/>
                <a:gd name="T61" fmla="*/ 38412 h 61"/>
                <a:gd name="T62" fmla="*/ 426 w 149"/>
                <a:gd name="T63" fmla="*/ 36539 h 61"/>
                <a:gd name="T64" fmla="*/ 0 w 149"/>
                <a:gd name="T65" fmla="*/ 35602 h 61"/>
                <a:gd name="T66" fmla="*/ 0 w 149"/>
                <a:gd name="T67" fmla="*/ 34665 h 61"/>
                <a:gd name="T68" fmla="*/ 1279 w 149"/>
                <a:gd name="T69" fmla="*/ 34665 h 61"/>
                <a:gd name="T70" fmla="*/ 8097 w 149"/>
                <a:gd name="T71" fmla="*/ 33728 h 61"/>
                <a:gd name="T72" fmla="*/ 14916 w 149"/>
                <a:gd name="T73" fmla="*/ 32791 h 61"/>
                <a:gd name="T74" fmla="*/ 20456 w 149"/>
                <a:gd name="T75" fmla="*/ 29980 h 61"/>
                <a:gd name="T76" fmla="*/ 25570 w 149"/>
                <a:gd name="T77" fmla="*/ 25296 h 61"/>
                <a:gd name="T78" fmla="*/ 30685 w 149"/>
                <a:gd name="T79" fmla="*/ 20611 h 61"/>
                <a:gd name="T80" fmla="*/ 34946 w 149"/>
                <a:gd name="T81" fmla="*/ 14990 h 61"/>
                <a:gd name="T82" fmla="*/ 39634 w 149"/>
                <a:gd name="T83" fmla="*/ 7495 h 61"/>
                <a:gd name="T84" fmla="*/ 43896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34" name="Freeform 550">
              <a:extLst>
                <a:ext uri="{FF2B5EF4-FFF2-40B4-BE49-F238E27FC236}">
                  <a16:creationId xmlns:a16="http://schemas.microsoft.com/office/drawing/2014/main" id="{70E7C13E-F7B2-44AB-ADE1-697F9BCFAD73}"/>
                </a:ext>
              </a:extLst>
            </p:cNvPr>
            <p:cNvSpPr>
              <a:spLocks/>
            </p:cNvSpPr>
            <p:nvPr>
              <p:custDataLst>
                <p:tags r:id="rId381"/>
              </p:custDataLst>
            </p:nvPr>
          </p:nvSpPr>
          <p:spPr bwMode="auto">
            <a:xfrm>
              <a:off x="6607176" y="1438275"/>
              <a:ext cx="130175" cy="57150"/>
            </a:xfrm>
            <a:custGeom>
              <a:avLst/>
              <a:gdLst>
                <a:gd name="T0" fmla="*/ 57904 w 299"/>
                <a:gd name="T1" fmla="*/ 55605 h 74"/>
                <a:gd name="T2" fmla="*/ 67047 w 299"/>
                <a:gd name="T3" fmla="*/ 50199 h 74"/>
                <a:gd name="T4" fmla="*/ 77495 w 299"/>
                <a:gd name="T5" fmla="*/ 41704 h 74"/>
                <a:gd name="T6" fmla="*/ 86638 w 299"/>
                <a:gd name="T7" fmla="*/ 32436 h 74"/>
                <a:gd name="T8" fmla="*/ 90121 w 299"/>
                <a:gd name="T9" fmla="*/ 30892 h 74"/>
                <a:gd name="T10" fmla="*/ 91863 w 299"/>
                <a:gd name="T11" fmla="*/ 35526 h 74"/>
                <a:gd name="T12" fmla="*/ 95781 w 299"/>
                <a:gd name="T13" fmla="*/ 39387 h 74"/>
                <a:gd name="T14" fmla="*/ 105794 w 299"/>
                <a:gd name="T15" fmla="*/ 42476 h 74"/>
                <a:gd name="T16" fmla="*/ 117114 w 299"/>
                <a:gd name="T17" fmla="*/ 42476 h 74"/>
                <a:gd name="T18" fmla="*/ 124515 w 299"/>
                <a:gd name="T19" fmla="*/ 42476 h 74"/>
                <a:gd name="T20" fmla="*/ 127563 w 299"/>
                <a:gd name="T21" fmla="*/ 35526 h 74"/>
                <a:gd name="T22" fmla="*/ 129740 w 299"/>
                <a:gd name="T23" fmla="*/ 23941 h 74"/>
                <a:gd name="T24" fmla="*/ 121468 w 299"/>
                <a:gd name="T25" fmla="*/ 19307 h 74"/>
                <a:gd name="T26" fmla="*/ 106230 w 299"/>
                <a:gd name="T27" fmla="*/ 19307 h 74"/>
                <a:gd name="T28" fmla="*/ 97958 w 299"/>
                <a:gd name="T29" fmla="*/ 19307 h 74"/>
                <a:gd name="T30" fmla="*/ 93169 w 299"/>
                <a:gd name="T31" fmla="*/ 20852 h 74"/>
                <a:gd name="T32" fmla="*/ 88815 w 299"/>
                <a:gd name="T33" fmla="*/ 25486 h 74"/>
                <a:gd name="T34" fmla="*/ 74883 w 299"/>
                <a:gd name="T35" fmla="*/ 28575 h 74"/>
                <a:gd name="T36" fmla="*/ 76625 w 299"/>
                <a:gd name="T37" fmla="*/ 21624 h 74"/>
                <a:gd name="T38" fmla="*/ 78366 w 299"/>
                <a:gd name="T39" fmla="*/ 16218 h 74"/>
                <a:gd name="T40" fmla="*/ 84461 w 299"/>
                <a:gd name="T41" fmla="*/ 10040 h 74"/>
                <a:gd name="T42" fmla="*/ 91427 w 299"/>
                <a:gd name="T43" fmla="*/ 6951 h 74"/>
                <a:gd name="T44" fmla="*/ 97958 w 299"/>
                <a:gd name="T45" fmla="*/ 0 h 74"/>
                <a:gd name="T46" fmla="*/ 80543 w 299"/>
                <a:gd name="T47" fmla="*/ 2317 h 74"/>
                <a:gd name="T48" fmla="*/ 68353 w 299"/>
                <a:gd name="T49" fmla="*/ 8495 h 74"/>
                <a:gd name="T50" fmla="*/ 58339 w 299"/>
                <a:gd name="T51" fmla="*/ 19307 h 74"/>
                <a:gd name="T52" fmla="*/ 49632 w 299"/>
                <a:gd name="T53" fmla="*/ 30892 h 74"/>
                <a:gd name="T54" fmla="*/ 43537 w 299"/>
                <a:gd name="T55" fmla="*/ 40932 h 74"/>
                <a:gd name="T56" fmla="*/ 37877 w 299"/>
                <a:gd name="T57" fmla="*/ 45566 h 74"/>
                <a:gd name="T58" fmla="*/ 27864 w 299"/>
                <a:gd name="T59" fmla="*/ 48655 h 74"/>
                <a:gd name="T60" fmla="*/ 13932 w 299"/>
                <a:gd name="T61" fmla="*/ 49427 h 74"/>
                <a:gd name="T62" fmla="*/ 5224 w 299"/>
                <a:gd name="T63" fmla="*/ 51744 h 74"/>
                <a:gd name="T64" fmla="*/ 871 w 299"/>
                <a:gd name="T65" fmla="*/ 54061 h 74"/>
                <a:gd name="T66" fmla="*/ 16979 w 299"/>
                <a:gd name="T67" fmla="*/ 57150 h 74"/>
                <a:gd name="T68" fmla="*/ 44408 w 299"/>
                <a:gd name="T69" fmla="*/ 57150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>
          <a:xfrm>
            <a:off x="2579689" y="6304240"/>
            <a:ext cx="6750153" cy="365125"/>
          </a:xfrm>
        </p:spPr>
        <p:txBody>
          <a:bodyPr/>
          <a:lstStyle/>
          <a:p>
            <a:r>
              <a:rPr lang="en-US" dirty="0"/>
              <a:t>An international public benefit foundation, registered with the Dutch Chamber of Commerce # 67518613 and the European Transparency Register # 238535130318-52. Office contact details: </a:t>
            </a:r>
            <a:r>
              <a:rPr lang="en-US" dirty="0" err="1"/>
              <a:t>Nolenslaan</a:t>
            </a:r>
            <a:r>
              <a:rPr lang="en-US" dirty="0"/>
              <a:t> 13, NL-9722 NK, Groningen, The Netherlands </a:t>
            </a:r>
            <a:r>
              <a:rPr lang="en-US" dirty="0">
                <a:hlinkClick r:id="rId385"/>
              </a:rPr>
              <a:t>e ed@groningendeclaration.org</a:t>
            </a:r>
            <a:r>
              <a:rPr lang="en-US" dirty="0"/>
              <a:t>  cell: +316 1505 5422, </a:t>
            </a:r>
            <a:r>
              <a:rPr lang="en-US" dirty="0">
                <a:hlinkClick r:id="rId386"/>
              </a:rPr>
              <a:t>www.groningendeclaration.org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146860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44444" y="122923"/>
            <a:ext cx="9297908" cy="559981"/>
          </a:xfrm>
        </p:spPr>
        <p:txBody>
          <a:bodyPr>
            <a:normAutofit fontScale="90000"/>
          </a:bodyPr>
          <a:lstStyle/>
          <a:p>
            <a:r>
              <a:rPr lang="nl-NL" dirty="0" err="1"/>
              <a:t>Annual</a:t>
            </a:r>
            <a:r>
              <a:rPr lang="nl-NL" dirty="0"/>
              <a:t> Meeting 2020, </a:t>
            </a:r>
            <a:r>
              <a:rPr lang="nl-NL" dirty="0" err="1"/>
              <a:t>Registration</a:t>
            </a:r>
            <a:r>
              <a:rPr lang="nl-NL" dirty="0"/>
              <a:t> Opening</a:t>
            </a:r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n international public benefit foundation, registered with the Dutch Chamber of Commerce - 67518613 and the European Transparency Register - 238535130318-52. Office contact details: Nolenslaan 13, NL-9722 NK Groningen/ed@groningendeclaration.org</a:t>
            </a:r>
            <a:endParaRPr lang="en-US" dirty="0"/>
          </a:p>
        </p:txBody>
      </p:sp>
      <p:pic>
        <p:nvPicPr>
          <p:cNvPr id="205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612" y="1047012"/>
            <a:ext cx="9447299" cy="435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432062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740735"/>
          </a:xfrm>
        </p:spPr>
        <p:txBody>
          <a:bodyPr/>
          <a:lstStyle/>
          <a:p>
            <a:r>
              <a:rPr lang="nl-NL" b="1" dirty="0" err="1">
                <a:solidFill>
                  <a:srgbClr val="90C226"/>
                </a:solidFill>
              </a:rPr>
              <a:t>Thank</a:t>
            </a:r>
            <a:r>
              <a:rPr lang="nl-NL" b="1" dirty="0"/>
              <a:t> </a:t>
            </a:r>
            <a:r>
              <a:rPr lang="nl-NL" b="1" dirty="0" err="1"/>
              <a:t>You</a:t>
            </a:r>
            <a:r>
              <a:rPr lang="nl-NL" b="1" dirty="0"/>
              <a:t> for </a:t>
            </a:r>
            <a:r>
              <a:rPr lang="nl-NL" b="1" dirty="0" err="1"/>
              <a:t>Your</a:t>
            </a:r>
            <a:r>
              <a:rPr lang="nl-NL" b="1" dirty="0"/>
              <a:t> Interest!</a:t>
            </a:r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n international public benefit foundation, registered with the Dutch Chamber of Commerce - 67518613 and the European Transparency Register - 238535130318-52. Office contact details: Nolenslaan 13, NL-9722 NK Groningen/ed@groningendeclaration.org</a:t>
            </a:r>
            <a:endParaRPr lang="en-US" dirty="0"/>
          </a:p>
        </p:txBody>
      </p:sp>
      <p:pic>
        <p:nvPicPr>
          <p:cNvPr id="205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661" y="1530503"/>
            <a:ext cx="5570308" cy="43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342797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77334" y="353292"/>
            <a:ext cx="8596668" cy="654626"/>
          </a:xfrm>
        </p:spPr>
        <p:txBody>
          <a:bodyPr>
            <a:normAutofit fontScale="90000"/>
          </a:bodyPr>
          <a:lstStyle/>
          <a:p>
            <a:r>
              <a:rPr lang="nl-NL" dirty="0" err="1"/>
              <a:t>What</a:t>
            </a:r>
            <a:r>
              <a:rPr lang="nl-NL" dirty="0"/>
              <a:t> </a:t>
            </a:r>
            <a:r>
              <a:rPr lang="nl-NL" dirty="0" err="1"/>
              <a:t>Physical</a:t>
            </a:r>
            <a:r>
              <a:rPr lang="nl-NL" dirty="0"/>
              <a:t> </a:t>
            </a:r>
            <a:r>
              <a:rPr lang="nl-NL" dirty="0" err="1"/>
              <a:t>Documents</a:t>
            </a:r>
            <a:r>
              <a:rPr lang="nl-NL" dirty="0"/>
              <a:t> </a:t>
            </a:r>
            <a:r>
              <a:rPr lang="nl-NL" dirty="0" err="1"/>
              <a:t>Can</a:t>
            </a:r>
            <a:r>
              <a:rPr lang="nl-NL" dirty="0"/>
              <a:t> Do and </a:t>
            </a:r>
            <a:r>
              <a:rPr lang="nl-NL" dirty="0" err="1"/>
              <a:t>Cant</a:t>
            </a:r>
            <a:endParaRPr lang="nl-NL" dirty="0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n international public benefit foundation, registered with the Dutch Chamber of Commerce - 67518613 and the European Transparency Register - 238535130318-52. Office contact details: Nolenslaan 13, NL-9722 NK Groningen/ed@groningendeclaration.org</a:t>
            </a:r>
            <a:endParaRPr lang="en-US" dirty="0"/>
          </a:p>
        </p:txBody>
      </p:sp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926" y="1028073"/>
            <a:ext cx="6860284" cy="496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763294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8344" y="194930"/>
            <a:ext cx="8955026" cy="815163"/>
          </a:xfrm>
        </p:spPr>
        <p:txBody>
          <a:bodyPr/>
          <a:lstStyle/>
          <a:p>
            <a:r>
              <a:rPr lang="nl-NL" dirty="0" err="1"/>
              <a:t>Checking</a:t>
            </a:r>
            <a:r>
              <a:rPr lang="nl-NL" dirty="0"/>
              <a:t> Security Feature: Hologram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n international public benefit foundation, registered with the Dutch Chamber of Commerce - 67518613 and the European Transparency Register - 238535130318-52. Office contact details: Nolenslaan 13, NL-9722 NK Groningen/ed@groningendeclaration.org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9834" y="1170246"/>
            <a:ext cx="5994117" cy="450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284605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5436" y="248093"/>
            <a:ext cx="8596668" cy="595745"/>
          </a:xfrm>
        </p:spPr>
        <p:txBody>
          <a:bodyPr>
            <a:normAutofit fontScale="90000"/>
          </a:bodyPr>
          <a:lstStyle/>
          <a:p>
            <a:r>
              <a:rPr lang="nl-NL" dirty="0" err="1"/>
              <a:t>What</a:t>
            </a:r>
            <a:r>
              <a:rPr lang="nl-NL" dirty="0"/>
              <a:t> </a:t>
            </a:r>
            <a:r>
              <a:rPr lang="nl-NL" dirty="0" err="1"/>
              <a:t>Digitization</a:t>
            </a:r>
            <a:r>
              <a:rPr lang="nl-NL" dirty="0"/>
              <a:t> </a:t>
            </a:r>
            <a:r>
              <a:rPr lang="nl-NL" dirty="0" err="1"/>
              <a:t>Can</a:t>
            </a:r>
            <a:r>
              <a:rPr lang="nl-NL" dirty="0"/>
              <a:t> </a:t>
            </a:r>
            <a:r>
              <a:rPr lang="nl-NL" dirty="0" err="1"/>
              <a:t>Provide</a:t>
            </a:r>
            <a:r>
              <a:rPr lang="nl-NL" dirty="0"/>
              <a:t> </a:t>
            </a:r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n international public benefit foundation, registered with the Dutch Chamber of Commerce - 67518613 and the European Transparency Register - 238535130318-52. Office contact details: Nolenslaan 13, NL-9722 NK Groningen/ed@groningendeclaration.org</a:t>
            </a:r>
            <a:endParaRPr lang="en-US" dirty="0"/>
          </a:p>
        </p:txBody>
      </p:sp>
      <p:pic>
        <p:nvPicPr>
          <p:cNvPr id="5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6017" y="1169988"/>
            <a:ext cx="7637779" cy="4773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75231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3960" y="283675"/>
            <a:ext cx="8596668" cy="558297"/>
          </a:xfrm>
        </p:spPr>
        <p:txBody>
          <a:bodyPr>
            <a:normAutofit fontScale="90000"/>
          </a:bodyPr>
          <a:lstStyle/>
          <a:p>
            <a:r>
              <a:rPr lang="nl-NL" dirty="0" err="1"/>
              <a:t>Other</a:t>
            </a:r>
            <a:r>
              <a:rPr lang="nl-NL" dirty="0"/>
              <a:t> </a:t>
            </a:r>
            <a:r>
              <a:rPr lang="nl-NL" dirty="0" err="1"/>
              <a:t>Example</a:t>
            </a:r>
            <a:r>
              <a:rPr lang="nl-NL" dirty="0"/>
              <a:t>: </a:t>
            </a:r>
            <a:r>
              <a:rPr lang="nl-NL" dirty="0" err="1"/>
              <a:t>Vitnemålsportalen</a:t>
            </a:r>
            <a:r>
              <a:rPr lang="nl-NL" dirty="0"/>
              <a:t>, NO</a:t>
            </a:r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n international public benefit foundation, registered with the Dutch Chamber of Commerce - 67518613 and the European Transparency Register - 238535130318-52. Office contact details: Nolenslaan 13, NL-9722 NK Groningen/ed@groningendeclaration.org</a:t>
            </a:r>
            <a:endParaRPr lang="en-US" dirty="0"/>
          </a:p>
        </p:txBody>
      </p:sp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164" y="1146598"/>
            <a:ext cx="8475071" cy="43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060756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634409"/>
          </a:xfrm>
        </p:spPr>
        <p:txBody>
          <a:bodyPr>
            <a:normAutofit fontScale="90000"/>
          </a:bodyPr>
          <a:lstStyle/>
          <a:p>
            <a:r>
              <a:rPr lang="nl-NL" dirty="0" err="1"/>
              <a:t>Learner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Initiate</a:t>
            </a:r>
            <a:r>
              <a:rPr lang="nl-NL" dirty="0"/>
              <a:t> </a:t>
            </a:r>
            <a:r>
              <a:rPr lang="nl-NL" dirty="0" err="1"/>
              <a:t>Consultation</a:t>
            </a:r>
            <a:endParaRPr lang="nl-NL" dirty="0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n international public benefit foundation, registered with the Dutch Chamber of Commerce - 67518613 and the European Transparency Register - 238535130318-52. Office contact details: Nolenslaan 13, NL-9722 NK Groningen/ed@groningendeclaration.org</a:t>
            </a:r>
            <a:endParaRPr lang="en-US" dirty="0"/>
          </a:p>
        </p:txBody>
      </p:sp>
      <p:pic>
        <p:nvPicPr>
          <p:cNvPr id="5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0869" y="2160588"/>
            <a:ext cx="6210299" cy="3881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07333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98599" y="265814"/>
            <a:ext cx="8596668" cy="744279"/>
          </a:xfrm>
        </p:spPr>
        <p:txBody>
          <a:bodyPr>
            <a:normAutofit/>
          </a:bodyPr>
          <a:lstStyle/>
          <a:p>
            <a:r>
              <a:rPr lang="nl-NL" dirty="0"/>
              <a:t>Verification of </a:t>
            </a:r>
            <a:r>
              <a:rPr lang="nl-NL" dirty="0" err="1"/>
              <a:t>Origin</a:t>
            </a:r>
            <a:r>
              <a:rPr lang="nl-NL" dirty="0"/>
              <a:t> of Data</a:t>
            </a:r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n international public benefit foundation, registered with the Dutch Chamber of Commerce - 67518613 and the European Transparency Register - 238535130318-52. Office contact details: Nolenslaan 13, NL-9722 NK Groningen/ed@groningendeclaration.org</a:t>
            </a:r>
            <a:endParaRPr lang="en-US" dirty="0"/>
          </a:p>
        </p:txBody>
      </p:sp>
      <p:pic>
        <p:nvPicPr>
          <p:cNvPr id="5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0869" y="2160588"/>
            <a:ext cx="6210299" cy="3881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9403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77334" y="513907"/>
            <a:ext cx="8596668" cy="602512"/>
          </a:xfrm>
        </p:spPr>
        <p:txBody>
          <a:bodyPr>
            <a:normAutofit fontScale="90000"/>
          </a:bodyPr>
          <a:lstStyle/>
          <a:p>
            <a:r>
              <a:rPr lang="nl-NL" dirty="0" err="1"/>
              <a:t>What</a:t>
            </a:r>
            <a:r>
              <a:rPr lang="nl-NL" dirty="0"/>
              <a:t> </a:t>
            </a:r>
            <a:r>
              <a:rPr lang="nl-NL" dirty="0" err="1"/>
              <a:t>Comes</a:t>
            </a:r>
            <a:r>
              <a:rPr lang="nl-NL" dirty="0"/>
              <a:t> </a:t>
            </a:r>
            <a:r>
              <a:rPr lang="nl-NL" dirty="0" err="1"/>
              <a:t>Together</a:t>
            </a:r>
            <a:r>
              <a:rPr lang="nl-NL" dirty="0"/>
              <a:t> </a:t>
            </a:r>
            <a:r>
              <a:rPr lang="nl-NL" dirty="0" err="1"/>
              <a:t>Here</a:t>
            </a:r>
            <a:r>
              <a:rPr lang="nl-NL" dirty="0"/>
              <a:t>?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265814" y="1509823"/>
            <a:ext cx="9008188" cy="3710763"/>
          </a:xfrm>
        </p:spPr>
        <p:txBody>
          <a:bodyPr>
            <a:normAutofit/>
          </a:bodyPr>
          <a:lstStyle/>
          <a:p>
            <a:r>
              <a:rPr lang="nl-NL" altLang="nl-NL" sz="2400" dirty="0" err="1"/>
              <a:t>Authentication</a:t>
            </a:r>
            <a:r>
              <a:rPr lang="nl-NL" altLang="nl-NL" sz="2400" dirty="0"/>
              <a:t> of student</a:t>
            </a:r>
          </a:p>
          <a:p>
            <a:r>
              <a:rPr lang="nl-NL" altLang="nl-NL" sz="2400" dirty="0" err="1"/>
              <a:t>Authentication</a:t>
            </a:r>
            <a:r>
              <a:rPr lang="nl-NL" altLang="nl-NL" sz="2400" dirty="0"/>
              <a:t> of </a:t>
            </a:r>
            <a:r>
              <a:rPr lang="nl-NL" altLang="nl-NL" sz="2400" dirty="0" err="1"/>
              <a:t>educational</a:t>
            </a:r>
            <a:r>
              <a:rPr lang="nl-NL" altLang="nl-NL" sz="2400" dirty="0"/>
              <a:t> </a:t>
            </a:r>
            <a:r>
              <a:rPr lang="nl-NL" altLang="nl-NL" sz="2400" dirty="0" err="1"/>
              <a:t>attainment</a:t>
            </a:r>
            <a:endParaRPr lang="nl-NL" altLang="nl-NL" sz="2400" dirty="0"/>
          </a:p>
          <a:p>
            <a:r>
              <a:rPr lang="nl-NL" altLang="nl-NL" sz="2400" dirty="0"/>
              <a:t>[</a:t>
            </a:r>
            <a:r>
              <a:rPr lang="nl-NL" altLang="nl-NL" sz="2400" dirty="0" err="1"/>
              <a:t>Implied</a:t>
            </a:r>
            <a:r>
              <a:rPr lang="nl-NL" altLang="nl-NL" sz="2400" dirty="0"/>
              <a:t>] </a:t>
            </a:r>
            <a:r>
              <a:rPr lang="nl-NL" altLang="nl-NL" sz="2400" dirty="0" err="1"/>
              <a:t>Accreditation</a:t>
            </a:r>
            <a:r>
              <a:rPr lang="nl-NL" altLang="nl-NL" sz="2400" dirty="0"/>
              <a:t> status</a:t>
            </a:r>
            <a:endParaRPr lang="en-US" altLang="nl-NL" sz="2400" dirty="0"/>
          </a:p>
          <a:p>
            <a:r>
              <a:rPr lang="en-US" altLang="nl-NL" sz="2400" dirty="0"/>
              <a:t>Student consent to release data</a:t>
            </a:r>
            <a:r>
              <a:rPr lang="nl-NL" altLang="nl-NL" sz="2400" dirty="0"/>
              <a:t> </a:t>
            </a:r>
          </a:p>
          <a:p>
            <a:r>
              <a:rPr lang="nl-NL" altLang="nl-NL" sz="2400" dirty="0" err="1"/>
              <a:t>Recipient</a:t>
            </a:r>
            <a:r>
              <a:rPr lang="nl-NL" altLang="nl-NL" sz="2400" dirty="0"/>
              <a:t> Trust: </a:t>
            </a:r>
            <a:r>
              <a:rPr lang="nl-NL" altLang="nl-NL" sz="2400" dirty="0" err="1"/>
              <a:t>Third</a:t>
            </a:r>
            <a:r>
              <a:rPr lang="nl-NL" altLang="nl-NL" sz="2400" dirty="0"/>
              <a:t> </a:t>
            </a:r>
            <a:r>
              <a:rPr lang="nl-NL" altLang="nl-NL" sz="2400" dirty="0" err="1"/>
              <a:t>parties</a:t>
            </a:r>
            <a:r>
              <a:rPr lang="nl-NL" altLang="nl-NL" sz="2400" dirty="0"/>
              <a:t> </a:t>
            </a:r>
            <a:r>
              <a:rPr lang="nl-NL" altLang="nl-NL" sz="2400" dirty="0" err="1"/>
              <a:t>know</a:t>
            </a:r>
            <a:r>
              <a:rPr lang="nl-NL" altLang="nl-NL" sz="2400" dirty="0"/>
              <a:t> data are correct</a:t>
            </a:r>
          </a:p>
          <a:p>
            <a:r>
              <a:rPr lang="nl-NL" altLang="nl-NL" sz="2400" dirty="0" err="1"/>
              <a:t>Capturing</a:t>
            </a:r>
            <a:r>
              <a:rPr lang="nl-NL" altLang="nl-NL" sz="2400" dirty="0"/>
              <a:t> </a:t>
            </a:r>
            <a:r>
              <a:rPr lang="nl-NL" altLang="nl-NL" sz="2400" dirty="0" err="1"/>
              <a:t>much</a:t>
            </a:r>
            <a:r>
              <a:rPr lang="nl-NL" altLang="nl-NL" sz="2400" dirty="0"/>
              <a:t> </a:t>
            </a:r>
            <a:r>
              <a:rPr lang="nl-NL" altLang="nl-NL" sz="2400" dirty="0" err="1"/>
              <a:t>better</a:t>
            </a:r>
            <a:r>
              <a:rPr lang="nl-NL" altLang="nl-NL" sz="2400" dirty="0"/>
              <a:t> </a:t>
            </a:r>
            <a:r>
              <a:rPr lang="nl-NL" altLang="nl-NL" sz="2400" dirty="0" err="1"/>
              <a:t>aggregated</a:t>
            </a:r>
            <a:r>
              <a:rPr lang="nl-NL" altLang="nl-NL" sz="2400" dirty="0"/>
              <a:t> data on student </a:t>
            </a:r>
            <a:r>
              <a:rPr lang="nl-NL" altLang="nl-NL" sz="2400" dirty="0" err="1"/>
              <a:t>mobility</a:t>
            </a:r>
            <a:r>
              <a:rPr lang="nl-NL" altLang="nl-NL" sz="2400" dirty="0"/>
              <a:t>, for </a:t>
            </a:r>
            <a:r>
              <a:rPr lang="nl-NL" altLang="nl-NL" sz="2400" dirty="0" err="1"/>
              <a:t>instance</a:t>
            </a:r>
            <a:r>
              <a:rPr lang="nl-NL" altLang="nl-NL" sz="2400" dirty="0"/>
              <a:t> </a:t>
            </a:r>
            <a:r>
              <a:rPr lang="nl-NL" altLang="nl-NL" sz="2400" dirty="0" err="1"/>
              <a:t>to</a:t>
            </a:r>
            <a:r>
              <a:rPr lang="nl-NL" altLang="nl-NL" sz="2400" dirty="0"/>
              <a:t> </a:t>
            </a:r>
            <a:r>
              <a:rPr lang="nl-NL" altLang="nl-NL" sz="2400" dirty="0" err="1"/>
              <a:t>be</a:t>
            </a:r>
            <a:r>
              <a:rPr lang="nl-NL" altLang="nl-NL" sz="2400" dirty="0"/>
              <a:t> </a:t>
            </a:r>
            <a:r>
              <a:rPr lang="nl-NL" altLang="nl-NL" sz="2400" dirty="0" err="1"/>
              <a:t>used</a:t>
            </a:r>
            <a:r>
              <a:rPr lang="nl-NL" altLang="nl-NL" sz="2400" dirty="0"/>
              <a:t> for Big Data Research</a:t>
            </a:r>
          </a:p>
          <a:p>
            <a:endParaRPr lang="nl-NL" sz="2400" dirty="0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n international public benefit foundation, registered with the Dutch Chamber of Commerce - 67518613 and the European Transparency Register - 238535130318-52. Office contact details: Nolenslaan 13, NL-9722 NK Groningen/ed@groningendeclaration.or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22710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5389" y="609600"/>
            <a:ext cx="10148935" cy="1320800"/>
          </a:xfrm>
        </p:spPr>
        <p:txBody>
          <a:bodyPr/>
          <a:lstStyle/>
          <a:p>
            <a:r>
              <a:rPr lang="nl-NL" dirty="0"/>
              <a:t>Data, Information, </a:t>
            </a:r>
            <a:r>
              <a:rPr lang="nl-NL" dirty="0" err="1"/>
              <a:t>Documents</a:t>
            </a:r>
            <a:r>
              <a:rPr lang="nl-NL" dirty="0"/>
              <a:t> </a:t>
            </a:r>
            <a:r>
              <a:rPr lang="nl-NL" dirty="0" err="1"/>
              <a:t>Today</a:t>
            </a:r>
            <a:r>
              <a:rPr lang="nl-NL" dirty="0"/>
              <a:t> are </a:t>
            </a:r>
            <a:r>
              <a:rPr lang="nl-NL" dirty="0" err="1"/>
              <a:t>All</a:t>
            </a:r>
            <a:r>
              <a:rPr lang="nl-NL" dirty="0"/>
              <a:t> Born Digital</a:t>
            </a:r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n international public benefit foundation, registered with the Dutch Chamber of Commerce - 67518613 and the European Transparency Register - 238535130318-52. Office contact details: Nolenslaan 13, NL-9722 NK Groningen/ed@groningendeclaration.org</a:t>
            </a:r>
            <a:endParaRPr lang="en-US" dirty="0"/>
          </a:p>
        </p:txBody>
      </p:sp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1194" y="2202656"/>
            <a:ext cx="6089650" cy="3797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638542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1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1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1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1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1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1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1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1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1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1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1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1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1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1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1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1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1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1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1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1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1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1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1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1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1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1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1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1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1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1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1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1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1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1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1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1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1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1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1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1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1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1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1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1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1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1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1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1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1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1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1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1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1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1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1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1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1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1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1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1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1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1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1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1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1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1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1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1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1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1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1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1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1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1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1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1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1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1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1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1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1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1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1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1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1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1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1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1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1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1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1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1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1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1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1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1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1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1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1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1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1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1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1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1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1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1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1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1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1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1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1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1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1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1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1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1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1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1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1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1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1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1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1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1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1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1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1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1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1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1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1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1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1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1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1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1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1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1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1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1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1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1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1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1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1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1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1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1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1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1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1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1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1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1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1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1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1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1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1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1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1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1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1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1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1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1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1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1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1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1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1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1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1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1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1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1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1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1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1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1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1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1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1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1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1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1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1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1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1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1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1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1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1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1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1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1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1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1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1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1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1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1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1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1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1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1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1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1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1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1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1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1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1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1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1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1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1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1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1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1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1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1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1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1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1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1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1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1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1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1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1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1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1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1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1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1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1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1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1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1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1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1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1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1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1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1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1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1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1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1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1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1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1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1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1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1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1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1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1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1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1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1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1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1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1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1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1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1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1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1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1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1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1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1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1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1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1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1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1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1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1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1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1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1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1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1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1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1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1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1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1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1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1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1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1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1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1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1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1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1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1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1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1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1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1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1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1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1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1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1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1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1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1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1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1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1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1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1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1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1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1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1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1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1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1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1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1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1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1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1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1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1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1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1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1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1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1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1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1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1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1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1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1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heme/theme1.xml><?xml version="1.0" encoding="utf-8"?>
<a:theme xmlns:a="http://schemas.openxmlformats.org/drawingml/2006/main" name="Facet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1089</TotalTime>
  <Words>1351</Words>
  <Application>Microsoft Office PowerPoint</Application>
  <PresentationFormat>Widescreen</PresentationFormat>
  <Paragraphs>96</Paragraphs>
  <Slides>16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1" baseType="lpstr">
      <vt:lpstr>Arial</vt:lpstr>
      <vt:lpstr>Calibri</vt:lpstr>
      <vt:lpstr>Trebuchet MS</vt:lpstr>
      <vt:lpstr>Wingdings 3</vt:lpstr>
      <vt:lpstr>Facet</vt:lpstr>
      <vt:lpstr>Groningen Declaration Network</vt:lpstr>
      <vt:lpstr>What Physical Documents Can Do and Cant</vt:lpstr>
      <vt:lpstr>Checking Security Feature: Hologram</vt:lpstr>
      <vt:lpstr>What Digitization Can Provide </vt:lpstr>
      <vt:lpstr>Other Example: Vitnemålsportalen, NO</vt:lpstr>
      <vt:lpstr>Learner to Initiate Consultation</vt:lpstr>
      <vt:lpstr>Verification of Origin of Data</vt:lpstr>
      <vt:lpstr>What Comes Together Here?</vt:lpstr>
      <vt:lpstr>Data, Information, Documents Today are All Born Digital</vt:lpstr>
      <vt:lpstr>GDN Goal: Developing Global Digital Data Eco-system to Further Cross Border Mobility of Learners</vt:lpstr>
      <vt:lpstr>Inspired DigiRec initiative</vt:lpstr>
      <vt:lpstr>Key Facts</vt:lpstr>
      <vt:lpstr>Operating Values</vt:lpstr>
      <vt:lpstr>Operationalizing Our Goals</vt:lpstr>
      <vt:lpstr>Annual Meeting 2020, Registration Opening</vt:lpstr>
      <vt:lpstr>Thank You for Your Interest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oningen Declaration Network</dc:title>
  <dc:creator>Rick Torres</dc:creator>
  <cp:lastModifiedBy>KRUGER Stefania</cp:lastModifiedBy>
  <cp:revision>61</cp:revision>
  <dcterms:created xsi:type="dcterms:W3CDTF">2019-06-25T16:09:42Z</dcterms:created>
  <dcterms:modified xsi:type="dcterms:W3CDTF">2019-12-02T09:14:13Z</dcterms:modified>
</cp:coreProperties>
</file>